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slideLayouts/slideLayout1417.xml" ContentType="application/vnd.openxmlformats-officedocument.presentationml.slideLayout+xml"/>
  <Override PartName="/ppt/slideLayouts/slideLayout1418.xml" ContentType="application/vnd.openxmlformats-officedocument.presentationml.slideLayout+xml"/>
  <Override PartName="/ppt/slideLayouts/slideLayout1419.xml" ContentType="application/vnd.openxmlformats-officedocument.presentationml.slideLayout+xml"/>
  <Override PartName="/ppt/slideLayouts/slideLayout1420.xml" ContentType="application/vnd.openxmlformats-officedocument.presentationml.slideLayout+xml"/>
  <Override PartName="/ppt/slideLayouts/slideLayout1421.xml" ContentType="application/vnd.openxmlformats-officedocument.presentationml.slideLayout+xml"/>
  <Override PartName="/ppt/slideLayouts/slideLayout1422.xml" ContentType="application/vnd.openxmlformats-officedocument.presentationml.slideLayout+xml"/>
  <Override PartName="/ppt/slideLayouts/slideLayout1423.xml" ContentType="application/vnd.openxmlformats-officedocument.presentationml.slideLayout+xml"/>
  <Override PartName="/ppt/slideLayouts/slideLayout1424.xml" ContentType="application/vnd.openxmlformats-officedocument.presentationml.slideLayout+xml"/>
  <Override PartName="/ppt/slideLayouts/slideLayout1425.xml" ContentType="application/vnd.openxmlformats-officedocument.presentationml.slideLayout+xml"/>
  <Override PartName="/ppt/slideLayouts/slideLayout1426.xml" ContentType="application/vnd.openxmlformats-officedocument.presentationml.slideLayout+xml"/>
  <Override PartName="/ppt/slideLayouts/slideLayout1427.xml" ContentType="application/vnd.openxmlformats-officedocument.presentationml.slideLayout+xml"/>
  <Override PartName="/ppt/slideLayouts/slideLayout1428.xml" ContentType="application/vnd.openxmlformats-officedocument.presentationml.slideLayout+xml"/>
  <Override PartName="/ppt/slideLayouts/slideLayout1429.xml" ContentType="application/vnd.openxmlformats-officedocument.presentationml.slideLayout+xml"/>
  <Override PartName="/ppt/slideLayouts/slideLayout1430.xml" ContentType="application/vnd.openxmlformats-officedocument.presentationml.slideLayout+xml"/>
  <Override PartName="/ppt/slideLayouts/slideLayout1431.xml" ContentType="application/vnd.openxmlformats-officedocument.presentationml.slideLayout+xml"/>
  <Override PartName="/ppt/slideLayouts/slideLayout1432.xml" ContentType="application/vnd.openxmlformats-officedocument.presentationml.slideLayout+xml"/>
  <Override PartName="/ppt/slideLayouts/slideLayout1433.xml" ContentType="application/vnd.openxmlformats-officedocument.presentationml.slideLayout+xml"/>
  <Override PartName="/ppt/slideLayouts/slideLayout1434.xml" ContentType="application/vnd.openxmlformats-officedocument.presentationml.slideLayout+xml"/>
  <Override PartName="/ppt/slideLayouts/slideLayout1435.xml" ContentType="application/vnd.openxmlformats-officedocument.presentationml.slideLayout+xml"/>
  <Override PartName="/ppt/slideLayouts/slideLayout1436.xml" ContentType="application/vnd.openxmlformats-officedocument.presentationml.slideLayout+xml"/>
  <Override PartName="/ppt/slideLayouts/slideLayout1437.xml" ContentType="application/vnd.openxmlformats-officedocument.presentationml.slideLayout+xml"/>
  <Override PartName="/ppt/slideLayouts/slideLayout1438.xml" ContentType="application/vnd.openxmlformats-officedocument.presentationml.slideLayout+xml"/>
  <Override PartName="/ppt/slideLayouts/slideLayout1439.xml" ContentType="application/vnd.openxmlformats-officedocument.presentationml.slideLayout+xml"/>
  <Override PartName="/ppt/slideLayouts/slideLayout1440.xml" ContentType="application/vnd.openxmlformats-officedocument.presentationml.slideLayout+xml"/>
  <Override PartName="/ppt/slideLayouts/slideLayout1441.xml" ContentType="application/vnd.openxmlformats-officedocument.presentationml.slideLayout+xml"/>
  <Override PartName="/ppt/slideLayouts/slideLayout1442.xml" ContentType="application/vnd.openxmlformats-officedocument.presentationml.slideLayout+xml"/>
  <Override PartName="/ppt/slideLayouts/slideLayout1443.xml" ContentType="application/vnd.openxmlformats-officedocument.presentationml.slideLayout+xml"/>
  <Override PartName="/ppt/slideLayouts/slideLayout1444.xml" ContentType="application/vnd.openxmlformats-officedocument.presentationml.slideLayout+xml"/>
  <Override PartName="/ppt/slideLayouts/slideLayout1445.xml" ContentType="application/vnd.openxmlformats-officedocument.presentationml.slideLayout+xml"/>
  <Override PartName="/ppt/slideLayouts/slideLayout1446.xml" ContentType="application/vnd.openxmlformats-officedocument.presentationml.slideLayout+xml"/>
  <Override PartName="/ppt/slideLayouts/slideLayout1447.xml" ContentType="application/vnd.openxmlformats-officedocument.presentationml.slideLayout+xml"/>
  <Override PartName="/ppt/slideLayouts/slideLayout1448.xml" ContentType="application/vnd.openxmlformats-officedocument.presentationml.slideLayout+xml"/>
  <Override PartName="/ppt/slideLayouts/slideLayout1449.xml" ContentType="application/vnd.openxmlformats-officedocument.presentationml.slideLayout+xml"/>
  <Override PartName="/ppt/slideLayouts/slideLayout1450.xml" ContentType="application/vnd.openxmlformats-officedocument.presentationml.slideLayout+xml"/>
  <Override PartName="/ppt/slideLayouts/slideLayout1451.xml" ContentType="application/vnd.openxmlformats-officedocument.presentationml.slideLayout+xml"/>
  <Override PartName="/ppt/slideLayouts/slideLayout1452.xml" ContentType="application/vnd.openxmlformats-officedocument.presentationml.slideLayout+xml"/>
  <Override PartName="/ppt/slideLayouts/slideLayout1453.xml" ContentType="application/vnd.openxmlformats-officedocument.presentationml.slideLayout+xml"/>
  <Override PartName="/ppt/slideLayouts/slideLayout1454.xml" ContentType="application/vnd.openxmlformats-officedocument.presentationml.slideLayout+xml"/>
  <Override PartName="/ppt/slideLayouts/slideLayout1455.xml" ContentType="application/vnd.openxmlformats-officedocument.presentationml.slideLayout+xml"/>
  <Override PartName="/ppt/slideLayouts/slideLayout1456.xml" ContentType="application/vnd.openxmlformats-officedocument.presentationml.slideLayout+xml"/>
  <Override PartName="/ppt/slideLayouts/slideLayout1457.xml" ContentType="application/vnd.openxmlformats-officedocument.presentationml.slideLayout+xml"/>
  <Override PartName="/ppt/slideLayouts/slideLayout1458.xml" ContentType="application/vnd.openxmlformats-officedocument.presentationml.slideLayout+xml"/>
  <Override PartName="/ppt/slideLayouts/slideLayout1459.xml" ContentType="application/vnd.openxmlformats-officedocument.presentationml.slideLayout+xml"/>
  <Override PartName="/ppt/slideLayouts/slideLayout1460.xml" ContentType="application/vnd.openxmlformats-officedocument.presentationml.slideLayout+xml"/>
  <Override PartName="/ppt/slideLayouts/slideLayout1461.xml" ContentType="application/vnd.openxmlformats-officedocument.presentationml.slideLayout+xml"/>
  <Override PartName="/ppt/slideLayouts/slideLayout1462.xml" ContentType="application/vnd.openxmlformats-officedocument.presentationml.slideLayout+xml"/>
  <Override PartName="/ppt/slideLayouts/slideLayout1463.xml" ContentType="application/vnd.openxmlformats-officedocument.presentationml.slideLayout+xml"/>
  <Override PartName="/ppt/slideLayouts/slideLayout1464.xml" ContentType="application/vnd.openxmlformats-officedocument.presentationml.slideLayout+xml"/>
  <Override PartName="/ppt/slideLayouts/slideLayout1465.xml" ContentType="application/vnd.openxmlformats-officedocument.presentationml.slideLayout+xml"/>
  <Override PartName="/ppt/slideLayouts/slideLayout1466.xml" ContentType="application/vnd.openxmlformats-officedocument.presentationml.slideLayout+xml"/>
  <Override PartName="/ppt/slideLayouts/slideLayout1467.xml" ContentType="application/vnd.openxmlformats-officedocument.presentationml.slideLayout+xml"/>
  <Override PartName="/ppt/slideLayouts/slideLayout1468.xml" ContentType="application/vnd.openxmlformats-officedocument.presentationml.slideLayout+xml"/>
  <Override PartName="/ppt/slideLayouts/slideLayout1469.xml" ContentType="application/vnd.openxmlformats-officedocument.presentationml.slideLayout+xml"/>
  <Override PartName="/ppt/slideLayouts/slideLayout1470.xml" ContentType="application/vnd.openxmlformats-officedocument.presentationml.slideLayout+xml"/>
  <Override PartName="/ppt/slideLayouts/slideLayout1471.xml" ContentType="application/vnd.openxmlformats-officedocument.presentationml.slideLayout+xml"/>
  <Override PartName="/ppt/slideLayouts/slideLayout1472.xml" ContentType="application/vnd.openxmlformats-officedocument.presentationml.slideLayout+xml"/>
  <Override PartName="/ppt/slideLayouts/slideLayout1473.xml" ContentType="application/vnd.openxmlformats-officedocument.presentationml.slideLayout+xml"/>
  <Override PartName="/ppt/slideLayouts/slideLayout1474.xml" ContentType="application/vnd.openxmlformats-officedocument.presentationml.slideLayout+xml"/>
  <Override PartName="/ppt/slideLayouts/slideLayout1475.xml" ContentType="application/vnd.openxmlformats-officedocument.presentationml.slideLayout+xml"/>
  <Override PartName="/ppt/slideLayouts/slideLayout1476.xml" ContentType="application/vnd.openxmlformats-officedocument.presentationml.slideLayout+xml"/>
  <Override PartName="/ppt/slideLayouts/slideLayout1477.xml" ContentType="application/vnd.openxmlformats-officedocument.presentationml.slideLayout+xml"/>
  <Override PartName="/ppt/slideLayouts/slideLayout1478.xml" ContentType="application/vnd.openxmlformats-officedocument.presentationml.slideLayout+xml"/>
  <Override PartName="/ppt/slideLayouts/slideLayout1479.xml" ContentType="application/vnd.openxmlformats-officedocument.presentationml.slideLayout+xml"/>
  <Override PartName="/ppt/slideLayouts/slideLayout1480.xml" ContentType="application/vnd.openxmlformats-officedocument.presentationml.slideLayout+xml"/>
  <Override PartName="/ppt/slideLayouts/slideLayout1481.xml" ContentType="application/vnd.openxmlformats-officedocument.presentationml.slideLayout+xml"/>
  <Override PartName="/ppt/slideLayouts/slideLayout1482.xml" ContentType="application/vnd.openxmlformats-officedocument.presentationml.slideLayout+xml"/>
  <Override PartName="/ppt/slideLayouts/slideLayout1483.xml" ContentType="application/vnd.openxmlformats-officedocument.presentationml.slideLayout+xml"/>
  <Override PartName="/ppt/slideLayouts/slideLayout1484.xml" ContentType="application/vnd.openxmlformats-officedocument.presentationml.slideLayout+xml"/>
  <Override PartName="/ppt/slideLayouts/slideLayout1485.xml" ContentType="application/vnd.openxmlformats-officedocument.presentationml.slideLayout+xml"/>
  <Override PartName="/ppt/slideLayouts/slideLayout1486.xml" ContentType="application/vnd.openxmlformats-officedocument.presentationml.slideLayout+xml"/>
  <Override PartName="/ppt/slideLayouts/slideLayout1487.xml" ContentType="application/vnd.openxmlformats-officedocument.presentationml.slideLayout+xml"/>
  <Override PartName="/ppt/slideLayouts/slideLayout1488.xml" ContentType="application/vnd.openxmlformats-officedocument.presentationml.slideLayout+xml"/>
  <Override PartName="/ppt/slideLayouts/slideLayout1489.xml" ContentType="application/vnd.openxmlformats-officedocument.presentationml.slideLayout+xml"/>
  <Override PartName="/ppt/slideLayouts/slideLayout1490.xml" ContentType="application/vnd.openxmlformats-officedocument.presentationml.slideLayout+xml"/>
  <Override PartName="/ppt/slideLayouts/slideLayout1491.xml" ContentType="application/vnd.openxmlformats-officedocument.presentationml.slideLayout+xml"/>
  <Override PartName="/ppt/slideLayouts/slideLayout1492.xml" ContentType="application/vnd.openxmlformats-officedocument.presentationml.slideLayout+xml"/>
  <Override PartName="/ppt/slideLayouts/slideLayout1493.xml" ContentType="application/vnd.openxmlformats-officedocument.presentationml.slideLayout+xml"/>
  <Override PartName="/ppt/slideLayouts/slideLayout1494.xml" ContentType="application/vnd.openxmlformats-officedocument.presentationml.slideLayout+xml"/>
  <Override PartName="/ppt/slideLayouts/slideLayout1495.xml" ContentType="application/vnd.openxmlformats-officedocument.presentationml.slideLayout+xml"/>
  <Override PartName="/ppt/slideLayouts/slideLayout1496.xml" ContentType="application/vnd.openxmlformats-officedocument.presentationml.slideLayout+xml"/>
  <Override PartName="/ppt/slideLayouts/slideLayout1497.xml" ContentType="application/vnd.openxmlformats-officedocument.presentationml.slideLayout+xml"/>
  <Override PartName="/ppt/slideLayouts/slideLayout1498.xml" ContentType="application/vnd.openxmlformats-officedocument.presentationml.slideLayout+xml"/>
  <Override PartName="/ppt/slideLayouts/slideLayout1499.xml" ContentType="application/vnd.openxmlformats-officedocument.presentationml.slideLayout+xml"/>
  <Override PartName="/ppt/slideLayouts/slideLayout1500.xml" ContentType="application/vnd.openxmlformats-officedocument.presentationml.slideLayout+xml"/>
  <Override PartName="/ppt/slideLayouts/slideLayout1501.xml" ContentType="application/vnd.openxmlformats-officedocument.presentationml.slideLayout+xml"/>
  <Override PartName="/ppt/slideLayouts/slideLayout1502.xml" ContentType="application/vnd.openxmlformats-officedocument.presentationml.slideLayout+xml"/>
  <Override PartName="/ppt/slideLayouts/slideLayout1503.xml" ContentType="application/vnd.openxmlformats-officedocument.presentationml.slideLayout+xml"/>
  <Override PartName="/ppt/slideLayouts/slideLayout1504.xml" ContentType="application/vnd.openxmlformats-officedocument.presentationml.slideLayout+xml"/>
  <Override PartName="/ppt/slideLayouts/slideLayout1505.xml" ContentType="application/vnd.openxmlformats-officedocument.presentationml.slideLayout+xml"/>
  <Override PartName="/ppt/slideLayouts/slideLayout1506.xml" ContentType="application/vnd.openxmlformats-officedocument.presentationml.slideLayout+xml"/>
  <Override PartName="/ppt/slideLayouts/slideLayout1507.xml" ContentType="application/vnd.openxmlformats-officedocument.presentationml.slideLayout+xml"/>
  <Override PartName="/ppt/slideLayouts/slideLayout1508.xml" ContentType="application/vnd.openxmlformats-officedocument.presentationml.slideLayout+xml"/>
  <Override PartName="/ppt/slideLayouts/slideLayout1509.xml" ContentType="application/vnd.openxmlformats-officedocument.presentationml.slideLayout+xml"/>
  <Override PartName="/ppt/slideLayouts/slideLayout1510.xml" ContentType="application/vnd.openxmlformats-officedocument.presentationml.slideLayout+xml"/>
  <Override PartName="/ppt/slideLayouts/slideLayout1511.xml" ContentType="application/vnd.openxmlformats-officedocument.presentationml.slideLayout+xml"/>
  <Override PartName="/ppt/slideLayouts/slideLayout1512.xml" ContentType="application/vnd.openxmlformats-officedocument.presentationml.slideLayout+xml"/>
  <Override PartName="/ppt/slideLayouts/slideLayout1513.xml" ContentType="application/vnd.openxmlformats-officedocument.presentationml.slideLayout+xml"/>
  <Override PartName="/ppt/slideLayouts/slideLayout1514.xml" ContentType="application/vnd.openxmlformats-officedocument.presentationml.slideLayout+xml"/>
  <Override PartName="/ppt/slideLayouts/slideLayout1515.xml" ContentType="application/vnd.openxmlformats-officedocument.presentationml.slideLayout+xml"/>
  <Override PartName="/ppt/slideLayouts/slideLayout1516.xml" ContentType="application/vnd.openxmlformats-officedocument.presentationml.slideLayout+xml"/>
  <Override PartName="/ppt/slideLayouts/slideLayout1517.xml" ContentType="application/vnd.openxmlformats-officedocument.presentationml.slideLayout+xml"/>
  <Override PartName="/ppt/slideLayouts/slideLayout1518.xml" ContentType="application/vnd.openxmlformats-officedocument.presentationml.slideLayout+xml"/>
  <Override PartName="/ppt/slideLayouts/slideLayout1519.xml" ContentType="application/vnd.openxmlformats-officedocument.presentationml.slideLayout+xml"/>
  <Override PartName="/ppt/slideLayouts/slideLayout1520.xml" ContentType="application/vnd.openxmlformats-officedocument.presentationml.slideLayout+xml"/>
  <Override PartName="/ppt/slideLayouts/slideLayout1521.xml" ContentType="application/vnd.openxmlformats-officedocument.presentationml.slideLayout+xml"/>
  <Override PartName="/ppt/slideLayouts/slideLayout1522.xml" ContentType="application/vnd.openxmlformats-officedocument.presentationml.slideLayout+xml"/>
  <Override PartName="/ppt/slideLayouts/slideLayout1523.xml" ContentType="application/vnd.openxmlformats-officedocument.presentationml.slideLayout+xml"/>
  <Override PartName="/ppt/slideLayouts/slideLayout1524.xml" ContentType="application/vnd.openxmlformats-officedocument.presentationml.slideLayout+xml"/>
  <Override PartName="/ppt/slideLayouts/slideLayout1525.xml" ContentType="application/vnd.openxmlformats-officedocument.presentationml.slideLayout+xml"/>
  <Override PartName="/ppt/slideLayouts/slideLayout1526.xml" ContentType="application/vnd.openxmlformats-officedocument.presentationml.slideLayout+xml"/>
  <Override PartName="/ppt/slideLayouts/slideLayout1527.xml" ContentType="application/vnd.openxmlformats-officedocument.presentationml.slideLayout+xml"/>
  <Override PartName="/ppt/slideLayouts/slideLayout1528.xml" ContentType="application/vnd.openxmlformats-officedocument.presentationml.slideLayout+xml"/>
  <Override PartName="/ppt/slideLayouts/slideLayout1529.xml" ContentType="application/vnd.openxmlformats-officedocument.presentationml.slideLayout+xml"/>
  <Override PartName="/ppt/slideLayouts/slideLayout1530.xml" ContentType="application/vnd.openxmlformats-officedocument.presentationml.slideLayout+xml"/>
  <Override PartName="/ppt/slideLayouts/slideLayout1531.xml" ContentType="application/vnd.openxmlformats-officedocument.presentationml.slideLayout+xml"/>
  <Override PartName="/ppt/slideLayouts/slideLayout1532.xml" ContentType="application/vnd.openxmlformats-officedocument.presentationml.slideLayout+xml"/>
  <Override PartName="/ppt/slideLayouts/slideLayout1533.xml" ContentType="application/vnd.openxmlformats-officedocument.presentationml.slideLayout+xml"/>
  <Override PartName="/ppt/slideLayouts/slideLayout1534.xml" ContentType="application/vnd.openxmlformats-officedocument.presentationml.slideLayout+xml"/>
  <Override PartName="/ppt/slideLayouts/slideLayout1535.xml" ContentType="application/vnd.openxmlformats-officedocument.presentationml.slideLayout+xml"/>
  <Override PartName="/ppt/slideLayouts/slideLayout1536.xml" ContentType="application/vnd.openxmlformats-officedocument.presentationml.slideLayout+xml"/>
  <Override PartName="/ppt/slideLayouts/slideLayout1537.xml" ContentType="application/vnd.openxmlformats-officedocument.presentationml.slideLayout+xml"/>
  <Override PartName="/ppt/slideLayouts/slideLayout1538.xml" ContentType="application/vnd.openxmlformats-officedocument.presentationml.slideLayout+xml"/>
  <Override PartName="/ppt/slideLayouts/slideLayout1539.xml" ContentType="application/vnd.openxmlformats-officedocument.presentationml.slideLayout+xml"/>
  <Override PartName="/ppt/slideLayouts/slideLayout1540.xml" ContentType="application/vnd.openxmlformats-officedocument.presentationml.slideLayout+xml"/>
  <Override PartName="/ppt/slideLayouts/slideLayout1541.xml" ContentType="application/vnd.openxmlformats-officedocument.presentationml.slideLayout+xml"/>
  <Override PartName="/ppt/slideLayouts/slideLayout1542.xml" ContentType="application/vnd.openxmlformats-officedocument.presentationml.slideLayout+xml"/>
  <Override PartName="/ppt/slideLayouts/slideLayout1543.xml" ContentType="application/vnd.openxmlformats-officedocument.presentationml.slideLayout+xml"/>
  <Override PartName="/ppt/slideLayouts/slideLayout1544.xml" ContentType="application/vnd.openxmlformats-officedocument.presentationml.slideLayout+xml"/>
  <Override PartName="/ppt/slideLayouts/slideLayout1545.xml" ContentType="application/vnd.openxmlformats-officedocument.presentationml.slideLayout+xml"/>
  <Override PartName="/ppt/slideLayouts/slideLayout1546.xml" ContentType="application/vnd.openxmlformats-officedocument.presentationml.slideLayout+xml"/>
  <Override PartName="/ppt/slideLayouts/slideLayout1547.xml" ContentType="application/vnd.openxmlformats-officedocument.presentationml.slideLayout+xml"/>
  <Override PartName="/ppt/slideLayouts/slideLayout1548.xml" ContentType="application/vnd.openxmlformats-officedocument.presentationml.slideLayout+xml"/>
  <Override PartName="/ppt/slideLayouts/slideLayout1549.xml" ContentType="application/vnd.openxmlformats-officedocument.presentationml.slideLayout+xml"/>
  <Override PartName="/ppt/slideLayouts/slideLayout1550.xml" ContentType="application/vnd.openxmlformats-officedocument.presentationml.slideLayout+xml"/>
  <Override PartName="/ppt/slideLayouts/slideLayout1551.xml" ContentType="application/vnd.openxmlformats-officedocument.presentationml.slideLayout+xml"/>
  <Override PartName="/ppt/slideLayouts/slideLayout1552.xml" ContentType="application/vnd.openxmlformats-officedocument.presentationml.slideLayout+xml"/>
  <Override PartName="/ppt/slideLayouts/slideLayout1553.xml" ContentType="application/vnd.openxmlformats-officedocument.presentationml.slideLayout+xml"/>
  <Override PartName="/ppt/slideLayouts/slideLayout1554.xml" ContentType="application/vnd.openxmlformats-officedocument.presentationml.slideLayout+xml"/>
  <Override PartName="/ppt/slideLayouts/slideLayout1555.xml" ContentType="application/vnd.openxmlformats-officedocument.presentationml.slideLayout+xml"/>
  <Override PartName="/ppt/slideLayouts/slideLayout1556.xml" ContentType="application/vnd.openxmlformats-officedocument.presentationml.slideLayout+xml"/>
  <Override PartName="/ppt/slideLayouts/slideLayout1557.xml" ContentType="application/vnd.openxmlformats-officedocument.presentationml.slideLayout+xml"/>
  <Override PartName="/ppt/slideLayouts/slideLayout1558.xml" ContentType="application/vnd.openxmlformats-officedocument.presentationml.slideLayout+xml"/>
  <Override PartName="/ppt/slideLayouts/slideLayout1559.xml" ContentType="application/vnd.openxmlformats-officedocument.presentationml.slideLayout+xml"/>
  <Override PartName="/ppt/slideLayouts/slideLayout1560.xml" ContentType="application/vnd.openxmlformats-officedocument.presentationml.slideLayout+xml"/>
  <Override PartName="/ppt/slideLayouts/slideLayout1561.xml" ContentType="application/vnd.openxmlformats-officedocument.presentationml.slideLayout+xml"/>
  <Override PartName="/ppt/slideLayouts/slideLayout1562.xml" ContentType="application/vnd.openxmlformats-officedocument.presentationml.slideLayout+xml"/>
  <Override PartName="/ppt/slideLayouts/slideLayout1563.xml" ContentType="application/vnd.openxmlformats-officedocument.presentationml.slideLayout+xml"/>
  <Override PartName="/ppt/slideLayouts/slideLayout1564.xml" ContentType="application/vnd.openxmlformats-officedocument.presentationml.slideLayout+xml"/>
  <Override PartName="/ppt/slideLayouts/slideLayout1565.xml" ContentType="application/vnd.openxmlformats-officedocument.presentationml.slideLayout+xml"/>
  <Override PartName="/ppt/slideLayouts/slideLayout1566.xml" ContentType="application/vnd.openxmlformats-officedocument.presentationml.slideLayout+xml"/>
  <Override PartName="/ppt/slideLayouts/slideLayout1567.xml" ContentType="application/vnd.openxmlformats-officedocument.presentationml.slideLayout+xml"/>
  <Override PartName="/ppt/slideLayouts/slideLayout1568.xml" ContentType="application/vnd.openxmlformats-officedocument.presentationml.slideLayout+xml"/>
  <Override PartName="/ppt/slideLayouts/slideLayout1569.xml" ContentType="application/vnd.openxmlformats-officedocument.presentationml.slideLayout+xml"/>
  <Override PartName="/ppt/slideLayouts/slideLayout1570.xml" ContentType="application/vnd.openxmlformats-officedocument.presentationml.slideLayout+xml"/>
  <Override PartName="/ppt/slideLayouts/slideLayout1571.xml" ContentType="application/vnd.openxmlformats-officedocument.presentationml.slideLayout+xml"/>
  <Override PartName="/ppt/slideLayouts/slideLayout1572.xml" ContentType="application/vnd.openxmlformats-officedocument.presentationml.slideLayout+xml"/>
  <Override PartName="/ppt/slideLayouts/slideLayout1573.xml" ContentType="application/vnd.openxmlformats-officedocument.presentationml.slideLayout+xml"/>
  <Override PartName="/ppt/slideLayouts/slideLayout1574.xml" ContentType="application/vnd.openxmlformats-officedocument.presentationml.slideLayout+xml"/>
  <Override PartName="/ppt/slideLayouts/slideLayout1575.xml" ContentType="application/vnd.openxmlformats-officedocument.presentationml.slideLayout+xml"/>
  <Override PartName="/ppt/slideLayouts/slideLayout1576.xml" ContentType="application/vnd.openxmlformats-officedocument.presentationml.slideLayout+xml"/>
  <Override PartName="/ppt/slideLayouts/slideLayout1577.xml" ContentType="application/vnd.openxmlformats-officedocument.presentationml.slideLayout+xml"/>
  <Override PartName="/ppt/slideLayouts/slideLayout1578.xml" ContentType="application/vnd.openxmlformats-officedocument.presentationml.slideLayout+xml"/>
  <Override PartName="/ppt/slideLayouts/slideLayout1579.xml" ContentType="application/vnd.openxmlformats-officedocument.presentationml.slideLayout+xml"/>
  <Override PartName="/ppt/slideLayouts/slideLayout1580.xml" ContentType="application/vnd.openxmlformats-officedocument.presentationml.slideLayout+xml"/>
  <Override PartName="/ppt/slideLayouts/slideLayout1581.xml" ContentType="application/vnd.openxmlformats-officedocument.presentationml.slideLayout+xml"/>
  <Override PartName="/ppt/slideLayouts/slideLayout1582.xml" ContentType="application/vnd.openxmlformats-officedocument.presentationml.slideLayout+xml"/>
  <Override PartName="/ppt/slideLayouts/slideLayout1583.xml" ContentType="application/vnd.openxmlformats-officedocument.presentationml.slideLayout+xml"/>
  <Override PartName="/ppt/slideLayouts/slideLayout1584.xml" ContentType="application/vnd.openxmlformats-officedocument.presentationml.slideLayout+xml"/>
  <Override PartName="/ppt/slideLayouts/slideLayout1585.xml" ContentType="application/vnd.openxmlformats-officedocument.presentationml.slideLayout+xml"/>
  <Override PartName="/ppt/slideLayouts/slideLayout1586.xml" ContentType="application/vnd.openxmlformats-officedocument.presentationml.slideLayout+xml"/>
  <Override PartName="/ppt/slideLayouts/slideLayout1587.xml" ContentType="application/vnd.openxmlformats-officedocument.presentationml.slideLayout+xml"/>
  <Override PartName="/ppt/slideLayouts/slideLayout1588.xml" ContentType="application/vnd.openxmlformats-officedocument.presentationml.slideLayout+xml"/>
  <Override PartName="/ppt/slideLayouts/slideLayout1589.xml" ContentType="application/vnd.openxmlformats-officedocument.presentationml.slideLayout+xml"/>
  <Override PartName="/ppt/slideLayouts/slideLayout1590.xml" ContentType="application/vnd.openxmlformats-officedocument.presentationml.slideLayout+xml"/>
  <Override PartName="/ppt/slideLayouts/slideLayout1591.xml" ContentType="application/vnd.openxmlformats-officedocument.presentationml.slideLayout+xml"/>
  <Override PartName="/ppt/slideLayouts/slideLayout1592.xml" ContentType="application/vnd.openxmlformats-officedocument.presentationml.slideLayout+xml"/>
  <Override PartName="/ppt/slideLayouts/slideLayout1593.xml" ContentType="application/vnd.openxmlformats-officedocument.presentationml.slideLayout+xml"/>
  <Override PartName="/ppt/slideLayouts/slideLayout1594.xml" ContentType="application/vnd.openxmlformats-officedocument.presentationml.slideLayout+xml"/>
  <Override PartName="/ppt/slideLayouts/slideLayout1595.xml" ContentType="application/vnd.openxmlformats-officedocument.presentationml.slideLayout+xml"/>
  <Override PartName="/ppt/slideLayouts/slideLayout1596.xml" ContentType="application/vnd.openxmlformats-officedocument.presentationml.slideLayout+xml"/>
  <Override PartName="/ppt/slideLayouts/slideLayout1597.xml" ContentType="application/vnd.openxmlformats-officedocument.presentationml.slideLayout+xml"/>
  <Override PartName="/ppt/slideLayouts/slideLayout1598.xml" ContentType="application/vnd.openxmlformats-officedocument.presentationml.slideLayout+xml"/>
  <Override PartName="/ppt/slideLayouts/slideLayout1599.xml" ContentType="application/vnd.openxmlformats-officedocument.presentationml.slideLayout+xml"/>
  <Override PartName="/ppt/slideLayouts/slideLayout1600.xml" ContentType="application/vnd.openxmlformats-officedocument.presentationml.slideLayout+xml"/>
  <Override PartName="/ppt/slideLayouts/slideLayout1601.xml" ContentType="application/vnd.openxmlformats-officedocument.presentationml.slideLayout+xml"/>
  <Override PartName="/ppt/slideLayouts/slideLayout1602.xml" ContentType="application/vnd.openxmlformats-officedocument.presentationml.slideLayout+xml"/>
  <Override PartName="/ppt/slideLayouts/slideLayout1603.xml" ContentType="application/vnd.openxmlformats-officedocument.presentationml.slideLayout+xml"/>
  <Override PartName="/ppt/slideLayouts/slideLayout1604.xml" ContentType="application/vnd.openxmlformats-officedocument.presentationml.slideLayout+xml"/>
  <Override PartName="/ppt/slideLayouts/slideLayout1605.xml" ContentType="application/vnd.openxmlformats-officedocument.presentationml.slideLayout+xml"/>
  <Override PartName="/ppt/slideLayouts/slideLayout1606.xml" ContentType="application/vnd.openxmlformats-officedocument.presentationml.slideLayout+xml"/>
  <Override PartName="/ppt/slideLayouts/slideLayout1607.xml" ContentType="application/vnd.openxmlformats-officedocument.presentationml.slideLayout+xml"/>
  <Override PartName="/ppt/slideLayouts/slideLayout1608.xml" ContentType="application/vnd.openxmlformats-officedocument.presentationml.slideLayout+xml"/>
  <Override PartName="/ppt/slideLayouts/slideLayout1609.xml" ContentType="application/vnd.openxmlformats-officedocument.presentationml.slideLayout+xml"/>
  <Override PartName="/ppt/slideLayouts/slideLayout1610.xml" ContentType="application/vnd.openxmlformats-officedocument.presentationml.slideLayout+xml"/>
  <Override PartName="/ppt/slideLayouts/slideLayout1611.xml" ContentType="application/vnd.openxmlformats-officedocument.presentationml.slideLayout+xml"/>
  <Override PartName="/ppt/slideLayouts/slideLayout1612.xml" ContentType="application/vnd.openxmlformats-officedocument.presentationml.slideLayout+xml"/>
  <Override PartName="/ppt/slideLayouts/slideLayout1613.xml" ContentType="application/vnd.openxmlformats-officedocument.presentationml.slideLayout+xml"/>
  <Override PartName="/ppt/slideLayouts/slideLayout1614.xml" ContentType="application/vnd.openxmlformats-officedocument.presentationml.slideLayout+xml"/>
  <Override PartName="/ppt/slideLayouts/slideLayout1615.xml" ContentType="application/vnd.openxmlformats-officedocument.presentationml.slideLayout+xml"/>
  <Override PartName="/ppt/slideLayouts/slideLayout1616.xml" ContentType="application/vnd.openxmlformats-officedocument.presentationml.slideLayout+xml"/>
  <Override PartName="/ppt/slideLayouts/slideLayout1617.xml" ContentType="application/vnd.openxmlformats-officedocument.presentationml.slideLayout+xml"/>
  <Override PartName="/ppt/slideLayouts/slideLayout1618.xml" ContentType="application/vnd.openxmlformats-officedocument.presentationml.slideLayout+xml"/>
  <Override PartName="/ppt/slideLayouts/slideLayout1619.xml" ContentType="application/vnd.openxmlformats-officedocument.presentationml.slideLayout+xml"/>
  <Override PartName="/ppt/slideLayouts/slideLayout1620.xml" ContentType="application/vnd.openxmlformats-officedocument.presentationml.slideLayout+xml"/>
  <Override PartName="/ppt/slideLayouts/slideLayout1621.xml" ContentType="application/vnd.openxmlformats-officedocument.presentationml.slideLayout+xml"/>
  <Override PartName="/ppt/slideLayouts/slideLayout1622.xml" ContentType="application/vnd.openxmlformats-officedocument.presentationml.slideLayout+xml"/>
  <Override PartName="/ppt/slideLayouts/slideLayout1623.xml" ContentType="application/vnd.openxmlformats-officedocument.presentationml.slideLayout+xml"/>
  <Override PartName="/ppt/slideLayouts/slideLayout1624.xml" ContentType="application/vnd.openxmlformats-officedocument.presentationml.slideLayout+xml"/>
  <Override PartName="/ppt/slideLayouts/slideLayout1625.xml" ContentType="application/vnd.openxmlformats-officedocument.presentationml.slideLayout+xml"/>
  <Override PartName="/ppt/slideLayouts/slideLayout1626.xml" ContentType="application/vnd.openxmlformats-officedocument.presentationml.slideLayout+xml"/>
  <Override PartName="/ppt/slideLayouts/slideLayout1627.xml" ContentType="application/vnd.openxmlformats-officedocument.presentationml.slideLayout+xml"/>
  <Override PartName="/ppt/slideLayouts/slideLayout1628.xml" ContentType="application/vnd.openxmlformats-officedocument.presentationml.slideLayout+xml"/>
  <Override PartName="/ppt/slideLayouts/slideLayout1629.xml" ContentType="application/vnd.openxmlformats-officedocument.presentationml.slideLayout+xml"/>
  <Override PartName="/ppt/slideLayouts/slideLayout1630.xml" ContentType="application/vnd.openxmlformats-officedocument.presentationml.slideLayout+xml"/>
  <Override PartName="/ppt/slideLayouts/slideLayout1631.xml" ContentType="application/vnd.openxmlformats-officedocument.presentationml.slideLayout+xml"/>
  <Override PartName="/ppt/slideLayouts/slideLayout1632.xml" ContentType="application/vnd.openxmlformats-officedocument.presentationml.slideLayout+xml"/>
  <Override PartName="/ppt/slideLayouts/slideLayout1633.xml" ContentType="application/vnd.openxmlformats-officedocument.presentationml.slideLayout+xml"/>
  <Override PartName="/ppt/slideLayouts/slideLayout1634.xml" ContentType="application/vnd.openxmlformats-officedocument.presentationml.slideLayout+xml"/>
  <Override PartName="/ppt/slideLayouts/slideLayout1635.xml" ContentType="application/vnd.openxmlformats-officedocument.presentationml.slideLayout+xml"/>
  <Override PartName="/ppt/slideLayouts/slideLayout1636.xml" ContentType="application/vnd.openxmlformats-officedocument.presentationml.slideLayout+xml"/>
  <Override PartName="/ppt/slideLayouts/slideLayout1637.xml" ContentType="application/vnd.openxmlformats-officedocument.presentationml.slideLayout+xml"/>
  <Override PartName="/ppt/slideLayouts/slideLayout1638.xml" ContentType="application/vnd.openxmlformats-officedocument.presentationml.slideLayout+xml"/>
  <Override PartName="/ppt/slideLayouts/slideLayout1639.xml" ContentType="application/vnd.openxmlformats-officedocument.presentationml.slideLayout+xml"/>
  <Override PartName="/ppt/slideLayouts/slideLayout1640.xml" ContentType="application/vnd.openxmlformats-officedocument.presentationml.slideLayout+xml"/>
  <Override PartName="/ppt/slideLayouts/slideLayout1641.xml" ContentType="application/vnd.openxmlformats-officedocument.presentationml.slideLayout+xml"/>
  <Override PartName="/ppt/slideLayouts/slideLayout1642.xml" ContentType="application/vnd.openxmlformats-officedocument.presentationml.slideLayout+xml"/>
  <Override PartName="/ppt/slideLayouts/slideLayout1643.xml" ContentType="application/vnd.openxmlformats-officedocument.presentationml.slideLayout+xml"/>
  <Override PartName="/ppt/slideLayouts/slideLayout1644.xml" ContentType="application/vnd.openxmlformats-officedocument.presentationml.slideLayout+xml"/>
  <Override PartName="/ppt/slideLayouts/slideLayout1645.xml" ContentType="application/vnd.openxmlformats-officedocument.presentationml.slideLayout+xml"/>
  <Override PartName="/ppt/slideLayouts/slideLayout1646.xml" ContentType="application/vnd.openxmlformats-officedocument.presentationml.slideLayout+xml"/>
  <Override PartName="/ppt/slideLayouts/slideLayout1647.xml" ContentType="application/vnd.openxmlformats-officedocument.presentationml.slideLayout+xml"/>
  <Override PartName="/ppt/slideLayouts/slideLayout1648.xml" ContentType="application/vnd.openxmlformats-officedocument.presentationml.slideLayout+xml"/>
  <Override PartName="/ppt/slideLayouts/slideLayout1649.xml" ContentType="application/vnd.openxmlformats-officedocument.presentationml.slideLayout+xml"/>
  <Override PartName="/ppt/slideLayouts/slideLayout1650.xml" ContentType="application/vnd.openxmlformats-officedocument.presentationml.slideLayout+xml"/>
  <Override PartName="/ppt/slideLayouts/slideLayout1651.xml" ContentType="application/vnd.openxmlformats-officedocument.presentationml.slideLayout+xml"/>
  <Override PartName="/ppt/slideLayouts/slideLayout1652.xml" ContentType="application/vnd.openxmlformats-officedocument.presentationml.slideLayout+xml"/>
  <Override PartName="/ppt/slideLayouts/slideLayout1653.xml" ContentType="application/vnd.openxmlformats-officedocument.presentationml.slideLayout+xml"/>
  <Override PartName="/ppt/slideLayouts/slideLayout1654.xml" ContentType="application/vnd.openxmlformats-officedocument.presentationml.slideLayout+xml"/>
  <Override PartName="/ppt/slideLayouts/slideLayout1655.xml" ContentType="application/vnd.openxmlformats-officedocument.presentationml.slideLayout+xml"/>
  <Override PartName="/ppt/slideLayouts/slideLayout1656.xml" ContentType="application/vnd.openxmlformats-officedocument.presentationml.slideLayout+xml"/>
  <Override PartName="/ppt/slideLayouts/slideLayout1657.xml" ContentType="application/vnd.openxmlformats-officedocument.presentationml.slideLayout+xml"/>
  <Override PartName="/ppt/slideLayouts/slideLayout1658.xml" ContentType="application/vnd.openxmlformats-officedocument.presentationml.slideLayout+xml"/>
  <Override PartName="/ppt/slideLayouts/slideLayout1659.xml" ContentType="application/vnd.openxmlformats-officedocument.presentationml.slideLayout+xml"/>
  <Override PartName="/ppt/slideLayouts/slideLayout1660.xml" ContentType="application/vnd.openxmlformats-officedocument.presentationml.slideLayout+xml"/>
  <Override PartName="/ppt/slideLayouts/slideLayout1661.xml" ContentType="application/vnd.openxmlformats-officedocument.presentationml.slideLayout+xml"/>
  <Override PartName="/ppt/slideLayouts/slideLayout1662.xml" ContentType="application/vnd.openxmlformats-officedocument.presentationml.slideLayout+xml"/>
  <Override PartName="/ppt/slideLayouts/slideLayout1663.xml" ContentType="application/vnd.openxmlformats-officedocument.presentationml.slideLayout+xml"/>
  <Override PartName="/ppt/slideLayouts/slideLayout1664.xml" ContentType="application/vnd.openxmlformats-officedocument.presentationml.slideLayout+xml"/>
  <Override PartName="/ppt/slideLayouts/slideLayout1665.xml" ContentType="application/vnd.openxmlformats-officedocument.presentationml.slideLayout+xml"/>
  <Override PartName="/ppt/slideLayouts/slideLayout1666.xml" ContentType="application/vnd.openxmlformats-officedocument.presentationml.slideLayout+xml"/>
  <Override PartName="/ppt/slideLayouts/slideLayout1667.xml" ContentType="application/vnd.openxmlformats-officedocument.presentationml.slideLayout+xml"/>
  <Override PartName="/ppt/slideLayouts/slideLayout1668.xml" ContentType="application/vnd.openxmlformats-officedocument.presentationml.slideLayout+xml"/>
  <Override PartName="/ppt/slideLayouts/slideLayout1669.xml" ContentType="application/vnd.openxmlformats-officedocument.presentationml.slideLayout+xml"/>
  <Override PartName="/ppt/slideLayouts/slideLayout1670.xml" ContentType="application/vnd.openxmlformats-officedocument.presentationml.slideLayout+xml"/>
  <Override PartName="/ppt/slideLayouts/slideLayout1671.xml" ContentType="application/vnd.openxmlformats-officedocument.presentationml.slideLayout+xml"/>
  <Override PartName="/ppt/slideLayouts/slideLayout1672.xml" ContentType="application/vnd.openxmlformats-officedocument.presentationml.slideLayout+xml"/>
  <Override PartName="/ppt/slideLayouts/slideLayout1673.xml" ContentType="application/vnd.openxmlformats-officedocument.presentationml.slideLayout+xml"/>
  <Override PartName="/ppt/slideLayouts/slideLayout1674.xml" ContentType="application/vnd.openxmlformats-officedocument.presentationml.slideLayout+xml"/>
  <Override PartName="/ppt/slideLayouts/slideLayout1675.xml" ContentType="application/vnd.openxmlformats-officedocument.presentationml.slideLayout+xml"/>
  <Override PartName="/ppt/slideLayouts/slideLayout1676.xml" ContentType="application/vnd.openxmlformats-officedocument.presentationml.slideLayout+xml"/>
  <Override PartName="/ppt/slideLayouts/slideLayout1677.xml" ContentType="application/vnd.openxmlformats-officedocument.presentationml.slideLayout+xml"/>
  <Override PartName="/ppt/slideLayouts/slideLayout1678.xml" ContentType="application/vnd.openxmlformats-officedocument.presentationml.slideLayout+xml"/>
  <Override PartName="/ppt/slideLayouts/slideLayout1679.xml" ContentType="application/vnd.openxmlformats-officedocument.presentationml.slideLayout+xml"/>
  <Override PartName="/ppt/slideLayouts/slideLayout1680.xml" ContentType="application/vnd.openxmlformats-officedocument.presentationml.slideLayout+xml"/>
  <Override PartName="/ppt/slideLayouts/slideLayout1681.xml" ContentType="application/vnd.openxmlformats-officedocument.presentationml.slideLayout+xml"/>
  <Override PartName="/ppt/slideLayouts/slideLayout1682.xml" ContentType="application/vnd.openxmlformats-officedocument.presentationml.slideLayout+xml"/>
  <Override PartName="/ppt/slideLayouts/slideLayout1683.xml" ContentType="application/vnd.openxmlformats-officedocument.presentationml.slideLayout+xml"/>
  <Override PartName="/ppt/slideLayouts/slideLayout1684.xml" ContentType="application/vnd.openxmlformats-officedocument.presentationml.slideLayout+xml"/>
  <Override PartName="/ppt/slideLayouts/slideLayout1685.xml" ContentType="application/vnd.openxmlformats-officedocument.presentationml.slideLayout+xml"/>
  <Override PartName="/ppt/slideLayouts/slideLayout1686.xml" ContentType="application/vnd.openxmlformats-officedocument.presentationml.slideLayout+xml"/>
  <Override PartName="/ppt/slideLayouts/slideLayout1687.xml" ContentType="application/vnd.openxmlformats-officedocument.presentationml.slideLayout+xml"/>
  <Override PartName="/ppt/slideLayouts/slideLayout1688.xml" ContentType="application/vnd.openxmlformats-officedocument.presentationml.slideLayout+xml"/>
  <Override PartName="/ppt/slideLayouts/slideLayout1689.xml" ContentType="application/vnd.openxmlformats-officedocument.presentationml.slideLayout+xml"/>
  <Override PartName="/ppt/slideLayouts/slideLayout1690.xml" ContentType="application/vnd.openxmlformats-officedocument.presentationml.slideLayout+xml"/>
  <Override PartName="/ppt/slideLayouts/slideLayout1691.xml" ContentType="application/vnd.openxmlformats-officedocument.presentationml.slideLayout+xml"/>
  <Override PartName="/ppt/slideLayouts/slideLayout1692.xml" ContentType="application/vnd.openxmlformats-officedocument.presentationml.slideLayout+xml"/>
  <Override PartName="/ppt/slideLayouts/slideLayout1693.xml" ContentType="application/vnd.openxmlformats-officedocument.presentationml.slideLayout+xml"/>
  <Override PartName="/ppt/slideLayouts/slideLayout1694.xml" ContentType="application/vnd.openxmlformats-officedocument.presentationml.slideLayout+xml"/>
  <Override PartName="/ppt/slideLayouts/slideLayout1695.xml" ContentType="application/vnd.openxmlformats-officedocument.presentationml.slideLayout+xml"/>
  <Override PartName="/ppt/slideLayouts/slideLayout1696.xml" ContentType="application/vnd.openxmlformats-officedocument.presentationml.slideLayout+xml"/>
  <Override PartName="/ppt/slideLayouts/slideLayout1697.xml" ContentType="application/vnd.openxmlformats-officedocument.presentationml.slideLayout+xml"/>
  <Override PartName="/ppt/slideLayouts/slideLayout1698.xml" ContentType="application/vnd.openxmlformats-officedocument.presentationml.slideLayout+xml"/>
  <Override PartName="/ppt/slideLayouts/slideLayout1699.xml" ContentType="application/vnd.openxmlformats-officedocument.presentationml.slideLayout+xml"/>
  <Override PartName="/ppt/slideLayouts/slideLayout1700.xml" ContentType="application/vnd.openxmlformats-officedocument.presentationml.slideLayout+xml"/>
  <Override PartName="/ppt/slideLayouts/slideLayout1701.xml" ContentType="application/vnd.openxmlformats-officedocument.presentationml.slideLayout+xml"/>
  <Override PartName="/ppt/slideLayouts/slideLayout1702.xml" ContentType="application/vnd.openxmlformats-officedocument.presentationml.slideLayout+xml"/>
  <Override PartName="/ppt/slideLayouts/slideLayout1703.xml" ContentType="application/vnd.openxmlformats-officedocument.presentationml.slideLayout+xml"/>
  <Override PartName="/ppt/slideLayouts/slideLayout1704.xml" ContentType="application/vnd.openxmlformats-officedocument.presentationml.slideLayout+xml"/>
  <Override PartName="/ppt/slideLayouts/slideLayout1705.xml" ContentType="application/vnd.openxmlformats-officedocument.presentationml.slideLayout+xml"/>
  <Override PartName="/ppt/slideLayouts/slideLayout1706.xml" ContentType="application/vnd.openxmlformats-officedocument.presentationml.slideLayout+xml"/>
  <Override PartName="/ppt/slideLayouts/slideLayout1707.xml" ContentType="application/vnd.openxmlformats-officedocument.presentationml.slideLayout+xml"/>
  <Override PartName="/ppt/slideLayouts/slideLayout1708.xml" ContentType="application/vnd.openxmlformats-officedocument.presentationml.slideLayout+xml"/>
  <Override PartName="/ppt/slideLayouts/slideLayout1709.xml" ContentType="application/vnd.openxmlformats-officedocument.presentationml.slideLayout+xml"/>
  <Override PartName="/ppt/slideLayouts/slideLayout1710.xml" ContentType="application/vnd.openxmlformats-officedocument.presentationml.slideLayout+xml"/>
  <Override PartName="/ppt/slideLayouts/slideLayout1711.xml" ContentType="application/vnd.openxmlformats-officedocument.presentationml.slideLayout+xml"/>
  <Override PartName="/ppt/slideLayouts/slideLayout1712.xml" ContentType="application/vnd.openxmlformats-officedocument.presentationml.slideLayout+xml"/>
  <Override PartName="/ppt/slideLayouts/slideLayout1713.xml" ContentType="application/vnd.openxmlformats-officedocument.presentationml.slideLayout+xml"/>
  <Override PartName="/ppt/slideLayouts/slideLayout1714.xml" ContentType="application/vnd.openxmlformats-officedocument.presentationml.slideLayout+xml"/>
  <Override PartName="/ppt/slideLayouts/slideLayout1715.xml" ContentType="application/vnd.openxmlformats-officedocument.presentationml.slideLayout+xml"/>
  <Override PartName="/ppt/slideLayouts/slideLayout1716.xml" ContentType="application/vnd.openxmlformats-officedocument.presentationml.slideLayout+xml"/>
  <Override PartName="/ppt/slideLayouts/slideLayout1717.xml" ContentType="application/vnd.openxmlformats-officedocument.presentationml.slideLayout+xml"/>
  <Override PartName="/ppt/slideLayouts/slideLayout1718.xml" ContentType="application/vnd.openxmlformats-officedocument.presentationml.slideLayout+xml"/>
  <Override PartName="/ppt/slideLayouts/slideLayout1719.xml" ContentType="application/vnd.openxmlformats-officedocument.presentationml.slideLayout+xml"/>
  <Override PartName="/ppt/slideLayouts/slideLayout1720.xml" ContentType="application/vnd.openxmlformats-officedocument.presentationml.slideLayout+xml"/>
  <Override PartName="/ppt/slideLayouts/slideLayout1721.xml" ContentType="application/vnd.openxmlformats-officedocument.presentationml.slideLayout+xml"/>
  <Override PartName="/ppt/slideLayouts/slideLayout1722.xml" ContentType="application/vnd.openxmlformats-officedocument.presentationml.slideLayout+xml"/>
  <Override PartName="/ppt/slideLayouts/slideLayout1723.xml" ContentType="application/vnd.openxmlformats-officedocument.presentationml.slideLayout+xml"/>
  <Override PartName="/ppt/slideLayouts/slideLayout1724.xml" ContentType="application/vnd.openxmlformats-officedocument.presentationml.slideLayout+xml"/>
  <Override PartName="/ppt/slideLayouts/slideLayout1725.xml" ContentType="application/vnd.openxmlformats-officedocument.presentationml.slideLayout+xml"/>
  <Override PartName="/ppt/slideLayouts/slideLayout1726.xml" ContentType="application/vnd.openxmlformats-officedocument.presentationml.slideLayout+xml"/>
  <Override PartName="/ppt/slideLayouts/slideLayout1727.xml" ContentType="application/vnd.openxmlformats-officedocument.presentationml.slideLayout+xml"/>
  <Override PartName="/ppt/slideLayouts/slideLayout1728.xml" ContentType="application/vnd.openxmlformats-officedocument.presentationml.slideLayout+xml"/>
  <Override PartName="/ppt/slideLayouts/slideLayout1729.xml" ContentType="application/vnd.openxmlformats-officedocument.presentationml.slideLayout+xml"/>
  <Override PartName="/ppt/slideLayouts/slideLayout1730.xml" ContentType="application/vnd.openxmlformats-officedocument.presentationml.slideLayout+xml"/>
  <Override PartName="/ppt/slideLayouts/slideLayout1731.xml" ContentType="application/vnd.openxmlformats-officedocument.presentationml.slideLayout+xml"/>
  <Override PartName="/ppt/slideLayouts/slideLayout1732.xml" ContentType="application/vnd.openxmlformats-officedocument.presentationml.slideLayout+xml"/>
  <Override PartName="/ppt/slideLayouts/slideLayout1733.xml" ContentType="application/vnd.openxmlformats-officedocument.presentationml.slideLayout+xml"/>
  <Override PartName="/ppt/slideLayouts/slideLayout1734.xml" ContentType="application/vnd.openxmlformats-officedocument.presentationml.slideLayout+xml"/>
  <Override PartName="/ppt/slideLayouts/slideLayout1735.xml" ContentType="application/vnd.openxmlformats-officedocument.presentationml.slideLayout+xml"/>
  <Override PartName="/ppt/slideLayouts/slideLayout1736.xml" ContentType="application/vnd.openxmlformats-officedocument.presentationml.slideLayout+xml"/>
  <Override PartName="/ppt/slideLayouts/slideLayout1737.xml" ContentType="application/vnd.openxmlformats-officedocument.presentationml.slideLayout+xml"/>
  <Override PartName="/ppt/slideLayouts/slideLayout1738.xml" ContentType="application/vnd.openxmlformats-officedocument.presentationml.slideLayout+xml"/>
  <Override PartName="/ppt/slideLayouts/slideLayout1739.xml" ContentType="application/vnd.openxmlformats-officedocument.presentationml.slideLayout+xml"/>
  <Override PartName="/ppt/slideLayouts/slideLayout1740.xml" ContentType="application/vnd.openxmlformats-officedocument.presentationml.slideLayout+xml"/>
  <Override PartName="/ppt/slideLayouts/slideLayout1741.xml" ContentType="application/vnd.openxmlformats-officedocument.presentationml.slideLayout+xml"/>
  <Override PartName="/ppt/slideLayouts/slideLayout1742.xml" ContentType="application/vnd.openxmlformats-officedocument.presentationml.slideLayout+xml"/>
  <Override PartName="/ppt/slideLayouts/slideLayout1743.xml" ContentType="application/vnd.openxmlformats-officedocument.presentationml.slideLayout+xml"/>
  <Override PartName="/ppt/slideLayouts/slideLayout1744.xml" ContentType="application/vnd.openxmlformats-officedocument.presentationml.slideLayout+xml"/>
  <Override PartName="/ppt/slideLayouts/slideLayout1745.xml" ContentType="application/vnd.openxmlformats-officedocument.presentationml.slideLayout+xml"/>
  <Override PartName="/ppt/slideLayouts/slideLayout1746.xml" ContentType="application/vnd.openxmlformats-officedocument.presentationml.slideLayout+xml"/>
  <Override PartName="/ppt/slideLayouts/slideLayout1747.xml" ContentType="application/vnd.openxmlformats-officedocument.presentationml.slideLayout+xml"/>
  <Override PartName="/ppt/slideLayouts/slideLayout1748.xml" ContentType="application/vnd.openxmlformats-officedocument.presentationml.slideLayout+xml"/>
  <Override PartName="/ppt/slideLayouts/slideLayout1749.xml" ContentType="application/vnd.openxmlformats-officedocument.presentationml.slideLayout+xml"/>
  <Override PartName="/ppt/slideLayouts/slideLayout1750.xml" ContentType="application/vnd.openxmlformats-officedocument.presentationml.slideLayout+xml"/>
  <Override PartName="/ppt/slideLayouts/slideLayout1751.xml" ContentType="application/vnd.openxmlformats-officedocument.presentationml.slideLayout+xml"/>
  <Override PartName="/ppt/slideLayouts/slideLayout1752.xml" ContentType="application/vnd.openxmlformats-officedocument.presentationml.slideLayout+xml"/>
  <Override PartName="/ppt/slideLayouts/slideLayout1753.xml" ContentType="application/vnd.openxmlformats-officedocument.presentationml.slideLayout+xml"/>
  <Override PartName="/ppt/slideLayouts/slideLayout1754.xml" ContentType="application/vnd.openxmlformats-officedocument.presentationml.slideLayout+xml"/>
  <Override PartName="/ppt/slideLayouts/slideLayout1755.xml" ContentType="application/vnd.openxmlformats-officedocument.presentationml.slideLayout+xml"/>
  <Override PartName="/ppt/slideLayouts/slideLayout1756.xml" ContentType="application/vnd.openxmlformats-officedocument.presentationml.slideLayout+xml"/>
  <Override PartName="/ppt/slideLayouts/slideLayout1757.xml" ContentType="application/vnd.openxmlformats-officedocument.presentationml.slideLayout+xml"/>
  <Override PartName="/ppt/slideLayouts/slideLayout1758.xml" ContentType="application/vnd.openxmlformats-officedocument.presentationml.slideLayout+xml"/>
  <Override PartName="/ppt/slideLayouts/slideLayout1759.xml" ContentType="application/vnd.openxmlformats-officedocument.presentationml.slideLayout+xml"/>
  <Override PartName="/ppt/slideLayouts/slideLayout1760.xml" ContentType="application/vnd.openxmlformats-officedocument.presentationml.slideLayout+xml"/>
  <Override PartName="/ppt/slideLayouts/slideLayout1761.xml" ContentType="application/vnd.openxmlformats-officedocument.presentationml.slideLayout+xml"/>
  <Override PartName="/ppt/slideLayouts/slideLayout1762.xml" ContentType="application/vnd.openxmlformats-officedocument.presentationml.slideLayout+xml"/>
  <Override PartName="/ppt/slideLayouts/slideLayout1763.xml" ContentType="application/vnd.openxmlformats-officedocument.presentationml.slideLayout+xml"/>
  <Override PartName="/ppt/slideLayouts/slideLayout1764.xml" ContentType="application/vnd.openxmlformats-officedocument.presentationml.slideLayout+xml"/>
  <Override PartName="/ppt/slideLayouts/slideLayout1765.xml" ContentType="application/vnd.openxmlformats-officedocument.presentationml.slideLayout+xml"/>
  <Override PartName="/ppt/slideLayouts/slideLayout1766.xml" ContentType="application/vnd.openxmlformats-officedocument.presentationml.slideLayout+xml"/>
  <Override PartName="/ppt/slideLayouts/slideLayout1767.xml" ContentType="application/vnd.openxmlformats-officedocument.presentationml.slideLayout+xml"/>
  <Override PartName="/ppt/slideLayouts/slideLayout1768.xml" ContentType="application/vnd.openxmlformats-officedocument.presentationml.slideLayout+xml"/>
  <Override PartName="/ppt/slideLayouts/slideLayout1769.xml" ContentType="application/vnd.openxmlformats-officedocument.presentationml.slideLayout+xml"/>
  <Override PartName="/ppt/slideLayouts/slideLayout1770.xml" ContentType="application/vnd.openxmlformats-officedocument.presentationml.slideLayout+xml"/>
  <Override PartName="/ppt/slideLayouts/slideLayout1771.xml" ContentType="application/vnd.openxmlformats-officedocument.presentationml.slideLayout+xml"/>
  <Override PartName="/ppt/slideLayouts/slideLayout1772.xml" ContentType="application/vnd.openxmlformats-officedocument.presentationml.slideLayout+xml"/>
  <Override PartName="/ppt/slideLayouts/slideLayout1773.xml" ContentType="application/vnd.openxmlformats-officedocument.presentationml.slideLayout+xml"/>
  <Override PartName="/ppt/slideLayouts/slideLayout1774.xml" ContentType="application/vnd.openxmlformats-officedocument.presentationml.slideLayout+xml"/>
  <Override PartName="/ppt/slideLayouts/slideLayout1775.xml" ContentType="application/vnd.openxmlformats-officedocument.presentationml.slideLayout+xml"/>
  <Override PartName="/ppt/slideLayouts/slideLayout1776.xml" ContentType="application/vnd.openxmlformats-officedocument.presentationml.slideLayout+xml"/>
  <Override PartName="/ppt/slideLayouts/slideLayout1777.xml" ContentType="application/vnd.openxmlformats-officedocument.presentationml.slideLayout+xml"/>
  <Override PartName="/ppt/slideLayouts/slideLayout1778.xml" ContentType="application/vnd.openxmlformats-officedocument.presentationml.slideLayout+xml"/>
  <Override PartName="/ppt/slideLayouts/slideLayout1779.xml" ContentType="application/vnd.openxmlformats-officedocument.presentationml.slideLayout+xml"/>
  <Override PartName="/ppt/slideLayouts/slideLayout1780.xml" ContentType="application/vnd.openxmlformats-officedocument.presentationml.slideLayout+xml"/>
  <Override PartName="/ppt/slideLayouts/slideLayout1781.xml" ContentType="application/vnd.openxmlformats-officedocument.presentationml.slideLayout+xml"/>
  <Override PartName="/ppt/slideLayouts/slideLayout1782.xml" ContentType="application/vnd.openxmlformats-officedocument.presentationml.slideLayout+xml"/>
  <Override PartName="/ppt/slideLayouts/slideLayout1783.xml" ContentType="application/vnd.openxmlformats-officedocument.presentationml.slideLayout+xml"/>
  <Override PartName="/ppt/slideLayouts/slideLayout1784.xml" ContentType="application/vnd.openxmlformats-officedocument.presentationml.slideLayout+xml"/>
  <Override PartName="/ppt/slideLayouts/slideLayout1785.xml" ContentType="application/vnd.openxmlformats-officedocument.presentationml.slideLayout+xml"/>
  <Override PartName="/ppt/slideLayouts/slideLayout1786.xml" ContentType="application/vnd.openxmlformats-officedocument.presentationml.slideLayout+xml"/>
  <Override PartName="/ppt/slideLayouts/slideLayout1787.xml" ContentType="application/vnd.openxmlformats-officedocument.presentationml.slideLayout+xml"/>
  <Override PartName="/ppt/slideLayouts/slideLayout1788.xml" ContentType="application/vnd.openxmlformats-officedocument.presentationml.slideLayout+xml"/>
  <Override PartName="/ppt/slideLayouts/slideLayout1789.xml" ContentType="application/vnd.openxmlformats-officedocument.presentationml.slideLayout+xml"/>
  <Override PartName="/ppt/slideLayouts/slideLayout1790.xml" ContentType="application/vnd.openxmlformats-officedocument.presentationml.slideLayout+xml"/>
  <Override PartName="/ppt/slideLayouts/slideLayout1791.xml" ContentType="application/vnd.openxmlformats-officedocument.presentationml.slideLayout+xml"/>
  <Override PartName="/ppt/slideLayouts/slideLayout1792.xml" ContentType="application/vnd.openxmlformats-officedocument.presentationml.slideLayout+xml"/>
  <Override PartName="/ppt/slideLayouts/slideLayout1793.xml" ContentType="application/vnd.openxmlformats-officedocument.presentationml.slideLayout+xml"/>
  <Override PartName="/ppt/slideLayouts/slideLayout1794.xml" ContentType="application/vnd.openxmlformats-officedocument.presentationml.slideLayout+xml"/>
  <Override PartName="/ppt/slideLayouts/slideLayout1795.xml" ContentType="application/vnd.openxmlformats-officedocument.presentationml.slideLayout+xml"/>
  <Override PartName="/ppt/slideLayouts/slideLayout1796.xml" ContentType="application/vnd.openxmlformats-officedocument.presentationml.slideLayout+xml"/>
  <Override PartName="/ppt/slideLayouts/slideLayout1797.xml" ContentType="application/vnd.openxmlformats-officedocument.presentationml.slideLayout+xml"/>
  <Override PartName="/ppt/slideLayouts/slideLayout1798.xml" ContentType="application/vnd.openxmlformats-officedocument.presentationml.slideLayout+xml"/>
  <Override PartName="/ppt/slideLayouts/slideLayout1799.xml" ContentType="application/vnd.openxmlformats-officedocument.presentationml.slideLayout+xml"/>
  <Override PartName="/ppt/slideLayouts/slideLayout1800.xml" ContentType="application/vnd.openxmlformats-officedocument.presentationml.slideLayout+xml"/>
  <Override PartName="/ppt/slideLayouts/slideLayout1801.xml" ContentType="application/vnd.openxmlformats-officedocument.presentationml.slideLayout+xml"/>
  <Override PartName="/ppt/slideLayouts/slideLayout1802.xml" ContentType="application/vnd.openxmlformats-officedocument.presentationml.slideLayout+xml"/>
  <Override PartName="/ppt/slideLayouts/slideLayout1803.xml" ContentType="application/vnd.openxmlformats-officedocument.presentationml.slideLayout+xml"/>
  <Override PartName="/ppt/slideLayouts/slideLayout1804.xml" ContentType="application/vnd.openxmlformats-officedocument.presentationml.slideLayout+xml"/>
  <Override PartName="/ppt/slideLayouts/slideLayout1805.xml" ContentType="application/vnd.openxmlformats-officedocument.presentationml.slideLayout+xml"/>
  <Override PartName="/ppt/slideLayouts/slideLayout1806.xml" ContentType="application/vnd.openxmlformats-officedocument.presentationml.slideLayout+xml"/>
  <Override PartName="/ppt/slideLayouts/slideLayout1807.xml" ContentType="application/vnd.openxmlformats-officedocument.presentationml.slideLayout+xml"/>
  <Override PartName="/ppt/slideLayouts/slideLayout1808.xml" ContentType="application/vnd.openxmlformats-officedocument.presentationml.slideLayout+xml"/>
  <Override PartName="/ppt/slideLayouts/slideLayout1809.xml" ContentType="application/vnd.openxmlformats-officedocument.presentationml.slideLayout+xml"/>
  <Override PartName="/ppt/slideLayouts/slideLayout1810.xml" ContentType="application/vnd.openxmlformats-officedocument.presentationml.slideLayout+xml"/>
  <Override PartName="/ppt/slideLayouts/slideLayout1811.xml" ContentType="application/vnd.openxmlformats-officedocument.presentationml.slideLayout+xml"/>
  <Override PartName="/ppt/slideLayouts/slideLayout1812.xml" ContentType="application/vnd.openxmlformats-officedocument.presentationml.slideLayout+xml"/>
  <Override PartName="/ppt/slideLayouts/slideLayout1813.xml" ContentType="application/vnd.openxmlformats-officedocument.presentationml.slideLayout+xml"/>
  <Override PartName="/ppt/slideLayouts/slideLayout1814.xml" ContentType="application/vnd.openxmlformats-officedocument.presentationml.slideLayout+xml"/>
  <Override PartName="/ppt/slideLayouts/slideLayout1815.xml" ContentType="application/vnd.openxmlformats-officedocument.presentationml.slideLayout+xml"/>
  <Override PartName="/ppt/slideLayouts/slideLayout1816.xml" ContentType="application/vnd.openxmlformats-officedocument.presentationml.slideLayout+xml"/>
  <Override PartName="/ppt/slideLayouts/slideLayout1817.xml" ContentType="application/vnd.openxmlformats-officedocument.presentationml.slideLayout+xml"/>
  <Override PartName="/ppt/slideLayouts/slideLayout1818.xml" ContentType="application/vnd.openxmlformats-officedocument.presentationml.slideLayout+xml"/>
  <Override PartName="/ppt/slideLayouts/slideLayout1819.xml" ContentType="application/vnd.openxmlformats-officedocument.presentationml.slideLayout+xml"/>
  <Override PartName="/ppt/slideLayouts/slideLayout1820.xml" ContentType="application/vnd.openxmlformats-officedocument.presentationml.slideLayout+xml"/>
  <Override PartName="/ppt/slideLayouts/slideLayout1821.xml" ContentType="application/vnd.openxmlformats-officedocument.presentationml.slideLayout+xml"/>
  <Override PartName="/ppt/slideLayouts/slideLayout1822.xml" ContentType="application/vnd.openxmlformats-officedocument.presentationml.slideLayout+xml"/>
  <Override PartName="/ppt/slideLayouts/slideLayout1823.xml" ContentType="application/vnd.openxmlformats-officedocument.presentationml.slideLayout+xml"/>
  <Override PartName="/ppt/slideLayouts/slideLayout1824.xml" ContentType="application/vnd.openxmlformats-officedocument.presentationml.slideLayout+xml"/>
  <Override PartName="/ppt/slideLayouts/slideLayout1825.xml" ContentType="application/vnd.openxmlformats-officedocument.presentationml.slideLayout+xml"/>
  <Override PartName="/ppt/slideLayouts/slideLayout1826.xml" ContentType="application/vnd.openxmlformats-officedocument.presentationml.slideLayout+xml"/>
  <Override PartName="/ppt/slideLayouts/slideLayout1827.xml" ContentType="application/vnd.openxmlformats-officedocument.presentationml.slideLayout+xml"/>
  <Override PartName="/ppt/slideLayouts/slideLayout1828.xml" ContentType="application/vnd.openxmlformats-officedocument.presentationml.slideLayout+xml"/>
  <Override PartName="/ppt/slideLayouts/slideLayout1829.xml" ContentType="application/vnd.openxmlformats-officedocument.presentationml.slideLayout+xml"/>
  <Override PartName="/ppt/slideLayouts/slideLayout1830.xml" ContentType="application/vnd.openxmlformats-officedocument.presentationml.slideLayout+xml"/>
  <Override PartName="/ppt/slideLayouts/slideLayout1831.xml" ContentType="application/vnd.openxmlformats-officedocument.presentationml.slideLayout+xml"/>
  <Override PartName="/ppt/slideLayouts/slideLayout1832.xml" ContentType="application/vnd.openxmlformats-officedocument.presentationml.slideLayout+xml"/>
  <Override PartName="/ppt/slideLayouts/slideLayout1833.xml" ContentType="application/vnd.openxmlformats-officedocument.presentationml.slideLayout+xml"/>
  <Override PartName="/ppt/slideLayouts/slideLayout1834.xml" ContentType="application/vnd.openxmlformats-officedocument.presentationml.slideLayout+xml"/>
  <Override PartName="/ppt/slideLayouts/slideLayout1835.xml" ContentType="application/vnd.openxmlformats-officedocument.presentationml.slideLayout+xml"/>
  <Override PartName="/ppt/slideLayouts/slideLayout1836.xml" ContentType="application/vnd.openxmlformats-officedocument.presentationml.slideLayout+xml"/>
  <Override PartName="/ppt/slideLayouts/slideLayout1837.xml" ContentType="application/vnd.openxmlformats-officedocument.presentationml.slideLayout+xml"/>
  <Override PartName="/ppt/slideLayouts/slideLayout1838.xml" ContentType="application/vnd.openxmlformats-officedocument.presentationml.slideLayout+xml"/>
  <Override PartName="/ppt/slideLayouts/slideLayout1839.xml" ContentType="application/vnd.openxmlformats-officedocument.presentationml.slideLayout+xml"/>
  <Override PartName="/ppt/slideLayouts/slideLayout1840.xml" ContentType="application/vnd.openxmlformats-officedocument.presentationml.slideLayout+xml"/>
  <Override PartName="/ppt/slideLayouts/slideLayout1841.xml" ContentType="application/vnd.openxmlformats-officedocument.presentationml.slideLayout+xml"/>
  <Override PartName="/ppt/slideLayouts/slideLayout1842.xml" ContentType="application/vnd.openxmlformats-officedocument.presentationml.slideLayout+xml"/>
  <Override PartName="/ppt/slideLayouts/slideLayout1843.xml" ContentType="application/vnd.openxmlformats-officedocument.presentationml.slideLayout+xml"/>
  <Override PartName="/ppt/slideLayouts/slideLayout1844.xml" ContentType="application/vnd.openxmlformats-officedocument.presentationml.slideLayout+xml"/>
  <Override PartName="/ppt/slideLayouts/slideLayout1845.xml" ContentType="application/vnd.openxmlformats-officedocument.presentationml.slideLayout+xml"/>
  <Override PartName="/ppt/slideLayouts/slideLayout1846.xml" ContentType="application/vnd.openxmlformats-officedocument.presentationml.slideLayout+xml"/>
  <Override PartName="/ppt/slideLayouts/slideLayout1847.xml" ContentType="application/vnd.openxmlformats-officedocument.presentationml.slideLayout+xml"/>
  <Override PartName="/ppt/slideLayouts/slideLayout1848.xml" ContentType="application/vnd.openxmlformats-officedocument.presentationml.slideLayout+xml"/>
  <Override PartName="/ppt/slideLayouts/slideLayout1849.xml" ContentType="application/vnd.openxmlformats-officedocument.presentationml.slideLayout+xml"/>
  <Override PartName="/ppt/slideLayouts/slideLayout1850.xml" ContentType="application/vnd.openxmlformats-officedocument.presentationml.slideLayout+xml"/>
  <Override PartName="/ppt/slideLayouts/slideLayout1851.xml" ContentType="application/vnd.openxmlformats-officedocument.presentationml.slideLayout+xml"/>
  <Override PartName="/ppt/slideLayouts/slideLayout1852.xml" ContentType="application/vnd.openxmlformats-officedocument.presentationml.slideLayout+xml"/>
  <Override PartName="/ppt/slideLayouts/slideLayout1853.xml" ContentType="application/vnd.openxmlformats-officedocument.presentationml.slideLayout+xml"/>
  <Override PartName="/ppt/slideLayouts/slideLayout1854.xml" ContentType="application/vnd.openxmlformats-officedocument.presentationml.slideLayout+xml"/>
  <Override PartName="/ppt/slideLayouts/slideLayout1855.xml" ContentType="application/vnd.openxmlformats-officedocument.presentationml.slideLayout+xml"/>
  <Override PartName="/ppt/slideLayouts/slideLayout1856.xml" ContentType="application/vnd.openxmlformats-officedocument.presentationml.slideLayout+xml"/>
  <Override PartName="/ppt/slideLayouts/slideLayout1857.xml" ContentType="application/vnd.openxmlformats-officedocument.presentationml.slideLayout+xml"/>
  <Override PartName="/ppt/slideLayouts/slideLayout1858.xml" ContentType="application/vnd.openxmlformats-officedocument.presentationml.slideLayout+xml"/>
  <Override PartName="/ppt/slideLayouts/slideLayout1859.xml" ContentType="application/vnd.openxmlformats-officedocument.presentationml.slideLayout+xml"/>
  <Override PartName="/ppt/slideLayouts/slideLayout1860.xml" ContentType="application/vnd.openxmlformats-officedocument.presentationml.slideLayout+xml"/>
  <Override PartName="/ppt/slideLayouts/slideLayout1861.xml" ContentType="application/vnd.openxmlformats-officedocument.presentationml.slideLayout+xml"/>
  <Override PartName="/ppt/slideLayouts/slideLayout1862.xml" ContentType="application/vnd.openxmlformats-officedocument.presentationml.slideLayout+xml"/>
  <Override PartName="/ppt/slideLayouts/slideLayout1863.xml" ContentType="application/vnd.openxmlformats-officedocument.presentationml.slideLayout+xml"/>
  <Override PartName="/ppt/slideLayouts/slideLayout1864.xml" ContentType="application/vnd.openxmlformats-officedocument.presentationml.slideLayout+xml"/>
  <Override PartName="/ppt/slideLayouts/slideLayout1865.xml" ContentType="application/vnd.openxmlformats-officedocument.presentationml.slideLayout+xml"/>
  <Override PartName="/ppt/slideLayouts/slideLayout1866.xml" ContentType="application/vnd.openxmlformats-officedocument.presentationml.slideLayout+xml"/>
  <Override PartName="/ppt/slideLayouts/slideLayout1867.xml" ContentType="application/vnd.openxmlformats-officedocument.presentationml.slideLayout+xml"/>
  <Override PartName="/ppt/slideLayouts/slideLayout1868.xml" ContentType="application/vnd.openxmlformats-officedocument.presentationml.slideLayout+xml"/>
  <Override PartName="/ppt/slideLayouts/slideLayout1869.xml" ContentType="application/vnd.openxmlformats-officedocument.presentationml.slideLayout+xml"/>
  <Override PartName="/ppt/slideLayouts/slideLayout1870.xml" ContentType="application/vnd.openxmlformats-officedocument.presentationml.slideLayout+xml"/>
  <Override PartName="/ppt/slideLayouts/slideLayout1871.xml" ContentType="application/vnd.openxmlformats-officedocument.presentationml.slideLayout+xml"/>
  <Override PartName="/ppt/slideLayouts/slideLayout1872.xml" ContentType="application/vnd.openxmlformats-officedocument.presentationml.slideLayout+xml"/>
  <Override PartName="/ppt/slideLayouts/slideLayout1873.xml" ContentType="application/vnd.openxmlformats-officedocument.presentationml.slideLayout+xml"/>
  <Override PartName="/ppt/slideLayouts/slideLayout1874.xml" ContentType="application/vnd.openxmlformats-officedocument.presentationml.slideLayout+xml"/>
  <Override PartName="/ppt/slideLayouts/slideLayout1875.xml" ContentType="application/vnd.openxmlformats-officedocument.presentationml.slideLayout+xml"/>
  <Override PartName="/ppt/slideLayouts/slideLayout1876.xml" ContentType="application/vnd.openxmlformats-officedocument.presentationml.slideLayout+xml"/>
  <Override PartName="/ppt/slideLayouts/slideLayout1877.xml" ContentType="application/vnd.openxmlformats-officedocument.presentationml.slideLayout+xml"/>
  <Override PartName="/ppt/slideLayouts/slideLayout1878.xml" ContentType="application/vnd.openxmlformats-officedocument.presentationml.slideLayout+xml"/>
  <Override PartName="/ppt/slideLayouts/slideLayout1879.xml" ContentType="application/vnd.openxmlformats-officedocument.presentationml.slideLayout+xml"/>
  <Override PartName="/ppt/slideLayouts/slideLayout1880.xml" ContentType="application/vnd.openxmlformats-officedocument.presentationml.slideLayout+xml"/>
  <Override PartName="/ppt/slideLayouts/slideLayout1881.xml" ContentType="application/vnd.openxmlformats-officedocument.presentationml.slideLayout+xml"/>
  <Override PartName="/ppt/slideLayouts/slideLayout1882.xml" ContentType="application/vnd.openxmlformats-officedocument.presentationml.slideLayout+xml"/>
  <Override PartName="/ppt/slideLayouts/slideLayout1883.xml" ContentType="application/vnd.openxmlformats-officedocument.presentationml.slideLayout+xml"/>
  <Override PartName="/ppt/slideLayouts/slideLayout1884.xml" ContentType="application/vnd.openxmlformats-officedocument.presentationml.slideLayout+xml"/>
  <Override PartName="/ppt/slideLayouts/slideLayout1885.xml" ContentType="application/vnd.openxmlformats-officedocument.presentationml.slideLayout+xml"/>
  <Override PartName="/ppt/slideLayouts/slideLayout1886.xml" ContentType="application/vnd.openxmlformats-officedocument.presentationml.slideLayout+xml"/>
  <Override PartName="/ppt/slideLayouts/slideLayout1887.xml" ContentType="application/vnd.openxmlformats-officedocument.presentationml.slideLayout+xml"/>
  <Override PartName="/ppt/slideLayouts/slideLayout1888.xml" ContentType="application/vnd.openxmlformats-officedocument.presentationml.slideLayout+xml"/>
  <Override PartName="/ppt/slideLayouts/slideLayout1889.xml" ContentType="application/vnd.openxmlformats-officedocument.presentationml.slideLayout+xml"/>
  <Override PartName="/ppt/slideLayouts/slideLayout1890.xml" ContentType="application/vnd.openxmlformats-officedocument.presentationml.slideLayout+xml"/>
  <Override PartName="/ppt/slideLayouts/slideLayout1891.xml" ContentType="application/vnd.openxmlformats-officedocument.presentationml.slideLayout+xml"/>
  <Override PartName="/ppt/slideLayouts/slideLayout1892.xml" ContentType="application/vnd.openxmlformats-officedocument.presentationml.slideLayout+xml"/>
  <Override PartName="/ppt/slideLayouts/slideLayout1893.xml" ContentType="application/vnd.openxmlformats-officedocument.presentationml.slideLayout+xml"/>
  <Override PartName="/ppt/slideLayouts/slideLayout1894.xml" ContentType="application/vnd.openxmlformats-officedocument.presentationml.slideLayout+xml"/>
  <Override PartName="/ppt/slideLayouts/slideLayout1895.xml" ContentType="application/vnd.openxmlformats-officedocument.presentationml.slideLayout+xml"/>
  <Override PartName="/ppt/slideLayouts/slideLayout1896.xml" ContentType="application/vnd.openxmlformats-officedocument.presentationml.slideLayout+xml"/>
  <Override PartName="/ppt/slideLayouts/slideLayout1897.xml" ContentType="application/vnd.openxmlformats-officedocument.presentationml.slideLayout+xml"/>
  <Override PartName="/ppt/slideLayouts/slideLayout1898.xml" ContentType="application/vnd.openxmlformats-officedocument.presentationml.slideLayout+xml"/>
  <Override PartName="/ppt/slideLayouts/slideLayout1899.xml" ContentType="application/vnd.openxmlformats-officedocument.presentationml.slideLayout+xml"/>
  <Override PartName="/ppt/slideLayouts/slideLayout1900.xml" ContentType="application/vnd.openxmlformats-officedocument.presentationml.slideLayout+xml"/>
  <Override PartName="/ppt/slideLayouts/slideLayout1901.xml" ContentType="application/vnd.openxmlformats-officedocument.presentationml.slideLayout+xml"/>
  <Override PartName="/ppt/slideLayouts/slideLayout1902.xml" ContentType="application/vnd.openxmlformats-officedocument.presentationml.slideLayout+xml"/>
  <Override PartName="/ppt/slideLayouts/slideLayout1903.xml" ContentType="application/vnd.openxmlformats-officedocument.presentationml.slideLayout+xml"/>
  <Override PartName="/ppt/slideLayouts/slideLayout1904.xml" ContentType="application/vnd.openxmlformats-officedocument.presentationml.slideLayout+xml"/>
  <Override PartName="/ppt/slideLayouts/slideLayout1905.xml" ContentType="application/vnd.openxmlformats-officedocument.presentationml.slideLayout+xml"/>
  <Override PartName="/ppt/slideLayouts/slideLayout1906.xml" ContentType="application/vnd.openxmlformats-officedocument.presentationml.slideLayout+xml"/>
  <Override PartName="/ppt/slideLayouts/slideLayout1907.xml" ContentType="application/vnd.openxmlformats-officedocument.presentationml.slideLayout+xml"/>
  <Override PartName="/ppt/slideLayouts/slideLayout1908.xml" ContentType="application/vnd.openxmlformats-officedocument.presentationml.slideLayout+xml"/>
  <Override PartName="/ppt/slideLayouts/slideLayout1909.xml" ContentType="application/vnd.openxmlformats-officedocument.presentationml.slideLayout+xml"/>
  <Override PartName="/ppt/slideLayouts/slideLayout1910.xml" ContentType="application/vnd.openxmlformats-officedocument.presentationml.slideLayout+xml"/>
  <Override PartName="/ppt/slideLayouts/slideLayout1911.xml" ContentType="application/vnd.openxmlformats-officedocument.presentationml.slideLayout+xml"/>
  <Override PartName="/ppt/slideLayouts/slideLayout1912.xml" ContentType="application/vnd.openxmlformats-officedocument.presentationml.slideLayout+xml"/>
  <Override PartName="/ppt/slideLayouts/slideLayout1913.xml" ContentType="application/vnd.openxmlformats-officedocument.presentationml.slideLayout+xml"/>
  <Override PartName="/ppt/slideLayouts/slideLayout1914.xml" ContentType="application/vnd.openxmlformats-officedocument.presentationml.slideLayout+xml"/>
  <Override PartName="/ppt/slideLayouts/slideLayout1915.xml" ContentType="application/vnd.openxmlformats-officedocument.presentationml.slideLayout+xml"/>
  <Override PartName="/ppt/slideLayouts/slideLayout1916.xml" ContentType="application/vnd.openxmlformats-officedocument.presentationml.slideLayout+xml"/>
  <Override PartName="/ppt/slideLayouts/slideLayout1917.xml" ContentType="application/vnd.openxmlformats-officedocument.presentationml.slideLayout+xml"/>
  <Override PartName="/ppt/slideLayouts/slideLayout1918.xml" ContentType="application/vnd.openxmlformats-officedocument.presentationml.slideLayout+xml"/>
  <Override PartName="/ppt/slideLayouts/slideLayout1919.xml" ContentType="application/vnd.openxmlformats-officedocument.presentationml.slideLayout+xml"/>
  <Override PartName="/ppt/slideLayouts/slideLayout1920.xml" ContentType="application/vnd.openxmlformats-officedocument.presentationml.slideLayout+xml"/>
  <Override PartName="/ppt/slideLayouts/slideLayout1921.xml" ContentType="application/vnd.openxmlformats-officedocument.presentationml.slideLayout+xml"/>
  <Override PartName="/ppt/slideLayouts/slideLayout1922.xml" ContentType="application/vnd.openxmlformats-officedocument.presentationml.slideLayout+xml"/>
  <Override PartName="/ppt/slideLayouts/slideLayout1923.xml" ContentType="application/vnd.openxmlformats-officedocument.presentationml.slideLayout+xml"/>
  <Override PartName="/ppt/slideLayouts/slideLayout1924.xml" ContentType="application/vnd.openxmlformats-officedocument.presentationml.slideLayout+xml"/>
  <Override PartName="/ppt/slideLayouts/slideLayout1925.xml" ContentType="application/vnd.openxmlformats-officedocument.presentationml.slideLayout+xml"/>
  <Override PartName="/ppt/slideLayouts/slideLayout1926.xml" ContentType="application/vnd.openxmlformats-officedocument.presentationml.slideLayout+xml"/>
  <Override PartName="/ppt/slideLayouts/slideLayout1927.xml" ContentType="application/vnd.openxmlformats-officedocument.presentationml.slideLayout+xml"/>
  <Override PartName="/ppt/slideLayouts/slideLayout1928.xml" ContentType="application/vnd.openxmlformats-officedocument.presentationml.slideLayout+xml"/>
  <Override PartName="/ppt/slideLayouts/slideLayout1929.xml" ContentType="application/vnd.openxmlformats-officedocument.presentationml.slideLayout+xml"/>
  <Override PartName="/ppt/slideLayouts/slideLayout1930.xml" ContentType="application/vnd.openxmlformats-officedocument.presentationml.slideLayout+xml"/>
  <Override PartName="/ppt/slideLayouts/slideLayout1931.xml" ContentType="application/vnd.openxmlformats-officedocument.presentationml.slideLayout+xml"/>
  <Override PartName="/ppt/slideLayouts/slideLayout1932.xml" ContentType="application/vnd.openxmlformats-officedocument.presentationml.slideLayout+xml"/>
  <Override PartName="/ppt/slideLayouts/slideLayout1933.xml" ContentType="application/vnd.openxmlformats-officedocument.presentationml.slideLayout+xml"/>
  <Override PartName="/ppt/slideLayouts/slideLayout1934.xml" ContentType="application/vnd.openxmlformats-officedocument.presentationml.slideLayout+xml"/>
  <Override PartName="/ppt/slideLayouts/slideLayout1935.xml" ContentType="application/vnd.openxmlformats-officedocument.presentationml.slideLayout+xml"/>
  <Override PartName="/ppt/slideLayouts/slideLayout1936.xml" ContentType="application/vnd.openxmlformats-officedocument.presentationml.slideLayout+xml"/>
  <Override PartName="/ppt/slideLayouts/slideLayout1937.xml" ContentType="application/vnd.openxmlformats-officedocument.presentationml.slideLayout+xml"/>
  <Override PartName="/ppt/slideLayouts/slideLayout1938.xml" ContentType="application/vnd.openxmlformats-officedocument.presentationml.slideLayout+xml"/>
  <Override PartName="/ppt/slideLayouts/slideLayout1939.xml" ContentType="application/vnd.openxmlformats-officedocument.presentationml.slideLayout+xml"/>
  <Override PartName="/ppt/slideLayouts/slideLayout1940.xml" ContentType="application/vnd.openxmlformats-officedocument.presentationml.slideLayout+xml"/>
  <Override PartName="/ppt/slideLayouts/slideLayout1941.xml" ContentType="application/vnd.openxmlformats-officedocument.presentationml.slideLayout+xml"/>
  <Override PartName="/ppt/slideLayouts/slideLayout1942.xml" ContentType="application/vnd.openxmlformats-officedocument.presentationml.slideLayout+xml"/>
  <Override PartName="/ppt/slideLayouts/slideLayout1943.xml" ContentType="application/vnd.openxmlformats-officedocument.presentationml.slideLayout+xml"/>
  <Override PartName="/ppt/slideLayouts/slideLayout1944.xml" ContentType="application/vnd.openxmlformats-officedocument.presentationml.slideLayout+xml"/>
  <Override PartName="/ppt/slideLayouts/slideLayout1945.xml" ContentType="application/vnd.openxmlformats-officedocument.presentationml.slideLayout+xml"/>
  <Override PartName="/ppt/slideLayouts/slideLayout1946.xml" ContentType="application/vnd.openxmlformats-officedocument.presentationml.slideLayout+xml"/>
  <Override PartName="/ppt/slideLayouts/slideLayout1947.xml" ContentType="application/vnd.openxmlformats-officedocument.presentationml.slideLayout+xml"/>
  <Override PartName="/ppt/slideLayouts/slideLayout1948.xml" ContentType="application/vnd.openxmlformats-officedocument.presentationml.slideLayout+xml"/>
  <Override PartName="/ppt/slideLayouts/slideLayout1949.xml" ContentType="application/vnd.openxmlformats-officedocument.presentationml.slideLayout+xml"/>
  <Override PartName="/ppt/slideLayouts/slideLayout1950.xml" ContentType="application/vnd.openxmlformats-officedocument.presentationml.slideLayout+xml"/>
  <Override PartName="/ppt/slideLayouts/slideLayout1951.xml" ContentType="application/vnd.openxmlformats-officedocument.presentationml.slideLayout+xml"/>
  <Override PartName="/ppt/slideLayouts/slideLayout1952.xml" ContentType="application/vnd.openxmlformats-officedocument.presentationml.slideLayout+xml"/>
  <Override PartName="/ppt/slideLayouts/slideLayout1953.xml" ContentType="application/vnd.openxmlformats-officedocument.presentationml.slideLayout+xml"/>
  <Override PartName="/ppt/slideLayouts/slideLayout1954.xml" ContentType="application/vnd.openxmlformats-officedocument.presentationml.slideLayout+xml"/>
  <Override PartName="/ppt/slideLayouts/slideLayout1955.xml" ContentType="application/vnd.openxmlformats-officedocument.presentationml.slideLayout+xml"/>
  <Override PartName="/ppt/slideLayouts/slideLayout1956.xml" ContentType="application/vnd.openxmlformats-officedocument.presentationml.slideLayout+xml"/>
  <Override PartName="/ppt/slideLayouts/slideLayout1957.xml" ContentType="application/vnd.openxmlformats-officedocument.presentationml.slideLayout+xml"/>
  <Override PartName="/ppt/slideLayouts/slideLayout1958.xml" ContentType="application/vnd.openxmlformats-officedocument.presentationml.slideLayout+xml"/>
  <Override PartName="/ppt/slideLayouts/slideLayout1959.xml" ContentType="application/vnd.openxmlformats-officedocument.presentationml.slideLayout+xml"/>
  <Override PartName="/ppt/slideLayouts/slideLayout1960.xml" ContentType="application/vnd.openxmlformats-officedocument.presentationml.slideLayout+xml"/>
  <Override PartName="/ppt/slideLayouts/slideLayout1961.xml" ContentType="application/vnd.openxmlformats-officedocument.presentationml.slideLayout+xml"/>
  <Override PartName="/ppt/slideLayouts/slideLayout1962.xml" ContentType="application/vnd.openxmlformats-officedocument.presentationml.slideLayout+xml"/>
  <Override PartName="/ppt/slideLayouts/slideLayout1963.xml" ContentType="application/vnd.openxmlformats-officedocument.presentationml.slideLayout+xml"/>
  <Override PartName="/ppt/slideLayouts/slideLayout1964.xml" ContentType="application/vnd.openxmlformats-officedocument.presentationml.slideLayout+xml"/>
  <Override PartName="/ppt/slideLayouts/slideLayout1965.xml" ContentType="application/vnd.openxmlformats-officedocument.presentationml.slideLayout+xml"/>
  <Override PartName="/ppt/slideLayouts/slideLayout1966.xml" ContentType="application/vnd.openxmlformats-officedocument.presentationml.slideLayout+xml"/>
  <Override PartName="/ppt/slideLayouts/slideLayout1967.xml" ContentType="application/vnd.openxmlformats-officedocument.presentationml.slideLayout+xml"/>
  <Override PartName="/ppt/slideLayouts/slideLayout1968.xml" ContentType="application/vnd.openxmlformats-officedocument.presentationml.slideLayout+xml"/>
  <Override PartName="/ppt/slideLayouts/slideLayout1969.xml" ContentType="application/vnd.openxmlformats-officedocument.presentationml.slideLayout+xml"/>
  <Override PartName="/ppt/slideLayouts/slideLayout1970.xml" ContentType="application/vnd.openxmlformats-officedocument.presentationml.slideLayout+xml"/>
  <Override PartName="/ppt/slideLayouts/slideLayout1971.xml" ContentType="application/vnd.openxmlformats-officedocument.presentationml.slideLayout+xml"/>
  <Override PartName="/ppt/slideLayouts/slideLayout1972.xml" ContentType="application/vnd.openxmlformats-officedocument.presentationml.slideLayout+xml"/>
  <Override PartName="/ppt/slideLayouts/slideLayout1973.xml" ContentType="application/vnd.openxmlformats-officedocument.presentationml.slideLayout+xml"/>
  <Override PartName="/ppt/slideLayouts/slideLayout1974.xml" ContentType="application/vnd.openxmlformats-officedocument.presentationml.slideLayout+xml"/>
  <Override PartName="/ppt/slideLayouts/slideLayout1975.xml" ContentType="application/vnd.openxmlformats-officedocument.presentationml.slideLayout+xml"/>
  <Override PartName="/ppt/slideLayouts/slideLayout1976.xml" ContentType="application/vnd.openxmlformats-officedocument.presentationml.slideLayout+xml"/>
  <Override PartName="/ppt/slideLayouts/slideLayout1977.xml" ContentType="application/vnd.openxmlformats-officedocument.presentationml.slideLayout+xml"/>
  <Override PartName="/ppt/slideLayouts/slideLayout1978.xml" ContentType="application/vnd.openxmlformats-officedocument.presentationml.slideLayout+xml"/>
  <Override PartName="/ppt/slideLayouts/slideLayout1979.xml" ContentType="application/vnd.openxmlformats-officedocument.presentationml.slideLayout+xml"/>
  <Override PartName="/ppt/slideLayouts/slideLayout1980.xml" ContentType="application/vnd.openxmlformats-officedocument.presentationml.slideLayout+xml"/>
  <Override PartName="/ppt/slideLayouts/slideLayout1981.xml" ContentType="application/vnd.openxmlformats-officedocument.presentationml.slideLayout+xml"/>
  <Override PartName="/ppt/slideLayouts/slideLayout1982.xml" ContentType="application/vnd.openxmlformats-officedocument.presentationml.slideLayout+xml"/>
  <Override PartName="/ppt/slideLayouts/slideLayout1983.xml" ContentType="application/vnd.openxmlformats-officedocument.presentationml.slideLayout+xml"/>
  <Override PartName="/ppt/slideLayouts/slideLayout1984.xml" ContentType="application/vnd.openxmlformats-officedocument.presentationml.slideLayout+xml"/>
  <Override PartName="/ppt/slideLayouts/slideLayout1985.xml" ContentType="application/vnd.openxmlformats-officedocument.presentationml.slideLayout+xml"/>
  <Override PartName="/ppt/slideLayouts/slideLayout1986.xml" ContentType="application/vnd.openxmlformats-officedocument.presentationml.slideLayout+xml"/>
  <Override PartName="/ppt/slideLayouts/slideLayout1987.xml" ContentType="application/vnd.openxmlformats-officedocument.presentationml.slideLayout+xml"/>
  <Override PartName="/ppt/slideLayouts/slideLayout1988.xml" ContentType="application/vnd.openxmlformats-officedocument.presentationml.slideLayout+xml"/>
  <Override PartName="/ppt/slideLayouts/slideLayout1989.xml" ContentType="application/vnd.openxmlformats-officedocument.presentationml.slideLayout+xml"/>
  <Override PartName="/ppt/slideLayouts/slideLayout1990.xml" ContentType="application/vnd.openxmlformats-officedocument.presentationml.slideLayout+xml"/>
  <Override PartName="/ppt/slideLayouts/slideLayout1991.xml" ContentType="application/vnd.openxmlformats-officedocument.presentationml.slideLayout+xml"/>
  <Override PartName="/ppt/slideLayouts/slideLayout1992.xml" ContentType="application/vnd.openxmlformats-officedocument.presentationml.slideLayout+xml"/>
  <Override PartName="/ppt/slideLayouts/slideLayout1993.xml" ContentType="application/vnd.openxmlformats-officedocument.presentationml.slideLayout+xml"/>
  <Override PartName="/ppt/slideLayouts/slideLayout1994.xml" ContentType="application/vnd.openxmlformats-officedocument.presentationml.slideLayout+xml"/>
  <Override PartName="/ppt/slideLayouts/slideLayout1995.xml" ContentType="application/vnd.openxmlformats-officedocument.presentationml.slideLayout+xml"/>
  <Override PartName="/ppt/slideLayouts/slideLayout1996.xml" ContentType="application/vnd.openxmlformats-officedocument.presentationml.slideLayout+xml"/>
  <Override PartName="/ppt/slideLayouts/slideLayout1997.xml" ContentType="application/vnd.openxmlformats-officedocument.presentationml.slideLayout+xml"/>
  <Override PartName="/ppt/slideLayouts/slideLayout1998.xml" ContentType="application/vnd.openxmlformats-officedocument.presentationml.slideLayout+xml"/>
  <Override PartName="/ppt/slideLayouts/slideLayout1999.xml" ContentType="application/vnd.openxmlformats-officedocument.presentationml.slideLayout+xml"/>
  <Override PartName="/ppt/slideLayouts/slideLayout2000.xml" ContentType="application/vnd.openxmlformats-officedocument.presentationml.slideLayout+xml"/>
  <Override PartName="/ppt/slideLayouts/slideLayout2001.xml" ContentType="application/vnd.openxmlformats-officedocument.presentationml.slideLayout+xml"/>
  <Override PartName="/ppt/slideLayouts/slideLayout2002.xml" ContentType="application/vnd.openxmlformats-officedocument.presentationml.slideLayout+xml"/>
  <Override PartName="/ppt/slideLayouts/slideLayout2003.xml" ContentType="application/vnd.openxmlformats-officedocument.presentationml.slideLayout+xml"/>
  <Override PartName="/ppt/slideLayouts/slideLayout2004.xml" ContentType="application/vnd.openxmlformats-officedocument.presentationml.slideLayout+xml"/>
  <Override PartName="/ppt/slideLayouts/slideLayout2005.xml" ContentType="application/vnd.openxmlformats-officedocument.presentationml.slideLayout+xml"/>
  <Override PartName="/ppt/slideLayouts/slideLayout2006.xml" ContentType="application/vnd.openxmlformats-officedocument.presentationml.slideLayout+xml"/>
  <Override PartName="/ppt/slideLayouts/slideLayout2007.xml" ContentType="application/vnd.openxmlformats-officedocument.presentationml.slideLayout+xml"/>
  <Override PartName="/ppt/slideLayouts/slideLayout2008.xml" ContentType="application/vnd.openxmlformats-officedocument.presentationml.slideLayout+xml"/>
  <Override PartName="/ppt/slideLayouts/slideLayout2009.xml" ContentType="application/vnd.openxmlformats-officedocument.presentationml.slideLayout+xml"/>
  <Override PartName="/ppt/slideLayouts/slideLayout2010.xml" ContentType="application/vnd.openxmlformats-officedocument.presentationml.slideLayout+xml"/>
  <Override PartName="/ppt/slideLayouts/slideLayout2011.xml" ContentType="application/vnd.openxmlformats-officedocument.presentationml.slideLayout+xml"/>
  <Override PartName="/ppt/slideLayouts/slideLayout2012.xml" ContentType="application/vnd.openxmlformats-officedocument.presentationml.slideLayout+xml"/>
  <Override PartName="/ppt/slideLayouts/slideLayout2013.xml" ContentType="application/vnd.openxmlformats-officedocument.presentationml.slideLayout+xml"/>
  <Override PartName="/ppt/slideLayouts/slideLayout2014.xml" ContentType="application/vnd.openxmlformats-officedocument.presentationml.slideLayout+xml"/>
  <Override PartName="/ppt/slideLayouts/slideLayout2015.xml" ContentType="application/vnd.openxmlformats-officedocument.presentationml.slideLayout+xml"/>
  <Override PartName="/ppt/slideLayouts/slideLayout2016.xml" ContentType="application/vnd.openxmlformats-officedocument.presentationml.slideLayout+xml"/>
  <Override PartName="/ppt/slideLayouts/slideLayout2017.xml" ContentType="application/vnd.openxmlformats-officedocument.presentationml.slideLayout+xml"/>
  <Override PartName="/ppt/slideLayouts/slideLayout2018.xml" ContentType="application/vnd.openxmlformats-officedocument.presentationml.slideLayout+xml"/>
  <Override PartName="/ppt/slideLayouts/slideLayout2019.xml" ContentType="application/vnd.openxmlformats-officedocument.presentationml.slideLayout+xml"/>
  <Override PartName="/ppt/slideLayouts/slideLayout2020.xml" ContentType="application/vnd.openxmlformats-officedocument.presentationml.slideLayout+xml"/>
  <Override PartName="/ppt/slideLayouts/slideLayout2021.xml" ContentType="application/vnd.openxmlformats-officedocument.presentationml.slideLayout+xml"/>
  <Override PartName="/ppt/slideLayouts/slideLayout2022.xml" ContentType="application/vnd.openxmlformats-officedocument.presentationml.slideLayout+xml"/>
  <Override PartName="/ppt/slideLayouts/slideLayout2023.xml" ContentType="application/vnd.openxmlformats-officedocument.presentationml.slideLayout+xml"/>
  <Override PartName="/ppt/slideLayouts/slideLayout2024.xml" ContentType="application/vnd.openxmlformats-officedocument.presentationml.slideLayout+xml"/>
  <Override PartName="/ppt/slideLayouts/slideLayout2025.xml" ContentType="application/vnd.openxmlformats-officedocument.presentationml.slideLayout+xml"/>
  <Override PartName="/ppt/slideLayouts/slideLayout2026.xml" ContentType="application/vnd.openxmlformats-officedocument.presentationml.slideLayout+xml"/>
  <Override PartName="/ppt/slideLayouts/slideLayout2027.xml" ContentType="application/vnd.openxmlformats-officedocument.presentationml.slideLayout+xml"/>
  <Override PartName="/ppt/slideLayouts/slideLayout2028.xml" ContentType="application/vnd.openxmlformats-officedocument.presentationml.slideLayout+xml"/>
  <Override PartName="/ppt/slideLayouts/slideLayout2029.xml" ContentType="application/vnd.openxmlformats-officedocument.presentationml.slideLayout+xml"/>
  <Override PartName="/ppt/slideLayouts/slideLayout2030.xml" ContentType="application/vnd.openxmlformats-officedocument.presentationml.slideLayout+xml"/>
  <Override PartName="/ppt/slideLayouts/slideLayout2031.xml" ContentType="application/vnd.openxmlformats-officedocument.presentationml.slideLayout+xml"/>
  <Override PartName="/ppt/slideLayouts/slideLayout2032.xml" ContentType="application/vnd.openxmlformats-officedocument.presentationml.slideLayout+xml"/>
  <Override PartName="/ppt/slideLayouts/slideLayout2033.xml" ContentType="application/vnd.openxmlformats-officedocument.presentationml.slideLayout+xml"/>
  <Override PartName="/ppt/slideLayouts/slideLayout2034.xml" ContentType="application/vnd.openxmlformats-officedocument.presentationml.slideLayout+xml"/>
  <Override PartName="/ppt/slideLayouts/slideLayout2035.xml" ContentType="application/vnd.openxmlformats-officedocument.presentationml.slideLayout+xml"/>
  <Override PartName="/ppt/slideLayouts/slideLayout2036.xml" ContentType="application/vnd.openxmlformats-officedocument.presentationml.slideLayout+xml"/>
  <Override PartName="/ppt/slideLayouts/slideLayout2037.xml" ContentType="application/vnd.openxmlformats-officedocument.presentationml.slideLayout+xml"/>
  <Override PartName="/ppt/slideLayouts/slideLayout2038.xml" ContentType="application/vnd.openxmlformats-officedocument.presentationml.slideLayout+xml"/>
  <Override PartName="/ppt/slideLayouts/slideLayout2039.xml" ContentType="application/vnd.openxmlformats-officedocument.presentationml.slideLayout+xml"/>
  <Override PartName="/ppt/slideLayouts/slideLayout2040.xml" ContentType="application/vnd.openxmlformats-officedocument.presentationml.slideLayout+xml"/>
  <Override PartName="/ppt/slideLayouts/slideLayout2041.xml" ContentType="application/vnd.openxmlformats-officedocument.presentationml.slideLayout+xml"/>
  <Override PartName="/ppt/slideLayouts/slideLayout2042.xml" ContentType="application/vnd.openxmlformats-officedocument.presentationml.slideLayout+xml"/>
  <Override PartName="/ppt/slideLayouts/slideLayout2043.xml" ContentType="application/vnd.openxmlformats-officedocument.presentationml.slideLayout+xml"/>
  <Override PartName="/ppt/slideLayouts/slideLayout2044.xml" ContentType="application/vnd.openxmlformats-officedocument.presentationml.slideLayout+xml"/>
  <Override PartName="/ppt/slideLayouts/slideLayout2045.xml" ContentType="application/vnd.openxmlformats-officedocument.presentationml.slideLayout+xml"/>
  <Override PartName="/ppt/slideLayouts/slideLayout2046.xml" ContentType="application/vnd.openxmlformats-officedocument.presentationml.slideLayout+xml"/>
  <Override PartName="/ppt/slideLayouts/slideLayout2047.xml" ContentType="application/vnd.openxmlformats-officedocument.presentationml.slideLayout+xml"/>
  <Override PartName="/ppt/slideLayouts/slideLayout2048.xml" ContentType="application/vnd.openxmlformats-officedocument.presentationml.slideLayout+xml"/>
  <Override PartName="/ppt/slideLayouts/slideLayout2049.xml" ContentType="application/vnd.openxmlformats-officedocument.presentationml.slideLayout+xml"/>
  <Override PartName="/ppt/slideLayouts/slideLayout2050.xml" ContentType="application/vnd.openxmlformats-officedocument.presentationml.slideLayout+xml"/>
  <Override PartName="/ppt/slideLayouts/slideLayout2051.xml" ContentType="application/vnd.openxmlformats-officedocument.presentationml.slideLayout+xml"/>
  <Override PartName="/ppt/slideLayouts/slideLayout2052.xml" ContentType="application/vnd.openxmlformats-officedocument.presentationml.slideLayout+xml"/>
  <Override PartName="/ppt/slideLayouts/slideLayout2053.xml" ContentType="application/vnd.openxmlformats-officedocument.presentationml.slideLayout+xml"/>
  <Override PartName="/ppt/slideLayouts/slideLayout2054.xml" ContentType="application/vnd.openxmlformats-officedocument.presentationml.slideLayout+xml"/>
  <Override PartName="/ppt/slideLayouts/slideLayout2055.xml" ContentType="application/vnd.openxmlformats-officedocument.presentationml.slideLayout+xml"/>
  <Override PartName="/ppt/slideLayouts/slideLayout2056.xml" ContentType="application/vnd.openxmlformats-officedocument.presentationml.slideLayout+xml"/>
  <Override PartName="/ppt/slideLayouts/slideLayout2057.xml" ContentType="application/vnd.openxmlformats-officedocument.presentationml.slideLayout+xml"/>
  <Override PartName="/ppt/slideLayouts/slideLayout2058.xml" ContentType="application/vnd.openxmlformats-officedocument.presentationml.slideLayout+xml"/>
  <Override PartName="/ppt/slideLayouts/slideLayout2059.xml" ContentType="application/vnd.openxmlformats-officedocument.presentationml.slideLayout+xml"/>
  <Override PartName="/ppt/slideLayouts/slideLayout2060.xml" ContentType="application/vnd.openxmlformats-officedocument.presentationml.slideLayout+xml"/>
  <Override PartName="/ppt/slideLayouts/slideLayout2061.xml" ContentType="application/vnd.openxmlformats-officedocument.presentationml.slideLayout+xml"/>
  <Override PartName="/ppt/slideLayouts/slideLayout2062.xml" ContentType="application/vnd.openxmlformats-officedocument.presentationml.slideLayout+xml"/>
  <Override PartName="/ppt/slideLayouts/slideLayout2063.xml" ContentType="application/vnd.openxmlformats-officedocument.presentationml.slideLayout+xml"/>
  <Override PartName="/ppt/slideLayouts/slideLayout2064.xml" ContentType="application/vnd.openxmlformats-officedocument.presentationml.slideLayout+xml"/>
  <Override PartName="/ppt/slideLayouts/slideLayout2065.xml" ContentType="application/vnd.openxmlformats-officedocument.presentationml.slideLayout+xml"/>
  <Override PartName="/ppt/slideLayouts/slideLayout2066.xml" ContentType="application/vnd.openxmlformats-officedocument.presentationml.slideLayout+xml"/>
  <Override PartName="/ppt/slideLayouts/slideLayout2067.xml" ContentType="application/vnd.openxmlformats-officedocument.presentationml.slideLayout+xml"/>
  <Override PartName="/ppt/slideLayouts/slideLayout2068.xml" ContentType="application/vnd.openxmlformats-officedocument.presentationml.slideLayout+xml"/>
  <Override PartName="/ppt/slideLayouts/slideLayout2069.xml" ContentType="application/vnd.openxmlformats-officedocument.presentationml.slideLayout+xml"/>
  <Override PartName="/ppt/slideLayouts/slideLayout2070.xml" ContentType="application/vnd.openxmlformats-officedocument.presentationml.slideLayout+xml"/>
  <Override PartName="/ppt/slideLayouts/slideLayout2071.xml" ContentType="application/vnd.openxmlformats-officedocument.presentationml.slideLayout+xml"/>
  <Override PartName="/ppt/slideLayouts/slideLayout2072.xml" ContentType="application/vnd.openxmlformats-officedocument.presentationml.slideLayout+xml"/>
  <Override PartName="/ppt/slideLayouts/slideLayout2073.xml" ContentType="application/vnd.openxmlformats-officedocument.presentationml.slideLayout+xml"/>
  <Override PartName="/ppt/slideLayouts/slideLayout2074.xml" ContentType="application/vnd.openxmlformats-officedocument.presentationml.slideLayout+xml"/>
  <Override PartName="/ppt/slideLayouts/slideLayout2075.xml" ContentType="application/vnd.openxmlformats-officedocument.presentationml.slideLayout+xml"/>
  <Override PartName="/ppt/slideLayouts/slideLayout2076.xml" ContentType="application/vnd.openxmlformats-officedocument.presentationml.slideLayout+xml"/>
  <Override PartName="/ppt/slideLayouts/slideLayout2077.xml" ContentType="application/vnd.openxmlformats-officedocument.presentationml.slideLayout+xml"/>
  <Override PartName="/ppt/slideLayouts/slideLayout2078.xml" ContentType="application/vnd.openxmlformats-officedocument.presentationml.slideLayout+xml"/>
  <Override PartName="/ppt/slideLayouts/slideLayout2079.xml" ContentType="application/vnd.openxmlformats-officedocument.presentationml.slideLayout+xml"/>
  <Override PartName="/ppt/slideLayouts/slideLayout2080.xml" ContentType="application/vnd.openxmlformats-officedocument.presentationml.slideLayout+xml"/>
  <Override PartName="/ppt/slideLayouts/slideLayout2081.xml" ContentType="application/vnd.openxmlformats-officedocument.presentationml.slideLayout+xml"/>
  <Override PartName="/ppt/slideLayouts/slideLayout2082.xml" ContentType="application/vnd.openxmlformats-officedocument.presentationml.slideLayout+xml"/>
  <Override PartName="/ppt/slideLayouts/slideLayout2083.xml" ContentType="application/vnd.openxmlformats-officedocument.presentationml.slideLayout+xml"/>
  <Override PartName="/ppt/slideLayouts/slideLayout2084.xml" ContentType="application/vnd.openxmlformats-officedocument.presentationml.slideLayout+xml"/>
  <Override PartName="/ppt/slideLayouts/slideLayout2085.xml" ContentType="application/vnd.openxmlformats-officedocument.presentationml.slideLayout+xml"/>
  <Override PartName="/ppt/slideLayouts/slideLayout2086.xml" ContentType="application/vnd.openxmlformats-officedocument.presentationml.slideLayout+xml"/>
  <Override PartName="/ppt/slideLayouts/slideLayout2087.xml" ContentType="application/vnd.openxmlformats-officedocument.presentationml.slideLayout+xml"/>
  <Override PartName="/ppt/slideLayouts/slideLayout2088.xml" ContentType="application/vnd.openxmlformats-officedocument.presentationml.slideLayout+xml"/>
  <Override PartName="/ppt/slideLayouts/slideLayout2089.xml" ContentType="application/vnd.openxmlformats-officedocument.presentationml.slideLayout+xml"/>
  <Override PartName="/ppt/slideLayouts/slideLayout2090.xml" ContentType="application/vnd.openxmlformats-officedocument.presentationml.slideLayout+xml"/>
  <Override PartName="/ppt/slideLayouts/slideLayout2091.xml" ContentType="application/vnd.openxmlformats-officedocument.presentationml.slideLayout+xml"/>
  <Override PartName="/ppt/slideLayouts/slideLayout2092.xml" ContentType="application/vnd.openxmlformats-officedocument.presentationml.slideLayout+xml"/>
  <Override PartName="/ppt/slideLayouts/slideLayout2093.xml" ContentType="application/vnd.openxmlformats-officedocument.presentationml.slideLayout+xml"/>
  <Override PartName="/ppt/slideLayouts/slideLayout2094.xml" ContentType="application/vnd.openxmlformats-officedocument.presentationml.slideLayout+xml"/>
  <Override PartName="/ppt/slideLayouts/slideLayout2095.xml" ContentType="application/vnd.openxmlformats-officedocument.presentationml.slideLayout+xml"/>
  <Override PartName="/ppt/slideLayouts/slideLayout2096.xml" ContentType="application/vnd.openxmlformats-officedocument.presentationml.slideLayout+xml"/>
  <Override PartName="/ppt/slideLayouts/slideLayout2097.xml" ContentType="application/vnd.openxmlformats-officedocument.presentationml.slideLayout+xml"/>
  <Override PartName="/ppt/slideLayouts/slideLayout2098.xml" ContentType="application/vnd.openxmlformats-officedocument.presentationml.slideLayout+xml"/>
  <Override PartName="/ppt/slideLayouts/slideLayout2099.xml" ContentType="application/vnd.openxmlformats-officedocument.presentationml.slideLayout+xml"/>
  <Override PartName="/ppt/slideLayouts/slideLayout2100.xml" ContentType="application/vnd.openxmlformats-officedocument.presentationml.slideLayout+xml"/>
  <Override PartName="/ppt/slideLayouts/slideLayout2101.xml" ContentType="application/vnd.openxmlformats-officedocument.presentationml.slideLayout+xml"/>
  <Override PartName="/ppt/slideLayouts/slideLayout2102.xml" ContentType="application/vnd.openxmlformats-officedocument.presentationml.slideLayout+xml"/>
  <Override PartName="/ppt/slideLayouts/slideLayout2103.xml" ContentType="application/vnd.openxmlformats-officedocument.presentationml.slideLayout+xml"/>
  <Override PartName="/ppt/slideLayouts/slideLayout2104.xml" ContentType="application/vnd.openxmlformats-officedocument.presentationml.slideLayout+xml"/>
  <Override PartName="/ppt/slideLayouts/slideLayout2105.xml" ContentType="application/vnd.openxmlformats-officedocument.presentationml.slideLayout+xml"/>
  <Override PartName="/ppt/slideLayouts/slideLayout2106.xml" ContentType="application/vnd.openxmlformats-officedocument.presentationml.slideLayout+xml"/>
  <Override PartName="/ppt/slideLayouts/slideLayout2107.xml" ContentType="application/vnd.openxmlformats-officedocument.presentationml.slideLayout+xml"/>
  <Override PartName="/ppt/slideLayouts/slideLayout2108.xml" ContentType="application/vnd.openxmlformats-officedocument.presentationml.slideLayout+xml"/>
  <Override PartName="/ppt/slideLayouts/slideLayout2109.xml" ContentType="application/vnd.openxmlformats-officedocument.presentationml.slideLayout+xml"/>
  <Override PartName="/ppt/slideLayouts/slideLayout2110.xml" ContentType="application/vnd.openxmlformats-officedocument.presentationml.slideLayout+xml"/>
  <Override PartName="/ppt/slideLayouts/slideLayout2111.xml" ContentType="application/vnd.openxmlformats-officedocument.presentationml.slideLayout+xml"/>
  <Override PartName="/ppt/slideLayouts/slideLayout2112.xml" ContentType="application/vnd.openxmlformats-officedocument.presentationml.slideLayout+xml"/>
  <Override PartName="/ppt/slideLayouts/slideLayout2113.xml" ContentType="application/vnd.openxmlformats-officedocument.presentationml.slideLayout+xml"/>
  <Override PartName="/ppt/slideLayouts/slideLayout2114.xml" ContentType="application/vnd.openxmlformats-officedocument.presentationml.slideLayout+xml"/>
  <Override PartName="/ppt/slideLayouts/slideLayout2115.xml" ContentType="application/vnd.openxmlformats-officedocument.presentationml.slideLayout+xml"/>
  <Override PartName="/ppt/slideLayouts/slideLayout2116.xml" ContentType="application/vnd.openxmlformats-officedocument.presentationml.slideLayout+xml"/>
  <Override PartName="/ppt/slideLayouts/slideLayout2117.xml" ContentType="application/vnd.openxmlformats-officedocument.presentationml.slideLayout+xml"/>
  <Override PartName="/ppt/slideLayouts/slideLayout2118.xml" ContentType="application/vnd.openxmlformats-officedocument.presentationml.slideLayout+xml"/>
  <Override PartName="/ppt/slideLayouts/slideLayout2119.xml" ContentType="application/vnd.openxmlformats-officedocument.presentationml.slideLayout+xml"/>
  <Override PartName="/ppt/slideLayouts/slideLayout2120.xml" ContentType="application/vnd.openxmlformats-officedocument.presentationml.slideLayout+xml"/>
  <Override PartName="/ppt/slideLayouts/slideLayout2121.xml" ContentType="application/vnd.openxmlformats-officedocument.presentationml.slideLayout+xml"/>
  <Override PartName="/ppt/slideLayouts/slideLayout2122.xml" ContentType="application/vnd.openxmlformats-officedocument.presentationml.slideLayout+xml"/>
  <Override PartName="/ppt/slideLayouts/slideLayout2123.xml" ContentType="application/vnd.openxmlformats-officedocument.presentationml.slideLayout+xml"/>
  <Override PartName="/ppt/slideLayouts/slideLayout2124.xml" ContentType="application/vnd.openxmlformats-officedocument.presentationml.slideLayout+xml"/>
  <Override PartName="/ppt/slideLayouts/slideLayout2125.xml" ContentType="application/vnd.openxmlformats-officedocument.presentationml.slideLayout+xml"/>
  <Override PartName="/ppt/slideLayouts/slideLayout2126.xml" ContentType="application/vnd.openxmlformats-officedocument.presentationml.slideLayout+xml"/>
  <Override PartName="/ppt/slideLayouts/slideLayout2127.xml" ContentType="application/vnd.openxmlformats-officedocument.presentationml.slideLayout+xml"/>
  <Override PartName="/ppt/slideLayouts/slideLayout2128.xml" ContentType="application/vnd.openxmlformats-officedocument.presentationml.slideLayout+xml"/>
  <Override PartName="/ppt/slideLayouts/slideLayout2129.xml" ContentType="application/vnd.openxmlformats-officedocument.presentationml.slideLayout+xml"/>
  <Override PartName="/ppt/slideLayouts/slideLayout2130.xml" ContentType="application/vnd.openxmlformats-officedocument.presentationml.slideLayout+xml"/>
  <Override PartName="/ppt/slideLayouts/slideLayout2131.xml" ContentType="application/vnd.openxmlformats-officedocument.presentationml.slideLayout+xml"/>
  <Override PartName="/ppt/slideLayouts/slideLayout2132.xml" ContentType="application/vnd.openxmlformats-officedocument.presentationml.slideLayout+xml"/>
  <Override PartName="/ppt/slideLayouts/slideLayout2133.xml" ContentType="application/vnd.openxmlformats-officedocument.presentationml.slideLayout+xml"/>
  <Override PartName="/ppt/slideLayouts/slideLayout2134.xml" ContentType="application/vnd.openxmlformats-officedocument.presentationml.slideLayout+xml"/>
  <Override PartName="/ppt/slideLayouts/slideLayout2135.xml" ContentType="application/vnd.openxmlformats-officedocument.presentationml.slideLayout+xml"/>
  <Override PartName="/ppt/slideLayouts/slideLayout2136.xml" ContentType="application/vnd.openxmlformats-officedocument.presentationml.slideLayout+xml"/>
  <Override PartName="/ppt/slideLayouts/slideLayout2137.xml" ContentType="application/vnd.openxmlformats-officedocument.presentationml.slideLayout+xml"/>
  <Override PartName="/ppt/slideLayouts/slideLayout2138.xml" ContentType="application/vnd.openxmlformats-officedocument.presentationml.slideLayout+xml"/>
  <Override PartName="/ppt/slideLayouts/slideLayout2139.xml" ContentType="application/vnd.openxmlformats-officedocument.presentationml.slideLayout+xml"/>
  <Override PartName="/ppt/slideLayouts/slideLayout2140.xml" ContentType="application/vnd.openxmlformats-officedocument.presentationml.slideLayout+xml"/>
  <Override PartName="/ppt/slideLayouts/slideLayout2141.xml" ContentType="application/vnd.openxmlformats-officedocument.presentationml.slideLayout+xml"/>
  <Override PartName="/ppt/slideLayouts/slideLayout2142.xml" ContentType="application/vnd.openxmlformats-officedocument.presentationml.slideLayout+xml"/>
  <Override PartName="/ppt/slideLayouts/slideLayout2143.xml" ContentType="application/vnd.openxmlformats-officedocument.presentationml.slideLayout+xml"/>
  <Override PartName="/ppt/slideLayouts/slideLayout2144.xml" ContentType="application/vnd.openxmlformats-officedocument.presentationml.slideLayout+xml"/>
  <Override PartName="/ppt/slideLayouts/slideLayout2145.xml" ContentType="application/vnd.openxmlformats-officedocument.presentationml.slideLayout+xml"/>
  <Override PartName="/ppt/slideLayouts/slideLayout2146.xml" ContentType="application/vnd.openxmlformats-officedocument.presentationml.slideLayout+xml"/>
  <Override PartName="/ppt/slideLayouts/slideLayout2147.xml" ContentType="application/vnd.openxmlformats-officedocument.presentationml.slideLayout+xml"/>
  <Override PartName="/ppt/slideLayouts/slideLayout2148.xml" ContentType="application/vnd.openxmlformats-officedocument.presentationml.slideLayout+xml"/>
  <Override PartName="/ppt/slideLayouts/slideLayout2149.xml" ContentType="application/vnd.openxmlformats-officedocument.presentationml.slideLayout+xml"/>
  <Override PartName="/ppt/slideLayouts/slideLayout2150.xml" ContentType="application/vnd.openxmlformats-officedocument.presentationml.slideLayout+xml"/>
  <Override PartName="/ppt/slideLayouts/slideLayout2151.xml" ContentType="application/vnd.openxmlformats-officedocument.presentationml.slideLayout+xml"/>
  <Override PartName="/ppt/slideLayouts/slideLayout2152.xml" ContentType="application/vnd.openxmlformats-officedocument.presentationml.slideLayout+xml"/>
  <Override PartName="/ppt/slideLayouts/slideLayout2153.xml" ContentType="application/vnd.openxmlformats-officedocument.presentationml.slideLayout+xml"/>
  <Override PartName="/ppt/slideLayouts/slideLayout2154.xml" ContentType="application/vnd.openxmlformats-officedocument.presentationml.slideLayout+xml"/>
  <Override PartName="/ppt/slideLayouts/slideLayout2155.xml" ContentType="application/vnd.openxmlformats-officedocument.presentationml.slideLayout+xml"/>
  <Override PartName="/ppt/slideLayouts/slideLayout2156.xml" ContentType="application/vnd.openxmlformats-officedocument.presentationml.slideLayout+xml"/>
  <Override PartName="/ppt/slideLayouts/slideLayout2157.xml" ContentType="application/vnd.openxmlformats-officedocument.presentationml.slideLayout+xml"/>
  <Override PartName="/ppt/slideLayouts/slideLayout2158.xml" ContentType="application/vnd.openxmlformats-officedocument.presentationml.slideLayout+xml"/>
  <Override PartName="/ppt/slideLayouts/slideLayout2159.xml" ContentType="application/vnd.openxmlformats-officedocument.presentationml.slideLayout+xml"/>
  <Override PartName="/ppt/slideLayouts/slideLayout2160.xml" ContentType="application/vnd.openxmlformats-officedocument.presentationml.slideLayout+xml"/>
  <Override PartName="/ppt/slideLayouts/slideLayout2161.xml" ContentType="application/vnd.openxmlformats-officedocument.presentationml.slideLayout+xml"/>
  <Override PartName="/ppt/slideLayouts/slideLayout2162.xml" ContentType="application/vnd.openxmlformats-officedocument.presentationml.slideLayout+xml"/>
  <Override PartName="/ppt/slideLayouts/slideLayout2163.xml" ContentType="application/vnd.openxmlformats-officedocument.presentationml.slideLayout+xml"/>
  <Override PartName="/ppt/slideLayouts/slideLayout2164.xml" ContentType="application/vnd.openxmlformats-officedocument.presentationml.slideLayout+xml"/>
  <Override PartName="/ppt/slideLayouts/slideLayout2165.xml" ContentType="application/vnd.openxmlformats-officedocument.presentationml.slideLayout+xml"/>
  <Override PartName="/ppt/slideLayouts/slideLayout2166.xml" ContentType="application/vnd.openxmlformats-officedocument.presentationml.slideLayout+xml"/>
  <Override PartName="/ppt/slideLayouts/slideLayout2167.xml" ContentType="application/vnd.openxmlformats-officedocument.presentationml.slideLayout+xml"/>
  <Override PartName="/ppt/slideLayouts/slideLayout2168.xml" ContentType="application/vnd.openxmlformats-officedocument.presentationml.slideLayout+xml"/>
  <Override PartName="/ppt/slideLayouts/slideLayout2169.xml" ContentType="application/vnd.openxmlformats-officedocument.presentationml.slideLayout+xml"/>
  <Override PartName="/ppt/slideLayouts/slideLayout2170.xml" ContentType="application/vnd.openxmlformats-officedocument.presentationml.slideLayout+xml"/>
  <Override PartName="/ppt/slideLayouts/slideLayout2171.xml" ContentType="application/vnd.openxmlformats-officedocument.presentationml.slideLayout+xml"/>
  <Override PartName="/ppt/slideLayouts/slideLayout2172.xml" ContentType="application/vnd.openxmlformats-officedocument.presentationml.slideLayout+xml"/>
  <Override PartName="/ppt/slideLayouts/slideLayout2173.xml" ContentType="application/vnd.openxmlformats-officedocument.presentationml.slideLayout+xml"/>
  <Override PartName="/ppt/slideLayouts/slideLayout2174.xml" ContentType="application/vnd.openxmlformats-officedocument.presentationml.slideLayout+xml"/>
  <Override PartName="/ppt/slideLayouts/slideLayout2175.xml" ContentType="application/vnd.openxmlformats-officedocument.presentationml.slideLayout+xml"/>
  <Override PartName="/ppt/slideLayouts/slideLayout2176.xml" ContentType="application/vnd.openxmlformats-officedocument.presentationml.slideLayout+xml"/>
  <Override PartName="/ppt/slideLayouts/slideLayout2177.xml" ContentType="application/vnd.openxmlformats-officedocument.presentationml.slideLayout+xml"/>
  <Override PartName="/ppt/slideLayouts/slideLayout2178.xml" ContentType="application/vnd.openxmlformats-officedocument.presentationml.slideLayout+xml"/>
  <Override PartName="/ppt/slideLayouts/slideLayout2179.xml" ContentType="application/vnd.openxmlformats-officedocument.presentationml.slideLayout+xml"/>
  <Override PartName="/ppt/slideLayouts/slideLayout2180.xml" ContentType="application/vnd.openxmlformats-officedocument.presentationml.slideLayout+xml"/>
  <Override PartName="/ppt/slideLayouts/slideLayout2181.xml" ContentType="application/vnd.openxmlformats-officedocument.presentationml.slideLayout+xml"/>
  <Override PartName="/ppt/slideLayouts/slideLayout2182.xml" ContentType="application/vnd.openxmlformats-officedocument.presentationml.slideLayout+xml"/>
  <Override PartName="/ppt/slideLayouts/slideLayout2183.xml" ContentType="application/vnd.openxmlformats-officedocument.presentationml.slideLayout+xml"/>
  <Override PartName="/ppt/slideLayouts/slideLayout2184.xml" ContentType="application/vnd.openxmlformats-officedocument.presentationml.slideLayout+xml"/>
  <Override PartName="/ppt/slideLayouts/slideLayout2185.xml" ContentType="application/vnd.openxmlformats-officedocument.presentationml.slideLayout+xml"/>
  <Override PartName="/ppt/slideLayouts/slideLayout2186.xml" ContentType="application/vnd.openxmlformats-officedocument.presentationml.slideLayout+xml"/>
  <Override PartName="/ppt/slideLayouts/slideLayout2187.xml" ContentType="application/vnd.openxmlformats-officedocument.presentationml.slideLayout+xml"/>
  <Override PartName="/ppt/slideLayouts/slideLayout2188.xml" ContentType="application/vnd.openxmlformats-officedocument.presentationml.slideLayout+xml"/>
  <Override PartName="/ppt/slideLayouts/slideLayout2189.xml" ContentType="application/vnd.openxmlformats-officedocument.presentationml.slideLayout+xml"/>
  <Override PartName="/ppt/slideLayouts/slideLayout2190.xml" ContentType="application/vnd.openxmlformats-officedocument.presentationml.slideLayout+xml"/>
  <Override PartName="/ppt/slideLayouts/slideLayout2191.xml" ContentType="application/vnd.openxmlformats-officedocument.presentationml.slideLayout+xml"/>
  <Override PartName="/ppt/slideLayouts/slideLayout2192.xml" ContentType="application/vnd.openxmlformats-officedocument.presentationml.slideLayout+xml"/>
  <Override PartName="/ppt/slideLayouts/slideLayout2193.xml" ContentType="application/vnd.openxmlformats-officedocument.presentationml.slideLayout+xml"/>
  <Override PartName="/ppt/slideLayouts/slideLayout2194.xml" ContentType="application/vnd.openxmlformats-officedocument.presentationml.slideLayout+xml"/>
  <Override PartName="/ppt/slideLayouts/slideLayout2195.xml" ContentType="application/vnd.openxmlformats-officedocument.presentationml.slideLayout+xml"/>
  <Override PartName="/ppt/slideLayouts/slideLayout2196.xml" ContentType="application/vnd.openxmlformats-officedocument.presentationml.slideLayout+xml"/>
  <Override PartName="/ppt/slideLayouts/slideLayout2197.xml" ContentType="application/vnd.openxmlformats-officedocument.presentationml.slideLayout+xml"/>
  <Override PartName="/ppt/slideLayouts/slideLayout2198.xml" ContentType="application/vnd.openxmlformats-officedocument.presentationml.slideLayout+xml"/>
  <Override PartName="/ppt/slideLayouts/slideLayout2199.xml" ContentType="application/vnd.openxmlformats-officedocument.presentationml.slideLayout+xml"/>
  <Override PartName="/ppt/slideLayouts/slideLayout2200.xml" ContentType="application/vnd.openxmlformats-officedocument.presentationml.slideLayout+xml"/>
  <Override PartName="/ppt/slideLayouts/slideLayout2201.xml" ContentType="application/vnd.openxmlformats-officedocument.presentationml.slideLayout+xml"/>
  <Override PartName="/ppt/slideLayouts/slideLayout2202.xml" ContentType="application/vnd.openxmlformats-officedocument.presentationml.slideLayout+xml"/>
  <Override PartName="/ppt/slideLayouts/slideLayout2203.xml" ContentType="application/vnd.openxmlformats-officedocument.presentationml.slideLayout+xml"/>
  <Override PartName="/ppt/slideLayouts/slideLayout2204.xml" ContentType="application/vnd.openxmlformats-officedocument.presentationml.slideLayout+xml"/>
  <Override PartName="/ppt/slideLayouts/slideLayout2205.xml" ContentType="application/vnd.openxmlformats-officedocument.presentationml.slideLayout+xml"/>
  <Override PartName="/ppt/slideLayouts/slideLayout2206.xml" ContentType="application/vnd.openxmlformats-officedocument.presentationml.slideLayout+xml"/>
  <Override PartName="/ppt/slideLayouts/slideLayout2207.xml" ContentType="application/vnd.openxmlformats-officedocument.presentationml.slideLayout+xml"/>
  <Override PartName="/ppt/slideLayouts/slideLayout2208.xml" ContentType="application/vnd.openxmlformats-officedocument.presentationml.slideLayout+xml"/>
  <Override PartName="/ppt/slideLayouts/slideLayout2209.xml" ContentType="application/vnd.openxmlformats-officedocument.presentationml.slideLayout+xml"/>
  <Override PartName="/ppt/slideLayouts/slideLayout2210.xml" ContentType="application/vnd.openxmlformats-officedocument.presentationml.slideLayout+xml"/>
  <Override PartName="/ppt/slideLayouts/slideLayout2211.xml" ContentType="application/vnd.openxmlformats-officedocument.presentationml.slideLayout+xml"/>
  <Override PartName="/ppt/slideLayouts/slideLayout2212.xml" ContentType="application/vnd.openxmlformats-officedocument.presentationml.slideLayout+xml"/>
  <Override PartName="/ppt/slideLayouts/slideLayout2213.xml" ContentType="application/vnd.openxmlformats-officedocument.presentationml.slideLayout+xml"/>
  <Override PartName="/ppt/slideLayouts/slideLayout2214.xml" ContentType="application/vnd.openxmlformats-officedocument.presentationml.slideLayout+xml"/>
  <Override PartName="/ppt/slideLayouts/slideLayout2215.xml" ContentType="application/vnd.openxmlformats-officedocument.presentationml.slideLayout+xml"/>
  <Override PartName="/ppt/slideLayouts/slideLayout2216.xml" ContentType="application/vnd.openxmlformats-officedocument.presentationml.slideLayout+xml"/>
  <Override PartName="/ppt/slideLayouts/slideLayout2217.xml" ContentType="application/vnd.openxmlformats-officedocument.presentationml.slideLayout+xml"/>
  <Override PartName="/ppt/slideLayouts/slideLayout2218.xml" ContentType="application/vnd.openxmlformats-officedocument.presentationml.slideLayout+xml"/>
  <Override PartName="/ppt/slideLayouts/slideLayout2219.xml" ContentType="application/vnd.openxmlformats-officedocument.presentationml.slideLayout+xml"/>
  <Override PartName="/ppt/slideLayouts/slideLayout2220.xml" ContentType="application/vnd.openxmlformats-officedocument.presentationml.slideLayout+xml"/>
  <Override PartName="/ppt/slideLayouts/slideLayout2221.xml" ContentType="application/vnd.openxmlformats-officedocument.presentationml.slideLayout+xml"/>
  <Override PartName="/ppt/slideLayouts/slideLayout2222.xml" ContentType="application/vnd.openxmlformats-officedocument.presentationml.slideLayout+xml"/>
  <Override PartName="/ppt/slideLayouts/slideLayout2223.xml" ContentType="application/vnd.openxmlformats-officedocument.presentationml.slideLayout+xml"/>
  <Override PartName="/ppt/slideLayouts/slideLayout2224.xml" ContentType="application/vnd.openxmlformats-officedocument.presentationml.slideLayout+xml"/>
  <Override PartName="/ppt/slideLayouts/slideLayout2225.xml" ContentType="application/vnd.openxmlformats-officedocument.presentationml.slideLayout+xml"/>
  <Override PartName="/ppt/slideLayouts/slideLayout2226.xml" ContentType="application/vnd.openxmlformats-officedocument.presentationml.slideLayout+xml"/>
  <Override PartName="/ppt/slideLayouts/slideLayout2227.xml" ContentType="application/vnd.openxmlformats-officedocument.presentationml.slideLayout+xml"/>
  <Override PartName="/ppt/slideLayouts/slideLayout2228.xml" ContentType="application/vnd.openxmlformats-officedocument.presentationml.slideLayout+xml"/>
  <Override PartName="/ppt/slideLayouts/slideLayout2229.xml" ContentType="application/vnd.openxmlformats-officedocument.presentationml.slideLayout+xml"/>
  <Override PartName="/ppt/slideLayouts/slideLayout2230.xml" ContentType="application/vnd.openxmlformats-officedocument.presentationml.slideLayout+xml"/>
  <Override PartName="/ppt/slideLayouts/slideLayout2231.xml" ContentType="application/vnd.openxmlformats-officedocument.presentationml.slideLayout+xml"/>
  <Override PartName="/ppt/slideLayouts/slideLayout2232.xml" ContentType="application/vnd.openxmlformats-officedocument.presentationml.slideLayout+xml"/>
  <Override PartName="/ppt/slideLayouts/slideLayout2233.xml" ContentType="application/vnd.openxmlformats-officedocument.presentationml.slideLayout+xml"/>
  <Override PartName="/ppt/slideLayouts/slideLayout2234.xml" ContentType="application/vnd.openxmlformats-officedocument.presentationml.slideLayout+xml"/>
  <Override PartName="/ppt/slideLayouts/slideLayout2235.xml" ContentType="application/vnd.openxmlformats-officedocument.presentationml.slideLayout+xml"/>
  <Override PartName="/ppt/slideLayouts/slideLayout2236.xml" ContentType="application/vnd.openxmlformats-officedocument.presentationml.slideLayout+xml"/>
  <Override PartName="/ppt/slideLayouts/slideLayout2237.xml" ContentType="application/vnd.openxmlformats-officedocument.presentationml.slideLayout+xml"/>
  <Override PartName="/ppt/slideLayouts/slideLayout2238.xml" ContentType="application/vnd.openxmlformats-officedocument.presentationml.slideLayout+xml"/>
  <Override PartName="/ppt/slideLayouts/slideLayout2239.xml" ContentType="application/vnd.openxmlformats-officedocument.presentationml.slideLayout+xml"/>
  <Override PartName="/ppt/slideLayouts/slideLayout2240.xml" ContentType="application/vnd.openxmlformats-officedocument.presentationml.slideLayout+xml"/>
  <Override PartName="/ppt/slideLayouts/slideLayout2241.xml" ContentType="application/vnd.openxmlformats-officedocument.presentationml.slideLayout+xml"/>
  <Override PartName="/ppt/slideLayouts/slideLayout2242.xml" ContentType="application/vnd.openxmlformats-officedocument.presentationml.slideLayout+xml"/>
  <Override PartName="/ppt/slideLayouts/slideLayout2243.xml" ContentType="application/vnd.openxmlformats-officedocument.presentationml.slideLayout+xml"/>
  <Override PartName="/ppt/slideLayouts/slideLayout2244.xml" ContentType="application/vnd.openxmlformats-officedocument.presentationml.slideLayout+xml"/>
  <Override PartName="/ppt/slideLayouts/slideLayout2245.xml" ContentType="application/vnd.openxmlformats-officedocument.presentationml.slideLayout+xml"/>
  <Override PartName="/ppt/slideLayouts/slideLayout2246.xml" ContentType="application/vnd.openxmlformats-officedocument.presentationml.slideLayout+xml"/>
  <Override PartName="/ppt/slideLayouts/slideLayout2247.xml" ContentType="application/vnd.openxmlformats-officedocument.presentationml.slideLayout+xml"/>
  <Override PartName="/ppt/slideLayouts/slideLayout2248.xml" ContentType="application/vnd.openxmlformats-officedocument.presentationml.slideLayout+xml"/>
  <Override PartName="/ppt/slideLayouts/slideLayout2249.xml" ContentType="application/vnd.openxmlformats-officedocument.presentationml.slideLayout+xml"/>
  <Override PartName="/ppt/slideLayouts/slideLayout2250.xml" ContentType="application/vnd.openxmlformats-officedocument.presentationml.slideLayout+xml"/>
  <Override PartName="/ppt/slideLayouts/slideLayout2251.xml" ContentType="application/vnd.openxmlformats-officedocument.presentationml.slideLayout+xml"/>
  <Override PartName="/ppt/slideLayouts/slideLayout2252.xml" ContentType="application/vnd.openxmlformats-officedocument.presentationml.slideLayout+xml"/>
  <Override PartName="/ppt/slideLayouts/slideLayout2253.xml" ContentType="application/vnd.openxmlformats-officedocument.presentationml.slideLayout+xml"/>
  <Override PartName="/ppt/slideLayouts/slideLayout2254.xml" ContentType="application/vnd.openxmlformats-officedocument.presentationml.slideLayout+xml"/>
  <Override PartName="/ppt/slideLayouts/slideLayout2255.xml" ContentType="application/vnd.openxmlformats-officedocument.presentationml.slideLayout+xml"/>
  <Override PartName="/ppt/slideLayouts/slideLayout2256.xml" ContentType="application/vnd.openxmlformats-officedocument.presentationml.slideLayout+xml"/>
  <Override PartName="/ppt/slideLayouts/slideLayout2257.xml" ContentType="application/vnd.openxmlformats-officedocument.presentationml.slideLayout+xml"/>
  <Override PartName="/ppt/slideLayouts/slideLayout2258.xml" ContentType="application/vnd.openxmlformats-officedocument.presentationml.slideLayout+xml"/>
  <Override PartName="/ppt/slideLayouts/slideLayout2259.xml" ContentType="application/vnd.openxmlformats-officedocument.presentationml.slideLayout+xml"/>
  <Override PartName="/ppt/slideLayouts/slideLayout2260.xml" ContentType="application/vnd.openxmlformats-officedocument.presentationml.slideLayout+xml"/>
  <Override PartName="/ppt/slideLayouts/slideLayout2261.xml" ContentType="application/vnd.openxmlformats-officedocument.presentationml.slideLayout+xml"/>
  <Override PartName="/ppt/slideLayouts/slideLayout2262.xml" ContentType="application/vnd.openxmlformats-officedocument.presentationml.slideLayout+xml"/>
  <Override PartName="/ppt/slideLayouts/slideLayout2263.xml" ContentType="application/vnd.openxmlformats-officedocument.presentationml.slideLayout+xml"/>
  <Override PartName="/ppt/slideLayouts/slideLayout2264.xml" ContentType="application/vnd.openxmlformats-officedocument.presentationml.slideLayout+xml"/>
  <Override PartName="/ppt/slideLayouts/slideLayout2265.xml" ContentType="application/vnd.openxmlformats-officedocument.presentationml.slideLayout+xml"/>
  <Override PartName="/ppt/slideLayouts/slideLayout2266.xml" ContentType="application/vnd.openxmlformats-officedocument.presentationml.slideLayout+xml"/>
  <Override PartName="/ppt/slideLayouts/slideLayout2267.xml" ContentType="application/vnd.openxmlformats-officedocument.presentationml.slideLayout+xml"/>
  <Override PartName="/ppt/slideLayouts/slideLayout2268.xml" ContentType="application/vnd.openxmlformats-officedocument.presentationml.slideLayout+xml"/>
  <Override PartName="/ppt/slideLayouts/slideLayout2269.xml" ContentType="application/vnd.openxmlformats-officedocument.presentationml.slideLayout+xml"/>
  <Override PartName="/ppt/slideLayouts/slideLayout2270.xml" ContentType="application/vnd.openxmlformats-officedocument.presentationml.slideLayout+xml"/>
  <Override PartName="/ppt/slideLayouts/slideLayout2271.xml" ContentType="application/vnd.openxmlformats-officedocument.presentationml.slideLayout+xml"/>
  <Override PartName="/ppt/slideLayouts/slideLayout2272.xml" ContentType="application/vnd.openxmlformats-officedocument.presentationml.slideLayout+xml"/>
  <Override PartName="/ppt/slideLayouts/slideLayout2273.xml" ContentType="application/vnd.openxmlformats-officedocument.presentationml.slideLayout+xml"/>
  <Override PartName="/ppt/slideLayouts/slideLayout2274.xml" ContentType="application/vnd.openxmlformats-officedocument.presentationml.slideLayout+xml"/>
  <Override PartName="/ppt/slideLayouts/slideLayout2275.xml" ContentType="application/vnd.openxmlformats-officedocument.presentationml.slideLayout+xml"/>
  <Override PartName="/ppt/slideLayouts/slideLayout2276.xml" ContentType="application/vnd.openxmlformats-officedocument.presentationml.slideLayout+xml"/>
  <Override PartName="/ppt/slideLayouts/slideLayout2277.xml" ContentType="application/vnd.openxmlformats-officedocument.presentationml.slideLayout+xml"/>
  <Override PartName="/ppt/slideLayouts/slideLayout2278.xml" ContentType="application/vnd.openxmlformats-officedocument.presentationml.slideLayout+xml"/>
  <Override PartName="/ppt/slideLayouts/slideLayout2279.xml" ContentType="application/vnd.openxmlformats-officedocument.presentationml.slideLayout+xml"/>
  <Override PartName="/ppt/slideLayouts/slideLayout2280.xml" ContentType="application/vnd.openxmlformats-officedocument.presentationml.slideLayout+xml"/>
  <Override PartName="/ppt/slideLayouts/slideLayout2281.xml" ContentType="application/vnd.openxmlformats-officedocument.presentationml.slideLayout+xml"/>
  <Override PartName="/ppt/slideLayouts/slideLayout2282.xml" ContentType="application/vnd.openxmlformats-officedocument.presentationml.slideLayout+xml"/>
  <Override PartName="/ppt/slideLayouts/slideLayout2283.xml" ContentType="application/vnd.openxmlformats-officedocument.presentationml.slideLayout+xml"/>
  <Override PartName="/ppt/slideLayouts/slideLayout2284.xml" ContentType="application/vnd.openxmlformats-officedocument.presentationml.slideLayout+xml"/>
  <Override PartName="/ppt/slideLayouts/slideLayout2285.xml" ContentType="application/vnd.openxmlformats-officedocument.presentationml.slideLayout+xml"/>
  <Override PartName="/ppt/slideLayouts/slideLayout2286.xml" ContentType="application/vnd.openxmlformats-officedocument.presentationml.slideLayout+xml"/>
  <Override PartName="/ppt/slideLayouts/slideLayout2287.xml" ContentType="application/vnd.openxmlformats-officedocument.presentationml.slideLayout+xml"/>
  <Override PartName="/ppt/slideLayouts/slideLayout2288.xml" ContentType="application/vnd.openxmlformats-officedocument.presentationml.slideLayout+xml"/>
  <Override PartName="/ppt/slideLayouts/slideLayout2289.xml" ContentType="application/vnd.openxmlformats-officedocument.presentationml.slideLayout+xml"/>
  <Override PartName="/ppt/slideLayouts/slideLayout2290.xml" ContentType="application/vnd.openxmlformats-officedocument.presentationml.slideLayout+xml"/>
  <Override PartName="/ppt/slideLayouts/slideLayout2291.xml" ContentType="application/vnd.openxmlformats-officedocument.presentationml.slideLayout+xml"/>
  <Override PartName="/ppt/slideLayouts/slideLayout2292.xml" ContentType="application/vnd.openxmlformats-officedocument.presentationml.slideLayout+xml"/>
  <Override PartName="/ppt/slideLayouts/slideLayout2293.xml" ContentType="application/vnd.openxmlformats-officedocument.presentationml.slideLayout+xml"/>
  <Override PartName="/ppt/slideLayouts/slideLayout2294.xml" ContentType="application/vnd.openxmlformats-officedocument.presentationml.slideLayout+xml"/>
  <Override PartName="/ppt/slideLayouts/slideLayout2295.xml" ContentType="application/vnd.openxmlformats-officedocument.presentationml.slideLayout+xml"/>
  <Override PartName="/ppt/slideLayouts/slideLayout2296.xml" ContentType="application/vnd.openxmlformats-officedocument.presentationml.slideLayout+xml"/>
  <Override PartName="/ppt/slideLayouts/slideLayout2297.xml" ContentType="application/vnd.openxmlformats-officedocument.presentationml.slideLayout+xml"/>
  <Override PartName="/ppt/slideLayouts/slideLayout2298.xml" ContentType="application/vnd.openxmlformats-officedocument.presentationml.slideLayout+xml"/>
  <Override PartName="/ppt/slideLayouts/slideLayout2299.xml" ContentType="application/vnd.openxmlformats-officedocument.presentationml.slideLayout+xml"/>
  <Override PartName="/ppt/slideLayouts/slideLayout2300.xml" ContentType="application/vnd.openxmlformats-officedocument.presentationml.slideLayout+xml"/>
  <Override PartName="/ppt/slideLayouts/slideLayout2301.xml" ContentType="application/vnd.openxmlformats-officedocument.presentationml.slideLayout+xml"/>
  <Override PartName="/ppt/slideLayouts/slideLayout2302.xml" ContentType="application/vnd.openxmlformats-officedocument.presentationml.slideLayout+xml"/>
  <Override PartName="/ppt/slideLayouts/slideLayout2303.xml" ContentType="application/vnd.openxmlformats-officedocument.presentationml.slideLayout+xml"/>
  <Override PartName="/ppt/slideLayouts/slideLayout2304.xml" ContentType="application/vnd.openxmlformats-officedocument.presentationml.slideLayout+xml"/>
  <Override PartName="/ppt/slideLayouts/slideLayout2305.xml" ContentType="application/vnd.openxmlformats-officedocument.presentationml.slideLayout+xml"/>
  <Override PartName="/ppt/slideLayouts/slideLayout2306.xml" ContentType="application/vnd.openxmlformats-officedocument.presentationml.slideLayout+xml"/>
  <Override PartName="/ppt/slideLayouts/slideLayout2307.xml" ContentType="application/vnd.openxmlformats-officedocument.presentationml.slideLayout+xml"/>
  <Override PartName="/ppt/slideLayouts/slideLayout2308.xml" ContentType="application/vnd.openxmlformats-officedocument.presentationml.slideLayout+xml"/>
  <Override PartName="/ppt/slideLayouts/slideLayout2309.xml" ContentType="application/vnd.openxmlformats-officedocument.presentationml.slideLayout+xml"/>
  <Override PartName="/ppt/slideLayouts/slideLayout2310.xml" ContentType="application/vnd.openxmlformats-officedocument.presentationml.slideLayout+xml"/>
  <Override PartName="/ppt/slideLayouts/slideLayout2311.xml" ContentType="application/vnd.openxmlformats-officedocument.presentationml.slideLayout+xml"/>
  <Override PartName="/ppt/slideLayouts/slideLayout2312.xml" ContentType="application/vnd.openxmlformats-officedocument.presentationml.slideLayout+xml"/>
  <Override PartName="/ppt/slideLayouts/slideLayout2313.xml" ContentType="application/vnd.openxmlformats-officedocument.presentationml.slideLayout+xml"/>
  <Override PartName="/ppt/slideLayouts/slideLayout2314.xml" ContentType="application/vnd.openxmlformats-officedocument.presentationml.slideLayout+xml"/>
  <Override PartName="/ppt/slideLayouts/slideLayout2315.xml" ContentType="application/vnd.openxmlformats-officedocument.presentationml.slideLayout+xml"/>
  <Override PartName="/ppt/slideLayouts/slideLayout2316.xml" ContentType="application/vnd.openxmlformats-officedocument.presentationml.slideLayout+xml"/>
  <Override PartName="/ppt/slideLayouts/slideLayout2317.xml" ContentType="application/vnd.openxmlformats-officedocument.presentationml.slideLayout+xml"/>
  <Override PartName="/ppt/slideLayouts/slideLayout2318.xml" ContentType="application/vnd.openxmlformats-officedocument.presentationml.slideLayout+xml"/>
  <Override PartName="/ppt/slideLayouts/slideLayout2319.xml" ContentType="application/vnd.openxmlformats-officedocument.presentationml.slideLayout+xml"/>
  <Override PartName="/ppt/slideLayouts/slideLayout2320.xml" ContentType="application/vnd.openxmlformats-officedocument.presentationml.slideLayout+xml"/>
  <Override PartName="/ppt/slideLayouts/slideLayout2321.xml" ContentType="application/vnd.openxmlformats-officedocument.presentationml.slideLayout+xml"/>
  <Override PartName="/ppt/slideLayouts/slideLayout2322.xml" ContentType="application/vnd.openxmlformats-officedocument.presentationml.slideLayout+xml"/>
  <Override PartName="/ppt/slideLayouts/slideLayout2323.xml" ContentType="application/vnd.openxmlformats-officedocument.presentationml.slideLayout+xml"/>
  <Override PartName="/ppt/slideLayouts/slideLayout2324.xml" ContentType="application/vnd.openxmlformats-officedocument.presentationml.slideLayout+xml"/>
  <Override PartName="/ppt/slideLayouts/slideLayout2325.xml" ContentType="application/vnd.openxmlformats-officedocument.presentationml.slideLayout+xml"/>
  <Override PartName="/ppt/slideLayouts/slideLayout2326.xml" ContentType="application/vnd.openxmlformats-officedocument.presentationml.slideLayout+xml"/>
  <Override PartName="/ppt/slideLayouts/slideLayout2327.xml" ContentType="application/vnd.openxmlformats-officedocument.presentationml.slideLayout+xml"/>
  <Override PartName="/ppt/slideLayouts/slideLayout2328.xml" ContentType="application/vnd.openxmlformats-officedocument.presentationml.slideLayout+xml"/>
  <Override PartName="/ppt/slideLayouts/slideLayout2329.xml" ContentType="application/vnd.openxmlformats-officedocument.presentationml.slideLayout+xml"/>
  <Override PartName="/ppt/slideLayouts/slideLayout2330.xml" ContentType="application/vnd.openxmlformats-officedocument.presentationml.slideLayout+xml"/>
  <Override PartName="/ppt/slideLayouts/slideLayout2331.xml" ContentType="application/vnd.openxmlformats-officedocument.presentationml.slideLayout+xml"/>
  <Override PartName="/ppt/slideLayouts/slideLayout2332.xml" ContentType="application/vnd.openxmlformats-officedocument.presentationml.slideLayout+xml"/>
  <Override PartName="/ppt/slideLayouts/slideLayout2333.xml" ContentType="application/vnd.openxmlformats-officedocument.presentationml.slideLayout+xml"/>
  <Override PartName="/ppt/slideLayouts/slideLayout2334.xml" ContentType="application/vnd.openxmlformats-officedocument.presentationml.slideLayout+xml"/>
  <Override PartName="/ppt/slideLayouts/slideLayout2335.xml" ContentType="application/vnd.openxmlformats-officedocument.presentationml.slideLayout+xml"/>
  <Override PartName="/ppt/slideLayouts/slideLayout2336.xml" ContentType="application/vnd.openxmlformats-officedocument.presentationml.slideLayout+xml"/>
  <Override PartName="/ppt/slideLayouts/slideLayout2337.xml" ContentType="application/vnd.openxmlformats-officedocument.presentationml.slideLayout+xml"/>
  <Override PartName="/ppt/slideLayouts/slideLayout2338.xml" ContentType="application/vnd.openxmlformats-officedocument.presentationml.slideLayout+xml"/>
  <Override PartName="/ppt/slideLayouts/slideLayout2339.xml" ContentType="application/vnd.openxmlformats-officedocument.presentationml.slideLayout+xml"/>
  <Override PartName="/ppt/slideLayouts/slideLayout2340.xml" ContentType="application/vnd.openxmlformats-officedocument.presentationml.slideLayout+xml"/>
  <Override PartName="/ppt/slideLayouts/slideLayout2341.xml" ContentType="application/vnd.openxmlformats-officedocument.presentationml.slideLayout+xml"/>
  <Override PartName="/ppt/slideLayouts/slideLayout2342.xml" ContentType="application/vnd.openxmlformats-officedocument.presentationml.slideLayout+xml"/>
  <Override PartName="/ppt/slideLayouts/slideLayout2343.xml" ContentType="application/vnd.openxmlformats-officedocument.presentationml.slideLayout+xml"/>
  <Override PartName="/ppt/slideLayouts/slideLayout2344.xml" ContentType="application/vnd.openxmlformats-officedocument.presentationml.slideLayout+xml"/>
  <Override PartName="/ppt/slideLayouts/slideLayout2345.xml" ContentType="application/vnd.openxmlformats-officedocument.presentationml.slideLayout+xml"/>
  <Override PartName="/ppt/slideLayouts/slideLayout2346.xml" ContentType="application/vnd.openxmlformats-officedocument.presentationml.slideLayout+xml"/>
  <Override PartName="/ppt/slideLayouts/slideLayout2347.xml" ContentType="application/vnd.openxmlformats-officedocument.presentationml.slideLayout+xml"/>
  <Override PartName="/ppt/slideLayouts/slideLayout2348.xml" ContentType="application/vnd.openxmlformats-officedocument.presentationml.slideLayout+xml"/>
  <Override PartName="/ppt/slideLayouts/slideLayout2349.xml" ContentType="application/vnd.openxmlformats-officedocument.presentationml.slideLayout+xml"/>
  <Override PartName="/ppt/slideLayouts/slideLayout2350.xml" ContentType="application/vnd.openxmlformats-officedocument.presentationml.slideLayout+xml"/>
  <Override PartName="/ppt/slideLayouts/slideLayout2351.xml" ContentType="application/vnd.openxmlformats-officedocument.presentationml.slideLayout+xml"/>
  <Override PartName="/ppt/slideLayouts/slideLayout2352.xml" ContentType="application/vnd.openxmlformats-officedocument.presentationml.slideLayout+xml"/>
  <Override PartName="/ppt/slideLayouts/slideLayout2353.xml" ContentType="application/vnd.openxmlformats-officedocument.presentationml.slideLayout+xml"/>
  <Override PartName="/ppt/slideLayouts/slideLayout2354.xml" ContentType="application/vnd.openxmlformats-officedocument.presentationml.slideLayout+xml"/>
  <Override PartName="/ppt/slideLayouts/slideLayout2355.xml" ContentType="application/vnd.openxmlformats-officedocument.presentationml.slideLayout+xml"/>
  <Override PartName="/ppt/slideLayouts/slideLayout2356.xml" ContentType="application/vnd.openxmlformats-officedocument.presentationml.slideLayout+xml"/>
  <Override PartName="/ppt/slideLayouts/slideLayout2357.xml" ContentType="application/vnd.openxmlformats-officedocument.presentationml.slideLayout+xml"/>
  <Override PartName="/ppt/slideLayouts/slideLayout2358.xml" ContentType="application/vnd.openxmlformats-officedocument.presentationml.slideLayout+xml"/>
  <Override PartName="/ppt/slideLayouts/slideLayout2359.xml" ContentType="application/vnd.openxmlformats-officedocument.presentationml.slideLayout+xml"/>
  <Override PartName="/ppt/slideLayouts/slideLayout2360.xml" ContentType="application/vnd.openxmlformats-officedocument.presentationml.slideLayout+xml"/>
  <Override PartName="/ppt/slideLayouts/slideLayout2361.xml" ContentType="application/vnd.openxmlformats-officedocument.presentationml.slideLayout+xml"/>
  <Override PartName="/ppt/slideLayouts/slideLayout2362.xml" ContentType="application/vnd.openxmlformats-officedocument.presentationml.slideLayout+xml"/>
  <Override PartName="/ppt/slideLayouts/slideLayout2363.xml" ContentType="application/vnd.openxmlformats-officedocument.presentationml.slideLayout+xml"/>
  <Override PartName="/ppt/slideLayouts/slideLayout2364.xml" ContentType="application/vnd.openxmlformats-officedocument.presentationml.slideLayout+xml"/>
  <Override PartName="/ppt/slideLayouts/slideLayout2365.xml" ContentType="application/vnd.openxmlformats-officedocument.presentationml.slideLayout+xml"/>
  <Override PartName="/ppt/slideLayouts/slideLayout2366.xml" ContentType="application/vnd.openxmlformats-officedocument.presentationml.slideLayout+xml"/>
  <Override PartName="/ppt/slideLayouts/slideLayout2367.xml" ContentType="application/vnd.openxmlformats-officedocument.presentationml.slideLayout+xml"/>
  <Override PartName="/ppt/slideLayouts/slideLayout2368.xml" ContentType="application/vnd.openxmlformats-officedocument.presentationml.slideLayout+xml"/>
  <Override PartName="/ppt/slideLayouts/slideLayout2369.xml" ContentType="application/vnd.openxmlformats-officedocument.presentationml.slideLayout+xml"/>
  <Override PartName="/ppt/slideLayouts/slideLayout2370.xml" ContentType="application/vnd.openxmlformats-officedocument.presentationml.slideLayout+xml"/>
  <Override PartName="/ppt/slideLayouts/slideLayout2371.xml" ContentType="application/vnd.openxmlformats-officedocument.presentationml.slideLayout+xml"/>
  <Override PartName="/ppt/slideLayouts/slideLayout2372.xml" ContentType="application/vnd.openxmlformats-officedocument.presentationml.slideLayout+xml"/>
  <Override PartName="/ppt/slideLayouts/slideLayout2373.xml" ContentType="application/vnd.openxmlformats-officedocument.presentationml.slideLayout+xml"/>
  <Override PartName="/ppt/slideLayouts/slideLayout2374.xml" ContentType="application/vnd.openxmlformats-officedocument.presentationml.slideLayout+xml"/>
  <Override PartName="/ppt/slideLayouts/slideLayout2375.xml" ContentType="application/vnd.openxmlformats-officedocument.presentationml.slideLayout+xml"/>
  <Override PartName="/ppt/slideLayouts/slideLayout2376.xml" ContentType="application/vnd.openxmlformats-officedocument.presentationml.slideLayout+xml"/>
  <Override PartName="/ppt/slideLayouts/slideLayout2377.xml" ContentType="application/vnd.openxmlformats-officedocument.presentationml.slideLayout+xml"/>
  <Override PartName="/ppt/slideLayouts/slideLayout2378.xml" ContentType="application/vnd.openxmlformats-officedocument.presentationml.slideLayout+xml"/>
  <Override PartName="/ppt/slideLayouts/slideLayout2379.xml" ContentType="application/vnd.openxmlformats-officedocument.presentationml.slideLayout+xml"/>
  <Override PartName="/ppt/slideLayouts/slideLayout2380.xml" ContentType="application/vnd.openxmlformats-officedocument.presentationml.slideLayout+xml"/>
  <Override PartName="/ppt/slideLayouts/slideLayout2381.xml" ContentType="application/vnd.openxmlformats-officedocument.presentationml.slideLayout+xml"/>
  <Override PartName="/ppt/slideLayouts/slideLayout2382.xml" ContentType="application/vnd.openxmlformats-officedocument.presentationml.slideLayout+xml"/>
  <Override PartName="/ppt/slideLayouts/slideLayout2383.xml" ContentType="application/vnd.openxmlformats-officedocument.presentationml.slideLayout+xml"/>
  <Override PartName="/ppt/slideLayouts/slideLayout2384.xml" ContentType="application/vnd.openxmlformats-officedocument.presentationml.slideLayout+xml"/>
  <Override PartName="/ppt/slideLayouts/slideLayout2385.xml" ContentType="application/vnd.openxmlformats-officedocument.presentationml.slideLayout+xml"/>
  <Override PartName="/ppt/slideLayouts/slideLayout2386.xml" ContentType="application/vnd.openxmlformats-officedocument.presentationml.slideLayout+xml"/>
  <Override PartName="/ppt/slideLayouts/slideLayout2387.xml" ContentType="application/vnd.openxmlformats-officedocument.presentationml.slideLayout+xml"/>
  <Override PartName="/ppt/slideLayouts/slideLayout2388.xml" ContentType="application/vnd.openxmlformats-officedocument.presentationml.slideLayout+xml"/>
  <Override PartName="/ppt/slideLayouts/slideLayout2389.xml" ContentType="application/vnd.openxmlformats-officedocument.presentationml.slideLayout+xml"/>
  <Override PartName="/ppt/slideLayouts/slideLayout2390.xml" ContentType="application/vnd.openxmlformats-officedocument.presentationml.slideLayout+xml"/>
  <Override PartName="/ppt/slideLayouts/slideLayout2391.xml" ContentType="application/vnd.openxmlformats-officedocument.presentationml.slideLayout+xml"/>
  <Override PartName="/ppt/slideLayouts/slideLayout2392.xml" ContentType="application/vnd.openxmlformats-officedocument.presentationml.slideLayout+xml"/>
  <Override PartName="/ppt/slideLayouts/slideLayout2393.xml" ContentType="application/vnd.openxmlformats-officedocument.presentationml.slideLayout+xml"/>
  <Override PartName="/ppt/slideLayouts/slideLayout2394.xml" ContentType="application/vnd.openxmlformats-officedocument.presentationml.slideLayout+xml"/>
  <Override PartName="/ppt/slideLayouts/slideLayout2395.xml" ContentType="application/vnd.openxmlformats-officedocument.presentationml.slideLayout+xml"/>
  <Override PartName="/ppt/slideLayouts/slideLayout2396.xml" ContentType="application/vnd.openxmlformats-officedocument.presentationml.slideLayout+xml"/>
  <Override PartName="/ppt/slideLayouts/slideLayout2397.xml" ContentType="application/vnd.openxmlformats-officedocument.presentationml.slideLayout+xml"/>
  <Override PartName="/ppt/slideLayouts/slideLayout2398.xml" ContentType="application/vnd.openxmlformats-officedocument.presentationml.slideLayout+xml"/>
  <Override PartName="/ppt/slideLayouts/slideLayout2399.xml" ContentType="application/vnd.openxmlformats-officedocument.presentationml.slideLayout+xml"/>
  <Override PartName="/ppt/slideLayouts/slideLayout2400.xml" ContentType="application/vnd.openxmlformats-officedocument.presentationml.slideLayout+xml"/>
  <Override PartName="/ppt/slideLayouts/slideLayout2401.xml" ContentType="application/vnd.openxmlformats-officedocument.presentationml.slideLayout+xml"/>
  <Override PartName="/ppt/slideLayouts/slideLayout2402.xml" ContentType="application/vnd.openxmlformats-officedocument.presentationml.slideLayout+xml"/>
  <Override PartName="/ppt/slideLayouts/slideLayout2403.xml" ContentType="application/vnd.openxmlformats-officedocument.presentationml.slideLayout+xml"/>
  <Override PartName="/ppt/slideLayouts/slideLayout2404.xml" ContentType="application/vnd.openxmlformats-officedocument.presentationml.slideLayout+xml"/>
  <Override PartName="/ppt/slideLayouts/slideLayout2405.xml" ContentType="application/vnd.openxmlformats-officedocument.presentationml.slideLayout+xml"/>
  <Override PartName="/ppt/slideLayouts/slideLayout2406.xml" ContentType="application/vnd.openxmlformats-officedocument.presentationml.slideLayout+xml"/>
  <Override PartName="/ppt/slideLayouts/slideLayout2407.xml" ContentType="application/vnd.openxmlformats-officedocument.presentationml.slideLayout+xml"/>
  <Override PartName="/ppt/slideLayouts/slideLayout2408.xml" ContentType="application/vnd.openxmlformats-officedocument.presentationml.slideLayout+xml"/>
  <Override PartName="/ppt/slideLayouts/slideLayout2409.xml" ContentType="application/vnd.openxmlformats-officedocument.presentationml.slideLayout+xml"/>
  <Override PartName="/ppt/slideLayouts/slideLayout2410.xml" ContentType="application/vnd.openxmlformats-officedocument.presentationml.slideLayout+xml"/>
  <Override PartName="/ppt/slideLayouts/slideLayout2411.xml" ContentType="application/vnd.openxmlformats-officedocument.presentationml.slideLayout+xml"/>
  <Override PartName="/ppt/slideLayouts/slideLayout2412.xml" ContentType="application/vnd.openxmlformats-officedocument.presentationml.slideLayout+xml"/>
  <Override PartName="/ppt/slideLayouts/slideLayout2413.xml" ContentType="application/vnd.openxmlformats-officedocument.presentationml.slideLayout+xml"/>
  <Override PartName="/ppt/slideLayouts/slideLayout2414.xml" ContentType="application/vnd.openxmlformats-officedocument.presentationml.slideLayout+xml"/>
  <Override PartName="/ppt/slideLayouts/slideLayout2415.xml" ContentType="application/vnd.openxmlformats-officedocument.presentationml.slideLayout+xml"/>
  <Override PartName="/ppt/slideLayouts/slideLayout2416.xml" ContentType="application/vnd.openxmlformats-officedocument.presentationml.slideLayout+xml"/>
  <Override PartName="/ppt/slideLayouts/slideLayout2417.xml" ContentType="application/vnd.openxmlformats-officedocument.presentationml.slideLayout+xml"/>
  <Override PartName="/ppt/slideLayouts/slideLayout2418.xml" ContentType="application/vnd.openxmlformats-officedocument.presentationml.slideLayout+xml"/>
  <Override PartName="/ppt/slideLayouts/slideLayout2419.xml" ContentType="application/vnd.openxmlformats-officedocument.presentationml.slideLayout+xml"/>
  <Override PartName="/ppt/slideLayouts/slideLayout2420.xml" ContentType="application/vnd.openxmlformats-officedocument.presentationml.slideLayout+xml"/>
  <Override PartName="/ppt/slideLayouts/slideLayout2421.xml" ContentType="application/vnd.openxmlformats-officedocument.presentationml.slideLayout+xml"/>
  <Override PartName="/ppt/slideLayouts/slideLayout2422.xml" ContentType="application/vnd.openxmlformats-officedocument.presentationml.slideLayout+xml"/>
  <Override PartName="/ppt/slideLayouts/slideLayout2423.xml" ContentType="application/vnd.openxmlformats-officedocument.presentationml.slideLayout+xml"/>
  <Override PartName="/ppt/slideLayouts/slideLayout2424.xml" ContentType="application/vnd.openxmlformats-officedocument.presentationml.slideLayout+xml"/>
  <Override PartName="/ppt/slideLayouts/slideLayout2425.xml" ContentType="application/vnd.openxmlformats-officedocument.presentationml.slideLayout+xml"/>
  <Override PartName="/ppt/slideLayouts/slideLayout2426.xml" ContentType="application/vnd.openxmlformats-officedocument.presentationml.slideLayout+xml"/>
  <Override PartName="/ppt/slideLayouts/slideLayout2427.xml" ContentType="application/vnd.openxmlformats-officedocument.presentationml.slideLayout+xml"/>
  <Override PartName="/ppt/slideLayouts/slideLayout2428.xml" ContentType="application/vnd.openxmlformats-officedocument.presentationml.slideLayout+xml"/>
  <Override PartName="/ppt/slideLayouts/slideLayout2429.xml" ContentType="application/vnd.openxmlformats-officedocument.presentationml.slideLayout+xml"/>
  <Override PartName="/ppt/slideLayouts/slideLayout2430.xml" ContentType="application/vnd.openxmlformats-officedocument.presentationml.slideLayout+xml"/>
  <Override PartName="/ppt/slideLayouts/slideLayout2431.xml" ContentType="application/vnd.openxmlformats-officedocument.presentationml.slideLayout+xml"/>
  <Override PartName="/ppt/slideLayouts/slideLayout2432.xml" ContentType="application/vnd.openxmlformats-officedocument.presentationml.slideLayout+xml"/>
  <Override PartName="/ppt/slideLayouts/slideLayout2433.xml" ContentType="application/vnd.openxmlformats-officedocument.presentationml.slideLayout+xml"/>
  <Override PartName="/ppt/slideLayouts/slideLayout2434.xml" ContentType="application/vnd.openxmlformats-officedocument.presentationml.slideLayout+xml"/>
  <Override PartName="/ppt/slideLayouts/slideLayout2435.xml" ContentType="application/vnd.openxmlformats-officedocument.presentationml.slideLayout+xml"/>
  <Override PartName="/ppt/slideLayouts/slideLayout2436.xml" ContentType="application/vnd.openxmlformats-officedocument.presentationml.slideLayout+xml"/>
  <Override PartName="/ppt/slideLayouts/slideLayout2437.xml" ContentType="application/vnd.openxmlformats-officedocument.presentationml.slideLayout+xml"/>
  <Override PartName="/ppt/slideLayouts/slideLayout2438.xml" ContentType="application/vnd.openxmlformats-officedocument.presentationml.slideLayout+xml"/>
  <Override PartName="/ppt/slideLayouts/slideLayout2439.xml" ContentType="application/vnd.openxmlformats-officedocument.presentationml.slideLayout+xml"/>
  <Override PartName="/ppt/slideLayouts/slideLayout2440.xml" ContentType="application/vnd.openxmlformats-officedocument.presentationml.slideLayout+xml"/>
  <Override PartName="/ppt/slideLayouts/slideLayout2441.xml" ContentType="application/vnd.openxmlformats-officedocument.presentationml.slideLayout+xml"/>
  <Override PartName="/ppt/slideLayouts/slideLayout2442.xml" ContentType="application/vnd.openxmlformats-officedocument.presentationml.slideLayout+xml"/>
  <Override PartName="/ppt/slideLayouts/slideLayout2443.xml" ContentType="application/vnd.openxmlformats-officedocument.presentationml.slideLayout+xml"/>
  <Override PartName="/ppt/slideLayouts/slideLayout2444.xml" ContentType="application/vnd.openxmlformats-officedocument.presentationml.slideLayout+xml"/>
  <Override PartName="/ppt/slideLayouts/slideLayout2445.xml" ContentType="application/vnd.openxmlformats-officedocument.presentationml.slideLayout+xml"/>
  <Override PartName="/ppt/slideLayouts/slideLayout2446.xml" ContentType="application/vnd.openxmlformats-officedocument.presentationml.slideLayout+xml"/>
  <Override PartName="/ppt/slideLayouts/slideLayout2447.xml" ContentType="application/vnd.openxmlformats-officedocument.presentationml.slideLayout+xml"/>
  <Override PartName="/ppt/slideLayouts/slideLayout2448.xml" ContentType="application/vnd.openxmlformats-officedocument.presentationml.slideLayout+xml"/>
  <Override PartName="/ppt/slideLayouts/slideLayout2449.xml" ContentType="application/vnd.openxmlformats-officedocument.presentationml.slideLayout+xml"/>
  <Override PartName="/ppt/slideLayouts/slideLayout2450.xml" ContentType="application/vnd.openxmlformats-officedocument.presentationml.slideLayout+xml"/>
  <Override PartName="/ppt/slideLayouts/slideLayout2451.xml" ContentType="application/vnd.openxmlformats-officedocument.presentationml.slideLayout+xml"/>
  <Override PartName="/ppt/slideLayouts/slideLayout2452.xml" ContentType="application/vnd.openxmlformats-officedocument.presentationml.slideLayout+xml"/>
  <Override PartName="/ppt/slideLayouts/slideLayout2453.xml" ContentType="application/vnd.openxmlformats-officedocument.presentationml.slideLayout+xml"/>
  <Override PartName="/ppt/slideLayouts/slideLayout2454.xml" ContentType="application/vnd.openxmlformats-officedocument.presentationml.slideLayout+xml"/>
  <Override PartName="/ppt/slideLayouts/slideLayout2455.xml" ContentType="application/vnd.openxmlformats-officedocument.presentationml.slideLayout+xml"/>
  <Override PartName="/ppt/slideLayouts/slideLayout2456.xml" ContentType="application/vnd.openxmlformats-officedocument.presentationml.slideLayout+xml"/>
  <Override PartName="/ppt/slideLayouts/slideLayout2457.xml" ContentType="application/vnd.openxmlformats-officedocument.presentationml.slideLayout+xml"/>
  <Override PartName="/ppt/slideLayouts/slideLayout2458.xml" ContentType="application/vnd.openxmlformats-officedocument.presentationml.slideLayout+xml"/>
  <Override PartName="/ppt/slideLayouts/slideLayout2459.xml" ContentType="application/vnd.openxmlformats-officedocument.presentationml.slideLayout+xml"/>
  <Override PartName="/ppt/slideLayouts/slideLayout2460.xml" ContentType="application/vnd.openxmlformats-officedocument.presentationml.slideLayout+xml"/>
  <Override PartName="/ppt/slideLayouts/slideLayout2461.xml" ContentType="application/vnd.openxmlformats-officedocument.presentationml.slideLayout+xml"/>
  <Override PartName="/ppt/slideLayouts/slideLayout2462.xml" ContentType="application/vnd.openxmlformats-officedocument.presentationml.slideLayout+xml"/>
  <Override PartName="/ppt/slideLayouts/slideLayout2463.xml" ContentType="application/vnd.openxmlformats-officedocument.presentationml.slideLayout+xml"/>
  <Override PartName="/ppt/slideLayouts/slideLayout2464.xml" ContentType="application/vnd.openxmlformats-officedocument.presentationml.slideLayout+xml"/>
  <Override PartName="/ppt/slideLayouts/slideLayout2465.xml" ContentType="application/vnd.openxmlformats-officedocument.presentationml.slideLayout+xml"/>
  <Override PartName="/ppt/slideLayouts/slideLayout2466.xml" ContentType="application/vnd.openxmlformats-officedocument.presentationml.slideLayout+xml"/>
  <Override PartName="/ppt/slideLayouts/slideLayout2467.xml" ContentType="application/vnd.openxmlformats-officedocument.presentationml.slideLayout+xml"/>
  <Override PartName="/ppt/slideLayouts/slideLayout2468.xml" ContentType="application/vnd.openxmlformats-officedocument.presentationml.slideLayout+xml"/>
  <Override PartName="/ppt/slideLayouts/slideLayout2469.xml" ContentType="application/vnd.openxmlformats-officedocument.presentationml.slideLayout+xml"/>
  <Override PartName="/ppt/slideLayouts/slideLayout2470.xml" ContentType="application/vnd.openxmlformats-officedocument.presentationml.slideLayout+xml"/>
  <Override PartName="/ppt/slideLayouts/slideLayout2471.xml" ContentType="application/vnd.openxmlformats-officedocument.presentationml.slideLayout+xml"/>
  <Override PartName="/ppt/slideLayouts/slideLayout2472.xml" ContentType="application/vnd.openxmlformats-officedocument.presentationml.slideLayout+xml"/>
  <Override PartName="/ppt/slideLayouts/slideLayout2473.xml" ContentType="application/vnd.openxmlformats-officedocument.presentationml.slideLayout+xml"/>
  <Override PartName="/ppt/slideLayouts/slideLayout2474.xml" ContentType="application/vnd.openxmlformats-officedocument.presentationml.slideLayout+xml"/>
  <Override PartName="/ppt/slideLayouts/slideLayout2475.xml" ContentType="application/vnd.openxmlformats-officedocument.presentationml.slideLayout+xml"/>
  <Override PartName="/ppt/slideLayouts/slideLayout2476.xml" ContentType="application/vnd.openxmlformats-officedocument.presentationml.slideLayout+xml"/>
  <Override PartName="/ppt/slideLayouts/slideLayout2477.xml" ContentType="application/vnd.openxmlformats-officedocument.presentationml.slideLayout+xml"/>
  <Override PartName="/ppt/slideLayouts/slideLayout2478.xml" ContentType="application/vnd.openxmlformats-officedocument.presentationml.slideLayout+xml"/>
  <Override PartName="/ppt/slideLayouts/slideLayout2479.xml" ContentType="application/vnd.openxmlformats-officedocument.presentationml.slideLayout+xml"/>
  <Override PartName="/ppt/slideLayouts/slideLayout2480.xml" ContentType="application/vnd.openxmlformats-officedocument.presentationml.slideLayout+xml"/>
  <Override PartName="/ppt/slideLayouts/slideLayout2481.xml" ContentType="application/vnd.openxmlformats-officedocument.presentationml.slideLayout+xml"/>
  <Override PartName="/ppt/slideLayouts/slideLayout2482.xml" ContentType="application/vnd.openxmlformats-officedocument.presentationml.slideLayout+xml"/>
  <Override PartName="/ppt/slideLayouts/slideLayout2483.xml" ContentType="application/vnd.openxmlformats-officedocument.presentationml.slideLayout+xml"/>
  <Override PartName="/ppt/slideLayouts/slideLayout2484.xml" ContentType="application/vnd.openxmlformats-officedocument.presentationml.slideLayout+xml"/>
  <Override PartName="/ppt/slideLayouts/slideLayout2485.xml" ContentType="application/vnd.openxmlformats-officedocument.presentationml.slideLayout+xml"/>
  <Override PartName="/ppt/slideLayouts/slideLayout2486.xml" ContentType="application/vnd.openxmlformats-officedocument.presentationml.slideLayout+xml"/>
  <Override PartName="/ppt/slideLayouts/slideLayout2487.xml" ContentType="application/vnd.openxmlformats-officedocument.presentationml.slideLayout+xml"/>
  <Override PartName="/ppt/slideLayouts/slideLayout2488.xml" ContentType="application/vnd.openxmlformats-officedocument.presentationml.slideLayout+xml"/>
  <Override PartName="/ppt/slideLayouts/slideLayout2489.xml" ContentType="application/vnd.openxmlformats-officedocument.presentationml.slideLayout+xml"/>
  <Override PartName="/ppt/slideLayouts/slideLayout2490.xml" ContentType="application/vnd.openxmlformats-officedocument.presentationml.slideLayout+xml"/>
  <Override PartName="/ppt/slideLayouts/slideLayout2491.xml" ContentType="application/vnd.openxmlformats-officedocument.presentationml.slideLayout+xml"/>
  <Override PartName="/ppt/slideLayouts/slideLayout2492.xml" ContentType="application/vnd.openxmlformats-officedocument.presentationml.slideLayout+xml"/>
  <Override PartName="/ppt/slideLayouts/slideLayout2493.xml" ContentType="application/vnd.openxmlformats-officedocument.presentationml.slideLayout+xml"/>
  <Override PartName="/ppt/slideLayouts/slideLayout2494.xml" ContentType="application/vnd.openxmlformats-officedocument.presentationml.slideLayout+xml"/>
  <Override PartName="/ppt/slideLayouts/slideLayout2495.xml" ContentType="application/vnd.openxmlformats-officedocument.presentationml.slideLayout+xml"/>
  <Override PartName="/ppt/slideLayouts/slideLayout2496.xml" ContentType="application/vnd.openxmlformats-officedocument.presentationml.slideLayout+xml"/>
  <Override PartName="/ppt/slideLayouts/slideLayout2497.xml" ContentType="application/vnd.openxmlformats-officedocument.presentationml.slideLayout+xml"/>
  <Override PartName="/ppt/slideLayouts/slideLayout2498.xml" ContentType="application/vnd.openxmlformats-officedocument.presentationml.slideLayout+xml"/>
  <Override PartName="/ppt/slideLayouts/slideLayout2499.xml" ContentType="application/vnd.openxmlformats-officedocument.presentationml.slideLayout+xml"/>
  <Override PartName="/ppt/slideLayouts/slideLayout2500.xml" ContentType="application/vnd.openxmlformats-officedocument.presentationml.slideLayout+xml"/>
  <Override PartName="/ppt/slideLayouts/slideLayout2501.xml" ContentType="application/vnd.openxmlformats-officedocument.presentationml.slideLayout+xml"/>
  <Override PartName="/ppt/slideLayouts/slideLayout2502.xml" ContentType="application/vnd.openxmlformats-officedocument.presentationml.slideLayout+xml"/>
  <Override PartName="/ppt/slideLayouts/slideLayout2503.xml" ContentType="application/vnd.openxmlformats-officedocument.presentationml.slideLayout+xml"/>
  <Override PartName="/ppt/slideLayouts/slideLayout2504.xml" ContentType="application/vnd.openxmlformats-officedocument.presentationml.slideLayout+xml"/>
  <Override PartName="/ppt/slideLayouts/slideLayout2505.xml" ContentType="application/vnd.openxmlformats-officedocument.presentationml.slideLayout+xml"/>
  <Override PartName="/ppt/slideLayouts/slideLayout2506.xml" ContentType="application/vnd.openxmlformats-officedocument.presentationml.slideLayout+xml"/>
  <Override PartName="/ppt/slideLayouts/slideLayout2507.xml" ContentType="application/vnd.openxmlformats-officedocument.presentationml.slideLayout+xml"/>
  <Override PartName="/ppt/slideLayouts/slideLayout2508.xml" ContentType="application/vnd.openxmlformats-officedocument.presentationml.slideLayout+xml"/>
  <Override PartName="/ppt/slideLayouts/slideLayout2509.xml" ContentType="application/vnd.openxmlformats-officedocument.presentationml.slideLayout+xml"/>
  <Override PartName="/ppt/slideLayouts/slideLayout2510.xml" ContentType="application/vnd.openxmlformats-officedocument.presentationml.slideLayout+xml"/>
  <Override PartName="/ppt/slideLayouts/slideLayout2511.xml" ContentType="application/vnd.openxmlformats-officedocument.presentationml.slideLayout+xml"/>
  <Override PartName="/ppt/slideLayouts/slideLayout2512.xml" ContentType="application/vnd.openxmlformats-officedocument.presentationml.slideLayout+xml"/>
  <Override PartName="/ppt/slideLayouts/slideLayout2513.xml" ContentType="application/vnd.openxmlformats-officedocument.presentationml.slideLayout+xml"/>
  <Override PartName="/ppt/slideLayouts/slideLayout2514.xml" ContentType="application/vnd.openxmlformats-officedocument.presentationml.slideLayout+xml"/>
  <Override PartName="/ppt/slideLayouts/slideLayout2515.xml" ContentType="application/vnd.openxmlformats-officedocument.presentationml.slideLayout+xml"/>
  <Override PartName="/ppt/slideLayouts/slideLayout2516.xml" ContentType="application/vnd.openxmlformats-officedocument.presentationml.slideLayout+xml"/>
  <Override PartName="/ppt/slideLayouts/slideLayout2517.xml" ContentType="application/vnd.openxmlformats-officedocument.presentationml.slideLayout+xml"/>
  <Override PartName="/ppt/slideLayouts/slideLayout2518.xml" ContentType="application/vnd.openxmlformats-officedocument.presentationml.slideLayout+xml"/>
  <Override PartName="/ppt/slideLayouts/slideLayout2519.xml" ContentType="application/vnd.openxmlformats-officedocument.presentationml.slideLayout+xml"/>
  <Override PartName="/ppt/slideLayouts/slideLayout2520.xml" ContentType="application/vnd.openxmlformats-officedocument.presentationml.slideLayout+xml"/>
  <Override PartName="/ppt/slideLayouts/slideLayout2521.xml" ContentType="application/vnd.openxmlformats-officedocument.presentationml.slideLayout+xml"/>
  <Override PartName="/ppt/slideLayouts/slideLayout2522.xml" ContentType="application/vnd.openxmlformats-officedocument.presentationml.slideLayout+xml"/>
  <Override PartName="/ppt/slideLayouts/slideLayout2523.xml" ContentType="application/vnd.openxmlformats-officedocument.presentationml.slideLayout+xml"/>
  <Override PartName="/ppt/slideLayouts/slideLayout2524.xml" ContentType="application/vnd.openxmlformats-officedocument.presentationml.slideLayout+xml"/>
  <Override PartName="/ppt/slideLayouts/slideLayout2525.xml" ContentType="application/vnd.openxmlformats-officedocument.presentationml.slideLayout+xml"/>
  <Override PartName="/ppt/slideLayouts/slideLayout2526.xml" ContentType="application/vnd.openxmlformats-officedocument.presentationml.slideLayout+xml"/>
  <Override PartName="/ppt/slideLayouts/slideLayout2527.xml" ContentType="application/vnd.openxmlformats-officedocument.presentationml.slideLayout+xml"/>
  <Override PartName="/ppt/slideLayouts/slideLayout2528.xml" ContentType="application/vnd.openxmlformats-officedocument.presentationml.slideLayout+xml"/>
  <Override PartName="/ppt/slideLayouts/slideLayout2529.xml" ContentType="application/vnd.openxmlformats-officedocument.presentationml.slideLayout+xml"/>
  <Override PartName="/ppt/slideLayouts/slideLayout2530.xml" ContentType="application/vnd.openxmlformats-officedocument.presentationml.slideLayout+xml"/>
  <Override PartName="/ppt/slideLayouts/slideLayout2531.xml" ContentType="application/vnd.openxmlformats-officedocument.presentationml.slideLayout+xml"/>
  <Override PartName="/ppt/slideLayouts/slideLayout2532.xml" ContentType="application/vnd.openxmlformats-officedocument.presentationml.slideLayout+xml"/>
  <Override PartName="/ppt/slideLayouts/slideLayout2533.xml" ContentType="application/vnd.openxmlformats-officedocument.presentationml.slideLayout+xml"/>
  <Override PartName="/ppt/slideLayouts/slideLayout2534.xml" ContentType="application/vnd.openxmlformats-officedocument.presentationml.slideLayout+xml"/>
  <Override PartName="/ppt/slideLayouts/slideLayout2535.xml" ContentType="application/vnd.openxmlformats-officedocument.presentationml.slideLayout+xml"/>
  <Override PartName="/ppt/slideLayouts/slideLayout2536.xml" ContentType="application/vnd.openxmlformats-officedocument.presentationml.slideLayout+xml"/>
  <Override PartName="/ppt/slideLayouts/slideLayout2537.xml" ContentType="application/vnd.openxmlformats-officedocument.presentationml.slideLayout+xml"/>
  <Override PartName="/ppt/slideLayouts/slideLayout2538.xml" ContentType="application/vnd.openxmlformats-officedocument.presentationml.slideLayout+xml"/>
  <Override PartName="/ppt/slideLayouts/slideLayout2539.xml" ContentType="application/vnd.openxmlformats-officedocument.presentationml.slideLayout+xml"/>
  <Override PartName="/ppt/slideLayouts/slideLayout2540.xml" ContentType="application/vnd.openxmlformats-officedocument.presentationml.slideLayout+xml"/>
  <Override PartName="/ppt/slideLayouts/slideLayout2541.xml" ContentType="application/vnd.openxmlformats-officedocument.presentationml.slideLayout+xml"/>
  <Override PartName="/ppt/slideLayouts/slideLayout2542.xml" ContentType="application/vnd.openxmlformats-officedocument.presentationml.slideLayout+xml"/>
  <Override PartName="/ppt/slideLayouts/slideLayout2543.xml" ContentType="application/vnd.openxmlformats-officedocument.presentationml.slideLayout+xml"/>
  <Override PartName="/ppt/slideLayouts/slideLayout2544.xml" ContentType="application/vnd.openxmlformats-officedocument.presentationml.slideLayout+xml"/>
  <Override PartName="/ppt/slideLayouts/slideLayout2545.xml" ContentType="application/vnd.openxmlformats-officedocument.presentationml.slideLayout+xml"/>
  <Override PartName="/ppt/slideLayouts/slideLayout2546.xml" ContentType="application/vnd.openxmlformats-officedocument.presentationml.slideLayout+xml"/>
  <Override PartName="/ppt/slideLayouts/slideLayout2547.xml" ContentType="application/vnd.openxmlformats-officedocument.presentationml.slideLayout+xml"/>
  <Override PartName="/ppt/slideLayouts/slideLayout2548.xml" ContentType="application/vnd.openxmlformats-officedocument.presentationml.slideLayout+xml"/>
  <Override PartName="/ppt/slideLayouts/slideLayout2549.xml" ContentType="application/vnd.openxmlformats-officedocument.presentationml.slideLayout+xml"/>
  <Override PartName="/ppt/slideLayouts/slideLayout2550.xml" ContentType="application/vnd.openxmlformats-officedocument.presentationml.slideLayout+xml"/>
  <Override PartName="/ppt/slideLayouts/slideLayout2551.xml" ContentType="application/vnd.openxmlformats-officedocument.presentationml.slideLayout+xml"/>
  <Override PartName="/ppt/slideLayouts/slideLayout2552.xml" ContentType="application/vnd.openxmlformats-officedocument.presentationml.slideLayout+xml"/>
  <Override PartName="/ppt/slideLayouts/slideLayout2553.xml" ContentType="application/vnd.openxmlformats-officedocument.presentationml.slideLayout+xml"/>
  <Override PartName="/ppt/slideLayouts/slideLayout2554.xml" ContentType="application/vnd.openxmlformats-officedocument.presentationml.slideLayout+xml"/>
  <Override PartName="/ppt/slideLayouts/slideLayout2555.xml" ContentType="application/vnd.openxmlformats-officedocument.presentationml.slideLayout+xml"/>
  <Override PartName="/ppt/slideLayouts/slideLayout2556.xml" ContentType="application/vnd.openxmlformats-officedocument.presentationml.slideLayout+xml"/>
  <Override PartName="/ppt/slideLayouts/slideLayout2557.xml" ContentType="application/vnd.openxmlformats-officedocument.presentationml.slideLayout+xml"/>
  <Override PartName="/ppt/slideLayouts/slideLayout2558.xml" ContentType="application/vnd.openxmlformats-officedocument.presentationml.slideLayout+xml"/>
  <Override PartName="/ppt/slideLayouts/slideLayout2559.xml" ContentType="application/vnd.openxmlformats-officedocument.presentationml.slideLayout+xml"/>
  <Override PartName="/ppt/slideLayouts/slideLayout2560.xml" ContentType="application/vnd.openxmlformats-officedocument.presentationml.slideLayout+xml"/>
  <Override PartName="/ppt/slideLayouts/slideLayout2561.xml" ContentType="application/vnd.openxmlformats-officedocument.presentationml.slideLayout+xml"/>
  <Override PartName="/ppt/slideLayouts/slideLayout2562.xml" ContentType="application/vnd.openxmlformats-officedocument.presentationml.slideLayout+xml"/>
  <Override PartName="/ppt/slideLayouts/slideLayout2563.xml" ContentType="application/vnd.openxmlformats-officedocument.presentationml.slideLayout+xml"/>
  <Override PartName="/ppt/slideLayouts/slideLayout2564.xml" ContentType="application/vnd.openxmlformats-officedocument.presentationml.slideLayout+xml"/>
  <Override PartName="/ppt/slideLayouts/slideLayout2565.xml" ContentType="application/vnd.openxmlformats-officedocument.presentationml.slideLayout+xml"/>
  <Override PartName="/ppt/slideLayouts/slideLayout2566.xml" ContentType="application/vnd.openxmlformats-officedocument.presentationml.slideLayout+xml"/>
  <Override PartName="/ppt/slideLayouts/slideLayout2567.xml" ContentType="application/vnd.openxmlformats-officedocument.presentationml.slideLayout+xml"/>
  <Override PartName="/ppt/slideLayouts/slideLayout2568.xml" ContentType="application/vnd.openxmlformats-officedocument.presentationml.slideLayout+xml"/>
  <Override PartName="/ppt/slideLayouts/slideLayout2569.xml" ContentType="application/vnd.openxmlformats-officedocument.presentationml.slideLayout+xml"/>
  <Override PartName="/ppt/slideLayouts/slideLayout2570.xml" ContentType="application/vnd.openxmlformats-officedocument.presentationml.slideLayout+xml"/>
  <Override PartName="/ppt/slideLayouts/slideLayout2571.xml" ContentType="application/vnd.openxmlformats-officedocument.presentationml.slideLayout+xml"/>
  <Override PartName="/ppt/slideLayouts/slideLayout2572.xml" ContentType="application/vnd.openxmlformats-officedocument.presentationml.slideLayout+xml"/>
  <Override PartName="/ppt/slideLayouts/slideLayout2573.xml" ContentType="application/vnd.openxmlformats-officedocument.presentationml.slideLayout+xml"/>
  <Override PartName="/ppt/slideLayouts/slideLayout2574.xml" ContentType="application/vnd.openxmlformats-officedocument.presentationml.slideLayout+xml"/>
  <Override PartName="/ppt/slideLayouts/slideLayout2575.xml" ContentType="application/vnd.openxmlformats-officedocument.presentationml.slideLayout+xml"/>
  <Override PartName="/ppt/slideLayouts/slideLayout2576.xml" ContentType="application/vnd.openxmlformats-officedocument.presentationml.slideLayout+xml"/>
  <Override PartName="/ppt/slideLayouts/slideLayout2577.xml" ContentType="application/vnd.openxmlformats-officedocument.presentationml.slideLayout+xml"/>
  <Override PartName="/ppt/slideLayouts/slideLayout2578.xml" ContentType="application/vnd.openxmlformats-officedocument.presentationml.slideLayout+xml"/>
  <Override PartName="/ppt/slideLayouts/slideLayout2579.xml" ContentType="application/vnd.openxmlformats-officedocument.presentationml.slideLayout+xml"/>
  <Override PartName="/ppt/slideLayouts/slideLayout2580.xml" ContentType="application/vnd.openxmlformats-officedocument.presentationml.slideLayout+xml"/>
  <Override PartName="/ppt/slideLayouts/slideLayout2581.xml" ContentType="application/vnd.openxmlformats-officedocument.presentationml.slideLayout+xml"/>
  <Override PartName="/ppt/slideLayouts/slideLayout2582.xml" ContentType="application/vnd.openxmlformats-officedocument.presentationml.slideLayout+xml"/>
  <Override PartName="/ppt/slideLayouts/slideLayout2583.xml" ContentType="application/vnd.openxmlformats-officedocument.presentationml.slideLayout+xml"/>
  <Override PartName="/ppt/slideLayouts/slideLayout2584.xml" ContentType="application/vnd.openxmlformats-officedocument.presentationml.slideLayout+xml"/>
  <Override PartName="/ppt/slideLayouts/slideLayout2585.xml" ContentType="application/vnd.openxmlformats-officedocument.presentationml.slideLayout+xml"/>
  <Override PartName="/ppt/slideLayouts/slideLayout2586.xml" ContentType="application/vnd.openxmlformats-officedocument.presentationml.slideLayout+xml"/>
  <Override PartName="/ppt/slideLayouts/slideLayout2587.xml" ContentType="application/vnd.openxmlformats-officedocument.presentationml.slideLayout+xml"/>
  <Override PartName="/ppt/slideLayouts/slideLayout2588.xml" ContentType="application/vnd.openxmlformats-officedocument.presentationml.slideLayout+xml"/>
  <Override PartName="/ppt/slideLayouts/slideLayout2589.xml" ContentType="application/vnd.openxmlformats-officedocument.presentationml.slideLayout+xml"/>
  <Override PartName="/ppt/slideLayouts/slideLayout2590.xml" ContentType="application/vnd.openxmlformats-officedocument.presentationml.slideLayout+xml"/>
  <Override PartName="/ppt/slideLayouts/slideLayout2591.xml" ContentType="application/vnd.openxmlformats-officedocument.presentationml.slideLayout+xml"/>
  <Override PartName="/ppt/slideLayouts/slideLayout2592.xml" ContentType="application/vnd.openxmlformats-officedocument.presentationml.slideLayout+xml"/>
  <Override PartName="/ppt/slideLayouts/slideLayout2593.xml" ContentType="application/vnd.openxmlformats-officedocument.presentationml.slideLayout+xml"/>
  <Override PartName="/ppt/slideLayouts/slideLayout2594.xml" ContentType="application/vnd.openxmlformats-officedocument.presentationml.slideLayout+xml"/>
  <Override PartName="/ppt/slideLayouts/slideLayout2595.xml" ContentType="application/vnd.openxmlformats-officedocument.presentationml.slideLayout+xml"/>
  <Override PartName="/ppt/slideLayouts/slideLayout2596.xml" ContentType="application/vnd.openxmlformats-officedocument.presentationml.slideLayout+xml"/>
  <Override PartName="/ppt/slideLayouts/slideLayout2597.xml" ContentType="application/vnd.openxmlformats-officedocument.presentationml.slideLayout+xml"/>
  <Override PartName="/ppt/slideLayouts/slideLayout2598.xml" ContentType="application/vnd.openxmlformats-officedocument.presentationml.slideLayout+xml"/>
  <Override PartName="/ppt/slideLayouts/slideLayout2599.xml" ContentType="application/vnd.openxmlformats-officedocument.presentationml.slideLayout+xml"/>
  <Override PartName="/ppt/slideLayouts/slideLayout2600.xml" ContentType="application/vnd.openxmlformats-officedocument.presentationml.slideLayout+xml"/>
  <Override PartName="/ppt/slideLayouts/slideLayout2601.xml" ContentType="application/vnd.openxmlformats-officedocument.presentationml.slideLayout+xml"/>
  <Override PartName="/ppt/slideLayouts/slideLayout2602.xml" ContentType="application/vnd.openxmlformats-officedocument.presentationml.slideLayout+xml"/>
  <Override PartName="/ppt/slideLayouts/slideLayout2603.xml" ContentType="application/vnd.openxmlformats-officedocument.presentationml.slideLayout+xml"/>
  <Override PartName="/ppt/slideLayouts/slideLayout2604.xml" ContentType="application/vnd.openxmlformats-officedocument.presentationml.slideLayout+xml"/>
  <Override PartName="/ppt/slideLayouts/slideLayout2605.xml" ContentType="application/vnd.openxmlformats-officedocument.presentationml.slideLayout+xml"/>
  <Override PartName="/ppt/slideLayouts/slideLayout2606.xml" ContentType="application/vnd.openxmlformats-officedocument.presentationml.slideLayout+xml"/>
  <Override PartName="/ppt/slideLayouts/slideLayout2607.xml" ContentType="application/vnd.openxmlformats-officedocument.presentationml.slideLayout+xml"/>
  <Override PartName="/ppt/slideLayouts/slideLayout2608.xml" ContentType="application/vnd.openxmlformats-officedocument.presentationml.slideLayout+xml"/>
  <Override PartName="/ppt/slideLayouts/slideLayout2609.xml" ContentType="application/vnd.openxmlformats-officedocument.presentationml.slideLayout+xml"/>
  <Override PartName="/ppt/slideLayouts/slideLayout2610.xml" ContentType="application/vnd.openxmlformats-officedocument.presentationml.slideLayout+xml"/>
  <Override PartName="/ppt/slideLayouts/slideLayout2611.xml" ContentType="application/vnd.openxmlformats-officedocument.presentationml.slideLayout+xml"/>
  <Override PartName="/ppt/slideLayouts/slideLayout2612.xml" ContentType="application/vnd.openxmlformats-officedocument.presentationml.slideLayout+xml"/>
  <Override PartName="/ppt/slideLayouts/slideLayout2613.xml" ContentType="application/vnd.openxmlformats-officedocument.presentationml.slideLayout+xml"/>
  <Override PartName="/ppt/slideLayouts/slideLayout2614.xml" ContentType="application/vnd.openxmlformats-officedocument.presentationml.slideLayout+xml"/>
  <Override PartName="/ppt/slideLayouts/slideLayout2615.xml" ContentType="application/vnd.openxmlformats-officedocument.presentationml.slideLayout+xml"/>
  <Override PartName="/ppt/slideLayouts/slideLayout2616.xml" ContentType="application/vnd.openxmlformats-officedocument.presentationml.slideLayout+xml"/>
  <Override PartName="/ppt/slideLayouts/slideLayout2617.xml" ContentType="application/vnd.openxmlformats-officedocument.presentationml.slideLayout+xml"/>
  <Override PartName="/ppt/slideLayouts/slideLayout2618.xml" ContentType="application/vnd.openxmlformats-officedocument.presentationml.slideLayout+xml"/>
  <Override PartName="/ppt/slideLayouts/slideLayout2619.xml" ContentType="application/vnd.openxmlformats-officedocument.presentationml.slideLayout+xml"/>
  <Override PartName="/ppt/slideLayouts/slideLayout2620.xml" ContentType="application/vnd.openxmlformats-officedocument.presentationml.slideLayout+xml"/>
  <Override PartName="/ppt/slideLayouts/slideLayout2621.xml" ContentType="application/vnd.openxmlformats-officedocument.presentationml.slideLayout+xml"/>
  <Override PartName="/ppt/slideLayouts/slideLayout2622.xml" ContentType="application/vnd.openxmlformats-officedocument.presentationml.slideLayout+xml"/>
  <Override PartName="/ppt/slideLayouts/slideLayout2623.xml" ContentType="application/vnd.openxmlformats-officedocument.presentationml.slideLayout+xml"/>
  <Override PartName="/ppt/slideLayouts/slideLayout2624.xml" ContentType="application/vnd.openxmlformats-officedocument.presentationml.slideLayout+xml"/>
  <Override PartName="/ppt/slideLayouts/slideLayout2625.xml" ContentType="application/vnd.openxmlformats-officedocument.presentationml.slideLayout+xml"/>
  <Override PartName="/ppt/slideLayouts/slideLayout2626.xml" ContentType="application/vnd.openxmlformats-officedocument.presentationml.slideLayout+xml"/>
  <Override PartName="/ppt/slideLayouts/slideLayout2627.xml" ContentType="application/vnd.openxmlformats-officedocument.presentationml.slideLayout+xml"/>
  <Override PartName="/ppt/slideLayouts/slideLayout2628.xml" ContentType="application/vnd.openxmlformats-officedocument.presentationml.slideLayout+xml"/>
  <Override PartName="/ppt/slideLayouts/slideLayout2629.xml" ContentType="application/vnd.openxmlformats-officedocument.presentationml.slideLayout+xml"/>
  <Override PartName="/ppt/slideLayouts/slideLayout2630.xml" ContentType="application/vnd.openxmlformats-officedocument.presentationml.slideLayout+xml"/>
  <Override PartName="/ppt/slideLayouts/slideLayout2631.xml" ContentType="application/vnd.openxmlformats-officedocument.presentationml.slideLayout+xml"/>
  <Override PartName="/ppt/slideLayouts/slideLayout2632.xml" ContentType="application/vnd.openxmlformats-officedocument.presentationml.slideLayout+xml"/>
  <Override PartName="/ppt/slideLayouts/slideLayout2633.xml" ContentType="application/vnd.openxmlformats-officedocument.presentationml.slideLayout+xml"/>
  <Override PartName="/ppt/slideLayouts/slideLayout2634.xml" ContentType="application/vnd.openxmlformats-officedocument.presentationml.slideLayout+xml"/>
  <Override PartName="/ppt/slideLayouts/slideLayout2635.xml" ContentType="application/vnd.openxmlformats-officedocument.presentationml.slideLayout+xml"/>
  <Override PartName="/ppt/slideLayouts/slideLayout2636.xml" ContentType="application/vnd.openxmlformats-officedocument.presentationml.slideLayout+xml"/>
  <Override PartName="/ppt/slideLayouts/slideLayout2637.xml" ContentType="application/vnd.openxmlformats-officedocument.presentationml.slideLayout+xml"/>
  <Override PartName="/ppt/slideLayouts/slideLayout2638.xml" ContentType="application/vnd.openxmlformats-officedocument.presentationml.slideLayout+xml"/>
  <Override PartName="/ppt/slideLayouts/slideLayout2639.xml" ContentType="application/vnd.openxmlformats-officedocument.presentationml.slideLayout+xml"/>
  <Override PartName="/ppt/slideLayouts/slideLayout2640.xml" ContentType="application/vnd.openxmlformats-officedocument.presentationml.slideLayout+xml"/>
  <Override PartName="/ppt/slideLayouts/slideLayout2641.xml" ContentType="application/vnd.openxmlformats-officedocument.presentationml.slideLayout+xml"/>
  <Override PartName="/ppt/slideLayouts/slideLayout2642.xml" ContentType="application/vnd.openxmlformats-officedocument.presentationml.slideLayout+xml"/>
  <Override PartName="/ppt/slideLayouts/slideLayout2643.xml" ContentType="application/vnd.openxmlformats-officedocument.presentationml.slideLayout+xml"/>
  <Override PartName="/ppt/slideLayouts/slideLayout2644.xml" ContentType="application/vnd.openxmlformats-officedocument.presentationml.slideLayout+xml"/>
  <Override PartName="/ppt/slideLayouts/slideLayout2645.xml" ContentType="application/vnd.openxmlformats-officedocument.presentationml.slideLayout+xml"/>
  <Override PartName="/ppt/slideLayouts/slideLayout2646.xml" ContentType="application/vnd.openxmlformats-officedocument.presentationml.slideLayout+xml"/>
  <Override PartName="/ppt/slideLayouts/slideLayout2647.xml" ContentType="application/vnd.openxmlformats-officedocument.presentationml.slideLayout+xml"/>
  <Override PartName="/ppt/slideLayouts/slideLayout2648.xml" ContentType="application/vnd.openxmlformats-officedocument.presentationml.slideLayout+xml"/>
  <Override PartName="/ppt/slideLayouts/slideLayout2649.xml" ContentType="application/vnd.openxmlformats-officedocument.presentationml.slideLayout+xml"/>
  <Override PartName="/ppt/slideLayouts/slideLayout2650.xml" ContentType="application/vnd.openxmlformats-officedocument.presentationml.slideLayout+xml"/>
  <Override PartName="/ppt/slideLayouts/slideLayout2651.xml" ContentType="application/vnd.openxmlformats-officedocument.presentationml.slideLayout+xml"/>
  <Override PartName="/ppt/slideLayouts/slideLayout2652.xml" ContentType="application/vnd.openxmlformats-officedocument.presentationml.slideLayout+xml"/>
  <Override PartName="/ppt/slideLayouts/slideLayout2653.xml" ContentType="application/vnd.openxmlformats-officedocument.presentationml.slideLayout+xml"/>
  <Override PartName="/ppt/slideLayouts/slideLayout2654.xml" ContentType="application/vnd.openxmlformats-officedocument.presentationml.slideLayout+xml"/>
  <Override PartName="/ppt/slideLayouts/slideLayout2655.xml" ContentType="application/vnd.openxmlformats-officedocument.presentationml.slideLayout+xml"/>
  <Override PartName="/ppt/slideLayouts/slideLayout2656.xml" ContentType="application/vnd.openxmlformats-officedocument.presentationml.slideLayout+xml"/>
  <Override PartName="/ppt/slideLayouts/slideLayout2657.xml" ContentType="application/vnd.openxmlformats-officedocument.presentationml.slideLayout+xml"/>
  <Override PartName="/ppt/slideLayouts/slideLayout2658.xml" ContentType="application/vnd.openxmlformats-officedocument.presentationml.slideLayout+xml"/>
  <Override PartName="/ppt/slideLayouts/slideLayout2659.xml" ContentType="application/vnd.openxmlformats-officedocument.presentationml.slideLayout+xml"/>
  <Override PartName="/ppt/slideLayouts/slideLayout2660.xml" ContentType="application/vnd.openxmlformats-officedocument.presentationml.slideLayout+xml"/>
  <Override PartName="/ppt/slideLayouts/slideLayout2661.xml" ContentType="application/vnd.openxmlformats-officedocument.presentationml.slideLayout+xml"/>
  <Override PartName="/ppt/slideLayouts/slideLayout2662.xml" ContentType="application/vnd.openxmlformats-officedocument.presentationml.slideLayout+xml"/>
  <Override PartName="/ppt/slideLayouts/slideLayout2663.xml" ContentType="application/vnd.openxmlformats-officedocument.presentationml.slideLayout+xml"/>
  <Override PartName="/ppt/slideLayouts/slideLayout2664.xml" ContentType="application/vnd.openxmlformats-officedocument.presentationml.slideLayout+xml"/>
  <Override PartName="/ppt/slideLayouts/slideLayout2665.xml" ContentType="application/vnd.openxmlformats-officedocument.presentationml.slideLayout+xml"/>
  <Override PartName="/ppt/slideLayouts/slideLayout2666.xml" ContentType="application/vnd.openxmlformats-officedocument.presentationml.slideLayout+xml"/>
  <Override PartName="/ppt/slideLayouts/slideLayout2667.xml" ContentType="application/vnd.openxmlformats-officedocument.presentationml.slideLayout+xml"/>
  <Override PartName="/ppt/slideLayouts/slideLayout2668.xml" ContentType="application/vnd.openxmlformats-officedocument.presentationml.slideLayout+xml"/>
  <Override PartName="/ppt/slideLayouts/slideLayout2669.xml" ContentType="application/vnd.openxmlformats-officedocument.presentationml.slideLayout+xml"/>
  <Override PartName="/ppt/slideLayouts/slideLayout2670.xml" ContentType="application/vnd.openxmlformats-officedocument.presentationml.slideLayout+xml"/>
  <Override PartName="/ppt/slideLayouts/slideLayout2671.xml" ContentType="application/vnd.openxmlformats-officedocument.presentationml.slideLayout+xml"/>
  <Override PartName="/ppt/slideLayouts/slideLayout2672.xml" ContentType="application/vnd.openxmlformats-officedocument.presentationml.slideLayout+xml"/>
  <Override PartName="/ppt/slideLayouts/slideLayout2673.xml" ContentType="application/vnd.openxmlformats-officedocument.presentationml.slideLayout+xml"/>
  <Override PartName="/ppt/slideLayouts/slideLayout2674.xml" ContentType="application/vnd.openxmlformats-officedocument.presentationml.slideLayout+xml"/>
  <Override PartName="/ppt/slideLayouts/slideLayout2675.xml" ContentType="application/vnd.openxmlformats-officedocument.presentationml.slideLayout+xml"/>
  <Override PartName="/ppt/slideLayouts/slideLayout2676.xml" ContentType="application/vnd.openxmlformats-officedocument.presentationml.slideLayout+xml"/>
  <Override PartName="/ppt/slideLayouts/slideLayout2677.xml" ContentType="application/vnd.openxmlformats-officedocument.presentationml.slideLayout+xml"/>
  <Override PartName="/ppt/slideLayouts/slideLayout2678.xml" ContentType="application/vnd.openxmlformats-officedocument.presentationml.slideLayout+xml"/>
  <Override PartName="/ppt/slideLayouts/slideLayout2679.xml" ContentType="application/vnd.openxmlformats-officedocument.presentationml.slideLayout+xml"/>
  <Override PartName="/ppt/slideLayouts/slideLayout2680.xml" ContentType="application/vnd.openxmlformats-officedocument.presentationml.slideLayout+xml"/>
  <Override PartName="/ppt/slideLayouts/slideLayout2681.xml" ContentType="application/vnd.openxmlformats-officedocument.presentationml.slideLayout+xml"/>
  <Override PartName="/ppt/slideLayouts/slideLayout2682.xml" ContentType="application/vnd.openxmlformats-officedocument.presentationml.slideLayout+xml"/>
  <Override PartName="/ppt/slideLayouts/slideLayout2683.xml" ContentType="application/vnd.openxmlformats-officedocument.presentationml.slideLayout+xml"/>
  <Override PartName="/ppt/slideLayouts/slideLayout2684.xml" ContentType="application/vnd.openxmlformats-officedocument.presentationml.slideLayout+xml"/>
  <Override PartName="/ppt/slideLayouts/slideLayout2685.xml" ContentType="application/vnd.openxmlformats-officedocument.presentationml.slideLayout+xml"/>
  <Override PartName="/ppt/slideLayouts/slideLayout2686.xml" ContentType="application/vnd.openxmlformats-officedocument.presentationml.slideLayout+xml"/>
  <Override PartName="/ppt/slideLayouts/slideLayout2687.xml" ContentType="application/vnd.openxmlformats-officedocument.presentationml.slideLayout+xml"/>
  <Override PartName="/ppt/slideLayouts/slideLayout2688.xml" ContentType="application/vnd.openxmlformats-officedocument.presentationml.slideLayout+xml"/>
  <Override PartName="/ppt/slideLayouts/slideLayout2689.xml" ContentType="application/vnd.openxmlformats-officedocument.presentationml.slideLayout+xml"/>
  <Override PartName="/ppt/slideLayouts/slideLayout2690.xml" ContentType="application/vnd.openxmlformats-officedocument.presentationml.slideLayout+xml"/>
  <Override PartName="/ppt/slideLayouts/slideLayout2691.xml" ContentType="application/vnd.openxmlformats-officedocument.presentationml.slideLayout+xml"/>
  <Override PartName="/ppt/slideLayouts/slideLayout2692.xml" ContentType="application/vnd.openxmlformats-officedocument.presentationml.slideLayout+xml"/>
  <Override PartName="/ppt/slideLayouts/slideLayout2693.xml" ContentType="application/vnd.openxmlformats-officedocument.presentationml.slideLayout+xml"/>
  <Override PartName="/ppt/slideLayouts/slideLayout2694.xml" ContentType="application/vnd.openxmlformats-officedocument.presentationml.slideLayout+xml"/>
  <Override PartName="/ppt/slideLayouts/slideLayout2695.xml" ContentType="application/vnd.openxmlformats-officedocument.presentationml.slideLayout+xml"/>
  <Override PartName="/ppt/slideLayouts/slideLayout2696.xml" ContentType="application/vnd.openxmlformats-officedocument.presentationml.slideLayout+xml"/>
  <Override PartName="/ppt/slideLayouts/slideLayout2697.xml" ContentType="application/vnd.openxmlformats-officedocument.presentationml.slideLayout+xml"/>
  <Override PartName="/ppt/slideLayouts/slideLayout2698.xml" ContentType="application/vnd.openxmlformats-officedocument.presentationml.slideLayout+xml"/>
  <Override PartName="/ppt/slideLayouts/slideLayout2699.xml" ContentType="application/vnd.openxmlformats-officedocument.presentationml.slideLayout+xml"/>
  <Override PartName="/ppt/slideLayouts/slideLayout2700.xml" ContentType="application/vnd.openxmlformats-officedocument.presentationml.slideLayout+xml"/>
  <Override PartName="/ppt/slideLayouts/slideLayout2701.xml" ContentType="application/vnd.openxmlformats-officedocument.presentationml.slideLayout+xml"/>
  <Override PartName="/ppt/slideLayouts/slideLayout2702.xml" ContentType="application/vnd.openxmlformats-officedocument.presentationml.slideLayout+xml"/>
  <Override PartName="/ppt/slideLayouts/slideLayout2703.xml" ContentType="application/vnd.openxmlformats-officedocument.presentationml.slideLayout+xml"/>
  <Override PartName="/ppt/slideLayouts/slideLayout2704.xml" ContentType="application/vnd.openxmlformats-officedocument.presentationml.slideLayout+xml"/>
  <Override PartName="/ppt/slideLayouts/slideLayout2705.xml" ContentType="application/vnd.openxmlformats-officedocument.presentationml.slideLayout+xml"/>
  <Override PartName="/ppt/slideLayouts/slideLayout2706.xml" ContentType="application/vnd.openxmlformats-officedocument.presentationml.slideLayout+xml"/>
  <Override PartName="/ppt/slideLayouts/slideLayout2707.xml" ContentType="application/vnd.openxmlformats-officedocument.presentationml.slideLayout+xml"/>
  <Override PartName="/ppt/slideLayouts/slideLayout2708.xml" ContentType="application/vnd.openxmlformats-officedocument.presentationml.slideLayout+xml"/>
  <Override PartName="/ppt/slideLayouts/slideLayout2709.xml" ContentType="application/vnd.openxmlformats-officedocument.presentationml.slideLayout+xml"/>
  <Override PartName="/ppt/slideLayouts/slideLayout2710.xml" ContentType="application/vnd.openxmlformats-officedocument.presentationml.slideLayout+xml"/>
  <Override PartName="/ppt/slideLayouts/slideLayout2711.xml" ContentType="application/vnd.openxmlformats-officedocument.presentationml.slideLayout+xml"/>
  <Override PartName="/ppt/slideLayouts/slideLayout2712.xml" ContentType="application/vnd.openxmlformats-officedocument.presentationml.slideLayout+xml"/>
  <Override PartName="/ppt/slideLayouts/slideLayout2713.xml" ContentType="application/vnd.openxmlformats-officedocument.presentationml.slideLayout+xml"/>
  <Override PartName="/ppt/slideLayouts/slideLayout2714.xml" ContentType="application/vnd.openxmlformats-officedocument.presentationml.slideLayout+xml"/>
  <Override PartName="/ppt/slideLayouts/slideLayout2715.xml" ContentType="application/vnd.openxmlformats-officedocument.presentationml.slideLayout+xml"/>
  <Override PartName="/ppt/slideLayouts/slideLayout2716.xml" ContentType="application/vnd.openxmlformats-officedocument.presentationml.slideLayout+xml"/>
  <Override PartName="/ppt/slideLayouts/slideLayout2717.xml" ContentType="application/vnd.openxmlformats-officedocument.presentationml.slideLayout+xml"/>
  <Override PartName="/ppt/slideLayouts/slideLayout2718.xml" ContentType="application/vnd.openxmlformats-officedocument.presentationml.slideLayout+xml"/>
  <Override PartName="/ppt/slideLayouts/slideLayout2719.xml" ContentType="application/vnd.openxmlformats-officedocument.presentationml.slideLayout+xml"/>
  <Override PartName="/ppt/slideLayouts/slideLayout2720.xml" ContentType="application/vnd.openxmlformats-officedocument.presentationml.slideLayout+xml"/>
  <Override PartName="/ppt/slideLayouts/slideLayout2721.xml" ContentType="application/vnd.openxmlformats-officedocument.presentationml.slideLayout+xml"/>
  <Override PartName="/ppt/slideLayouts/slideLayout2722.xml" ContentType="application/vnd.openxmlformats-officedocument.presentationml.slideLayout+xml"/>
  <Override PartName="/ppt/slideLayouts/slideLayout2723.xml" ContentType="application/vnd.openxmlformats-officedocument.presentationml.slideLayout+xml"/>
  <Override PartName="/ppt/slideLayouts/slideLayout2724.xml" ContentType="application/vnd.openxmlformats-officedocument.presentationml.slideLayout+xml"/>
  <Override PartName="/ppt/slideLayouts/slideLayout2725.xml" ContentType="application/vnd.openxmlformats-officedocument.presentationml.slideLayout+xml"/>
  <Override PartName="/ppt/slideLayouts/slideLayout2726.xml" ContentType="application/vnd.openxmlformats-officedocument.presentationml.slideLayout+xml"/>
  <Override PartName="/ppt/slideLayouts/slideLayout2727.xml" ContentType="application/vnd.openxmlformats-officedocument.presentationml.slideLayout+xml"/>
  <Override PartName="/ppt/slideLayouts/slideLayout2728.xml" ContentType="application/vnd.openxmlformats-officedocument.presentationml.slideLayout+xml"/>
  <Override PartName="/ppt/slideLayouts/slideLayout2729.xml" ContentType="application/vnd.openxmlformats-officedocument.presentationml.slideLayout+xml"/>
  <Override PartName="/ppt/slideLayouts/slideLayout2730.xml" ContentType="application/vnd.openxmlformats-officedocument.presentationml.slideLayout+xml"/>
  <Override PartName="/ppt/slideLayouts/slideLayout2731.xml" ContentType="application/vnd.openxmlformats-officedocument.presentationml.slideLayout+xml"/>
  <Override PartName="/ppt/slideLayouts/slideLayout2732.xml" ContentType="application/vnd.openxmlformats-officedocument.presentationml.slideLayout+xml"/>
  <Override PartName="/ppt/slideLayouts/slideLayout2733.xml" ContentType="application/vnd.openxmlformats-officedocument.presentationml.slideLayout+xml"/>
  <Override PartName="/ppt/slideLayouts/slideLayout2734.xml" ContentType="application/vnd.openxmlformats-officedocument.presentationml.slideLayout+xml"/>
  <Override PartName="/ppt/slideLayouts/slideLayout2735.xml" ContentType="application/vnd.openxmlformats-officedocument.presentationml.slideLayout+xml"/>
  <Override PartName="/ppt/slideLayouts/slideLayout2736.xml" ContentType="application/vnd.openxmlformats-officedocument.presentationml.slideLayout+xml"/>
  <Override PartName="/ppt/slideLayouts/slideLayout2737.xml" ContentType="application/vnd.openxmlformats-officedocument.presentationml.slideLayout+xml"/>
  <Override PartName="/ppt/slideLayouts/slideLayout2738.xml" ContentType="application/vnd.openxmlformats-officedocument.presentationml.slideLayout+xml"/>
  <Override PartName="/ppt/slideLayouts/slideLayout2739.xml" ContentType="application/vnd.openxmlformats-officedocument.presentationml.slideLayout+xml"/>
  <Override PartName="/ppt/slideLayouts/slideLayout2740.xml" ContentType="application/vnd.openxmlformats-officedocument.presentationml.slideLayout+xml"/>
  <Override PartName="/ppt/slideLayouts/slideLayout2741.xml" ContentType="application/vnd.openxmlformats-officedocument.presentationml.slideLayout+xml"/>
  <Override PartName="/ppt/slideLayouts/slideLayout2742.xml" ContentType="application/vnd.openxmlformats-officedocument.presentationml.slideLayout+xml"/>
  <Override PartName="/ppt/slideLayouts/slideLayout2743.xml" ContentType="application/vnd.openxmlformats-officedocument.presentationml.slideLayout+xml"/>
  <Override PartName="/ppt/slideLayouts/slideLayout2744.xml" ContentType="application/vnd.openxmlformats-officedocument.presentationml.slideLayout+xml"/>
  <Override PartName="/ppt/slideLayouts/slideLayout2745.xml" ContentType="application/vnd.openxmlformats-officedocument.presentationml.slideLayout+xml"/>
  <Override PartName="/ppt/slideLayouts/slideLayout2746.xml" ContentType="application/vnd.openxmlformats-officedocument.presentationml.slideLayout+xml"/>
  <Override PartName="/ppt/slideLayouts/slideLayout2747.xml" ContentType="application/vnd.openxmlformats-officedocument.presentationml.slideLayout+xml"/>
  <Override PartName="/ppt/slideLayouts/slideLayout2748.xml" ContentType="application/vnd.openxmlformats-officedocument.presentationml.slideLayout+xml"/>
  <Override PartName="/ppt/slideLayouts/slideLayout2749.xml" ContentType="application/vnd.openxmlformats-officedocument.presentationml.slideLayout+xml"/>
  <Override PartName="/ppt/slideLayouts/slideLayout2750.xml" ContentType="application/vnd.openxmlformats-officedocument.presentationml.slideLayout+xml"/>
  <Override PartName="/ppt/slideLayouts/slideLayout2751.xml" ContentType="application/vnd.openxmlformats-officedocument.presentationml.slideLayout+xml"/>
  <Override PartName="/ppt/slideLayouts/slideLayout2752.xml" ContentType="application/vnd.openxmlformats-officedocument.presentationml.slideLayout+xml"/>
  <Override PartName="/ppt/slideLayouts/slideLayout2753.xml" ContentType="application/vnd.openxmlformats-officedocument.presentationml.slideLayout+xml"/>
  <Override PartName="/ppt/slideLayouts/slideLayout2754.xml" ContentType="application/vnd.openxmlformats-officedocument.presentationml.slideLayout+xml"/>
  <Override PartName="/ppt/slideLayouts/slideLayout2755.xml" ContentType="application/vnd.openxmlformats-officedocument.presentationml.slideLayout+xml"/>
  <Override PartName="/ppt/slideLayouts/slideLayout2756.xml" ContentType="application/vnd.openxmlformats-officedocument.presentationml.slideLayout+xml"/>
  <Override PartName="/ppt/slideLayouts/slideLayout2757.xml" ContentType="application/vnd.openxmlformats-officedocument.presentationml.slideLayout+xml"/>
  <Override PartName="/ppt/slideLayouts/slideLayout2758.xml" ContentType="application/vnd.openxmlformats-officedocument.presentationml.slideLayout+xml"/>
  <Override PartName="/ppt/slideLayouts/slideLayout2759.xml" ContentType="application/vnd.openxmlformats-officedocument.presentationml.slideLayout+xml"/>
  <Override PartName="/ppt/slideLayouts/slideLayout2760.xml" ContentType="application/vnd.openxmlformats-officedocument.presentationml.slideLayout+xml"/>
  <Override PartName="/ppt/slideLayouts/slideLayout2761.xml" ContentType="application/vnd.openxmlformats-officedocument.presentationml.slideLayout+xml"/>
  <Override PartName="/ppt/slideLayouts/slideLayout2762.xml" ContentType="application/vnd.openxmlformats-officedocument.presentationml.slideLayout+xml"/>
  <Override PartName="/ppt/slideLayouts/slideLayout2763.xml" ContentType="application/vnd.openxmlformats-officedocument.presentationml.slideLayout+xml"/>
  <Override PartName="/ppt/slideLayouts/slideLayout2764.xml" ContentType="application/vnd.openxmlformats-officedocument.presentationml.slideLayout+xml"/>
  <Override PartName="/ppt/slideLayouts/slideLayout2765.xml" ContentType="application/vnd.openxmlformats-officedocument.presentationml.slideLayout+xml"/>
  <Override PartName="/ppt/slideLayouts/slideLayout2766.xml" ContentType="application/vnd.openxmlformats-officedocument.presentationml.slideLayout+xml"/>
  <Override PartName="/ppt/slideLayouts/slideLayout2767.xml" ContentType="application/vnd.openxmlformats-officedocument.presentationml.slideLayout+xml"/>
  <Override PartName="/ppt/slideLayouts/slideLayout2768.xml" ContentType="application/vnd.openxmlformats-officedocument.presentationml.slideLayout+xml"/>
  <Override PartName="/ppt/slideLayouts/slideLayout2769.xml" ContentType="application/vnd.openxmlformats-officedocument.presentationml.slideLayout+xml"/>
  <Override PartName="/ppt/slideLayouts/slideLayout2770.xml" ContentType="application/vnd.openxmlformats-officedocument.presentationml.slideLayout+xml"/>
  <Override PartName="/ppt/slideLayouts/slideLayout2771.xml" ContentType="application/vnd.openxmlformats-officedocument.presentationml.slideLayout+xml"/>
  <Override PartName="/ppt/slideLayouts/slideLayout2772.xml" ContentType="application/vnd.openxmlformats-officedocument.presentationml.slideLayout+xml"/>
  <Override PartName="/ppt/slideLayouts/slideLayout2773.xml" ContentType="application/vnd.openxmlformats-officedocument.presentationml.slideLayout+xml"/>
  <Override PartName="/ppt/slideLayouts/slideLayout2774.xml" ContentType="application/vnd.openxmlformats-officedocument.presentationml.slideLayout+xml"/>
  <Override PartName="/ppt/slideLayouts/slideLayout2775.xml" ContentType="application/vnd.openxmlformats-officedocument.presentationml.slideLayout+xml"/>
  <Override PartName="/ppt/slideLayouts/slideLayout2776.xml" ContentType="application/vnd.openxmlformats-officedocument.presentationml.slideLayout+xml"/>
  <Override PartName="/ppt/slideLayouts/slideLayout2777.xml" ContentType="application/vnd.openxmlformats-officedocument.presentationml.slideLayout+xml"/>
  <Override PartName="/ppt/slideLayouts/slideLayout2778.xml" ContentType="application/vnd.openxmlformats-officedocument.presentationml.slideLayout+xml"/>
  <Override PartName="/ppt/slideLayouts/slideLayout2779.xml" ContentType="application/vnd.openxmlformats-officedocument.presentationml.slideLayout+xml"/>
  <Override PartName="/ppt/slideLayouts/slideLayout2780.xml" ContentType="application/vnd.openxmlformats-officedocument.presentationml.slideLayout+xml"/>
  <Override PartName="/ppt/slideLayouts/slideLayout2781.xml" ContentType="application/vnd.openxmlformats-officedocument.presentationml.slideLayout+xml"/>
  <Override PartName="/ppt/slideLayouts/slideLayout2782.xml" ContentType="application/vnd.openxmlformats-officedocument.presentationml.slideLayout+xml"/>
  <Override PartName="/ppt/slideLayouts/slideLayout2783.xml" ContentType="application/vnd.openxmlformats-officedocument.presentationml.slideLayout+xml"/>
  <Override PartName="/ppt/slideLayouts/slideLayout2784.xml" ContentType="application/vnd.openxmlformats-officedocument.presentationml.slideLayout+xml"/>
  <Override PartName="/ppt/slideLayouts/slideLayout2785.xml" ContentType="application/vnd.openxmlformats-officedocument.presentationml.slideLayout+xml"/>
  <Override PartName="/ppt/slideLayouts/slideLayout2786.xml" ContentType="application/vnd.openxmlformats-officedocument.presentationml.slideLayout+xml"/>
  <Override PartName="/ppt/slideLayouts/slideLayout2787.xml" ContentType="application/vnd.openxmlformats-officedocument.presentationml.slideLayout+xml"/>
  <Override PartName="/ppt/slideLayouts/slideLayout2788.xml" ContentType="application/vnd.openxmlformats-officedocument.presentationml.slideLayout+xml"/>
  <Override PartName="/ppt/slideLayouts/slideLayout2789.xml" ContentType="application/vnd.openxmlformats-officedocument.presentationml.slideLayout+xml"/>
  <Override PartName="/ppt/slideLayouts/slideLayout2790.xml" ContentType="application/vnd.openxmlformats-officedocument.presentationml.slideLayout+xml"/>
  <Override PartName="/ppt/slideLayouts/slideLayout2791.xml" ContentType="application/vnd.openxmlformats-officedocument.presentationml.slideLayout+xml"/>
  <Override PartName="/ppt/slideLayouts/slideLayout2792.xml" ContentType="application/vnd.openxmlformats-officedocument.presentationml.slideLayout+xml"/>
  <Override PartName="/ppt/slideLayouts/slideLayout2793.xml" ContentType="application/vnd.openxmlformats-officedocument.presentationml.slideLayout+xml"/>
  <Override PartName="/ppt/slideLayouts/slideLayout2794.xml" ContentType="application/vnd.openxmlformats-officedocument.presentationml.slideLayout+xml"/>
  <Override PartName="/ppt/slideLayouts/slideLayout2795.xml" ContentType="application/vnd.openxmlformats-officedocument.presentationml.slideLayout+xml"/>
  <Override PartName="/ppt/slideLayouts/slideLayout2796.xml" ContentType="application/vnd.openxmlformats-officedocument.presentationml.slideLayout+xml"/>
  <Override PartName="/ppt/slideLayouts/slideLayout2797.xml" ContentType="application/vnd.openxmlformats-officedocument.presentationml.slideLayout+xml"/>
  <Override PartName="/ppt/slideLayouts/slideLayout2798.xml" ContentType="application/vnd.openxmlformats-officedocument.presentationml.slideLayout+xml"/>
  <Override PartName="/ppt/slideLayouts/slideLayout2799.xml" ContentType="application/vnd.openxmlformats-officedocument.presentationml.slideLayout+xml"/>
  <Override PartName="/ppt/slideLayouts/slideLayout2800.xml" ContentType="application/vnd.openxmlformats-officedocument.presentationml.slideLayout+xml"/>
  <Override PartName="/ppt/slideLayouts/slideLayout2801.xml" ContentType="application/vnd.openxmlformats-officedocument.presentationml.slideLayout+xml"/>
  <Override PartName="/ppt/slideLayouts/slideLayout2802.xml" ContentType="application/vnd.openxmlformats-officedocument.presentationml.slideLayout+xml"/>
  <Override PartName="/ppt/slideLayouts/slideLayout2803.xml" ContentType="application/vnd.openxmlformats-officedocument.presentationml.slideLayout+xml"/>
  <Override PartName="/ppt/slideLayouts/slideLayout2804.xml" ContentType="application/vnd.openxmlformats-officedocument.presentationml.slideLayout+xml"/>
  <Override PartName="/ppt/slideLayouts/slideLayout2805.xml" ContentType="application/vnd.openxmlformats-officedocument.presentationml.slideLayout+xml"/>
  <Override PartName="/ppt/slideLayouts/slideLayout2806.xml" ContentType="application/vnd.openxmlformats-officedocument.presentationml.slideLayout+xml"/>
  <Override PartName="/ppt/slideLayouts/slideLayout2807.xml" ContentType="application/vnd.openxmlformats-officedocument.presentationml.slideLayout+xml"/>
  <Override PartName="/ppt/slideLayouts/slideLayout2808.xml" ContentType="application/vnd.openxmlformats-officedocument.presentationml.slideLayout+xml"/>
  <Override PartName="/ppt/slideLayouts/slideLayout2809.xml" ContentType="application/vnd.openxmlformats-officedocument.presentationml.slideLayout+xml"/>
  <Override PartName="/ppt/slideLayouts/slideLayout2810.xml" ContentType="application/vnd.openxmlformats-officedocument.presentationml.slideLayout+xml"/>
  <Override PartName="/ppt/slideLayouts/slideLayout2811.xml" ContentType="application/vnd.openxmlformats-officedocument.presentationml.slideLayout+xml"/>
  <Override PartName="/ppt/slideLayouts/slideLayout2812.xml" ContentType="application/vnd.openxmlformats-officedocument.presentationml.slideLayout+xml"/>
  <Override PartName="/ppt/slideLayouts/slideLayout2813.xml" ContentType="application/vnd.openxmlformats-officedocument.presentationml.slideLayout+xml"/>
  <Override PartName="/ppt/slideLayouts/slideLayout2814.xml" ContentType="application/vnd.openxmlformats-officedocument.presentationml.slideLayout+xml"/>
  <Override PartName="/ppt/slideLayouts/slideLayout2815.xml" ContentType="application/vnd.openxmlformats-officedocument.presentationml.slideLayout+xml"/>
  <Override PartName="/ppt/slideLayouts/slideLayout2816.xml" ContentType="application/vnd.openxmlformats-officedocument.presentationml.slideLayout+xml"/>
  <Override PartName="/ppt/slideLayouts/slideLayout2817.xml" ContentType="application/vnd.openxmlformats-officedocument.presentationml.slideLayout+xml"/>
  <Override PartName="/ppt/slideLayouts/slideLayout2818.xml" ContentType="application/vnd.openxmlformats-officedocument.presentationml.slideLayout+xml"/>
  <Override PartName="/ppt/slideLayouts/slideLayout2819.xml" ContentType="application/vnd.openxmlformats-officedocument.presentationml.slideLayout+xml"/>
  <Override PartName="/ppt/slideLayouts/slideLayout2820.xml" ContentType="application/vnd.openxmlformats-officedocument.presentationml.slideLayout+xml"/>
  <Override PartName="/ppt/slideLayouts/slideLayout2821.xml" ContentType="application/vnd.openxmlformats-officedocument.presentationml.slideLayout+xml"/>
  <Override PartName="/ppt/slideLayouts/slideLayout2822.xml" ContentType="application/vnd.openxmlformats-officedocument.presentationml.slideLayout+xml"/>
  <Override PartName="/ppt/slideLayouts/slideLayout2823.xml" ContentType="application/vnd.openxmlformats-officedocument.presentationml.slideLayout+xml"/>
  <Override PartName="/ppt/slideLayouts/slideLayout2824.xml" ContentType="application/vnd.openxmlformats-officedocument.presentationml.slideLayout+xml"/>
  <Override PartName="/ppt/slideLayouts/slideLayout2825.xml" ContentType="application/vnd.openxmlformats-officedocument.presentationml.slideLayout+xml"/>
  <Override PartName="/ppt/slideLayouts/slideLayout2826.xml" ContentType="application/vnd.openxmlformats-officedocument.presentationml.slideLayout+xml"/>
  <Override PartName="/ppt/slideLayouts/slideLayout2827.xml" ContentType="application/vnd.openxmlformats-officedocument.presentationml.slideLayout+xml"/>
  <Override PartName="/ppt/slideLayouts/slideLayout2828.xml" ContentType="application/vnd.openxmlformats-officedocument.presentationml.slideLayout+xml"/>
  <Override PartName="/ppt/slideLayouts/slideLayout2829.xml" ContentType="application/vnd.openxmlformats-officedocument.presentationml.slideLayout+xml"/>
  <Override PartName="/ppt/slideLayouts/slideLayout2830.xml" ContentType="application/vnd.openxmlformats-officedocument.presentationml.slideLayout+xml"/>
  <Override PartName="/ppt/slideLayouts/slideLayout2831.xml" ContentType="application/vnd.openxmlformats-officedocument.presentationml.slideLayout+xml"/>
  <Override PartName="/ppt/slideLayouts/slideLayout2832.xml" ContentType="application/vnd.openxmlformats-officedocument.presentationml.slideLayout+xml"/>
  <Override PartName="/ppt/slideLayouts/slideLayout2833.xml" ContentType="application/vnd.openxmlformats-officedocument.presentationml.slideLayout+xml"/>
  <Override PartName="/ppt/slideLayouts/slideLayout2834.xml" ContentType="application/vnd.openxmlformats-officedocument.presentationml.slideLayout+xml"/>
  <Override PartName="/ppt/slideLayouts/slideLayout2835.xml" ContentType="application/vnd.openxmlformats-officedocument.presentationml.slideLayout+xml"/>
  <Override PartName="/ppt/slideLayouts/slideLayout2836.xml" ContentType="application/vnd.openxmlformats-officedocument.presentationml.slideLayout+xml"/>
  <Override PartName="/ppt/slideLayouts/slideLayout2837.xml" ContentType="application/vnd.openxmlformats-officedocument.presentationml.slideLayout+xml"/>
  <Override PartName="/ppt/slideLayouts/slideLayout2838.xml" ContentType="application/vnd.openxmlformats-officedocument.presentationml.slideLayout+xml"/>
  <Override PartName="/ppt/slideLayouts/slideLayout2839.xml" ContentType="application/vnd.openxmlformats-officedocument.presentationml.slideLayout+xml"/>
  <Override PartName="/ppt/slideLayouts/slideLayout2840.xml" ContentType="application/vnd.openxmlformats-officedocument.presentationml.slideLayout+xml"/>
  <Override PartName="/ppt/slideLayouts/slideLayout2841.xml" ContentType="application/vnd.openxmlformats-officedocument.presentationml.slideLayout+xml"/>
  <Override PartName="/ppt/slideLayouts/slideLayout2842.xml" ContentType="application/vnd.openxmlformats-officedocument.presentationml.slideLayout+xml"/>
  <Override PartName="/ppt/slideLayouts/slideLayout2843.xml" ContentType="application/vnd.openxmlformats-officedocument.presentationml.slideLayout+xml"/>
  <Override PartName="/ppt/slideLayouts/slideLayout2844.xml" ContentType="application/vnd.openxmlformats-officedocument.presentationml.slideLayout+xml"/>
  <Override PartName="/ppt/slideLayouts/slideLayout2845.xml" ContentType="application/vnd.openxmlformats-officedocument.presentationml.slideLayout+xml"/>
  <Override PartName="/ppt/slideLayouts/slideLayout2846.xml" ContentType="application/vnd.openxmlformats-officedocument.presentationml.slideLayout+xml"/>
  <Override PartName="/ppt/slideLayouts/slideLayout2847.xml" ContentType="application/vnd.openxmlformats-officedocument.presentationml.slideLayout+xml"/>
  <Override PartName="/ppt/slideLayouts/slideLayout2848.xml" ContentType="application/vnd.openxmlformats-officedocument.presentationml.slideLayout+xml"/>
  <Override PartName="/ppt/slideLayouts/slideLayout2849.xml" ContentType="application/vnd.openxmlformats-officedocument.presentationml.slideLayout+xml"/>
  <Override PartName="/ppt/slideLayouts/slideLayout2850.xml" ContentType="application/vnd.openxmlformats-officedocument.presentationml.slideLayout+xml"/>
  <Override PartName="/ppt/slideLayouts/slideLayout2851.xml" ContentType="application/vnd.openxmlformats-officedocument.presentationml.slideLayout+xml"/>
  <Override PartName="/ppt/slideLayouts/slideLayout2852.xml" ContentType="application/vnd.openxmlformats-officedocument.presentationml.slideLayout+xml"/>
  <Override PartName="/ppt/slideLayouts/slideLayout2853.xml" ContentType="application/vnd.openxmlformats-officedocument.presentationml.slideLayout+xml"/>
  <Override PartName="/ppt/slideLayouts/slideLayout2854.xml" ContentType="application/vnd.openxmlformats-officedocument.presentationml.slideLayout+xml"/>
  <Override PartName="/ppt/slideLayouts/slideLayout2855.xml" ContentType="application/vnd.openxmlformats-officedocument.presentationml.slideLayout+xml"/>
  <Override PartName="/ppt/slideLayouts/slideLayout2856.xml" ContentType="application/vnd.openxmlformats-officedocument.presentationml.slideLayout+xml"/>
  <Override PartName="/ppt/slideLayouts/slideLayout2857.xml" ContentType="application/vnd.openxmlformats-officedocument.presentationml.slideLayout+xml"/>
  <Override PartName="/ppt/slideLayouts/slideLayout2858.xml" ContentType="application/vnd.openxmlformats-officedocument.presentationml.slideLayout+xml"/>
  <Override PartName="/ppt/slideLayouts/slideLayout2859.xml" ContentType="application/vnd.openxmlformats-officedocument.presentationml.slideLayout+xml"/>
  <Override PartName="/ppt/slideLayouts/slideLayout2860.xml" ContentType="application/vnd.openxmlformats-officedocument.presentationml.slideLayout+xml"/>
  <Override PartName="/ppt/slideLayouts/slideLayout2861.xml" ContentType="application/vnd.openxmlformats-officedocument.presentationml.slideLayout+xml"/>
  <Override PartName="/ppt/slideLayouts/slideLayout2862.xml" ContentType="application/vnd.openxmlformats-officedocument.presentationml.slideLayout+xml"/>
  <Override PartName="/ppt/slideLayouts/slideLayout2863.xml" ContentType="application/vnd.openxmlformats-officedocument.presentationml.slideLayout+xml"/>
  <Override PartName="/ppt/slideLayouts/slideLayout2864.xml" ContentType="application/vnd.openxmlformats-officedocument.presentationml.slideLayout+xml"/>
  <Override PartName="/ppt/slideLayouts/slideLayout2865.xml" ContentType="application/vnd.openxmlformats-officedocument.presentationml.slideLayout+xml"/>
  <Override PartName="/ppt/slideLayouts/slideLayout2866.xml" ContentType="application/vnd.openxmlformats-officedocument.presentationml.slideLayout+xml"/>
  <Override PartName="/ppt/slideLayouts/slideLayout2867.xml" ContentType="application/vnd.openxmlformats-officedocument.presentationml.slideLayout+xml"/>
  <Override PartName="/ppt/slideLayouts/slideLayout2868.xml" ContentType="application/vnd.openxmlformats-officedocument.presentationml.slideLayout+xml"/>
  <Override PartName="/ppt/slideLayouts/slideLayout2869.xml" ContentType="application/vnd.openxmlformats-officedocument.presentationml.slideLayout+xml"/>
  <Override PartName="/ppt/slideLayouts/slideLayout2870.xml" ContentType="application/vnd.openxmlformats-officedocument.presentationml.slideLayout+xml"/>
  <Override PartName="/ppt/slideLayouts/slideLayout2871.xml" ContentType="application/vnd.openxmlformats-officedocument.presentationml.slideLayout+xml"/>
  <Override PartName="/ppt/slideLayouts/slideLayout2872.xml" ContentType="application/vnd.openxmlformats-officedocument.presentationml.slideLayout+xml"/>
  <Override PartName="/ppt/slideLayouts/slideLayout2873.xml" ContentType="application/vnd.openxmlformats-officedocument.presentationml.slideLayout+xml"/>
  <Override PartName="/ppt/slideLayouts/slideLayout2874.xml" ContentType="application/vnd.openxmlformats-officedocument.presentationml.slideLayout+xml"/>
  <Override PartName="/ppt/slideLayouts/slideLayout2875.xml" ContentType="application/vnd.openxmlformats-officedocument.presentationml.slideLayout+xml"/>
  <Override PartName="/ppt/slideLayouts/slideLayout2876.xml" ContentType="application/vnd.openxmlformats-officedocument.presentationml.slideLayout+xml"/>
  <Override PartName="/ppt/slideLayouts/slideLayout2877.xml" ContentType="application/vnd.openxmlformats-officedocument.presentationml.slideLayout+xml"/>
  <Override PartName="/ppt/slideLayouts/slideLayout2878.xml" ContentType="application/vnd.openxmlformats-officedocument.presentationml.slideLayout+xml"/>
  <Override PartName="/ppt/slideLayouts/slideLayout2879.xml" ContentType="application/vnd.openxmlformats-officedocument.presentationml.slideLayout+xml"/>
  <Override PartName="/ppt/slideLayouts/slideLayout2880.xml" ContentType="application/vnd.openxmlformats-officedocument.presentationml.slideLayout+xml"/>
  <Override PartName="/ppt/slideLayouts/slideLayout2881.xml" ContentType="application/vnd.openxmlformats-officedocument.presentationml.slideLayout+xml"/>
  <Override PartName="/ppt/slideLayouts/slideLayout2882.xml" ContentType="application/vnd.openxmlformats-officedocument.presentationml.slideLayout+xml"/>
  <Override PartName="/ppt/slideLayouts/slideLayout2883.xml" ContentType="application/vnd.openxmlformats-officedocument.presentationml.slideLayout+xml"/>
  <Override PartName="/ppt/slideLayouts/slideLayout2884.xml" ContentType="application/vnd.openxmlformats-officedocument.presentationml.slideLayout+xml"/>
  <Override PartName="/ppt/slideLayouts/slideLayout2885.xml" ContentType="application/vnd.openxmlformats-officedocument.presentationml.slideLayout+xml"/>
  <Override PartName="/ppt/slideLayouts/slideLayout2886.xml" ContentType="application/vnd.openxmlformats-officedocument.presentationml.slideLayout+xml"/>
  <Override PartName="/ppt/slideLayouts/slideLayout2887.xml" ContentType="application/vnd.openxmlformats-officedocument.presentationml.slideLayout+xml"/>
  <Override PartName="/ppt/slideLayouts/slideLayout2888.xml" ContentType="application/vnd.openxmlformats-officedocument.presentationml.slideLayout+xml"/>
  <Override PartName="/ppt/slideLayouts/slideLayout2889.xml" ContentType="application/vnd.openxmlformats-officedocument.presentationml.slideLayout+xml"/>
  <Override PartName="/ppt/slideLayouts/slideLayout2890.xml" ContentType="application/vnd.openxmlformats-officedocument.presentationml.slideLayout+xml"/>
  <Override PartName="/ppt/slideLayouts/slideLayout2891.xml" ContentType="application/vnd.openxmlformats-officedocument.presentationml.slideLayout+xml"/>
  <Override PartName="/ppt/slideLayouts/slideLayout2892.xml" ContentType="application/vnd.openxmlformats-officedocument.presentationml.slideLayout+xml"/>
  <Override PartName="/ppt/slideLayouts/slideLayout2893.xml" ContentType="application/vnd.openxmlformats-officedocument.presentationml.slideLayout+xml"/>
  <Override PartName="/ppt/slideLayouts/slideLayout2894.xml" ContentType="application/vnd.openxmlformats-officedocument.presentationml.slideLayout+xml"/>
  <Override PartName="/ppt/slideLayouts/slideLayout2895.xml" ContentType="application/vnd.openxmlformats-officedocument.presentationml.slideLayout+xml"/>
  <Override PartName="/ppt/slideLayouts/slideLayout2896.xml" ContentType="application/vnd.openxmlformats-officedocument.presentationml.slideLayout+xml"/>
  <Override PartName="/ppt/slideLayouts/slideLayout2897.xml" ContentType="application/vnd.openxmlformats-officedocument.presentationml.slideLayout+xml"/>
  <Override PartName="/ppt/slideLayouts/slideLayout2898.xml" ContentType="application/vnd.openxmlformats-officedocument.presentationml.slideLayout+xml"/>
  <Override PartName="/ppt/slideLayouts/slideLayout2899.xml" ContentType="application/vnd.openxmlformats-officedocument.presentationml.slideLayout+xml"/>
  <Override PartName="/ppt/slideLayouts/slideLayout2900.xml" ContentType="application/vnd.openxmlformats-officedocument.presentationml.slideLayout+xml"/>
  <Override PartName="/ppt/slideLayouts/slideLayout2901.xml" ContentType="application/vnd.openxmlformats-officedocument.presentationml.slideLayout+xml"/>
  <Override PartName="/ppt/slideLayouts/slideLayout2902.xml" ContentType="application/vnd.openxmlformats-officedocument.presentationml.slideLayout+xml"/>
  <Override PartName="/ppt/slideLayouts/slideLayout2903.xml" ContentType="application/vnd.openxmlformats-officedocument.presentationml.slideLayout+xml"/>
  <Override PartName="/ppt/slideLayouts/slideLayout2904.xml" ContentType="application/vnd.openxmlformats-officedocument.presentationml.slideLayout+xml"/>
  <Override PartName="/ppt/slideLayouts/slideLayout2905.xml" ContentType="application/vnd.openxmlformats-officedocument.presentationml.slideLayout+xml"/>
  <Override PartName="/ppt/slideLayouts/slideLayout2906.xml" ContentType="application/vnd.openxmlformats-officedocument.presentationml.slideLayout+xml"/>
  <Override PartName="/ppt/slideLayouts/slideLayout2907.xml" ContentType="application/vnd.openxmlformats-officedocument.presentationml.slideLayout+xml"/>
  <Override PartName="/ppt/slideLayouts/slideLayout2908.xml" ContentType="application/vnd.openxmlformats-officedocument.presentationml.slideLayout+xml"/>
  <Override PartName="/ppt/slideLayouts/slideLayout2909.xml" ContentType="application/vnd.openxmlformats-officedocument.presentationml.slideLayout+xml"/>
  <Override PartName="/ppt/slideLayouts/slideLayout2910.xml" ContentType="application/vnd.openxmlformats-officedocument.presentationml.slideLayout+xml"/>
  <Override PartName="/ppt/slideLayouts/slideLayout2911.xml" ContentType="application/vnd.openxmlformats-officedocument.presentationml.slideLayout+xml"/>
  <Override PartName="/ppt/slideLayouts/slideLayout2912.xml" ContentType="application/vnd.openxmlformats-officedocument.presentationml.slideLayout+xml"/>
  <Override PartName="/ppt/slideLayouts/slideLayout2913.xml" ContentType="application/vnd.openxmlformats-officedocument.presentationml.slideLayout+xml"/>
  <Override PartName="/ppt/slideLayouts/slideLayout2914.xml" ContentType="application/vnd.openxmlformats-officedocument.presentationml.slideLayout+xml"/>
  <Override PartName="/ppt/slideLayouts/slideLayout2915.xml" ContentType="application/vnd.openxmlformats-officedocument.presentationml.slideLayout+xml"/>
  <Override PartName="/ppt/slideLayouts/slideLayout2916.xml" ContentType="application/vnd.openxmlformats-officedocument.presentationml.slideLayout+xml"/>
  <Override PartName="/ppt/slideLayouts/slideLayout2917.xml" ContentType="application/vnd.openxmlformats-officedocument.presentationml.slideLayout+xml"/>
  <Override PartName="/ppt/slideLayouts/slideLayout2918.xml" ContentType="application/vnd.openxmlformats-officedocument.presentationml.slideLayout+xml"/>
  <Override PartName="/ppt/slideLayouts/slideLayout2919.xml" ContentType="application/vnd.openxmlformats-officedocument.presentationml.slideLayout+xml"/>
  <Override PartName="/ppt/slideLayouts/slideLayout2920.xml" ContentType="application/vnd.openxmlformats-officedocument.presentationml.slideLayout+xml"/>
  <Override PartName="/ppt/slideLayouts/slideLayout2921.xml" ContentType="application/vnd.openxmlformats-officedocument.presentationml.slideLayout+xml"/>
  <Override PartName="/ppt/slideLayouts/slideLayout2922.xml" ContentType="application/vnd.openxmlformats-officedocument.presentationml.slideLayout+xml"/>
  <Override PartName="/ppt/slideLayouts/slideLayout2923.xml" ContentType="application/vnd.openxmlformats-officedocument.presentationml.slideLayout+xml"/>
  <Override PartName="/ppt/slideLayouts/slideLayout2924.xml" ContentType="application/vnd.openxmlformats-officedocument.presentationml.slideLayout+xml"/>
  <Override PartName="/ppt/slideLayouts/slideLayout2925.xml" ContentType="application/vnd.openxmlformats-officedocument.presentationml.slideLayout+xml"/>
  <Override PartName="/ppt/slideLayouts/slideLayout2926.xml" ContentType="application/vnd.openxmlformats-officedocument.presentationml.slideLayout+xml"/>
  <Override PartName="/ppt/slideLayouts/slideLayout2927.xml" ContentType="application/vnd.openxmlformats-officedocument.presentationml.slideLayout+xml"/>
  <Override PartName="/ppt/slideLayouts/slideLayout2928.xml" ContentType="application/vnd.openxmlformats-officedocument.presentationml.slideLayout+xml"/>
  <Override PartName="/ppt/slideLayouts/slideLayout2929.xml" ContentType="application/vnd.openxmlformats-officedocument.presentationml.slideLayout+xml"/>
  <Override PartName="/ppt/slideLayouts/slideLayout2930.xml" ContentType="application/vnd.openxmlformats-officedocument.presentationml.slideLayout+xml"/>
  <Override PartName="/ppt/slideLayouts/slideLayout2931.xml" ContentType="application/vnd.openxmlformats-officedocument.presentationml.slideLayout+xml"/>
  <Override PartName="/ppt/slideLayouts/slideLayout2932.xml" ContentType="application/vnd.openxmlformats-officedocument.presentationml.slideLayout+xml"/>
  <Override PartName="/ppt/slideLayouts/slideLayout2933.xml" ContentType="application/vnd.openxmlformats-officedocument.presentationml.slideLayout+xml"/>
  <Override PartName="/ppt/slideLayouts/slideLayout2934.xml" ContentType="application/vnd.openxmlformats-officedocument.presentationml.slideLayout+xml"/>
  <Override PartName="/ppt/slideLayouts/slideLayout2935.xml" ContentType="application/vnd.openxmlformats-officedocument.presentationml.slideLayout+xml"/>
  <Override PartName="/ppt/slideLayouts/slideLayout2936.xml" ContentType="application/vnd.openxmlformats-officedocument.presentationml.slideLayout+xml"/>
  <Override PartName="/ppt/slideLayouts/slideLayout2937.xml" ContentType="application/vnd.openxmlformats-officedocument.presentationml.slideLayout+xml"/>
  <Override PartName="/ppt/slideLayouts/slideLayout2938.xml" ContentType="application/vnd.openxmlformats-officedocument.presentationml.slideLayout+xml"/>
  <Override PartName="/ppt/slideLayouts/slideLayout2939.xml" ContentType="application/vnd.openxmlformats-officedocument.presentationml.slideLayout+xml"/>
  <Override PartName="/ppt/slideLayouts/slideLayout2940.xml" ContentType="application/vnd.openxmlformats-officedocument.presentationml.slideLayout+xml"/>
  <Override PartName="/ppt/slideLayouts/slideLayout2941.xml" ContentType="application/vnd.openxmlformats-officedocument.presentationml.slideLayout+xml"/>
  <Override PartName="/ppt/slideLayouts/slideLayout2942.xml" ContentType="application/vnd.openxmlformats-officedocument.presentationml.slideLayout+xml"/>
  <Override PartName="/ppt/slideLayouts/slideLayout2943.xml" ContentType="application/vnd.openxmlformats-officedocument.presentationml.slideLayout+xml"/>
  <Override PartName="/ppt/slideLayouts/slideLayout2944.xml" ContentType="application/vnd.openxmlformats-officedocument.presentationml.slideLayout+xml"/>
  <Override PartName="/ppt/slideLayouts/slideLayout2945.xml" ContentType="application/vnd.openxmlformats-officedocument.presentationml.slideLayout+xml"/>
  <Override PartName="/ppt/slideLayouts/slideLayout2946.xml" ContentType="application/vnd.openxmlformats-officedocument.presentationml.slideLayout+xml"/>
  <Override PartName="/ppt/slideLayouts/slideLayout2947.xml" ContentType="application/vnd.openxmlformats-officedocument.presentationml.slideLayout+xml"/>
  <Override PartName="/ppt/slideLayouts/slideLayout2948.xml" ContentType="application/vnd.openxmlformats-officedocument.presentationml.slideLayout+xml"/>
  <Override PartName="/ppt/slideLayouts/slideLayout2949.xml" ContentType="application/vnd.openxmlformats-officedocument.presentationml.slideLayout+xml"/>
  <Override PartName="/ppt/slideLayouts/slideLayout2950.xml" ContentType="application/vnd.openxmlformats-officedocument.presentationml.slideLayout+xml"/>
  <Override PartName="/ppt/slideLayouts/slideLayout2951.xml" ContentType="application/vnd.openxmlformats-officedocument.presentationml.slideLayout+xml"/>
  <Override PartName="/ppt/slideLayouts/slideLayout2952.xml" ContentType="application/vnd.openxmlformats-officedocument.presentationml.slideLayout+xml"/>
  <Override PartName="/ppt/slideLayouts/slideLayout2953.xml" ContentType="application/vnd.openxmlformats-officedocument.presentationml.slideLayout+xml"/>
  <Override PartName="/ppt/slideLayouts/slideLayout2954.xml" ContentType="application/vnd.openxmlformats-officedocument.presentationml.slideLayout+xml"/>
  <Override PartName="/ppt/slideLayouts/slideLayout2955.xml" ContentType="application/vnd.openxmlformats-officedocument.presentationml.slideLayout+xml"/>
  <Override PartName="/ppt/slideLayouts/slideLayout2956.xml" ContentType="application/vnd.openxmlformats-officedocument.presentationml.slideLayout+xml"/>
  <Override PartName="/ppt/slideLayouts/slideLayout2957.xml" ContentType="application/vnd.openxmlformats-officedocument.presentationml.slideLayout+xml"/>
  <Override PartName="/ppt/slideLayouts/slideLayout2958.xml" ContentType="application/vnd.openxmlformats-officedocument.presentationml.slideLayout+xml"/>
  <Override PartName="/ppt/slideLayouts/slideLayout2959.xml" ContentType="application/vnd.openxmlformats-officedocument.presentationml.slideLayout+xml"/>
  <Override PartName="/ppt/slideLayouts/slideLayout2960.xml" ContentType="application/vnd.openxmlformats-officedocument.presentationml.slideLayout+xml"/>
  <Override PartName="/ppt/slideLayouts/slideLayout2961.xml" ContentType="application/vnd.openxmlformats-officedocument.presentationml.slideLayout+xml"/>
  <Override PartName="/ppt/slideLayouts/slideLayout2962.xml" ContentType="application/vnd.openxmlformats-officedocument.presentationml.slideLayout+xml"/>
  <Override PartName="/ppt/slideLayouts/slideLayout2963.xml" ContentType="application/vnd.openxmlformats-officedocument.presentationml.slideLayout+xml"/>
  <Override PartName="/ppt/slideLayouts/slideLayout2964.xml" ContentType="application/vnd.openxmlformats-officedocument.presentationml.slideLayout+xml"/>
  <Override PartName="/ppt/slideLayouts/slideLayout2965.xml" ContentType="application/vnd.openxmlformats-officedocument.presentationml.slideLayout+xml"/>
  <Override PartName="/ppt/slideLayouts/slideLayout2966.xml" ContentType="application/vnd.openxmlformats-officedocument.presentationml.slideLayout+xml"/>
  <Override PartName="/ppt/slideLayouts/slideLayout2967.xml" ContentType="application/vnd.openxmlformats-officedocument.presentationml.slideLayout+xml"/>
  <Override PartName="/ppt/slideLayouts/slideLayout2968.xml" ContentType="application/vnd.openxmlformats-officedocument.presentationml.slideLayout+xml"/>
  <Override PartName="/ppt/slideLayouts/slideLayout2969.xml" ContentType="application/vnd.openxmlformats-officedocument.presentationml.slideLayout+xml"/>
  <Override PartName="/ppt/slideLayouts/slideLayout2970.xml" ContentType="application/vnd.openxmlformats-officedocument.presentationml.slideLayout+xml"/>
  <Override PartName="/ppt/slideLayouts/slideLayout2971.xml" ContentType="application/vnd.openxmlformats-officedocument.presentationml.slideLayout+xml"/>
  <Override PartName="/ppt/slideLayouts/slideLayout2972.xml" ContentType="application/vnd.openxmlformats-officedocument.presentationml.slideLayout+xml"/>
  <Override PartName="/ppt/slideLayouts/slideLayout2973.xml" ContentType="application/vnd.openxmlformats-officedocument.presentationml.slideLayout+xml"/>
  <Override PartName="/ppt/slideLayouts/slideLayout2974.xml" ContentType="application/vnd.openxmlformats-officedocument.presentationml.slideLayout+xml"/>
  <Override PartName="/ppt/slideLayouts/slideLayout2975.xml" ContentType="application/vnd.openxmlformats-officedocument.presentationml.slideLayout+xml"/>
  <Override PartName="/ppt/slideLayouts/slideLayout2976.xml" ContentType="application/vnd.openxmlformats-officedocument.presentationml.slideLayout+xml"/>
  <Override PartName="/ppt/slideLayouts/slideLayout2977.xml" ContentType="application/vnd.openxmlformats-officedocument.presentationml.slideLayout+xml"/>
  <Override PartName="/ppt/slideLayouts/slideLayout2978.xml" ContentType="application/vnd.openxmlformats-officedocument.presentationml.slideLayout+xml"/>
  <Override PartName="/ppt/slideLayouts/slideLayout2979.xml" ContentType="application/vnd.openxmlformats-officedocument.presentationml.slideLayout+xml"/>
  <Override PartName="/ppt/slideLayouts/slideLayout2980.xml" ContentType="application/vnd.openxmlformats-officedocument.presentationml.slideLayout+xml"/>
  <Override PartName="/ppt/slideLayouts/slideLayout2981.xml" ContentType="application/vnd.openxmlformats-officedocument.presentationml.slideLayout+xml"/>
  <Override PartName="/ppt/slideLayouts/slideLayout2982.xml" ContentType="application/vnd.openxmlformats-officedocument.presentationml.slideLayout+xml"/>
  <Override PartName="/ppt/slideLayouts/slideLayout2983.xml" ContentType="application/vnd.openxmlformats-officedocument.presentationml.slideLayout+xml"/>
  <Override PartName="/ppt/slideLayouts/slideLayout2984.xml" ContentType="application/vnd.openxmlformats-officedocument.presentationml.slideLayout+xml"/>
  <Override PartName="/ppt/slideLayouts/slideLayout2985.xml" ContentType="application/vnd.openxmlformats-officedocument.presentationml.slideLayout+xml"/>
  <Override PartName="/ppt/slideLayouts/slideLayout2986.xml" ContentType="application/vnd.openxmlformats-officedocument.presentationml.slideLayout+xml"/>
  <Override PartName="/ppt/slideLayouts/slideLayout2987.xml" ContentType="application/vnd.openxmlformats-officedocument.presentationml.slideLayout+xml"/>
  <Override PartName="/ppt/slideLayouts/slideLayout2988.xml" ContentType="application/vnd.openxmlformats-officedocument.presentationml.slideLayout+xml"/>
  <Override PartName="/ppt/slideLayouts/slideLayout2989.xml" ContentType="application/vnd.openxmlformats-officedocument.presentationml.slideLayout+xml"/>
  <Override PartName="/ppt/slideLayouts/slideLayout2990.xml" ContentType="application/vnd.openxmlformats-officedocument.presentationml.slideLayout+xml"/>
  <Override PartName="/ppt/slideLayouts/slideLayout2991.xml" ContentType="application/vnd.openxmlformats-officedocument.presentationml.slideLayout+xml"/>
  <Override PartName="/ppt/slideLayouts/slideLayout2992.xml" ContentType="application/vnd.openxmlformats-officedocument.presentationml.slideLayout+xml"/>
  <Override PartName="/ppt/slideLayouts/slideLayout2993.xml" ContentType="application/vnd.openxmlformats-officedocument.presentationml.slideLayout+xml"/>
  <Override PartName="/ppt/slideLayouts/slideLayout2994.xml" ContentType="application/vnd.openxmlformats-officedocument.presentationml.slideLayout+xml"/>
  <Override PartName="/ppt/slideLayouts/slideLayout2995.xml" ContentType="application/vnd.openxmlformats-officedocument.presentationml.slideLayout+xml"/>
  <Override PartName="/ppt/slideLayouts/slideLayout2996.xml" ContentType="application/vnd.openxmlformats-officedocument.presentationml.slideLayout+xml"/>
  <Override PartName="/ppt/slideLayouts/slideLayout2997.xml" ContentType="application/vnd.openxmlformats-officedocument.presentationml.slideLayout+xml"/>
  <Override PartName="/ppt/slideLayouts/slideLayout2998.xml" ContentType="application/vnd.openxmlformats-officedocument.presentationml.slideLayout+xml"/>
  <Override PartName="/ppt/slideLayouts/slideLayout2999.xml" ContentType="application/vnd.openxmlformats-officedocument.presentationml.slideLayout+xml"/>
  <Override PartName="/ppt/slideLayouts/slideLayout3000.xml" ContentType="application/vnd.openxmlformats-officedocument.presentationml.slideLayout+xml"/>
  <Override PartName="/ppt/slideLayouts/slideLayout3001.xml" ContentType="application/vnd.openxmlformats-officedocument.presentationml.slideLayout+xml"/>
  <Override PartName="/ppt/slideLayouts/slideLayout3002.xml" ContentType="application/vnd.openxmlformats-officedocument.presentationml.slideLayout+xml"/>
  <Override PartName="/ppt/slideLayouts/slideLayout3003.xml" ContentType="application/vnd.openxmlformats-officedocument.presentationml.slideLayout+xml"/>
  <Override PartName="/ppt/slideLayouts/slideLayout3004.xml" ContentType="application/vnd.openxmlformats-officedocument.presentationml.slideLayout+xml"/>
  <Override PartName="/ppt/slideLayouts/slideLayout3005.xml" ContentType="application/vnd.openxmlformats-officedocument.presentationml.slideLayout+xml"/>
  <Override PartName="/ppt/slideLayouts/slideLayout3006.xml" ContentType="application/vnd.openxmlformats-officedocument.presentationml.slideLayout+xml"/>
  <Override PartName="/ppt/slideLayouts/slideLayout3007.xml" ContentType="application/vnd.openxmlformats-officedocument.presentationml.slideLayout+xml"/>
  <Override PartName="/ppt/slideLayouts/slideLayout3008.xml" ContentType="application/vnd.openxmlformats-officedocument.presentationml.slideLayout+xml"/>
  <Override PartName="/ppt/slideLayouts/slideLayout3009.xml" ContentType="application/vnd.openxmlformats-officedocument.presentationml.slideLayout+xml"/>
  <Override PartName="/ppt/slideLayouts/slideLayout3010.xml" ContentType="application/vnd.openxmlformats-officedocument.presentationml.slideLayout+xml"/>
  <Override PartName="/ppt/slideLayouts/slideLayout3011.xml" ContentType="application/vnd.openxmlformats-officedocument.presentationml.slideLayout+xml"/>
  <Override PartName="/ppt/slideLayouts/slideLayout3012.xml" ContentType="application/vnd.openxmlformats-officedocument.presentationml.slideLayout+xml"/>
  <Override PartName="/ppt/slideLayouts/slideLayout3013.xml" ContentType="application/vnd.openxmlformats-officedocument.presentationml.slideLayout+xml"/>
  <Override PartName="/ppt/slideLayouts/slideLayout3014.xml" ContentType="application/vnd.openxmlformats-officedocument.presentationml.slideLayout+xml"/>
  <Override PartName="/ppt/slideLayouts/slideLayout3015.xml" ContentType="application/vnd.openxmlformats-officedocument.presentationml.slideLayout+xml"/>
  <Override PartName="/ppt/slideLayouts/slideLayout3016.xml" ContentType="application/vnd.openxmlformats-officedocument.presentationml.slideLayout+xml"/>
  <Override PartName="/ppt/slideLayouts/slideLayout3017.xml" ContentType="application/vnd.openxmlformats-officedocument.presentationml.slideLayout+xml"/>
  <Override PartName="/ppt/slideLayouts/slideLayout3018.xml" ContentType="application/vnd.openxmlformats-officedocument.presentationml.slideLayout+xml"/>
  <Override PartName="/ppt/slideLayouts/slideLayout3019.xml" ContentType="application/vnd.openxmlformats-officedocument.presentationml.slideLayout+xml"/>
  <Override PartName="/ppt/slideLayouts/slideLayout3020.xml" ContentType="application/vnd.openxmlformats-officedocument.presentationml.slideLayout+xml"/>
  <Override PartName="/ppt/slideLayouts/slideLayout3021.xml" ContentType="application/vnd.openxmlformats-officedocument.presentationml.slideLayout+xml"/>
  <Override PartName="/ppt/slideLayouts/slideLayout3022.xml" ContentType="application/vnd.openxmlformats-officedocument.presentationml.slideLayout+xml"/>
  <Override PartName="/ppt/slideLayouts/slideLayout3023.xml" ContentType="application/vnd.openxmlformats-officedocument.presentationml.slideLayout+xml"/>
  <Override PartName="/ppt/slideLayouts/slideLayout3024.xml" ContentType="application/vnd.openxmlformats-officedocument.presentationml.slideLayout+xml"/>
  <Override PartName="/ppt/slideLayouts/slideLayout3025.xml" ContentType="application/vnd.openxmlformats-officedocument.presentationml.slideLayout+xml"/>
  <Override PartName="/ppt/slideLayouts/slideLayout3026.xml" ContentType="application/vnd.openxmlformats-officedocument.presentationml.slideLayout+xml"/>
  <Override PartName="/ppt/slideLayouts/slideLayout3027.xml" ContentType="application/vnd.openxmlformats-officedocument.presentationml.slideLayout+xml"/>
  <Override PartName="/ppt/slideLayouts/slideLayout3028.xml" ContentType="application/vnd.openxmlformats-officedocument.presentationml.slideLayout+xml"/>
  <Override PartName="/ppt/slideLayouts/slideLayout3029.xml" ContentType="application/vnd.openxmlformats-officedocument.presentationml.slideLayout+xml"/>
  <Override PartName="/ppt/slideLayouts/slideLayout3030.xml" ContentType="application/vnd.openxmlformats-officedocument.presentationml.slideLayout+xml"/>
  <Override PartName="/ppt/slideLayouts/slideLayout3031.xml" ContentType="application/vnd.openxmlformats-officedocument.presentationml.slideLayout+xml"/>
  <Override PartName="/ppt/slideLayouts/slideLayout3032.xml" ContentType="application/vnd.openxmlformats-officedocument.presentationml.slideLayout+xml"/>
  <Override PartName="/ppt/slideLayouts/slideLayout3033.xml" ContentType="application/vnd.openxmlformats-officedocument.presentationml.slideLayout+xml"/>
  <Override PartName="/ppt/slideLayouts/slideLayout3034.xml" ContentType="application/vnd.openxmlformats-officedocument.presentationml.slideLayout+xml"/>
  <Override PartName="/ppt/slideLayouts/slideLayout3035.xml" ContentType="application/vnd.openxmlformats-officedocument.presentationml.slideLayout+xml"/>
  <Override PartName="/ppt/slideLayouts/slideLayout3036.xml" ContentType="application/vnd.openxmlformats-officedocument.presentationml.slideLayout+xml"/>
  <Override PartName="/ppt/slideLayouts/slideLayout3037.xml" ContentType="application/vnd.openxmlformats-officedocument.presentationml.slideLayout+xml"/>
  <Override PartName="/ppt/slideLayouts/slideLayout3038.xml" ContentType="application/vnd.openxmlformats-officedocument.presentationml.slideLayout+xml"/>
  <Override PartName="/ppt/slideLayouts/slideLayout3039.xml" ContentType="application/vnd.openxmlformats-officedocument.presentationml.slideLayout+xml"/>
  <Override PartName="/ppt/slideLayouts/slideLayout3040.xml" ContentType="application/vnd.openxmlformats-officedocument.presentationml.slideLayout+xml"/>
  <Override PartName="/ppt/slideLayouts/slideLayout3041.xml" ContentType="application/vnd.openxmlformats-officedocument.presentationml.slideLayout+xml"/>
  <Override PartName="/ppt/slideLayouts/slideLayout3042.xml" ContentType="application/vnd.openxmlformats-officedocument.presentationml.slideLayout+xml"/>
  <Override PartName="/ppt/slideLayouts/slideLayout3043.xml" ContentType="application/vnd.openxmlformats-officedocument.presentationml.slideLayout+xml"/>
  <Override PartName="/ppt/slideLayouts/slideLayout3044.xml" ContentType="application/vnd.openxmlformats-officedocument.presentationml.slideLayout+xml"/>
  <Override PartName="/ppt/slideLayouts/slideLayout3045.xml" ContentType="application/vnd.openxmlformats-officedocument.presentationml.slideLayout+xml"/>
  <Override PartName="/ppt/slideLayouts/slideLayout3046.xml" ContentType="application/vnd.openxmlformats-officedocument.presentationml.slideLayout+xml"/>
  <Override PartName="/ppt/slideLayouts/slideLayout3047.xml" ContentType="application/vnd.openxmlformats-officedocument.presentationml.slideLayout+xml"/>
  <Override PartName="/ppt/slideLayouts/slideLayout3048.xml" ContentType="application/vnd.openxmlformats-officedocument.presentationml.slideLayout+xml"/>
  <Override PartName="/ppt/slideLayouts/slideLayout3049.xml" ContentType="application/vnd.openxmlformats-officedocument.presentationml.slideLayout+xml"/>
  <Override PartName="/ppt/slideLayouts/slideLayout3050.xml" ContentType="application/vnd.openxmlformats-officedocument.presentationml.slideLayout+xml"/>
  <Override PartName="/ppt/slideLayouts/slideLayout3051.xml" ContentType="application/vnd.openxmlformats-officedocument.presentationml.slideLayout+xml"/>
  <Override PartName="/ppt/slideLayouts/slideLayout3052.xml" ContentType="application/vnd.openxmlformats-officedocument.presentationml.slideLayout+xml"/>
  <Override PartName="/ppt/slideLayouts/slideLayout3053.xml" ContentType="application/vnd.openxmlformats-officedocument.presentationml.slideLayout+xml"/>
  <Override PartName="/ppt/slideLayouts/slideLayout3054.xml" ContentType="application/vnd.openxmlformats-officedocument.presentationml.slideLayout+xml"/>
  <Override PartName="/ppt/slideLayouts/slideLayout3055.xml" ContentType="application/vnd.openxmlformats-officedocument.presentationml.slideLayout+xml"/>
  <Override PartName="/ppt/slideLayouts/slideLayout3056.xml" ContentType="application/vnd.openxmlformats-officedocument.presentationml.slideLayout+xml"/>
  <Override PartName="/ppt/slideLayouts/slideLayout3057.xml" ContentType="application/vnd.openxmlformats-officedocument.presentationml.slideLayout+xml"/>
  <Override PartName="/ppt/slideLayouts/slideLayout3058.xml" ContentType="application/vnd.openxmlformats-officedocument.presentationml.slideLayout+xml"/>
  <Override PartName="/ppt/slideLayouts/slideLayout3059.xml" ContentType="application/vnd.openxmlformats-officedocument.presentationml.slideLayout+xml"/>
  <Override PartName="/ppt/slideLayouts/slideLayout3060.xml" ContentType="application/vnd.openxmlformats-officedocument.presentationml.slideLayout+xml"/>
  <Override PartName="/ppt/slideLayouts/slideLayout3061.xml" ContentType="application/vnd.openxmlformats-officedocument.presentationml.slideLayout+xml"/>
  <Override PartName="/ppt/slideLayouts/slideLayout3062.xml" ContentType="application/vnd.openxmlformats-officedocument.presentationml.slideLayout+xml"/>
  <Override PartName="/ppt/slideLayouts/slideLayout3063.xml" ContentType="application/vnd.openxmlformats-officedocument.presentationml.slideLayout+xml"/>
  <Override PartName="/ppt/slideLayouts/slideLayout3064.xml" ContentType="application/vnd.openxmlformats-officedocument.presentationml.slideLayout+xml"/>
  <Override PartName="/ppt/slideLayouts/slideLayout3065.xml" ContentType="application/vnd.openxmlformats-officedocument.presentationml.slideLayout+xml"/>
  <Override PartName="/ppt/slideLayouts/slideLayout3066.xml" ContentType="application/vnd.openxmlformats-officedocument.presentationml.slideLayout+xml"/>
  <Override PartName="/ppt/slideLayouts/slideLayout3067.xml" ContentType="application/vnd.openxmlformats-officedocument.presentationml.slideLayout+xml"/>
  <Override PartName="/ppt/slideLayouts/slideLayout3068.xml" ContentType="application/vnd.openxmlformats-officedocument.presentationml.slideLayout+xml"/>
  <Override PartName="/ppt/slideLayouts/slideLayout3069.xml" ContentType="application/vnd.openxmlformats-officedocument.presentationml.slideLayout+xml"/>
  <Override PartName="/ppt/slideLayouts/slideLayout3070.xml" ContentType="application/vnd.openxmlformats-officedocument.presentationml.slideLayout+xml"/>
  <Override PartName="/ppt/slideLayouts/slideLayout3071.xml" ContentType="application/vnd.openxmlformats-officedocument.presentationml.slideLayout+xml"/>
  <Override PartName="/ppt/slideLayouts/slideLayout3072.xml" ContentType="application/vnd.openxmlformats-officedocument.presentationml.slideLayout+xml"/>
  <Override PartName="/ppt/slideLayouts/slideLayout3073.xml" ContentType="application/vnd.openxmlformats-officedocument.presentationml.slideLayout+xml"/>
  <Override PartName="/ppt/slideLayouts/slideLayout3074.xml" ContentType="application/vnd.openxmlformats-officedocument.presentationml.slideLayout+xml"/>
  <Override PartName="/ppt/slideLayouts/slideLayout3075.xml" ContentType="application/vnd.openxmlformats-officedocument.presentationml.slideLayout+xml"/>
  <Override PartName="/ppt/slideLayouts/slideLayout3076.xml" ContentType="application/vnd.openxmlformats-officedocument.presentationml.slideLayout+xml"/>
  <Override PartName="/ppt/slideLayouts/slideLayout3077.xml" ContentType="application/vnd.openxmlformats-officedocument.presentationml.slideLayout+xml"/>
  <Override PartName="/ppt/slideLayouts/slideLayout3078.xml" ContentType="application/vnd.openxmlformats-officedocument.presentationml.slideLayout+xml"/>
  <Override PartName="/ppt/slideLayouts/slideLayout3079.xml" ContentType="application/vnd.openxmlformats-officedocument.presentationml.slideLayout+xml"/>
  <Override PartName="/ppt/slideLayouts/slideLayout3080.xml" ContentType="application/vnd.openxmlformats-officedocument.presentationml.slideLayout+xml"/>
  <Override PartName="/ppt/slideLayouts/slideLayout3081.xml" ContentType="application/vnd.openxmlformats-officedocument.presentationml.slideLayout+xml"/>
  <Override PartName="/ppt/slideLayouts/slideLayout3082.xml" ContentType="application/vnd.openxmlformats-officedocument.presentationml.slideLayout+xml"/>
  <Override PartName="/ppt/slideLayouts/slideLayout3083.xml" ContentType="application/vnd.openxmlformats-officedocument.presentationml.slideLayout+xml"/>
  <Override PartName="/ppt/slideLayouts/slideLayout3084.xml" ContentType="application/vnd.openxmlformats-officedocument.presentationml.slideLayout+xml"/>
  <Override PartName="/ppt/slideLayouts/slideLayout3085.xml" ContentType="application/vnd.openxmlformats-officedocument.presentationml.slideLayout+xml"/>
  <Override PartName="/ppt/slideLayouts/slideLayout3086.xml" ContentType="application/vnd.openxmlformats-officedocument.presentationml.slideLayout+xml"/>
  <Override PartName="/ppt/slideLayouts/slideLayout3087.xml" ContentType="application/vnd.openxmlformats-officedocument.presentationml.slideLayout+xml"/>
  <Override PartName="/ppt/slideLayouts/slideLayout3088.xml" ContentType="application/vnd.openxmlformats-officedocument.presentationml.slideLayout+xml"/>
  <Override PartName="/ppt/slideLayouts/slideLayout3089.xml" ContentType="application/vnd.openxmlformats-officedocument.presentationml.slideLayout+xml"/>
  <Override PartName="/ppt/slideLayouts/slideLayout3090.xml" ContentType="application/vnd.openxmlformats-officedocument.presentationml.slideLayout+xml"/>
  <Override PartName="/ppt/slideLayouts/slideLayout3091.xml" ContentType="application/vnd.openxmlformats-officedocument.presentationml.slideLayout+xml"/>
  <Override PartName="/ppt/slideLayouts/slideLayout3092.xml" ContentType="application/vnd.openxmlformats-officedocument.presentationml.slideLayout+xml"/>
  <Override PartName="/ppt/slideLayouts/slideLayout3093.xml" ContentType="application/vnd.openxmlformats-officedocument.presentationml.slideLayout+xml"/>
  <Override PartName="/ppt/slideLayouts/slideLayout3094.xml" ContentType="application/vnd.openxmlformats-officedocument.presentationml.slideLayout+xml"/>
  <Override PartName="/ppt/slideLayouts/slideLayout3095.xml" ContentType="application/vnd.openxmlformats-officedocument.presentationml.slideLayout+xml"/>
  <Override PartName="/ppt/slideLayouts/slideLayout3096.xml" ContentType="application/vnd.openxmlformats-officedocument.presentationml.slideLayout+xml"/>
  <Override PartName="/ppt/slideLayouts/slideLayout3097.xml" ContentType="application/vnd.openxmlformats-officedocument.presentationml.slideLayout+xml"/>
  <Override PartName="/ppt/slideLayouts/slideLayout3098.xml" ContentType="application/vnd.openxmlformats-officedocument.presentationml.slideLayout+xml"/>
  <Override PartName="/ppt/slideLayouts/slideLayout3099.xml" ContentType="application/vnd.openxmlformats-officedocument.presentationml.slideLayout+xml"/>
  <Override PartName="/ppt/slideLayouts/slideLayout3100.xml" ContentType="application/vnd.openxmlformats-officedocument.presentationml.slideLayout+xml"/>
  <Override PartName="/ppt/slideLayouts/slideLayout3101.xml" ContentType="application/vnd.openxmlformats-officedocument.presentationml.slideLayout+xml"/>
  <Override PartName="/ppt/slideLayouts/slideLayout3102.xml" ContentType="application/vnd.openxmlformats-officedocument.presentationml.slideLayout+xml"/>
  <Override PartName="/ppt/slideLayouts/slideLayout3103.xml" ContentType="application/vnd.openxmlformats-officedocument.presentationml.slideLayout+xml"/>
  <Override PartName="/ppt/slideLayouts/slideLayout3104.xml" ContentType="application/vnd.openxmlformats-officedocument.presentationml.slideLayout+xml"/>
  <Override PartName="/ppt/slideLayouts/slideLayout3105.xml" ContentType="application/vnd.openxmlformats-officedocument.presentationml.slideLayout+xml"/>
  <Override PartName="/ppt/slideLayouts/slideLayout3106.xml" ContentType="application/vnd.openxmlformats-officedocument.presentationml.slideLayout+xml"/>
  <Override PartName="/ppt/slideLayouts/slideLayout3107.xml" ContentType="application/vnd.openxmlformats-officedocument.presentationml.slideLayout+xml"/>
  <Override PartName="/ppt/slideLayouts/slideLayout3108.xml" ContentType="application/vnd.openxmlformats-officedocument.presentationml.slideLayout+xml"/>
  <Override PartName="/ppt/slideLayouts/slideLayout3109.xml" ContentType="application/vnd.openxmlformats-officedocument.presentationml.slideLayout+xml"/>
  <Override PartName="/ppt/slideLayouts/slideLayout3110.xml" ContentType="application/vnd.openxmlformats-officedocument.presentationml.slideLayout+xml"/>
  <Override PartName="/ppt/slideLayouts/slideLayout3111.xml" ContentType="application/vnd.openxmlformats-officedocument.presentationml.slideLayout+xml"/>
  <Override PartName="/ppt/slideLayouts/slideLayout3112.xml" ContentType="application/vnd.openxmlformats-officedocument.presentationml.slideLayout+xml"/>
  <Override PartName="/ppt/slideLayouts/slideLayout3113.xml" ContentType="application/vnd.openxmlformats-officedocument.presentationml.slideLayout+xml"/>
  <Override PartName="/ppt/slideLayouts/slideLayout3114.xml" ContentType="application/vnd.openxmlformats-officedocument.presentationml.slideLayout+xml"/>
  <Override PartName="/ppt/slideLayouts/slideLayout3115.xml" ContentType="application/vnd.openxmlformats-officedocument.presentationml.slideLayout+xml"/>
  <Override PartName="/ppt/slideLayouts/slideLayout3116.xml" ContentType="application/vnd.openxmlformats-officedocument.presentationml.slideLayout+xml"/>
  <Override PartName="/ppt/slideLayouts/slideLayout3117.xml" ContentType="application/vnd.openxmlformats-officedocument.presentationml.slideLayout+xml"/>
  <Override PartName="/ppt/slideLayouts/slideLayout3118.xml" ContentType="application/vnd.openxmlformats-officedocument.presentationml.slideLayout+xml"/>
  <Override PartName="/ppt/slideLayouts/slideLayout3119.xml" ContentType="application/vnd.openxmlformats-officedocument.presentationml.slideLayout+xml"/>
  <Override PartName="/ppt/slideLayouts/slideLayout3120.xml" ContentType="application/vnd.openxmlformats-officedocument.presentationml.slideLayout+xml"/>
  <Override PartName="/ppt/slideLayouts/slideLayout3121.xml" ContentType="application/vnd.openxmlformats-officedocument.presentationml.slideLayout+xml"/>
  <Override PartName="/ppt/slideLayouts/slideLayout3122.xml" ContentType="application/vnd.openxmlformats-officedocument.presentationml.slideLayout+xml"/>
  <Override PartName="/ppt/slideLayouts/slideLayout3123.xml" ContentType="application/vnd.openxmlformats-officedocument.presentationml.slideLayout+xml"/>
  <Override PartName="/ppt/slideLayouts/slideLayout3124.xml" ContentType="application/vnd.openxmlformats-officedocument.presentationml.slideLayout+xml"/>
  <Override PartName="/ppt/slideLayouts/slideLayout3125.xml" ContentType="application/vnd.openxmlformats-officedocument.presentationml.slideLayout+xml"/>
  <Override PartName="/ppt/slideLayouts/slideLayout3126.xml" ContentType="application/vnd.openxmlformats-officedocument.presentationml.slideLayout+xml"/>
  <Override PartName="/ppt/slideLayouts/slideLayout3127.xml" ContentType="application/vnd.openxmlformats-officedocument.presentationml.slideLayout+xml"/>
  <Override PartName="/ppt/slideLayouts/slideLayout3128.xml" ContentType="application/vnd.openxmlformats-officedocument.presentationml.slideLayout+xml"/>
  <Override PartName="/ppt/slideLayouts/slideLayout3129.xml" ContentType="application/vnd.openxmlformats-officedocument.presentationml.slideLayout+xml"/>
  <Override PartName="/ppt/slideLayouts/slideLayout3130.xml" ContentType="application/vnd.openxmlformats-officedocument.presentationml.slideLayout+xml"/>
  <Override PartName="/ppt/slideLayouts/slideLayout3131.xml" ContentType="application/vnd.openxmlformats-officedocument.presentationml.slideLayout+xml"/>
  <Override PartName="/ppt/slideLayouts/slideLayout3132.xml" ContentType="application/vnd.openxmlformats-officedocument.presentationml.slideLayout+xml"/>
  <Override PartName="/ppt/slideLayouts/slideLayout3133.xml" ContentType="application/vnd.openxmlformats-officedocument.presentationml.slideLayout+xml"/>
  <Override PartName="/ppt/slideLayouts/slideLayout3134.xml" ContentType="application/vnd.openxmlformats-officedocument.presentationml.slideLayout+xml"/>
  <Override PartName="/ppt/slideLayouts/slideLayout3135.xml" ContentType="application/vnd.openxmlformats-officedocument.presentationml.slideLayout+xml"/>
  <Override PartName="/ppt/slideLayouts/slideLayout3136.xml" ContentType="application/vnd.openxmlformats-officedocument.presentationml.slideLayout+xml"/>
  <Override PartName="/ppt/slideLayouts/slideLayout3137.xml" ContentType="application/vnd.openxmlformats-officedocument.presentationml.slideLayout+xml"/>
  <Override PartName="/ppt/slideLayouts/slideLayout3138.xml" ContentType="application/vnd.openxmlformats-officedocument.presentationml.slideLayout+xml"/>
  <Override PartName="/ppt/slideLayouts/slideLayout3139.xml" ContentType="application/vnd.openxmlformats-officedocument.presentationml.slideLayout+xml"/>
  <Override PartName="/ppt/slideLayouts/slideLayout3140.xml" ContentType="application/vnd.openxmlformats-officedocument.presentationml.slideLayout+xml"/>
  <Override PartName="/ppt/slideLayouts/slideLayout3141.xml" ContentType="application/vnd.openxmlformats-officedocument.presentationml.slideLayout+xml"/>
  <Override PartName="/ppt/slideLayouts/slideLayout3142.xml" ContentType="application/vnd.openxmlformats-officedocument.presentationml.slideLayout+xml"/>
  <Override PartName="/ppt/slideLayouts/slideLayout3143.xml" ContentType="application/vnd.openxmlformats-officedocument.presentationml.slideLayout+xml"/>
  <Override PartName="/ppt/slideLayouts/slideLayout3144.xml" ContentType="application/vnd.openxmlformats-officedocument.presentationml.slideLayout+xml"/>
  <Override PartName="/ppt/slideLayouts/slideLayout3145.xml" ContentType="application/vnd.openxmlformats-officedocument.presentationml.slideLayout+xml"/>
  <Override PartName="/ppt/slideLayouts/slideLayout3146.xml" ContentType="application/vnd.openxmlformats-officedocument.presentationml.slideLayout+xml"/>
  <Override PartName="/ppt/slideLayouts/slideLayout3147.xml" ContentType="application/vnd.openxmlformats-officedocument.presentationml.slideLayout+xml"/>
  <Override PartName="/ppt/slideLayouts/slideLayout3148.xml" ContentType="application/vnd.openxmlformats-officedocument.presentationml.slideLayout+xml"/>
  <Override PartName="/ppt/slideLayouts/slideLayout3149.xml" ContentType="application/vnd.openxmlformats-officedocument.presentationml.slideLayout+xml"/>
  <Override PartName="/ppt/slideLayouts/slideLayout3150.xml" ContentType="application/vnd.openxmlformats-officedocument.presentationml.slideLayout+xml"/>
  <Override PartName="/ppt/slideLayouts/slideLayout3151.xml" ContentType="application/vnd.openxmlformats-officedocument.presentationml.slideLayout+xml"/>
  <Override PartName="/ppt/slideLayouts/slideLayout3152.xml" ContentType="application/vnd.openxmlformats-officedocument.presentationml.slideLayout+xml"/>
  <Override PartName="/ppt/slideLayouts/slideLayout3153.xml" ContentType="application/vnd.openxmlformats-officedocument.presentationml.slideLayout+xml"/>
  <Override PartName="/ppt/slideLayouts/slideLayout3154.xml" ContentType="application/vnd.openxmlformats-officedocument.presentationml.slideLayout+xml"/>
  <Override PartName="/ppt/slideLayouts/slideLayout3155.xml" ContentType="application/vnd.openxmlformats-officedocument.presentationml.slideLayout+xml"/>
  <Override PartName="/ppt/slideLayouts/slideLayout3156.xml" ContentType="application/vnd.openxmlformats-officedocument.presentationml.slideLayout+xml"/>
  <Override PartName="/ppt/slideLayouts/slideLayout3157.xml" ContentType="application/vnd.openxmlformats-officedocument.presentationml.slideLayout+xml"/>
  <Override PartName="/ppt/slideLayouts/slideLayout3158.xml" ContentType="application/vnd.openxmlformats-officedocument.presentationml.slideLayout+xml"/>
  <Override PartName="/ppt/slideLayouts/slideLayout3159.xml" ContentType="application/vnd.openxmlformats-officedocument.presentationml.slideLayout+xml"/>
  <Override PartName="/ppt/slideLayouts/slideLayout3160.xml" ContentType="application/vnd.openxmlformats-officedocument.presentationml.slideLayout+xml"/>
  <Override PartName="/ppt/slideLayouts/slideLayout3161.xml" ContentType="application/vnd.openxmlformats-officedocument.presentationml.slideLayout+xml"/>
  <Override PartName="/ppt/slideLayouts/slideLayout3162.xml" ContentType="application/vnd.openxmlformats-officedocument.presentationml.slideLayout+xml"/>
  <Override PartName="/ppt/slideLayouts/slideLayout3163.xml" ContentType="application/vnd.openxmlformats-officedocument.presentationml.slideLayout+xml"/>
  <Override PartName="/ppt/slideLayouts/slideLayout3164.xml" ContentType="application/vnd.openxmlformats-officedocument.presentationml.slideLayout+xml"/>
  <Override PartName="/ppt/slideLayouts/slideLayout3165.xml" ContentType="application/vnd.openxmlformats-officedocument.presentationml.slideLayout+xml"/>
  <Override PartName="/ppt/slideLayouts/slideLayout3166.xml" ContentType="application/vnd.openxmlformats-officedocument.presentationml.slideLayout+xml"/>
  <Override PartName="/ppt/slideLayouts/slideLayout3167.xml" ContentType="application/vnd.openxmlformats-officedocument.presentationml.slideLayout+xml"/>
  <Override PartName="/ppt/slideLayouts/slideLayout3168.xml" ContentType="application/vnd.openxmlformats-officedocument.presentationml.slideLayout+xml"/>
  <Override PartName="/ppt/slideLayouts/slideLayout3169.xml" ContentType="application/vnd.openxmlformats-officedocument.presentationml.slideLayout+xml"/>
  <Override PartName="/ppt/slideLayouts/slideLayout3170.xml" ContentType="application/vnd.openxmlformats-officedocument.presentationml.slideLayout+xml"/>
  <Override PartName="/ppt/slideLayouts/slideLayout3171.xml" ContentType="application/vnd.openxmlformats-officedocument.presentationml.slideLayout+xml"/>
  <Override PartName="/ppt/slideLayouts/slideLayout3172.xml" ContentType="application/vnd.openxmlformats-officedocument.presentationml.slideLayout+xml"/>
  <Override PartName="/ppt/slideLayouts/slideLayout3173.xml" ContentType="application/vnd.openxmlformats-officedocument.presentationml.slideLayout+xml"/>
  <Override PartName="/ppt/slideLayouts/slideLayout3174.xml" ContentType="application/vnd.openxmlformats-officedocument.presentationml.slideLayout+xml"/>
  <Override PartName="/ppt/slideLayouts/slideLayout3175.xml" ContentType="application/vnd.openxmlformats-officedocument.presentationml.slideLayout+xml"/>
  <Override PartName="/ppt/slideLayouts/slideLayout3176.xml" ContentType="application/vnd.openxmlformats-officedocument.presentationml.slideLayout+xml"/>
  <Override PartName="/ppt/slideLayouts/slideLayout3177.xml" ContentType="application/vnd.openxmlformats-officedocument.presentationml.slideLayout+xml"/>
  <Override PartName="/ppt/slideLayouts/slideLayout3178.xml" ContentType="application/vnd.openxmlformats-officedocument.presentationml.slideLayout+xml"/>
  <Override PartName="/ppt/slideLayouts/slideLayout3179.xml" ContentType="application/vnd.openxmlformats-officedocument.presentationml.slideLayout+xml"/>
  <Override PartName="/ppt/slideLayouts/slideLayout3180.xml" ContentType="application/vnd.openxmlformats-officedocument.presentationml.slideLayout+xml"/>
  <Override PartName="/ppt/slideLayouts/slideLayout3181.xml" ContentType="application/vnd.openxmlformats-officedocument.presentationml.slideLayout+xml"/>
  <Override PartName="/ppt/slideLayouts/slideLayout3182.xml" ContentType="application/vnd.openxmlformats-officedocument.presentationml.slideLayout+xml"/>
  <Override PartName="/ppt/slideLayouts/slideLayout3183.xml" ContentType="application/vnd.openxmlformats-officedocument.presentationml.slideLayout+xml"/>
  <Override PartName="/ppt/slideLayouts/slideLayout3184.xml" ContentType="application/vnd.openxmlformats-officedocument.presentationml.slideLayout+xml"/>
  <Override PartName="/ppt/slideLayouts/slideLayout3185.xml" ContentType="application/vnd.openxmlformats-officedocument.presentationml.slideLayout+xml"/>
  <Override PartName="/ppt/slideLayouts/slideLayout3186.xml" ContentType="application/vnd.openxmlformats-officedocument.presentationml.slideLayout+xml"/>
  <Override PartName="/ppt/slideLayouts/slideLayout3187.xml" ContentType="application/vnd.openxmlformats-officedocument.presentationml.slideLayout+xml"/>
  <Override PartName="/ppt/slideLayouts/slideLayout3188.xml" ContentType="application/vnd.openxmlformats-officedocument.presentationml.slideLayout+xml"/>
  <Override PartName="/ppt/slideLayouts/slideLayout3189.xml" ContentType="application/vnd.openxmlformats-officedocument.presentationml.slideLayout+xml"/>
  <Override PartName="/ppt/slideLayouts/slideLayout3190.xml" ContentType="application/vnd.openxmlformats-officedocument.presentationml.slideLayout+xml"/>
  <Override PartName="/ppt/slideLayouts/slideLayout3191.xml" ContentType="application/vnd.openxmlformats-officedocument.presentationml.slideLayout+xml"/>
  <Override PartName="/ppt/slideLayouts/slideLayout3192.xml" ContentType="application/vnd.openxmlformats-officedocument.presentationml.slideLayout+xml"/>
  <Override PartName="/ppt/slideLayouts/slideLayout3193.xml" ContentType="application/vnd.openxmlformats-officedocument.presentationml.slideLayout+xml"/>
  <Override PartName="/ppt/slideLayouts/slideLayout3194.xml" ContentType="application/vnd.openxmlformats-officedocument.presentationml.slideLayout+xml"/>
  <Override PartName="/ppt/slideLayouts/slideLayout3195.xml" ContentType="application/vnd.openxmlformats-officedocument.presentationml.slideLayout+xml"/>
  <Override PartName="/ppt/slideLayouts/slideLayout3196.xml" ContentType="application/vnd.openxmlformats-officedocument.presentationml.slideLayout+xml"/>
  <Override PartName="/ppt/slideLayouts/slideLayout3197.xml" ContentType="application/vnd.openxmlformats-officedocument.presentationml.slideLayout+xml"/>
  <Override PartName="/ppt/slideLayouts/slideLayout3198.xml" ContentType="application/vnd.openxmlformats-officedocument.presentationml.slideLayout+xml"/>
  <Override PartName="/ppt/slideLayouts/slideLayout3199.xml" ContentType="application/vnd.openxmlformats-officedocument.presentationml.slideLayout+xml"/>
  <Override PartName="/ppt/slideLayouts/slideLayout3200.xml" ContentType="application/vnd.openxmlformats-officedocument.presentationml.slideLayout+xml"/>
  <Override PartName="/ppt/slideLayouts/slideLayout3201.xml" ContentType="application/vnd.openxmlformats-officedocument.presentationml.slideLayout+xml"/>
  <Override PartName="/ppt/slideLayouts/slideLayout3202.xml" ContentType="application/vnd.openxmlformats-officedocument.presentationml.slideLayout+xml"/>
  <Override PartName="/ppt/slideLayouts/slideLayout3203.xml" ContentType="application/vnd.openxmlformats-officedocument.presentationml.slideLayout+xml"/>
  <Override PartName="/ppt/slideLayouts/slideLayout3204.xml" ContentType="application/vnd.openxmlformats-officedocument.presentationml.slideLayout+xml"/>
  <Override PartName="/ppt/slideLayouts/slideLayout3205.xml" ContentType="application/vnd.openxmlformats-officedocument.presentationml.slideLayout+xml"/>
  <Override PartName="/ppt/slideLayouts/slideLayout3206.xml" ContentType="application/vnd.openxmlformats-officedocument.presentationml.slideLayout+xml"/>
  <Override PartName="/ppt/slideLayouts/slideLayout3207.xml" ContentType="application/vnd.openxmlformats-officedocument.presentationml.slideLayout+xml"/>
  <Override PartName="/ppt/slideLayouts/slideLayout3208.xml" ContentType="application/vnd.openxmlformats-officedocument.presentationml.slideLayout+xml"/>
  <Override PartName="/ppt/slideLayouts/slideLayout3209.xml" ContentType="application/vnd.openxmlformats-officedocument.presentationml.slideLayout+xml"/>
  <Override PartName="/ppt/slideLayouts/slideLayout3210.xml" ContentType="application/vnd.openxmlformats-officedocument.presentationml.slideLayout+xml"/>
  <Override PartName="/ppt/slideLayouts/slideLayout3211.xml" ContentType="application/vnd.openxmlformats-officedocument.presentationml.slideLayout+xml"/>
  <Override PartName="/ppt/slideLayouts/slideLayout3212.xml" ContentType="application/vnd.openxmlformats-officedocument.presentationml.slideLayout+xml"/>
  <Override PartName="/ppt/slideLayouts/slideLayout3213.xml" ContentType="application/vnd.openxmlformats-officedocument.presentationml.slideLayout+xml"/>
  <Override PartName="/ppt/slideLayouts/slideLayout3214.xml" ContentType="application/vnd.openxmlformats-officedocument.presentationml.slideLayout+xml"/>
  <Override PartName="/ppt/slideLayouts/slideLayout3215.xml" ContentType="application/vnd.openxmlformats-officedocument.presentationml.slideLayout+xml"/>
  <Override PartName="/ppt/slideLayouts/slideLayout3216.xml" ContentType="application/vnd.openxmlformats-officedocument.presentationml.slideLayout+xml"/>
  <Override PartName="/ppt/slideLayouts/slideLayout3217.xml" ContentType="application/vnd.openxmlformats-officedocument.presentationml.slideLayout+xml"/>
  <Override PartName="/ppt/slideLayouts/slideLayout3218.xml" ContentType="application/vnd.openxmlformats-officedocument.presentationml.slideLayout+xml"/>
  <Override PartName="/ppt/slideLayouts/slideLayout3219.xml" ContentType="application/vnd.openxmlformats-officedocument.presentationml.slideLayout+xml"/>
  <Override PartName="/ppt/slideLayouts/slideLayout3220.xml" ContentType="application/vnd.openxmlformats-officedocument.presentationml.slideLayout+xml"/>
  <Override PartName="/ppt/slideLayouts/slideLayout3221.xml" ContentType="application/vnd.openxmlformats-officedocument.presentationml.slideLayout+xml"/>
  <Override PartName="/ppt/slideLayouts/slideLayout3222.xml" ContentType="application/vnd.openxmlformats-officedocument.presentationml.slideLayout+xml"/>
  <Override PartName="/ppt/slideLayouts/slideLayout3223.xml" ContentType="application/vnd.openxmlformats-officedocument.presentationml.slideLayout+xml"/>
  <Override PartName="/ppt/slideLayouts/slideLayout3224.xml" ContentType="application/vnd.openxmlformats-officedocument.presentationml.slideLayout+xml"/>
  <Override PartName="/ppt/slideLayouts/slideLayout3225.xml" ContentType="application/vnd.openxmlformats-officedocument.presentationml.slideLayout+xml"/>
  <Override PartName="/ppt/slideLayouts/slideLayout3226.xml" ContentType="application/vnd.openxmlformats-officedocument.presentationml.slideLayout+xml"/>
  <Override PartName="/ppt/slideLayouts/slideLayout3227.xml" ContentType="application/vnd.openxmlformats-officedocument.presentationml.slideLayout+xml"/>
  <Override PartName="/ppt/slideLayouts/slideLayout3228.xml" ContentType="application/vnd.openxmlformats-officedocument.presentationml.slideLayout+xml"/>
  <Override PartName="/ppt/slideLayouts/slideLayout3229.xml" ContentType="application/vnd.openxmlformats-officedocument.presentationml.slideLayout+xml"/>
  <Override PartName="/ppt/slideLayouts/slideLayout3230.xml" ContentType="application/vnd.openxmlformats-officedocument.presentationml.slideLayout+xml"/>
  <Override PartName="/ppt/slideLayouts/slideLayout3231.xml" ContentType="application/vnd.openxmlformats-officedocument.presentationml.slideLayout+xml"/>
  <Override PartName="/ppt/slideLayouts/slideLayout3232.xml" ContentType="application/vnd.openxmlformats-officedocument.presentationml.slideLayout+xml"/>
  <Override PartName="/ppt/slideLayouts/slideLayout3233.xml" ContentType="application/vnd.openxmlformats-officedocument.presentationml.slideLayout+xml"/>
  <Override PartName="/ppt/slideLayouts/slideLayout3234.xml" ContentType="application/vnd.openxmlformats-officedocument.presentationml.slideLayout+xml"/>
  <Override PartName="/ppt/slideLayouts/slideLayout3235.xml" ContentType="application/vnd.openxmlformats-officedocument.presentationml.slideLayout+xml"/>
  <Override PartName="/ppt/slideLayouts/slideLayout3236.xml" ContentType="application/vnd.openxmlformats-officedocument.presentationml.slideLayout+xml"/>
  <Override PartName="/ppt/slideLayouts/slideLayout3237.xml" ContentType="application/vnd.openxmlformats-officedocument.presentationml.slideLayout+xml"/>
  <Override PartName="/ppt/slideLayouts/slideLayout3238.xml" ContentType="application/vnd.openxmlformats-officedocument.presentationml.slideLayout+xml"/>
  <Override PartName="/ppt/slideLayouts/slideLayout3239.xml" ContentType="application/vnd.openxmlformats-officedocument.presentationml.slideLayout+xml"/>
  <Override PartName="/ppt/slideLayouts/slideLayout3240.xml" ContentType="application/vnd.openxmlformats-officedocument.presentationml.slideLayout+xml"/>
  <Override PartName="/ppt/slideLayouts/slideLayout3241.xml" ContentType="application/vnd.openxmlformats-officedocument.presentationml.slideLayout+xml"/>
  <Override PartName="/ppt/slideLayouts/slideLayout3242.xml" ContentType="application/vnd.openxmlformats-officedocument.presentationml.slideLayout+xml"/>
  <Override PartName="/ppt/slideLayouts/slideLayout3243.xml" ContentType="application/vnd.openxmlformats-officedocument.presentationml.slideLayout+xml"/>
  <Override PartName="/ppt/slideLayouts/slideLayout3244.xml" ContentType="application/vnd.openxmlformats-officedocument.presentationml.slideLayout+xml"/>
  <Override PartName="/ppt/slideLayouts/slideLayout3245.xml" ContentType="application/vnd.openxmlformats-officedocument.presentationml.slideLayout+xml"/>
  <Override PartName="/ppt/slideLayouts/slideLayout3246.xml" ContentType="application/vnd.openxmlformats-officedocument.presentationml.slideLayout+xml"/>
  <Override PartName="/ppt/slideLayouts/slideLayout3247.xml" ContentType="application/vnd.openxmlformats-officedocument.presentationml.slideLayout+xml"/>
  <Override PartName="/ppt/slideLayouts/slideLayout3248.xml" ContentType="application/vnd.openxmlformats-officedocument.presentationml.slideLayout+xml"/>
  <Override PartName="/ppt/slideLayouts/slideLayout3249.xml" ContentType="application/vnd.openxmlformats-officedocument.presentationml.slideLayout+xml"/>
  <Override PartName="/ppt/slideLayouts/slideLayout3250.xml" ContentType="application/vnd.openxmlformats-officedocument.presentationml.slideLayout+xml"/>
  <Override PartName="/ppt/slideLayouts/slideLayout3251.xml" ContentType="application/vnd.openxmlformats-officedocument.presentationml.slideLayout+xml"/>
  <Override PartName="/ppt/slideLayouts/slideLayout3252.xml" ContentType="application/vnd.openxmlformats-officedocument.presentationml.slideLayout+xml"/>
  <Override PartName="/ppt/slideLayouts/slideLayout3253.xml" ContentType="application/vnd.openxmlformats-officedocument.presentationml.slideLayout+xml"/>
  <Override PartName="/ppt/slideLayouts/slideLayout3254.xml" ContentType="application/vnd.openxmlformats-officedocument.presentationml.slideLayout+xml"/>
  <Override PartName="/ppt/slideLayouts/slideLayout3255.xml" ContentType="application/vnd.openxmlformats-officedocument.presentationml.slideLayout+xml"/>
  <Override PartName="/ppt/slideLayouts/slideLayout3256.xml" ContentType="application/vnd.openxmlformats-officedocument.presentationml.slideLayout+xml"/>
  <Override PartName="/ppt/slideLayouts/slideLayout3257.xml" ContentType="application/vnd.openxmlformats-officedocument.presentationml.slideLayout+xml"/>
  <Override PartName="/ppt/slideLayouts/slideLayout3258.xml" ContentType="application/vnd.openxmlformats-officedocument.presentationml.slideLayout+xml"/>
  <Override PartName="/ppt/slideLayouts/slideLayout3259.xml" ContentType="application/vnd.openxmlformats-officedocument.presentationml.slideLayout+xml"/>
  <Override PartName="/ppt/slideLayouts/slideLayout3260.xml" ContentType="application/vnd.openxmlformats-officedocument.presentationml.slideLayout+xml"/>
  <Override PartName="/ppt/slideLayouts/slideLayout3261.xml" ContentType="application/vnd.openxmlformats-officedocument.presentationml.slideLayout+xml"/>
  <Override PartName="/ppt/slideLayouts/slideLayout3262.xml" ContentType="application/vnd.openxmlformats-officedocument.presentationml.slideLayout+xml"/>
  <Override PartName="/ppt/slideLayouts/slideLayout3263.xml" ContentType="application/vnd.openxmlformats-officedocument.presentationml.slideLayout+xml"/>
  <Override PartName="/ppt/slideLayouts/slideLayout3264.xml" ContentType="application/vnd.openxmlformats-officedocument.presentationml.slideLayout+xml"/>
  <Override PartName="/ppt/slideLayouts/slideLayout3265.xml" ContentType="application/vnd.openxmlformats-officedocument.presentationml.slideLayout+xml"/>
  <Override PartName="/ppt/slideLayouts/slideLayout3266.xml" ContentType="application/vnd.openxmlformats-officedocument.presentationml.slideLayout+xml"/>
  <Override PartName="/ppt/slideLayouts/slideLayout3267.xml" ContentType="application/vnd.openxmlformats-officedocument.presentationml.slideLayout+xml"/>
  <Override PartName="/ppt/slideLayouts/slideLayout3268.xml" ContentType="application/vnd.openxmlformats-officedocument.presentationml.slideLayout+xml"/>
  <Override PartName="/ppt/slideLayouts/slideLayout3269.xml" ContentType="application/vnd.openxmlformats-officedocument.presentationml.slideLayout+xml"/>
  <Override PartName="/ppt/slideLayouts/slideLayout3270.xml" ContentType="application/vnd.openxmlformats-officedocument.presentationml.slideLayout+xml"/>
  <Override PartName="/ppt/slideLayouts/slideLayout3271.xml" ContentType="application/vnd.openxmlformats-officedocument.presentationml.slideLayout+xml"/>
  <Override PartName="/ppt/slideLayouts/slideLayout3272.xml" ContentType="application/vnd.openxmlformats-officedocument.presentationml.slideLayout+xml"/>
  <Override PartName="/ppt/slideLayouts/slideLayout3273.xml" ContentType="application/vnd.openxmlformats-officedocument.presentationml.slideLayout+xml"/>
  <Override PartName="/ppt/slideLayouts/slideLayout3274.xml" ContentType="application/vnd.openxmlformats-officedocument.presentationml.slideLayout+xml"/>
  <Override PartName="/ppt/slideLayouts/slideLayout3275.xml" ContentType="application/vnd.openxmlformats-officedocument.presentationml.slideLayout+xml"/>
  <Override PartName="/ppt/slideLayouts/slideLayout3276.xml" ContentType="application/vnd.openxmlformats-officedocument.presentationml.slideLayout+xml"/>
  <Override PartName="/ppt/slideLayouts/slideLayout3277.xml" ContentType="application/vnd.openxmlformats-officedocument.presentationml.slideLayout+xml"/>
  <Override PartName="/ppt/slideLayouts/slideLayout3278.xml" ContentType="application/vnd.openxmlformats-officedocument.presentationml.slideLayout+xml"/>
  <Override PartName="/ppt/slideLayouts/slideLayout3279.xml" ContentType="application/vnd.openxmlformats-officedocument.presentationml.slideLayout+xml"/>
  <Override PartName="/ppt/slideLayouts/slideLayout3280.xml" ContentType="application/vnd.openxmlformats-officedocument.presentationml.slideLayout+xml"/>
  <Override PartName="/ppt/slideLayouts/slideLayout3281.xml" ContentType="application/vnd.openxmlformats-officedocument.presentationml.slideLayout+xml"/>
  <Override PartName="/ppt/slideLayouts/slideLayout3282.xml" ContentType="application/vnd.openxmlformats-officedocument.presentationml.slideLayout+xml"/>
  <Override PartName="/ppt/slideLayouts/slideLayout3283.xml" ContentType="application/vnd.openxmlformats-officedocument.presentationml.slideLayout+xml"/>
  <Override PartName="/ppt/slideLayouts/slideLayout3284.xml" ContentType="application/vnd.openxmlformats-officedocument.presentationml.slideLayout+xml"/>
  <Override PartName="/ppt/slideLayouts/slideLayout3285.xml" ContentType="application/vnd.openxmlformats-officedocument.presentationml.slideLayout+xml"/>
  <Override PartName="/ppt/slideLayouts/slideLayout3286.xml" ContentType="application/vnd.openxmlformats-officedocument.presentationml.slideLayout+xml"/>
  <Override PartName="/ppt/slideLayouts/slideLayout3287.xml" ContentType="application/vnd.openxmlformats-officedocument.presentationml.slideLayout+xml"/>
  <Override PartName="/ppt/slideLayouts/slideLayout3288.xml" ContentType="application/vnd.openxmlformats-officedocument.presentationml.slideLayout+xml"/>
  <Override PartName="/ppt/slideLayouts/slideLayout3289.xml" ContentType="application/vnd.openxmlformats-officedocument.presentationml.slideLayout+xml"/>
  <Override PartName="/ppt/slideLayouts/slideLayout3290.xml" ContentType="application/vnd.openxmlformats-officedocument.presentationml.slideLayout+xml"/>
  <Override PartName="/ppt/slideLayouts/slideLayout3291.xml" ContentType="application/vnd.openxmlformats-officedocument.presentationml.slideLayout+xml"/>
  <Override PartName="/ppt/slideLayouts/slideLayout3292.xml" ContentType="application/vnd.openxmlformats-officedocument.presentationml.slideLayout+xml"/>
  <Override PartName="/ppt/slideLayouts/slideLayout3293.xml" ContentType="application/vnd.openxmlformats-officedocument.presentationml.slideLayout+xml"/>
  <Override PartName="/ppt/slideLayouts/slideLayout3294.xml" ContentType="application/vnd.openxmlformats-officedocument.presentationml.slideLayout+xml"/>
  <Override PartName="/ppt/slideLayouts/slideLayout3295.xml" ContentType="application/vnd.openxmlformats-officedocument.presentationml.slideLayout+xml"/>
  <Override PartName="/ppt/slideLayouts/slideLayout3296.xml" ContentType="application/vnd.openxmlformats-officedocument.presentationml.slideLayout+xml"/>
  <Override PartName="/ppt/slideLayouts/slideLayout3297.xml" ContentType="application/vnd.openxmlformats-officedocument.presentationml.slideLayout+xml"/>
  <Override PartName="/ppt/slideLayouts/slideLayout3298.xml" ContentType="application/vnd.openxmlformats-officedocument.presentationml.slideLayout+xml"/>
  <Override PartName="/ppt/slideLayouts/slideLayout3299.xml" ContentType="application/vnd.openxmlformats-officedocument.presentationml.slideLayout+xml"/>
  <Override PartName="/ppt/slideLayouts/slideLayout3300.xml" ContentType="application/vnd.openxmlformats-officedocument.presentationml.slideLayout+xml"/>
  <Override PartName="/ppt/slideLayouts/slideLayout3301.xml" ContentType="application/vnd.openxmlformats-officedocument.presentationml.slideLayout+xml"/>
  <Override PartName="/ppt/slideLayouts/slideLayout3302.xml" ContentType="application/vnd.openxmlformats-officedocument.presentationml.slideLayout+xml"/>
  <Override PartName="/ppt/slideLayouts/slideLayout3303.xml" ContentType="application/vnd.openxmlformats-officedocument.presentationml.slideLayout+xml"/>
  <Override PartName="/ppt/slideLayouts/slideLayout3304.xml" ContentType="application/vnd.openxmlformats-officedocument.presentationml.slideLayout+xml"/>
  <Override PartName="/ppt/slideLayouts/slideLayout3305.xml" ContentType="application/vnd.openxmlformats-officedocument.presentationml.slideLayout+xml"/>
  <Override PartName="/ppt/slideLayouts/slideLayout3306.xml" ContentType="application/vnd.openxmlformats-officedocument.presentationml.slideLayout+xml"/>
  <Override PartName="/ppt/slideLayouts/slideLayout3307.xml" ContentType="application/vnd.openxmlformats-officedocument.presentationml.slideLayout+xml"/>
  <Override PartName="/ppt/slideLayouts/slideLayout3308.xml" ContentType="application/vnd.openxmlformats-officedocument.presentationml.slideLayout+xml"/>
  <Override PartName="/ppt/slideLayouts/slideLayout3309.xml" ContentType="application/vnd.openxmlformats-officedocument.presentationml.slideLayout+xml"/>
  <Override PartName="/ppt/slideLayouts/slideLayout3310.xml" ContentType="application/vnd.openxmlformats-officedocument.presentationml.slideLayout+xml"/>
  <Override PartName="/ppt/slideLayouts/slideLayout3311.xml" ContentType="application/vnd.openxmlformats-officedocument.presentationml.slideLayout+xml"/>
  <Override PartName="/ppt/slideLayouts/slideLayout3312.xml" ContentType="application/vnd.openxmlformats-officedocument.presentationml.slideLayout+xml"/>
  <Override PartName="/ppt/slideLayouts/slideLayout3313.xml" ContentType="application/vnd.openxmlformats-officedocument.presentationml.slideLayout+xml"/>
  <Override PartName="/ppt/slideLayouts/slideLayout3314.xml" ContentType="application/vnd.openxmlformats-officedocument.presentationml.slideLayout+xml"/>
  <Override PartName="/ppt/slideLayouts/slideLayout3315.xml" ContentType="application/vnd.openxmlformats-officedocument.presentationml.slideLayout+xml"/>
  <Override PartName="/ppt/slideLayouts/slideLayout3316.xml" ContentType="application/vnd.openxmlformats-officedocument.presentationml.slideLayout+xml"/>
  <Override PartName="/ppt/slideLayouts/slideLayout3317.xml" ContentType="application/vnd.openxmlformats-officedocument.presentationml.slideLayout+xml"/>
  <Override PartName="/ppt/slideLayouts/slideLayout3318.xml" ContentType="application/vnd.openxmlformats-officedocument.presentationml.slideLayout+xml"/>
  <Override PartName="/ppt/slideLayouts/slideLayout3319.xml" ContentType="application/vnd.openxmlformats-officedocument.presentationml.slideLayout+xml"/>
  <Override PartName="/ppt/slideLayouts/slideLayout3320.xml" ContentType="application/vnd.openxmlformats-officedocument.presentationml.slideLayout+xml"/>
  <Override PartName="/ppt/slideLayouts/slideLayout3321.xml" ContentType="application/vnd.openxmlformats-officedocument.presentationml.slideLayout+xml"/>
  <Override PartName="/ppt/slideLayouts/slideLayout3322.xml" ContentType="application/vnd.openxmlformats-officedocument.presentationml.slideLayout+xml"/>
  <Override PartName="/ppt/slideLayouts/slideLayout3323.xml" ContentType="application/vnd.openxmlformats-officedocument.presentationml.slideLayout+xml"/>
  <Override PartName="/ppt/slideLayouts/slideLayout3324.xml" ContentType="application/vnd.openxmlformats-officedocument.presentationml.slideLayout+xml"/>
  <Override PartName="/ppt/slideLayouts/slideLayout3325.xml" ContentType="application/vnd.openxmlformats-officedocument.presentationml.slideLayout+xml"/>
  <Override PartName="/ppt/slideLayouts/slideLayout3326.xml" ContentType="application/vnd.openxmlformats-officedocument.presentationml.slideLayout+xml"/>
  <Override PartName="/ppt/slideLayouts/slideLayout3327.xml" ContentType="application/vnd.openxmlformats-officedocument.presentationml.slideLayout+xml"/>
  <Override PartName="/ppt/slideLayouts/slideLayout3328.xml" ContentType="application/vnd.openxmlformats-officedocument.presentationml.slideLayout+xml"/>
  <Override PartName="/ppt/slideLayouts/slideLayout3329.xml" ContentType="application/vnd.openxmlformats-officedocument.presentationml.slideLayout+xml"/>
  <Override PartName="/ppt/slideLayouts/slideLayout3330.xml" ContentType="application/vnd.openxmlformats-officedocument.presentationml.slideLayout+xml"/>
  <Override PartName="/ppt/slideLayouts/slideLayout3331.xml" ContentType="application/vnd.openxmlformats-officedocument.presentationml.slideLayout+xml"/>
  <Override PartName="/ppt/slideLayouts/slideLayout3332.xml" ContentType="application/vnd.openxmlformats-officedocument.presentationml.slideLayout+xml"/>
  <Override PartName="/ppt/slideLayouts/slideLayout3333.xml" ContentType="application/vnd.openxmlformats-officedocument.presentationml.slideLayout+xml"/>
  <Override PartName="/ppt/slideLayouts/slideLayout3334.xml" ContentType="application/vnd.openxmlformats-officedocument.presentationml.slideLayout+xml"/>
  <Override PartName="/ppt/slideLayouts/slideLayout3335.xml" ContentType="application/vnd.openxmlformats-officedocument.presentationml.slideLayout+xml"/>
  <Override PartName="/ppt/slideLayouts/slideLayout3336.xml" ContentType="application/vnd.openxmlformats-officedocument.presentationml.slideLayout+xml"/>
  <Override PartName="/ppt/slideLayouts/slideLayout3337.xml" ContentType="application/vnd.openxmlformats-officedocument.presentationml.slideLayout+xml"/>
  <Override PartName="/ppt/slideLayouts/slideLayout3338.xml" ContentType="application/vnd.openxmlformats-officedocument.presentationml.slideLayout+xml"/>
  <Override PartName="/ppt/slideLayouts/slideLayout3339.xml" ContentType="application/vnd.openxmlformats-officedocument.presentationml.slideLayout+xml"/>
  <Override PartName="/ppt/slideLayouts/slideLayout3340.xml" ContentType="application/vnd.openxmlformats-officedocument.presentationml.slideLayout+xml"/>
  <Override PartName="/ppt/slideLayouts/slideLayout3341.xml" ContentType="application/vnd.openxmlformats-officedocument.presentationml.slideLayout+xml"/>
  <Override PartName="/ppt/slideLayouts/slideLayout3342.xml" ContentType="application/vnd.openxmlformats-officedocument.presentationml.slideLayout+xml"/>
  <Override PartName="/ppt/slideLayouts/slideLayout3343.xml" ContentType="application/vnd.openxmlformats-officedocument.presentationml.slideLayout+xml"/>
  <Override PartName="/ppt/slideLayouts/slideLayout3344.xml" ContentType="application/vnd.openxmlformats-officedocument.presentationml.slideLayout+xml"/>
  <Override PartName="/ppt/slideLayouts/slideLayout3345.xml" ContentType="application/vnd.openxmlformats-officedocument.presentationml.slideLayout+xml"/>
  <Override PartName="/ppt/slideLayouts/slideLayout3346.xml" ContentType="application/vnd.openxmlformats-officedocument.presentationml.slideLayout+xml"/>
  <Override PartName="/ppt/slideLayouts/slideLayout3347.xml" ContentType="application/vnd.openxmlformats-officedocument.presentationml.slideLayout+xml"/>
  <Override PartName="/ppt/slideLayouts/slideLayout3348.xml" ContentType="application/vnd.openxmlformats-officedocument.presentationml.slideLayout+xml"/>
  <Override PartName="/ppt/slideLayouts/slideLayout3349.xml" ContentType="application/vnd.openxmlformats-officedocument.presentationml.slideLayout+xml"/>
  <Override PartName="/ppt/slideLayouts/slideLayout3350.xml" ContentType="application/vnd.openxmlformats-officedocument.presentationml.slideLayout+xml"/>
  <Override PartName="/ppt/slideLayouts/slideLayout3351.xml" ContentType="application/vnd.openxmlformats-officedocument.presentationml.slideLayout+xml"/>
  <Override PartName="/ppt/slideLayouts/slideLayout3352.xml" ContentType="application/vnd.openxmlformats-officedocument.presentationml.slideLayout+xml"/>
  <Override PartName="/ppt/slideLayouts/slideLayout3353.xml" ContentType="application/vnd.openxmlformats-officedocument.presentationml.slideLayout+xml"/>
  <Override PartName="/ppt/slideLayouts/slideLayout3354.xml" ContentType="application/vnd.openxmlformats-officedocument.presentationml.slideLayout+xml"/>
  <Override PartName="/ppt/slideLayouts/slideLayout3355.xml" ContentType="application/vnd.openxmlformats-officedocument.presentationml.slideLayout+xml"/>
  <Override PartName="/ppt/slideLayouts/slideLayout3356.xml" ContentType="application/vnd.openxmlformats-officedocument.presentationml.slideLayout+xml"/>
  <Override PartName="/ppt/slideLayouts/slideLayout3357.xml" ContentType="application/vnd.openxmlformats-officedocument.presentationml.slideLayout+xml"/>
  <Override PartName="/ppt/slideLayouts/slideLayout3358.xml" ContentType="application/vnd.openxmlformats-officedocument.presentationml.slideLayout+xml"/>
  <Override PartName="/ppt/slideLayouts/slideLayout3359.xml" ContentType="application/vnd.openxmlformats-officedocument.presentationml.slideLayout+xml"/>
  <Override PartName="/ppt/slideLayouts/slideLayout3360.xml" ContentType="application/vnd.openxmlformats-officedocument.presentationml.slideLayout+xml"/>
  <Override PartName="/ppt/slideLayouts/slideLayout3361.xml" ContentType="application/vnd.openxmlformats-officedocument.presentationml.slideLayout+xml"/>
  <Override PartName="/ppt/slideLayouts/slideLayout3362.xml" ContentType="application/vnd.openxmlformats-officedocument.presentationml.slideLayout+xml"/>
  <Override PartName="/ppt/slideLayouts/slideLayout3363.xml" ContentType="application/vnd.openxmlformats-officedocument.presentationml.slideLayout+xml"/>
  <Override PartName="/ppt/slideLayouts/slideLayout3364.xml" ContentType="application/vnd.openxmlformats-officedocument.presentationml.slideLayout+xml"/>
  <Override PartName="/ppt/slideLayouts/slideLayout3365.xml" ContentType="application/vnd.openxmlformats-officedocument.presentationml.slideLayout+xml"/>
  <Override PartName="/ppt/slideLayouts/slideLayout3366.xml" ContentType="application/vnd.openxmlformats-officedocument.presentationml.slideLayout+xml"/>
  <Override PartName="/ppt/slideLayouts/slideLayout3367.xml" ContentType="application/vnd.openxmlformats-officedocument.presentationml.slideLayout+xml"/>
  <Override PartName="/ppt/slideLayouts/slideLayout3368.xml" ContentType="application/vnd.openxmlformats-officedocument.presentationml.slideLayout+xml"/>
  <Override PartName="/ppt/slideLayouts/slideLayout3369.xml" ContentType="application/vnd.openxmlformats-officedocument.presentationml.slideLayout+xml"/>
  <Override PartName="/ppt/slideLayouts/slideLayout3370.xml" ContentType="application/vnd.openxmlformats-officedocument.presentationml.slideLayout+xml"/>
  <Override PartName="/ppt/slideLayouts/slideLayout3371.xml" ContentType="application/vnd.openxmlformats-officedocument.presentationml.slideLayout+xml"/>
  <Override PartName="/ppt/slideLayouts/slideLayout3372.xml" ContentType="application/vnd.openxmlformats-officedocument.presentationml.slideLayout+xml"/>
  <Override PartName="/ppt/slideLayouts/slideLayout3373.xml" ContentType="application/vnd.openxmlformats-officedocument.presentationml.slideLayout+xml"/>
  <Override PartName="/ppt/slideLayouts/slideLayout3374.xml" ContentType="application/vnd.openxmlformats-officedocument.presentationml.slideLayout+xml"/>
  <Override PartName="/ppt/slideLayouts/slideLayout3375.xml" ContentType="application/vnd.openxmlformats-officedocument.presentationml.slideLayout+xml"/>
  <Override PartName="/ppt/slideLayouts/slideLayout3376.xml" ContentType="application/vnd.openxmlformats-officedocument.presentationml.slideLayout+xml"/>
  <Override PartName="/ppt/slideLayouts/slideLayout3377.xml" ContentType="application/vnd.openxmlformats-officedocument.presentationml.slideLayout+xml"/>
  <Override PartName="/ppt/slideLayouts/slideLayout3378.xml" ContentType="application/vnd.openxmlformats-officedocument.presentationml.slideLayout+xml"/>
  <Override PartName="/ppt/slideLayouts/slideLayout3379.xml" ContentType="application/vnd.openxmlformats-officedocument.presentationml.slideLayout+xml"/>
  <Override PartName="/ppt/slideLayouts/slideLayout3380.xml" ContentType="application/vnd.openxmlformats-officedocument.presentationml.slideLayout+xml"/>
  <Override PartName="/ppt/slideLayouts/slideLayout3381.xml" ContentType="application/vnd.openxmlformats-officedocument.presentationml.slideLayout+xml"/>
  <Override PartName="/ppt/slideLayouts/slideLayout3382.xml" ContentType="application/vnd.openxmlformats-officedocument.presentationml.slideLayout+xml"/>
  <Override PartName="/ppt/slideLayouts/slideLayout3383.xml" ContentType="application/vnd.openxmlformats-officedocument.presentationml.slideLayout+xml"/>
  <Override PartName="/ppt/slideLayouts/slideLayout3384.xml" ContentType="application/vnd.openxmlformats-officedocument.presentationml.slideLayout+xml"/>
  <Override PartName="/ppt/slideLayouts/slideLayout3385.xml" ContentType="application/vnd.openxmlformats-officedocument.presentationml.slideLayout+xml"/>
  <Override PartName="/ppt/slideLayouts/slideLayout3386.xml" ContentType="application/vnd.openxmlformats-officedocument.presentationml.slideLayout+xml"/>
  <Override PartName="/ppt/slideLayouts/slideLayout3387.xml" ContentType="application/vnd.openxmlformats-officedocument.presentationml.slideLayout+xml"/>
  <Override PartName="/ppt/slideLayouts/slideLayout3388.xml" ContentType="application/vnd.openxmlformats-officedocument.presentationml.slideLayout+xml"/>
  <Override PartName="/ppt/slideLayouts/slideLayout3389.xml" ContentType="application/vnd.openxmlformats-officedocument.presentationml.slideLayout+xml"/>
  <Override PartName="/ppt/slideLayouts/slideLayout3390.xml" ContentType="application/vnd.openxmlformats-officedocument.presentationml.slideLayout+xml"/>
  <Override PartName="/ppt/slideLayouts/slideLayout3391.xml" ContentType="application/vnd.openxmlformats-officedocument.presentationml.slideLayout+xml"/>
  <Override PartName="/ppt/slideLayouts/slideLayout3392.xml" ContentType="application/vnd.openxmlformats-officedocument.presentationml.slideLayout+xml"/>
  <Override PartName="/ppt/slideLayouts/slideLayout3393.xml" ContentType="application/vnd.openxmlformats-officedocument.presentationml.slideLayout+xml"/>
  <Override PartName="/ppt/slideLayouts/slideLayout3394.xml" ContentType="application/vnd.openxmlformats-officedocument.presentationml.slideLayout+xml"/>
  <Override PartName="/ppt/slideLayouts/slideLayout3395.xml" ContentType="application/vnd.openxmlformats-officedocument.presentationml.slideLayout+xml"/>
  <Override PartName="/ppt/slideLayouts/slideLayout3396.xml" ContentType="application/vnd.openxmlformats-officedocument.presentationml.slideLayout+xml"/>
  <Override PartName="/ppt/slideLayouts/slideLayout3397.xml" ContentType="application/vnd.openxmlformats-officedocument.presentationml.slideLayout+xml"/>
  <Override PartName="/ppt/slideLayouts/slideLayout3398.xml" ContentType="application/vnd.openxmlformats-officedocument.presentationml.slideLayout+xml"/>
  <Override PartName="/ppt/slideLayouts/slideLayout3399.xml" ContentType="application/vnd.openxmlformats-officedocument.presentationml.slideLayout+xml"/>
  <Override PartName="/ppt/slideLayouts/slideLayout3400.xml" ContentType="application/vnd.openxmlformats-officedocument.presentationml.slideLayout+xml"/>
  <Override PartName="/ppt/slideLayouts/slideLayout3401.xml" ContentType="application/vnd.openxmlformats-officedocument.presentationml.slideLayout+xml"/>
  <Override PartName="/ppt/slideLayouts/slideLayout3402.xml" ContentType="application/vnd.openxmlformats-officedocument.presentationml.slideLayout+xml"/>
  <Override PartName="/ppt/slideLayouts/slideLayout3403.xml" ContentType="application/vnd.openxmlformats-officedocument.presentationml.slideLayout+xml"/>
  <Override PartName="/ppt/slideLayouts/slideLayout3404.xml" ContentType="application/vnd.openxmlformats-officedocument.presentationml.slideLayout+xml"/>
  <Override PartName="/ppt/slideLayouts/slideLayout3405.xml" ContentType="application/vnd.openxmlformats-officedocument.presentationml.slideLayout+xml"/>
  <Override PartName="/ppt/slideLayouts/slideLayout3406.xml" ContentType="application/vnd.openxmlformats-officedocument.presentationml.slideLayout+xml"/>
  <Override PartName="/ppt/slideLayouts/slideLayout3407.xml" ContentType="application/vnd.openxmlformats-officedocument.presentationml.slideLayout+xml"/>
  <Override PartName="/ppt/slideLayouts/slideLayout3408.xml" ContentType="application/vnd.openxmlformats-officedocument.presentationml.slideLayout+xml"/>
  <Override PartName="/ppt/slideLayouts/slideLayout3409.xml" ContentType="application/vnd.openxmlformats-officedocument.presentationml.slideLayout+xml"/>
  <Override PartName="/ppt/slideLayouts/slideLayout3410.xml" ContentType="application/vnd.openxmlformats-officedocument.presentationml.slideLayout+xml"/>
  <Override PartName="/ppt/slideLayouts/slideLayout3411.xml" ContentType="application/vnd.openxmlformats-officedocument.presentationml.slideLayout+xml"/>
  <Override PartName="/ppt/slideLayouts/slideLayout3412.xml" ContentType="application/vnd.openxmlformats-officedocument.presentationml.slideLayout+xml"/>
  <Override PartName="/ppt/slideLayouts/slideLayout3413.xml" ContentType="application/vnd.openxmlformats-officedocument.presentationml.slideLayout+xml"/>
  <Override PartName="/ppt/slideLayouts/slideLayout3414.xml" ContentType="application/vnd.openxmlformats-officedocument.presentationml.slideLayout+xml"/>
  <Override PartName="/ppt/slideLayouts/slideLayout3415.xml" ContentType="application/vnd.openxmlformats-officedocument.presentationml.slideLayout+xml"/>
  <Override PartName="/ppt/slideLayouts/slideLayout3416.xml" ContentType="application/vnd.openxmlformats-officedocument.presentationml.slideLayout+xml"/>
  <Override PartName="/ppt/slideLayouts/slideLayout3417.xml" ContentType="application/vnd.openxmlformats-officedocument.presentationml.slideLayout+xml"/>
  <Override PartName="/ppt/slideLayouts/slideLayout3418.xml" ContentType="application/vnd.openxmlformats-officedocument.presentationml.slideLayout+xml"/>
  <Override PartName="/ppt/slideLayouts/slideLayout3419.xml" ContentType="application/vnd.openxmlformats-officedocument.presentationml.slideLayout+xml"/>
  <Override PartName="/ppt/slideLayouts/slideLayout3420.xml" ContentType="application/vnd.openxmlformats-officedocument.presentationml.slideLayout+xml"/>
  <Override PartName="/ppt/slideLayouts/slideLayout3421.xml" ContentType="application/vnd.openxmlformats-officedocument.presentationml.slideLayout+xml"/>
  <Override PartName="/ppt/slideLayouts/slideLayout3422.xml" ContentType="application/vnd.openxmlformats-officedocument.presentationml.slideLayout+xml"/>
  <Override PartName="/ppt/slideLayouts/slideLayout3423.xml" ContentType="application/vnd.openxmlformats-officedocument.presentationml.slideLayout+xml"/>
  <Override PartName="/ppt/slideLayouts/slideLayout3424.xml" ContentType="application/vnd.openxmlformats-officedocument.presentationml.slideLayout+xml"/>
  <Override PartName="/ppt/slideLayouts/slideLayout3425.xml" ContentType="application/vnd.openxmlformats-officedocument.presentationml.slideLayout+xml"/>
  <Override PartName="/ppt/slideLayouts/slideLayout3426.xml" ContentType="application/vnd.openxmlformats-officedocument.presentationml.slideLayout+xml"/>
  <Override PartName="/ppt/slideLayouts/slideLayout3427.xml" ContentType="application/vnd.openxmlformats-officedocument.presentationml.slideLayout+xml"/>
  <Override PartName="/ppt/slideLayouts/slideLayout3428.xml" ContentType="application/vnd.openxmlformats-officedocument.presentationml.slideLayout+xml"/>
  <Override PartName="/ppt/slideLayouts/slideLayout3429.xml" ContentType="application/vnd.openxmlformats-officedocument.presentationml.slideLayout+xml"/>
  <Override PartName="/ppt/slideLayouts/slideLayout3430.xml" ContentType="application/vnd.openxmlformats-officedocument.presentationml.slideLayout+xml"/>
  <Override PartName="/ppt/slideLayouts/slideLayout3431.xml" ContentType="application/vnd.openxmlformats-officedocument.presentationml.slideLayout+xml"/>
  <Override PartName="/ppt/slideLayouts/slideLayout3432.xml" ContentType="application/vnd.openxmlformats-officedocument.presentationml.slideLayout+xml"/>
  <Override PartName="/ppt/slideLayouts/slideLayout3433.xml" ContentType="application/vnd.openxmlformats-officedocument.presentationml.slideLayout+xml"/>
  <Override PartName="/ppt/slideLayouts/slideLayout3434.xml" ContentType="application/vnd.openxmlformats-officedocument.presentationml.slideLayout+xml"/>
  <Override PartName="/ppt/slideLayouts/slideLayout3435.xml" ContentType="application/vnd.openxmlformats-officedocument.presentationml.slideLayout+xml"/>
  <Override PartName="/ppt/slideLayouts/slideLayout3436.xml" ContentType="application/vnd.openxmlformats-officedocument.presentationml.slideLayout+xml"/>
  <Override PartName="/ppt/slideLayouts/slideLayout3437.xml" ContentType="application/vnd.openxmlformats-officedocument.presentationml.slideLayout+xml"/>
  <Override PartName="/ppt/slideLayouts/slideLayout3438.xml" ContentType="application/vnd.openxmlformats-officedocument.presentationml.slideLayout+xml"/>
  <Override PartName="/ppt/slideLayouts/slideLayout3439.xml" ContentType="application/vnd.openxmlformats-officedocument.presentationml.slideLayout+xml"/>
  <Override PartName="/ppt/slideLayouts/slideLayout3440.xml" ContentType="application/vnd.openxmlformats-officedocument.presentationml.slideLayout+xml"/>
  <Override PartName="/ppt/slideLayouts/slideLayout3441.xml" ContentType="application/vnd.openxmlformats-officedocument.presentationml.slideLayout+xml"/>
  <Override PartName="/ppt/slideLayouts/slideLayout3442.xml" ContentType="application/vnd.openxmlformats-officedocument.presentationml.slideLayout+xml"/>
  <Override PartName="/ppt/slideLayouts/slideLayout3443.xml" ContentType="application/vnd.openxmlformats-officedocument.presentationml.slideLayout+xml"/>
  <Override PartName="/ppt/slideLayouts/slideLayout3444.xml" ContentType="application/vnd.openxmlformats-officedocument.presentationml.slideLayout+xml"/>
  <Override PartName="/ppt/slideLayouts/slideLayout3445.xml" ContentType="application/vnd.openxmlformats-officedocument.presentationml.slideLayout+xml"/>
  <Override PartName="/ppt/slideLayouts/slideLayout3446.xml" ContentType="application/vnd.openxmlformats-officedocument.presentationml.slideLayout+xml"/>
  <Override PartName="/ppt/slideLayouts/slideLayout3447.xml" ContentType="application/vnd.openxmlformats-officedocument.presentationml.slideLayout+xml"/>
  <Override PartName="/ppt/slideLayouts/slideLayout3448.xml" ContentType="application/vnd.openxmlformats-officedocument.presentationml.slideLayout+xml"/>
  <Override PartName="/ppt/slideLayouts/slideLayout3449.xml" ContentType="application/vnd.openxmlformats-officedocument.presentationml.slideLayout+xml"/>
  <Override PartName="/ppt/slideLayouts/slideLayout3450.xml" ContentType="application/vnd.openxmlformats-officedocument.presentationml.slideLayout+xml"/>
  <Override PartName="/ppt/slideLayouts/slideLayout3451.xml" ContentType="application/vnd.openxmlformats-officedocument.presentationml.slideLayout+xml"/>
  <Override PartName="/ppt/slideLayouts/slideLayout3452.xml" ContentType="application/vnd.openxmlformats-officedocument.presentationml.slideLayout+xml"/>
  <Override PartName="/ppt/slideLayouts/slideLayout3453.xml" ContentType="application/vnd.openxmlformats-officedocument.presentationml.slideLayout+xml"/>
  <Override PartName="/ppt/slideLayouts/slideLayout3454.xml" ContentType="application/vnd.openxmlformats-officedocument.presentationml.slideLayout+xml"/>
  <Override PartName="/ppt/slideLayouts/slideLayout3455.xml" ContentType="application/vnd.openxmlformats-officedocument.presentationml.slideLayout+xml"/>
  <Override PartName="/ppt/slideLayouts/slideLayout3456.xml" ContentType="application/vnd.openxmlformats-officedocument.presentationml.slideLayout+xml"/>
  <Override PartName="/ppt/slideLayouts/slideLayout3457.xml" ContentType="application/vnd.openxmlformats-officedocument.presentationml.slideLayout+xml"/>
  <Override PartName="/ppt/slideLayouts/slideLayout3458.xml" ContentType="application/vnd.openxmlformats-officedocument.presentationml.slideLayout+xml"/>
  <Override PartName="/ppt/slideLayouts/slideLayout3459.xml" ContentType="application/vnd.openxmlformats-officedocument.presentationml.slideLayout+xml"/>
  <Override PartName="/ppt/slideLayouts/slideLayout3460.xml" ContentType="application/vnd.openxmlformats-officedocument.presentationml.slideLayout+xml"/>
  <Override PartName="/ppt/slideLayouts/slideLayout3461.xml" ContentType="application/vnd.openxmlformats-officedocument.presentationml.slideLayout+xml"/>
  <Override PartName="/ppt/slideLayouts/slideLayout3462.xml" ContentType="application/vnd.openxmlformats-officedocument.presentationml.slideLayout+xml"/>
  <Override PartName="/ppt/slideLayouts/slideLayout3463.xml" ContentType="application/vnd.openxmlformats-officedocument.presentationml.slideLayout+xml"/>
  <Override PartName="/ppt/slideLayouts/slideLayout3464.xml" ContentType="application/vnd.openxmlformats-officedocument.presentationml.slideLayout+xml"/>
  <Override PartName="/ppt/slideLayouts/slideLayout3465.xml" ContentType="application/vnd.openxmlformats-officedocument.presentationml.slideLayout+xml"/>
  <Override PartName="/ppt/slideLayouts/slideLayout3466.xml" ContentType="application/vnd.openxmlformats-officedocument.presentationml.slideLayout+xml"/>
  <Override PartName="/ppt/slideLayouts/slideLayout3467.xml" ContentType="application/vnd.openxmlformats-officedocument.presentationml.slideLayout+xml"/>
  <Override PartName="/ppt/slideLayouts/slideLayout3468.xml" ContentType="application/vnd.openxmlformats-officedocument.presentationml.slideLayout+xml"/>
  <Override PartName="/ppt/slideLayouts/slideLayout3469.xml" ContentType="application/vnd.openxmlformats-officedocument.presentationml.slideLayout+xml"/>
  <Override PartName="/ppt/slideLayouts/slideLayout3470.xml" ContentType="application/vnd.openxmlformats-officedocument.presentationml.slideLayout+xml"/>
  <Override PartName="/ppt/slideLayouts/slideLayout3471.xml" ContentType="application/vnd.openxmlformats-officedocument.presentationml.slideLayout+xml"/>
  <Override PartName="/ppt/slideLayouts/slideLayout3472.xml" ContentType="application/vnd.openxmlformats-officedocument.presentationml.slideLayout+xml"/>
  <Override PartName="/ppt/slideLayouts/slideLayout3473.xml" ContentType="application/vnd.openxmlformats-officedocument.presentationml.slideLayout+xml"/>
  <Override PartName="/ppt/slideLayouts/slideLayout3474.xml" ContentType="application/vnd.openxmlformats-officedocument.presentationml.slideLayout+xml"/>
  <Override PartName="/ppt/slideLayouts/slideLayout3475.xml" ContentType="application/vnd.openxmlformats-officedocument.presentationml.slideLayout+xml"/>
  <Override PartName="/ppt/slideLayouts/slideLayout3476.xml" ContentType="application/vnd.openxmlformats-officedocument.presentationml.slideLayout+xml"/>
  <Override PartName="/ppt/slideLayouts/slideLayout3477.xml" ContentType="application/vnd.openxmlformats-officedocument.presentationml.slideLayout+xml"/>
  <Override PartName="/ppt/slideLayouts/slideLayout3478.xml" ContentType="application/vnd.openxmlformats-officedocument.presentationml.slideLayout+xml"/>
  <Override PartName="/ppt/slideLayouts/slideLayout3479.xml" ContentType="application/vnd.openxmlformats-officedocument.presentationml.slideLayout+xml"/>
  <Override PartName="/ppt/slideLayouts/slideLayout3480.xml" ContentType="application/vnd.openxmlformats-officedocument.presentationml.slideLayout+xml"/>
  <Override PartName="/ppt/slideLayouts/slideLayout3481.xml" ContentType="application/vnd.openxmlformats-officedocument.presentationml.slideLayout+xml"/>
  <Override PartName="/ppt/slideLayouts/slideLayout3482.xml" ContentType="application/vnd.openxmlformats-officedocument.presentationml.slideLayout+xml"/>
  <Override PartName="/ppt/slideLayouts/slideLayout3483.xml" ContentType="application/vnd.openxmlformats-officedocument.presentationml.slideLayout+xml"/>
  <Override PartName="/ppt/slideLayouts/slideLayout3484.xml" ContentType="application/vnd.openxmlformats-officedocument.presentationml.slideLayout+xml"/>
  <Override PartName="/ppt/slideLayouts/slideLayout3485.xml" ContentType="application/vnd.openxmlformats-officedocument.presentationml.slideLayout+xml"/>
  <Override PartName="/ppt/slideLayouts/slideLayout3486.xml" ContentType="application/vnd.openxmlformats-officedocument.presentationml.slideLayout+xml"/>
  <Override PartName="/ppt/slideLayouts/slideLayout3487.xml" ContentType="application/vnd.openxmlformats-officedocument.presentationml.slideLayout+xml"/>
  <Override PartName="/ppt/slideLayouts/slideLayout3488.xml" ContentType="application/vnd.openxmlformats-officedocument.presentationml.slideLayout+xml"/>
  <Override PartName="/ppt/slideLayouts/slideLayout3489.xml" ContentType="application/vnd.openxmlformats-officedocument.presentationml.slideLayout+xml"/>
  <Override PartName="/ppt/slideLayouts/slideLayout3490.xml" ContentType="application/vnd.openxmlformats-officedocument.presentationml.slideLayout+xml"/>
  <Override PartName="/ppt/slideLayouts/slideLayout3491.xml" ContentType="application/vnd.openxmlformats-officedocument.presentationml.slideLayout+xml"/>
  <Override PartName="/ppt/slideLayouts/slideLayout3492.xml" ContentType="application/vnd.openxmlformats-officedocument.presentationml.slideLayout+xml"/>
  <Override PartName="/ppt/slideLayouts/slideLayout3493.xml" ContentType="application/vnd.openxmlformats-officedocument.presentationml.slideLayout+xml"/>
  <Override PartName="/ppt/slideLayouts/slideLayout3494.xml" ContentType="application/vnd.openxmlformats-officedocument.presentationml.slideLayout+xml"/>
  <Override PartName="/ppt/slideLayouts/slideLayout3495.xml" ContentType="application/vnd.openxmlformats-officedocument.presentationml.slideLayout+xml"/>
  <Override PartName="/ppt/slideLayouts/slideLayout3496.xml" ContentType="application/vnd.openxmlformats-officedocument.presentationml.slideLayout+xml"/>
  <Override PartName="/ppt/slideLayouts/slideLayout3497.xml" ContentType="application/vnd.openxmlformats-officedocument.presentationml.slideLayout+xml"/>
  <Override PartName="/ppt/slideLayouts/slideLayout3498.xml" ContentType="application/vnd.openxmlformats-officedocument.presentationml.slideLayout+xml"/>
  <Override PartName="/ppt/slideLayouts/slideLayout3499.xml" ContentType="application/vnd.openxmlformats-officedocument.presentationml.slideLayout+xml"/>
  <Override PartName="/ppt/slideLayouts/slideLayout3500.xml" ContentType="application/vnd.openxmlformats-officedocument.presentationml.slideLayout+xml"/>
  <Override PartName="/ppt/slideLayouts/slideLayout3501.xml" ContentType="application/vnd.openxmlformats-officedocument.presentationml.slideLayout+xml"/>
  <Override PartName="/ppt/slideLayouts/slideLayout3502.xml" ContentType="application/vnd.openxmlformats-officedocument.presentationml.slideLayout+xml"/>
  <Override PartName="/ppt/slideLayouts/slideLayout3503.xml" ContentType="application/vnd.openxmlformats-officedocument.presentationml.slideLayout+xml"/>
  <Override PartName="/ppt/slideLayouts/slideLayout3504.xml" ContentType="application/vnd.openxmlformats-officedocument.presentationml.slideLayout+xml"/>
  <Override PartName="/ppt/slideLayouts/slideLayout3505.xml" ContentType="application/vnd.openxmlformats-officedocument.presentationml.slideLayout+xml"/>
  <Override PartName="/ppt/slideLayouts/slideLayout3506.xml" ContentType="application/vnd.openxmlformats-officedocument.presentationml.slideLayout+xml"/>
  <Override PartName="/ppt/slideLayouts/slideLayout3507.xml" ContentType="application/vnd.openxmlformats-officedocument.presentationml.slideLayout+xml"/>
  <Override PartName="/ppt/slideLayouts/slideLayout3508.xml" ContentType="application/vnd.openxmlformats-officedocument.presentationml.slideLayout+xml"/>
  <Override PartName="/ppt/slideLayouts/slideLayout3509.xml" ContentType="application/vnd.openxmlformats-officedocument.presentationml.slideLayout+xml"/>
  <Override PartName="/ppt/slideLayouts/slideLayout3510.xml" ContentType="application/vnd.openxmlformats-officedocument.presentationml.slideLayout+xml"/>
  <Override PartName="/ppt/slideLayouts/slideLayout3511.xml" ContentType="application/vnd.openxmlformats-officedocument.presentationml.slideLayout+xml"/>
  <Override PartName="/ppt/slideLayouts/slideLayout3512.xml" ContentType="application/vnd.openxmlformats-officedocument.presentationml.slideLayout+xml"/>
  <Override PartName="/ppt/slideLayouts/slideLayout3513.xml" ContentType="application/vnd.openxmlformats-officedocument.presentationml.slideLayout+xml"/>
  <Override PartName="/ppt/slideLayouts/slideLayout3514.xml" ContentType="application/vnd.openxmlformats-officedocument.presentationml.slideLayout+xml"/>
  <Override PartName="/ppt/slideLayouts/slideLayout3515.xml" ContentType="application/vnd.openxmlformats-officedocument.presentationml.slideLayout+xml"/>
  <Override PartName="/ppt/slideLayouts/slideLayout3516.xml" ContentType="application/vnd.openxmlformats-officedocument.presentationml.slideLayout+xml"/>
  <Override PartName="/ppt/slideLayouts/slideLayout3517.xml" ContentType="application/vnd.openxmlformats-officedocument.presentationml.slideLayout+xml"/>
  <Override PartName="/ppt/slideLayouts/slideLayout3518.xml" ContentType="application/vnd.openxmlformats-officedocument.presentationml.slideLayout+xml"/>
  <Override PartName="/ppt/slideLayouts/slideLayout3519.xml" ContentType="application/vnd.openxmlformats-officedocument.presentationml.slideLayout+xml"/>
  <Override PartName="/ppt/slideLayouts/slideLayout3520.xml" ContentType="application/vnd.openxmlformats-officedocument.presentationml.slideLayout+xml"/>
  <Override PartName="/ppt/slideLayouts/slideLayout3521.xml" ContentType="application/vnd.openxmlformats-officedocument.presentationml.slideLayout+xml"/>
  <Override PartName="/ppt/slideLayouts/slideLayout3522.xml" ContentType="application/vnd.openxmlformats-officedocument.presentationml.slideLayout+xml"/>
  <Override PartName="/ppt/slideLayouts/slideLayout3523.xml" ContentType="application/vnd.openxmlformats-officedocument.presentationml.slideLayout+xml"/>
  <Override PartName="/ppt/slideLayouts/slideLayout3524.xml" ContentType="application/vnd.openxmlformats-officedocument.presentationml.slideLayout+xml"/>
  <Override PartName="/ppt/slideLayouts/slideLayout3525.xml" ContentType="application/vnd.openxmlformats-officedocument.presentationml.slideLayout+xml"/>
  <Override PartName="/ppt/slideLayouts/slideLayout3526.xml" ContentType="application/vnd.openxmlformats-officedocument.presentationml.slideLayout+xml"/>
  <Override PartName="/ppt/slideLayouts/slideLayout3527.xml" ContentType="application/vnd.openxmlformats-officedocument.presentationml.slideLayout+xml"/>
  <Override PartName="/ppt/slideLayouts/slideLayout3528.xml" ContentType="application/vnd.openxmlformats-officedocument.presentationml.slideLayout+xml"/>
  <Override PartName="/ppt/slideLayouts/slideLayout3529.xml" ContentType="application/vnd.openxmlformats-officedocument.presentationml.slideLayout+xml"/>
  <Override PartName="/ppt/slideLayouts/slideLayout3530.xml" ContentType="application/vnd.openxmlformats-officedocument.presentationml.slideLayout+xml"/>
  <Override PartName="/ppt/slideLayouts/slideLayout3531.xml" ContentType="application/vnd.openxmlformats-officedocument.presentationml.slideLayout+xml"/>
  <Override PartName="/ppt/slideLayouts/slideLayout3532.xml" ContentType="application/vnd.openxmlformats-officedocument.presentationml.slideLayout+xml"/>
  <Override PartName="/ppt/slideLayouts/slideLayout3533.xml" ContentType="application/vnd.openxmlformats-officedocument.presentationml.slideLayout+xml"/>
  <Override PartName="/ppt/slideLayouts/slideLayout3534.xml" ContentType="application/vnd.openxmlformats-officedocument.presentationml.slideLayout+xml"/>
  <Override PartName="/ppt/slideLayouts/slideLayout3535.xml" ContentType="application/vnd.openxmlformats-officedocument.presentationml.slideLayout+xml"/>
  <Override PartName="/ppt/slideLayouts/slideLayout3536.xml" ContentType="application/vnd.openxmlformats-officedocument.presentationml.slideLayout+xml"/>
  <Override PartName="/ppt/slideLayouts/slideLayout3537.xml" ContentType="application/vnd.openxmlformats-officedocument.presentationml.slideLayout+xml"/>
  <Override PartName="/ppt/slideLayouts/slideLayout3538.xml" ContentType="application/vnd.openxmlformats-officedocument.presentationml.slideLayout+xml"/>
  <Override PartName="/ppt/slideLayouts/slideLayout3539.xml" ContentType="application/vnd.openxmlformats-officedocument.presentationml.slideLayout+xml"/>
  <Override PartName="/ppt/slideLayouts/slideLayout3540.xml" ContentType="application/vnd.openxmlformats-officedocument.presentationml.slideLayout+xml"/>
  <Override PartName="/ppt/slideLayouts/slideLayout3541.xml" ContentType="application/vnd.openxmlformats-officedocument.presentationml.slideLayout+xml"/>
  <Override PartName="/ppt/slideLayouts/slideLayout3542.xml" ContentType="application/vnd.openxmlformats-officedocument.presentationml.slideLayout+xml"/>
  <Override PartName="/ppt/slideLayouts/slideLayout3543.xml" ContentType="application/vnd.openxmlformats-officedocument.presentationml.slideLayout+xml"/>
  <Override PartName="/ppt/slideLayouts/slideLayout3544.xml" ContentType="application/vnd.openxmlformats-officedocument.presentationml.slideLayout+xml"/>
  <Override PartName="/ppt/slideLayouts/slideLayout3545.xml" ContentType="application/vnd.openxmlformats-officedocument.presentationml.slideLayout+xml"/>
  <Override PartName="/ppt/slideLayouts/slideLayout3546.xml" ContentType="application/vnd.openxmlformats-officedocument.presentationml.slideLayout+xml"/>
  <Override PartName="/ppt/slideLayouts/slideLayout3547.xml" ContentType="application/vnd.openxmlformats-officedocument.presentationml.slideLayout+xml"/>
  <Override PartName="/ppt/slideLayouts/slideLayout3548.xml" ContentType="application/vnd.openxmlformats-officedocument.presentationml.slideLayout+xml"/>
  <Override PartName="/ppt/slideLayouts/slideLayout3549.xml" ContentType="application/vnd.openxmlformats-officedocument.presentationml.slideLayout+xml"/>
  <Override PartName="/ppt/slideLayouts/slideLayout3550.xml" ContentType="application/vnd.openxmlformats-officedocument.presentationml.slideLayout+xml"/>
  <Override PartName="/ppt/slideLayouts/slideLayout3551.xml" ContentType="application/vnd.openxmlformats-officedocument.presentationml.slideLayout+xml"/>
  <Override PartName="/ppt/slideLayouts/slideLayout3552.xml" ContentType="application/vnd.openxmlformats-officedocument.presentationml.slideLayout+xml"/>
  <Override PartName="/ppt/slideLayouts/slideLayout3553.xml" ContentType="application/vnd.openxmlformats-officedocument.presentationml.slideLayout+xml"/>
  <Override PartName="/ppt/slideLayouts/slideLayout3554.xml" ContentType="application/vnd.openxmlformats-officedocument.presentationml.slideLayout+xml"/>
  <Override PartName="/ppt/slideLayouts/slideLayout3555.xml" ContentType="application/vnd.openxmlformats-officedocument.presentationml.slideLayout+xml"/>
  <Override PartName="/ppt/slideLayouts/slideLayout3556.xml" ContentType="application/vnd.openxmlformats-officedocument.presentationml.slideLayout+xml"/>
  <Override PartName="/ppt/slideLayouts/slideLayout3557.xml" ContentType="application/vnd.openxmlformats-officedocument.presentationml.slideLayout+xml"/>
  <Override PartName="/ppt/slideLayouts/slideLayout3558.xml" ContentType="application/vnd.openxmlformats-officedocument.presentationml.slideLayout+xml"/>
  <Override PartName="/ppt/slideLayouts/slideLayout3559.xml" ContentType="application/vnd.openxmlformats-officedocument.presentationml.slideLayout+xml"/>
  <Override PartName="/ppt/slideLayouts/slideLayout3560.xml" ContentType="application/vnd.openxmlformats-officedocument.presentationml.slideLayout+xml"/>
  <Override PartName="/ppt/slideLayouts/slideLayout3561.xml" ContentType="application/vnd.openxmlformats-officedocument.presentationml.slideLayout+xml"/>
  <Override PartName="/ppt/slideLayouts/slideLayout3562.xml" ContentType="application/vnd.openxmlformats-officedocument.presentationml.slideLayout+xml"/>
  <Override PartName="/ppt/slideLayouts/slideLayout3563.xml" ContentType="application/vnd.openxmlformats-officedocument.presentationml.slideLayout+xml"/>
  <Override PartName="/ppt/slideLayouts/slideLayout3564.xml" ContentType="application/vnd.openxmlformats-officedocument.presentationml.slideLayout+xml"/>
  <Override PartName="/ppt/slideLayouts/slideLayout3565.xml" ContentType="application/vnd.openxmlformats-officedocument.presentationml.slideLayout+xml"/>
  <Override PartName="/ppt/slideLayouts/slideLayout3566.xml" ContentType="application/vnd.openxmlformats-officedocument.presentationml.slideLayout+xml"/>
  <Override PartName="/ppt/slideLayouts/slideLayout3567.xml" ContentType="application/vnd.openxmlformats-officedocument.presentationml.slideLayout+xml"/>
  <Override PartName="/ppt/slideLayouts/slideLayout3568.xml" ContentType="application/vnd.openxmlformats-officedocument.presentationml.slideLayout+xml"/>
  <Override PartName="/ppt/slideLayouts/slideLayout3569.xml" ContentType="application/vnd.openxmlformats-officedocument.presentationml.slideLayout+xml"/>
  <Override PartName="/ppt/slideLayouts/slideLayout3570.xml" ContentType="application/vnd.openxmlformats-officedocument.presentationml.slideLayout+xml"/>
  <Override PartName="/ppt/slideLayouts/slideLayout3571.xml" ContentType="application/vnd.openxmlformats-officedocument.presentationml.slideLayout+xml"/>
  <Override PartName="/ppt/slideLayouts/slideLayout3572.xml" ContentType="application/vnd.openxmlformats-officedocument.presentationml.slideLayout+xml"/>
  <Override PartName="/ppt/slideLayouts/slideLayout3573.xml" ContentType="application/vnd.openxmlformats-officedocument.presentationml.slideLayout+xml"/>
  <Override PartName="/ppt/slideLayouts/slideLayout3574.xml" ContentType="application/vnd.openxmlformats-officedocument.presentationml.slideLayout+xml"/>
  <Override PartName="/ppt/slideLayouts/slideLayout3575.xml" ContentType="application/vnd.openxmlformats-officedocument.presentationml.slideLayout+xml"/>
  <Override PartName="/ppt/slideLayouts/slideLayout3576.xml" ContentType="application/vnd.openxmlformats-officedocument.presentationml.slideLayout+xml"/>
  <Override PartName="/ppt/slideLayouts/slideLayout3577.xml" ContentType="application/vnd.openxmlformats-officedocument.presentationml.slideLayout+xml"/>
  <Override PartName="/ppt/slideLayouts/slideLayout3578.xml" ContentType="application/vnd.openxmlformats-officedocument.presentationml.slideLayout+xml"/>
  <Override PartName="/ppt/slideLayouts/slideLayout3579.xml" ContentType="application/vnd.openxmlformats-officedocument.presentationml.slideLayout+xml"/>
  <Override PartName="/ppt/slideLayouts/slideLayout3580.xml" ContentType="application/vnd.openxmlformats-officedocument.presentationml.slideLayout+xml"/>
  <Override PartName="/ppt/slideLayouts/slideLayout3581.xml" ContentType="application/vnd.openxmlformats-officedocument.presentationml.slideLayout+xml"/>
  <Override PartName="/ppt/slideLayouts/slideLayout3582.xml" ContentType="application/vnd.openxmlformats-officedocument.presentationml.slideLayout+xml"/>
  <Override PartName="/ppt/slideLayouts/slideLayout3583.xml" ContentType="application/vnd.openxmlformats-officedocument.presentationml.slideLayout+xml"/>
  <Override PartName="/ppt/slideLayouts/slideLayout3584.xml" ContentType="application/vnd.openxmlformats-officedocument.presentationml.slideLayout+xml"/>
  <Override PartName="/ppt/slideLayouts/slideLayout3585.xml" ContentType="application/vnd.openxmlformats-officedocument.presentationml.slideLayout+xml"/>
  <Override PartName="/ppt/slideLayouts/slideLayout3586.xml" ContentType="application/vnd.openxmlformats-officedocument.presentationml.slideLayout+xml"/>
  <Override PartName="/ppt/slideLayouts/slideLayout3587.xml" ContentType="application/vnd.openxmlformats-officedocument.presentationml.slideLayout+xml"/>
  <Override PartName="/ppt/slideLayouts/slideLayout3588.xml" ContentType="application/vnd.openxmlformats-officedocument.presentationml.slideLayout+xml"/>
  <Override PartName="/ppt/slideLayouts/slideLayout3589.xml" ContentType="application/vnd.openxmlformats-officedocument.presentationml.slideLayout+xml"/>
  <Override PartName="/ppt/slideLayouts/slideLayout3590.xml" ContentType="application/vnd.openxmlformats-officedocument.presentationml.slideLayout+xml"/>
  <Override PartName="/ppt/slideLayouts/slideLayout3591.xml" ContentType="application/vnd.openxmlformats-officedocument.presentationml.slideLayout+xml"/>
  <Override PartName="/ppt/slideLayouts/slideLayout3592.xml" ContentType="application/vnd.openxmlformats-officedocument.presentationml.slideLayout+xml"/>
  <Override PartName="/ppt/slideLayouts/slideLayout3593.xml" ContentType="application/vnd.openxmlformats-officedocument.presentationml.slideLayout+xml"/>
  <Override PartName="/ppt/slideLayouts/slideLayout3594.xml" ContentType="application/vnd.openxmlformats-officedocument.presentationml.slideLayout+xml"/>
  <Override PartName="/ppt/slideLayouts/slideLayout3595.xml" ContentType="application/vnd.openxmlformats-officedocument.presentationml.slideLayout+xml"/>
  <Override PartName="/ppt/slideLayouts/slideLayout3596.xml" ContentType="application/vnd.openxmlformats-officedocument.presentationml.slideLayout+xml"/>
  <Override PartName="/ppt/slideLayouts/slideLayout3597.xml" ContentType="application/vnd.openxmlformats-officedocument.presentationml.slideLayout+xml"/>
  <Override PartName="/ppt/slideLayouts/slideLayout3598.xml" ContentType="application/vnd.openxmlformats-officedocument.presentationml.slideLayout+xml"/>
  <Override PartName="/ppt/slideLayouts/slideLayout3599.xml" ContentType="application/vnd.openxmlformats-officedocument.presentationml.slideLayout+xml"/>
  <Override PartName="/ppt/slideLayouts/slideLayout3600.xml" ContentType="application/vnd.openxmlformats-officedocument.presentationml.slideLayout+xml"/>
  <Override PartName="/ppt/slideLayouts/slideLayout3601.xml" ContentType="application/vnd.openxmlformats-officedocument.presentationml.slideLayout+xml"/>
  <Override PartName="/ppt/slideLayouts/slideLayout3602.xml" ContentType="application/vnd.openxmlformats-officedocument.presentationml.slideLayout+xml"/>
  <Override PartName="/ppt/slideLayouts/slideLayout3603.xml" ContentType="application/vnd.openxmlformats-officedocument.presentationml.slideLayout+xml"/>
  <Override PartName="/ppt/slideLayouts/slideLayout3604.xml" ContentType="application/vnd.openxmlformats-officedocument.presentationml.slideLayout+xml"/>
  <Override PartName="/ppt/slideLayouts/slideLayout3605.xml" ContentType="application/vnd.openxmlformats-officedocument.presentationml.slideLayout+xml"/>
  <Override PartName="/ppt/slideLayouts/slideLayout3606.xml" ContentType="application/vnd.openxmlformats-officedocument.presentationml.slideLayout+xml"/>
  <Override PartName="/ppt/slideLayouts/slideLayout3607.xml" ContentType="application/vnd.openxmlformats-officedocument.presentationml.slideLayout+xml"/>
  <Override PartName="/ppt/slideLayouts/slideLayout3608.xml" ContentType="application/vnd.openxmlformats-officedocument.presentationml.slideLayout+xml"/>
  <Override PartName="/ppt/slideLayouts/slideLayout3609.xml" ContentType="application/vnd.openxmlformats-officedocument.presentationml.slideLayout+xml"/>
  <Override PartName="/ppt/slideLayouts/slideLayout3610.xml" ContentType="application/vnd.openxmlformats-officedocument.presentationml.slideLayout+xml"/>
  <Override PartName="/ppt/slideLayouts/slideLayout3611.xml" ContentType="application/vnd.openxmlformats-officedocument.presentationml.slideLayout+xml"/>
  <Override PartName="/ppt/slideLayouts/slideLayout3612.xml" ContentType="application/vnd.openxmlformats-officedocument.presentationml.slideLayout+xml"/>
  <Override PartName="/ppt/slideLayouts/slideLayout3613.xml" ContentType="application/vnd.openxmlformats-officedocument.presentationml.slideLayout+xml"/>
  <Override PartName="/ppt/slideLayouts/slideLayout3614.xml" ContentType="application/vnd.openxmlformats-officedocument.presentationml.slideLayout+xml"/>
  <Override PartName="/ppt/slideLayouts/slideLayout3615.xml" ContentType="application/vnd.openxmlformats-officedocument.presentationml.slideLayout+xml"/>
  <Override PartName="/ppt/slideLayouts/slideLayout3616.xml" ContentType="application/vnd.openxmlformats-officedocument.presentationml.slideLayout+xml"/>
  <Override PartName="/ppt/slideLayouts/slideLayout3617.xml" ContentType="application/vnd.openxmlformats-officedocument.presentationml.slideLayout+xml"/>
  <Override PartName="/ppt/slideLayouts/slideLayout3618.xml" ContentType="application/vnd.openxmlformats-officedocument.presentationml.slideLayout+xml"/>
  <Override PartName="/ppt/slideLayouts/slideLayout3619.xml" ContentType="application/vnd.openxmlformats-officedocument.presentationml.slideLayout+xml"/>
  <Override PartName="/ppt/slideLayouts/slideLayout3620.xml" ContentType="application/vnd.openxmlformats-officedocument.presentationml.slideLayout+xml"/>
  <Override PartName="/ppt/slideLayouts/slideLayout3621.xml" ContentType="application/vnd.openxmlformats-officedocument.presentationml.slideLayout+xml"/>
  <Override PartName="/ppt/slideLayouts/slideLayout3622.xml" ContentType="application/vnd.openxmlformats-officedocument.presentationml.slideLayout+xml"/>
  <Override PartName="/ppt/slideLayouts/slideLayout3623.xml" ContentType="application/vnd.openxmlformats-officedocument.presentationml.slideLayout+xml"/>
  <Override PartName="/ppt/slideLayouts/slideLayout3624.xml" ContentType="application/vnd.openxmlformats-officedocument.presentationml.slideLayout+xml"/>
  <Override PartName="/ppt/slideLayouts/slideLayout3625.xml" ContentType="application/vnd.openxmlformats-officedocument.presentationml.slideLayout+xml"/>
  <Override PartName="/ppt/slideLayouts/slideLayout3626.xml" ContentType="application/vnd.openxmlformats-officedocument.presentationml.slideLayout+xml"/>
  <Override PartName="/ppt/slideLayouts/slideLayout3627.xml" ContentType="application/vnd.openxmlformats-officedocument.presentationml.slideLayout+xml"/>
  <Override PartName="/ppt/slideLayouts/slideLayout3628.xml" ContentType="application/vnd.openxmlformats-officedocument.presentationml.slideLayout+xml"/>
  <Override PartName="/ppt/slideLayouts/slideLayout3629.xml" ContentType="application/vnd.openxmlformats-officedocument.presentationml.slideLayout+xml"/>
  <Override PartName="/ppt/slideLayouts/slideLayout3630.xml" ContentType="application/vnd.openxmlformats-officedocument.presentationml.slideLayout+xml"/>
  <Override PartName="/ppt/slideLayouts/slideLayout3631.xml" ContentType="application/vnd.openxmlformats-officedocument.presentationml.slideLayout+xml"/>
  <Override PartName="/ppt/slideLayouts/slideLayout3632.xml" ContentType="application/vnd.openxmlformats-officedocument.presentationml.slideLayout+xml"/>
  <Override PartName="/ppt/slideLayouts/slideLayout3633.xml" ContentType="application/vnd.openxmlformats-officedocument.presentationml.slideLayout+xml"/>
  <Override PartName="/ppt/slideLayouts/slideLayout3634.xml" ContentType="application/vnd.openxmlformats-officedocument.presentationml.slideLayout+xml"/>
  <Override PartName="/ppt/slideLayouts/slideLayout3635.xml" ContentType="application/vnd.openxmlformats-officedocument.presentationml.slideLayout+xml"/>
  <Override PartName="/ppt/slideLayouts/slideLayout3636.xml" ContentType="application/vnd.openxmlformats-officedocument.presentationml.slideLayout+xml"/>
  <Override PartName="/ppt/slideLayouts/slideLayout3637.xml" ContentType="application/vnd.openxmlformats-officedocument.presentationml.slideLayout+xml"/>
  <Override PartName="/ppt/slideLayouts/slideLayout3638.xml" ContentType="application/vnd.openxmlformats-officedocument.presentationml.slideLayout+xml"/>
  <Override PartName="/ppt/slideLayouts/slideLayout3639.xml" ContentType="application/vnd.openxmlformats-officedocument.presentationml.slideLayout+xml"/>
  <Override PartName="/ppt/slideLayouts/slideLayout3640.xml" ContentType="application/vnd.openxmlformats-officedocument.presentationml.slideLayout+xml"/>
  <Override PartName="/ppt/slideLayouts/slideLayout3641.xml" ContentType="application/vnd.openxmlformats-officedocument.presentationml.slideLayout+xml"/>
  <Override PartName="/ppt/slideLayouts/slideLayout3642.xml" ContentType="application/vnd.openxmlformats-officedocument.presentationml.slideLayout+xml"/>
  <Override PartName="/ppt/slideLayouts/slideLayout3643.xml" ContentType="application/vnd.openxmlformats-officedocument.presentationml.slideLayout+xml"/>
  <Override PartName="/ppt/slideLayouts/slideLayout3644.xml" ContentType="application/vnd.openxmlformats-officedocument.presentationml.slideLayout+xml"/>
  <Override PartName="/ppt/slideLayouts/slideLayout3645.xml" ContentType="application/vnd.openxmlformats-officedocument.presentationml.slideLayout+xml"/>
  <Override PartName="/ppt/slideLayouts/slideLayout3646.xml" ContentType="application/vnd.openxmlformats-officedocument.presentationml.slideLayout+xml"/>
  <Override PartName="/ppt/slideLayouts/slideLayout3647.xml" ContentType="application/vnd.openxmlformats-officedocument.presentationml.slideLayout+xml"/>
  <Override PartName="/ppt/slideLayouts/slideLayout3648.xml" ContentType="application/vnd.openxmlformats-officedocument.presentationml.slideLayout+xml"/>
  <Override PartName="/ppt/slideLayouts/slideLayout3649.xml" ContentType="application/vnd.openxmlformats-officedocument.presentationml.slideLayout+xml"/>
  <Override PartName="/ppt/slideLayouts/slideLayout3650.xml" ContentType="application/vnd.openxmlformats-officedocument.presentationml.slideLayout+xml"/>
  <Override PartName="/ppt/slideLayouts/slideLayout3651.xml" ContentType="application/vnd.openxmlformats-officedocument.presentationml.slideLayout+xml"/>
  <Override PartName="/ppt/slideLayouts/slideLayout3652.xml" ContentType="application/vnd.openxmlformats-officedocument.presentationml.slideLayout+xml"/>
  <Override PartName="/ppt/slideLayouts/slideLayout3653.xml" ContentType="application/vnd.openxmlformats-officedocument.presentationml.slideLayout+xml"/>
  <Override PartName="/ppt/slideLayouts/slideLayout3654.xml" ContentType="application/vnd.openxmlformats-officedocument.presentationml.slideLayout+xml"/>
  <Override PartName="/ppt/slideLayouts/slideLayout3655.xml" ContentType="application/vnd.openxmlformats-officedocument.presentationml.slideLayout+xml"/>
  <Override PartName="/ppt/slideLayouts/slideLayout3656.xml" ContentType="application/vnd.openxmlformats-officedocument.presentationml.slideLayout+xml"/>
  <Override PartName="/ppt/slideLayouts/slideLayout3657.xml" ContentType="application/vnd.openxmlformats-officedocument.presentationml.slideLayout+xml"/>
  <Override PartName="/ppt/slideLayouts/slideLayout3658.xml" ContentType="application/vnd.openxmlformats-officedocument.presentationml.slideLayout+xml"/>
  <Override PartName="/ppt/slideLayouts/slideLayout3659.xml" ContentType="application/vnd.openxmlformats-officedocument.presentationml.slideLayout+xml"/>
  <Override PartName="/ppt/slideLayouts/slideLayout3660.xml" ContentType="application/vnd.openxmlformats-officedocument.presentationml.slideLayout+xml"/>
  <Override PartName="/ppt/slideLayouts/slideLayout3661.xml" ContentType="application/vnd.openxmlformats-officedocument.presentationml.slideLayout+xml"/>
  <Override PartName="/ppt/slideLayouts/slideLayout3662.xml" ContentType="application/vnd.openxmlformats-officedocument.presentationml.slideLayout+xml"/>
  <Override PartName="/ppt/slideLayouts/slideLayout3663.xml" ContentType="application/vnd.openxmlformats-officedocument.presentationml.slideLayout+xml"/>
  <Override PartName="/ppt/slideLayouts/slideLayout3664.xml" ContentType="application/vnd.openxmlformats-officedocument.presentationml.slideLayout+xml"/>
  <Override PartName="/ppt/slideLayouts/slideLayout3665.xml" ContentType="application/vnd.openxmlformats-officedocument.presentationml.slideLayout+xml"/>
  <Override PartName="/ppt/slideLayouts/slideLayout3666.xml" ContentType="application/vnd.openxmlformats-officedocument.presentationml.slideLayout+xml"/>
  <Override PartName="/ppt/slideLayouts/slideLayout3667.xml" ContentType="application/vnd.openxmlformats-officedocument.presentationml.slideLayout+xml"/>
  <Override PartName="/ppt/slideLayouts/slideLayout3668.xml" ContentType="application/vnd.openxmlformats-officedocument.presentationml.slideLayout+xml"/>
  <Override PartName="/ppt/slideLayouts/slideLayout3669.xml" ContentType="application/vnd.openxmlformats-officedocument.presentationml.slideLayout+xml"/>
  <Override PartName="/ppt/slideLayouts/slideLayout3670.xml" ContentType="application/vnd.openxmlformats-officedocument.presentationml.slideLayout+xml"/>
  <Override PartName="/ppt/slideLayouts/slideLayout3671.xml" ContentType="application/vnd.openxmlformats-officedocument.presentationml.slideLayout+xml"/>
  <Override PartName="/ppt/slideLayouts/slideLayout3672.xml" ContentType="application/vnd.openxmlformats-officedocument.presentationml.slideLayout+xml"/>
  <Override PartName="/ppt/slideLayouts/slideLayout3673.xml" ContentType="application/vnd.openxmlformats-officedocument.presentationml.slideLayout+xml"/>
  <Override PartName="/ppt/slideLayouts/slideLayout3674.xml" ContentType="application/vnd.openxmlformats-officedocument.presentationml.slideLayout+xml"/>
  <Override PartName="/ppt/slideLayouts/slideLayout3675.xml" ContentType="application/vnd.openxmlformats-officedocument.presentationml.slideLayout+xml"/>
  <Override PartName="/ppt/slideLayouts/slideLayout3676.xml" ContentType="application/vnd.openxmlformats-officedocument.presentationml.slideLayout+xml"/>
  <Override PartName="/ppt/slideLayouts/slideLayout3677.xml" ContentType="application/vnd.openxmlformats-officedocument.presentationml.slideLayout+xml"/>
  <Override PartName="/ppt/slideLayouts/slideLayout3678.xml" ContentType="application/vnd.openxmlformats-officedocument.presentationml.slideLayout+xml"/>
  <Override PartName="/ppt/slideLayouts/slideLayout3679.xml" ContentType="application/vnd.openxmlformats-officedocument.presentationml.slideLayout+xml"/>
  <Override PartName="/ppt/slideLayouts/slideLayout3680.xml" ContentType="application/vnd.openxmlformats-officedocument.presentationml.slideLayout+xml"/>
  <Override PartName="/ppt/slideLayouts/slideLayout3681.xml" ContentType="application/vnd.openxmlformats-officedocument.presentationml.slideLayout+xml"/>
  <Override PartName="/ppt/slideLayouts/slideLayout3682.xml" ContentType="application/vnd.openxmlformats-officedocument.presentationml.slideLayout+xml"/>
  <Override PartName="/ppt/slideLayouts/slideLayout3683.xml" ContentType="application/vnd.openxmlformats-officedocument.presentationml.slideLayout+xml"/>
  <Override PartName="/ppt/slideLayouts/slideLayout3684.xml" ContentType="application/vnd.openxmlformats-officedocument.presentationml.slideLayout+xml"/>
  <Override PartName="/ppt/slideLayouts/slideLayout3685.xml" ContentType="application/vnd.openxmlformats-officedocument.presentationml.slideLayout+xml"/>
  <Override PartName="/ppt/slideLayouts/slideLayout3686.xml" ContentType="application/vnd.openxmlformats-officedocument.presentationml.slideLayout+xml"/>
  <Override PartName="/ppt/slideLayouts/slideLayout3687.xml" ContentType="application/vnd.openxmlformats-officedocument.presentationml.slideLayout+xml"/>
  <Override PartName="/ppt/slideLayouts/slideLayout3688.xml" ContentType="application/vnd.openxmlformats-officedocument.presentationml.slideLayout+xml"/>
  <Override PartName="/ppt/slideLayouts/slideLayout3689.xml" ContentType="application/vnd.openxmlformats-officedocument.presentationml.slideLayout+xml"/>
  <Override PartName="/ppt/slideLayouts/slideLayout3690.xml" ContentType="application/vnd.openxmlformats-officedocument.presentationml.slideLayout+xml"/>
  <Override PartName="/ppt/slideLayouts/slideLayout3691.xml" ContentType="application/vnd.openxmlformats-officedocument.presentationml.slideLayout+xml"/>
  <Override PartName="/ppt/slideLayouts/slideLayout3692.xml" ContentType="application/vnd.openxmlformats-officedocument.presentationml.slideLayout+xml"/>
  <Override PartName="/ppt/slideLayouts/slideLayout3693.xml" ContentType="application/vnd.openxmlformats-officedocument.presentationml.slideLayout+xml"/>
  <Override PartName="/ppt/slideLayouts/slideLayout3694.xml" ContentType="application/vnd.openxmlformats-officedocument.presentationml.slideLayout+xml"/>
  <Override PartName="/ppt/slideLayouts/slideLayout3695.xml" ContentType="application/vnd.openxmlformats-officedocument.presentationml.slideLayout+xml"/>
  <Override PartName="/ppt/slideLayouts/slideLayout3696.xml" ContentType="application/vnd.openxmlformats-officedocument.presentationml.slideLayout+xml"/>
  <Override PartName="/ppt/slideLayouts/slideLayout3697.xml" ContentType="application/vnd.openxmlformats-officedocument.presentationml.slideLayout+xml"/>
  <Override PartName="/ppt/slideLayouts/slideLayout3698.xml" ContentType="application/vnd.openxmlformats-officedocument.presentationml.slideLayout+xml"/>
  <Override PartName="/ppt/slideLayouts/slideLayout3699.xml" ContentType="application/vnd.openxmlformats-officedocument.presentationml.slideLayout+xml"/>
  <Override PartName="/ppt/slideLayouts/slideLayout3700.xml" ContentType="application/vnd.openxmlformats-officedocument.presentationml.slideLayout+xml"/>
  <Override PartName="/ppt/slideLayouts/slideLayout3701.xml" ContentType="application/vnd.openxmlformats-officedocument.presentationml.slideLayout+xml"/>
  <Override PartName="/ppt/slideLayouts/slideLayout3702.xml" ContentType="application/vnd.openxmlformats-officedocument.presentationml.slideLayout+xml"/>
  <Override PartName="/ppt/slideLayouts/slideLayout3703.xml" ContentType="application/vnd.openxmlformats-officedocument.presentationml.slideLayout+xml"/>
  <Override PartName="/ppt/slideLayouts/slideLayout3704.xml" ContentType="application/vnd.openxmlformats-officedocument.presentationml.slideLayout+xml"/>
  <Override PartName="/ppt/slideLayouts/slideLayout3705.xml" ContentType="application/vnd.openxmlformats-officedocument.presentationml.slideLayout+xml"/>
  <Override PartName="/ppt/slideLayouts/slideLayout3706.xml" ContentType="application/vnd.openxmlformats-officedocument.presentationml.slideLayout+xml"/>
  <Override PartName="/ppt/slideLayouts/slideLayout3707.xml" ContentType="application/vnd.openxmlformats-officedocument.presentationml.slideLayout+xml"/>
  <Override PartName="/ppt/slideLayouts/slideLayout3708.xml" ContentType="application/vnd.openxmlformats-officedocument.presentationml.slideLayout+xml"/>
  <Override PartName="/ppt/slideLayouts/slideLayout3709.xml" ContentType="application/vnd.openxmlformats-officedocument.presentationml.slideLayout+xml"/>
  <Override PartName="/ppt/slideLayouts/slideLayout3710.xml" ContentType="application/vnd.openxmlformats-officedocument.presentationml.slideLayout+xml"/>
  <Override PartName="/ppt/slideLayouts/slideLayout3711.xml" ContentType="application/vnd.openxmlformats-officedocument.presentationml.slideLayout+xml"/>
  <Override PartName="/ppt/slideLayouts/slideLayout3712.xml" ContentType="application/vnd.openxmlformats-officedocument.presentationml.slideLayout+xml"/>
  <Override PartName="/ppt/slideLayouts/slideLayout3713.xml" ContentType="application/vnd.openxmlformats-officedocument.presentationml.slideLayout+xml"/>
  <Override PartName="/ppt/slideLayouts/slideLayout3714.xml" ContentType="application/vnd.openxmlformats-officedocument.presentationml.slideLayout+xml"/>
  <Override PartName="/ppt/slideLayouts/slideLayout3715.xml" ContentType="application/vnd.openxmlformats-officedocument.presentationml.slideLayout+xml"/>
  <Override PartName="/ppt/slideLayouts/slideLayout3716.xml" ContentType="application/vnd.openxmlformats-officedocument.presentationml.slideLayout+xml"/>
  <Override PartName="/ppt/slideLayouts/slideLayout3717.xml" ContentType="application/vnd.openxmlformats-officedocument.presentationml.slideLayout+xml"/>
  <Override PartName="/ppt/slideLayouts/slideLayout3718.xml" ContentType="application/vnd.openxmlformats-officedocument.presentationml.slideLayout+xml"/>
  <Override PartName="/ppt/slideLayouts/slideLayout3719.xml" ContentType="application/vnd.openxmlformats-officedocument.presentationml.slideLayout+xml"/>
  <Override PartName="/ppt/slideLayouts/slideLayout3720.xml" ContentType="application/vnd.openxmlformats-officedocument.presentationml.slideLayout+xml"/>
  <Override PartName="/ppt/slideLayouts/slideLayout3721.xml" ContentType="application/vnd.openxmlformats-officedocument.presentationml.slideLayout+xml"/>
  <Override PartName="/ppt/slideLayouts/slideLayout3722.xml" ContentType="application/vnd.openxmlformats-officedocument.presentationml.slideLayout+xml"/>
  <Override PartName="/ppt/slideLayouts/slideLayout3723.xml" ContentType="application/vnd.openxmlformats-officedocument.presentationml.slideLayout+xml"/>
  <Override PartName="/ppt/slideLayouts/slideLayout3724.xml" ContentType="application/vnd.openxmlformats-officedocument.presentationml.slideLayout+xml"/>
  <Override PartName="/ppt/slideLayouts/slideLayout3725.xml" ContentType="application/vnd.openxmlformats-officedocument.presentationml.slideLayout+xml"/>
  <Override PartName="/ppt/slideLayouts/slideLayout3726.xml" ContentType="application/vnd.openxmlformats-officedocument.presentationml.slideLayout+xml"/>
  <Override PartName="/ppt/slideLayouts/slideLayout3727.xml" ContentType="application/vnd.openxmlformats-officedocument.presentationml.slideLayout+xml"/>
  <Override PartName="/ppt/slideLayouts/slideLayout3728.xml" ContentType="application/vnd.openxmlformats-officedocument.presentationml.slideLayout+xml"/>
  <Override PartName="/ppt/slideLayouts/slideLayout3729.xml" ContentType="application/vnd.openxmlformats-officedocument.presentationml.slideLayout+xml"/>
  <Override PartName="/ppt/slideLayouts/slideLayout3730.xml" ContentType="application/vnd.openxmlformats-officedocument.presentationml.slideLayout+xml"/>
  <Override PartName="/ppt/slideLayouts/slideLayout3731.xml" ContentType="application/vnd.openxmlformats-officedocument.presentationml.slideLayout+xml"/>
  <Override PartName="/ppt/slideLayouts/slideLayout3732.xml" ContentType="application/vnd.openxmlformats-officedocument.presentationml.slideLayout+xml"/>
  <Override PartName="/ppt/slideLayouts/slideLayout3733.xml" ContentType="application/vnd.openxmlformats-officedocument.presentationml.slideLayout+xml"/>
  <Override PartName="/ppt/slideLayouts/slideLayout3734.xml" ContentType="application/vnd.openxmlformats-officedocument.presentationml.slideLayout+xml"/>
  <Override PartName="/ppt/slideLayouts/slideLayout3735.xml" ContentType="application/vnd.openxmlformats-officedocument.presentationml.slideLayout+xml"/>
  <Override PartName="/ppt/slideLayouts/slideLayout3736.xml" ContentType="application/vnd.openxmlformats-officedocument.presentationml.slideLayout+xml"/>
  <Override PartName="/ppt/slideLayouts/slideLayout3737.xml" ContentType="application/vnd.openxmlformats-officedocument.presentationml.slideLayout+xml"/>
  <Override PartName="/ppt/slideLayouts/slideLayout3738.xml" ContentType="application/vnd.openxmlformats-officedocument.presentationml.slideLayout+xml"/>
  <Override PartName="/ppt/slideLayouts/slideLayout3739.xml" ContentType="application/vnd.openxmlformats-officedocument.presentationml.slideLayout+xml"/>
  <Override PartName="/ppt/slideLayouts/slideLayout3740.xml" ContentType="application/vnd.openxmlformats-officedocument.presentationml.slideLayout+xml"/>
  <Override PartName="/ppt/slideLayouts/slideLayout3741.xml" ContentType="application/vnd.openxmlformats-officedocument.presentationml.slideLayout+xml"/>
  <Override PartName="/ppt/slideLayouts/slideLayout3742.xml" ContentType="application/vnd.openxmlformats-officedocument.presentationml.slideLayout+xml"/>
  <Override PartName="/ppt/slideLayouts/slideLayout3743.xml" ContentType="application/vnd.openxmlformats-officedocument.presentationml.slideLayout+xml"/>
  <Override PartName="/ppt/slideLayouts/slideLayout3744.xml" ContentType="application/vnd.openxmlformats-officedocument.presentationml.slideLayout+xml"/>
  <Override PartName="/ppt/slideLayouts/slideLayout3745.xml" ContentType="application/vnd.openxmlformats-officedocument.presentationml.slideLayout+xml"/>
  <Override PartName="/ppt/slideLayouts/slideLayout3746.xml" ContentType="application/vnd.openxmlformats-officedocument.presentationml.slideLayout+xml"/>
  <Override PartName="/ppt/slideLayouts/slideLayout3747.xml" ContentType="application/vnd.openxmlformats-officedocument.presentationml.slideLayout+xml"/>
  <Override PartName="/ppt/slideLayouts/slideLayout3748.xml" ContentType="application/vnd.openxmlformats-officedocument.presentationml.slideLayout+xml"/>
  <Override PartName="/ppt/slideLayouts/slideLayout3749.xml" ContentType="application/vnd.openxmlformats-officedocument.presentationml.slideLayout+xml"/>
  <Override PartName="/ppt/slideLayouts/slideLayout3750.xml" ContentType="application/vnd.openxmlformats-officedocument.presentationml.slideLayout+xml"/>
  <Override PartName="/ppt/slideLayouts/slideLayout3751.xml" ContentType="application/vnd.openxmlformats-officedocument.presentationml.slideLayout+xml"/>
  <Override PartName="/ppt/slideLayouts/slideLayout3752.xml" ContentType="application/vnd.openxmlformats-officedocument.presentationml.slideLayout+xml"/>
  <Override PartName="/ppt/slideLayouts/slideLayout3753.xml" ContentType="application/vnd.openxmlformats-officedocument.presentationml.slideLayout+xml"/>
  <Override PartName="/ppt/slideLayouts/slideLayout3754.xml" ContentType="application/vnd.openxmlformats-officedocument.presentationml.slideLayout+xml"/>
  <Override PartName="/ppt/slideLayouts/slideLayout3755.xml" ContentType="application/vnd.openxmlformats-officedocument.presentationml.slideLayout+xml"/>
  <Override PartName="/ppt/slideLayouts/slideLayout3756.xml" ContentType="application/vnd.openxmlformats-officedocument.presentationml.slideLayout+xml"/>
  <Override PartName="/ppt/slideLayouts/slideLayout3757.xml" ContentType="application/vnd.openxmlformats-officedocument.presentationml.slideLayout+xml"/>
  <Override PartName="/ppt/slideLayouts/slideLayout3758.xml" ContentType="application/vnd.openxmlformats-officedocument.presentationml.slideLayout+xml"/>
  <Override PartName="/ppt/slideLayouts/slideLayout3759.xml" ContentType="application/vnd.openxmlformats-officedocument.presentationml.slideLayout+xml"/>
  <Override PartName="/ppt/slideLayouts/slideLayout3760.xml" ContentType="application/vnd.openxmlformats-officedocument.presentationml.slideLayout+xml"/>
  <Override PartName="/ppt/slideLayouts/slideLayout3761.xml" ContentType="application/vnd.openxmlformats-officedocument.presentationml.slideLayout+xml"/>
  <Override PartName="/ppt/slideLayouts/slideLayout3762.xml" ContentType="application/vnd.openxmlformats-officedocument.presentationml.slideLayout+xml"/>
  <Override PartName="/ppt/slideLayouts/slideLayout3763.xml" ContentType="application/vnd.openxmlformats-officedocument.presentationml.slideLayout+xml"/>
  <Override PartName="/ppt/slideLayouts/slideLayout3764.xml" ContentType="application/vnd.openxmlformats-officedocument.presentationml.slideLayout+xml"/>
  <Override PartName="/ppt/slideLayouts/slideLayout3765.xml" ContentType="application/vnd.openxmlformats-officedocument.presentationml.slideLayout+xml"/>
  <Override PartName="/ppt/slideLayouts/slideLayout3766.xml" ContentType="application/vnd.openxmlformats-officedocument.presentationml.slideLayout+xml"/>
  <Override PartName="/ppt/slideLayouts/slideLayout3767.xml" ContentType="application/vnd.openxmlformats-officedocument.presentationml.slideLayout+xml"/>
  <Override PartName="/ppt/slideLayouts/slideLayout3768.xml" ContentType="application/vnd.openxmlformats-officedocument.presentationml.slideLayout+xml"/>
  <Override PartName="/ppt/slideLayouts/slideLayout3769.xml" ContentType="application/vnd.openxmlformats-officedocument.presentationml.slideLayout+xml"/>
  <Override PartName="/ppt/slideLayouts/slideLayout3770.xml" ContentType="application/vnd.openxmlformats-officedocument.presentationml.slideLayout+xml"/>
  <Override PartName="/ppt/slideLayouts/slideLayout3771.xml" ContentType="application/vnd.openxmlformats-officedocument.presentationml.slideLayout+xml"/>
  <Override PartName="/ppt/slideLayouts/slideLayout3772.xml" ContentType="application/vnd.openxmlformats-officedocument.presentationml.slideLayout+xml"/>
  <Override PartName="/ppt/slideLayouts/slideLayout3773.xml" ContentType="application/vnd.openxmlformats-officedocument.presentationml.slideLayout+xml"/>
  <Override PartName="/ppt/slideLayouts/slideLayout3774.xml" ContentType="application/vnd.openxmlformats-officedocument.presentationml.slideLayout+xml"/>
  <Override PartName="/ppt/slideLayouts/slideLayout3775.xml" ContentType="application/vnd.openxmlformats-officedocument.presentationml.slideLayout+xml"/>
  <Override PartName="/ppt/slideLayouts/slideLayout3776.xml" ContentType="application/vnd.openxmlformats-officedocument.presentationml.slideLayout+xml"/>
  <Override PartName="/ppt/slideLayouts/slideLayout3777.xml" ContentType="application/vnd.openxmlformats-officedocument.presentationml.slideLayout+xml"/>
  <Override PartName="/ppt/slideLayouts/slideLayout3778.xml" ContentType="application/vnd.openxmlformats-officedocument.presentationml.slideLayout+xml"/>
  <Override PartName="/ppt/slideLayouts/slideLayout3779.xml" ContentType="application/vnd.openxmlformats-officedocument.presentationml.slideLayout+xml"/>
  <Override PartName="/ppt/slideLayouts/slideLayout3780.xml" ContentType="application/vnd.openxmlformats-officedocument.presentationml.slideLayout+xml"/>
  <Override PartName="/ppt/slideLayouts/slideLayout3781.xml" ContentType="application/vnd.openxmlformats-officedocument.presentationml.slideLayout+xml"/>
  <Override PartName="/ppt/slideLayouts/slideLayout3782.xml" ContentType="application/vnd.openxmlformats-officedocument.presentationml.slideLayout+xml"/>
  <Override PartName="/ppt/slideLayouts/slideLayout3783.xml" ContentType="application/vnd.openxmlformats-officedocument.presentationml.slideLayout+xml"/>
  <Override PartName="/ppt/slideLayouts/slideLayout3784.xml" ContentType="application/vnd.openxmlformats-officedocument.presentationml.slideLayout+xml"/>
  <Override PartName="/ppt/slideLayouts/slideLayout3785.xml" ContentType="application/vnd.openxmlformats-officedocument.presentationml.slideLayout+xml"/>
  <Override PartName="/ppt/slideLayouts/slideLayout3786.xml" ContentType="application/vnd.openxmlformats-officedocument.presentationml.slideLayout+xml"/>
  <Override PartName="/ppt/slideLayouts/slideLayout3787.xml" ContentType="application/vnd.openxmlformats-officedocument.presentationml.slideLayout+xml"/>
  <Override PartName="/ppt/slideLayouts/slideLayout3788.xml" ContentType="application/vnd.openxmlformats-officedocument.presentationml.slideLayout+xml"/>
  <Override PartName="/ppt/slideLayouts/slideLayout3789.xml" ContentType="application/vnd.openxmlformats-officedocument.presentationml.slideLayout+xml"/>
  <Override PartName="/ppt/slideLayouts/slideLayout3790.xml" ContentType="application/vnd.openxmlformats-officedocument.presentationml.slideLayout+xml"/>
  <Override PartName="/ppt/slideLayouts/slideLayout3791.xml" ContentType="application/vnd.openxmlformats-officedocument.presentationml.slideLayout+xml"/>
  <Override PartName="/ppt/slideLayouts/slideLayout3792.xml" ContentType="application/vnd.openxmlformats-officedocument.presentationml.slideLayout+xml"/>
  <Override PartName="/ppt/slideLayouts/slideLayout3793.xml" ContentType="application/vnd.openxmlformats-officedocument.presentationml.slideLayout+xml"/>
  <Override PartName="/ppt/slideLayouts/slideLayout3794.xml" ContentType="application/vnd.openxmlformats-officedocument.presentationml.slideLayout+xml"/>
  <Override PartName="/ppt/slideLayouts/slideLayout3795.xml" ContentType="application/vnd.openxmlformats-officedocument.presentationml.slideLayout+xml"/>
  <Override PartName="/ppt/slideLayouts/slideLayout3796.xml" ContentType="application/vnd.openxmlformats-officedocument.presentationml.slideLayout+xml"/>
  <Override PartName="/ppt/slideLayouts/slideLayout3797.xml" ContentType="application/vnd.openxmlformats-officedocument.presentationml.slideLayout+xml"/>
  <Override PartName="/ppt/slideLayouts/slideLayout3798.xml" ContentType="application/vnd.openxmlformats-officedocument.presentationml.slideLayout+xml"/>
  <Override PartName="/ppt/slideLayouts/slideLayout3799.xml" ContentType="application/vnd.openxmlformats-officedocument.presentationml.slideLayout+xml"/>
  <Override PartName="/ppt/slideLayouts/slideLayout3800.xml" ContentType="application/vnd.openxmlformats-officedocument.presentationml.slideLayout+xml"/>
  <Override PartName="/ppt/slideLayouts/slideLayout3801.xml" ContentType="application/vnd.openxmlformats-officedocument.presentationml.slideLayout+xml"/>
  <Override PartName="/ppt/slideLayouts/slideLayout3802.xml" ContentType="application/vnd.openxmlformats-officedocument.presentationml.slideLayout+xml"/>
  <Override PartName="/ppt/slideLayouts/slideLayout3803.xml" ContentType="application/vnd.openxmlformats-officedocument.presentationml.slideLayout+xml"/>
  <Override PartName="/ppt/slideLayouts/slideLayout3804.xml" ContentType="application/vnd.openxmlformats-officedocument.presentationml.slideLayout+xml"/>
  <Override PartName="/ppt/slideLayouts/slideLayout3805.xml" ContentType="application/vnd.openxmlformats-officedocument.presentationml.slideLayout+xml"/>
  <Override PartName="/ppt/slideLayouts/slideLayout3806.xml" ContentType="application/vnd.openxmlformats-officedocument.presentationml.slideLayout+xml"/>
  <Override PartName="/ppt/slideLayouts/slideLayout3807.xml" ContentType="application/vnd.openxmlformats-officedocument.presentationml.slideLayout+xml"/>
  <Override PartName="/ppt/slideLayouts/slideLayout3808.xml" ContentType="application/vnd.openxmlformats-officedocument.presentationml.slideLayout+xml"/>
  <Override PartName="/ppt/slideLayouts/slideLayout3809.xml" ContentType="application/vnd.openxmlformats-officedocument.presentationml.slideLayout+xml"/>
  <Override PartName="/ppt/slideLayouts/slideLayout3810.xml" ContentType="application/vnd.openxmlformats-officedocument.presentationml.slideLayout+xml"/>
  <Override PartName="/ppt/slideLayouts/slideLayout3811.xml" ContentType="application/vnd.openxmlformats-officedocument.presentationml.slideLayout+xml"/>
  <Override PartName="/ppt/slideLayouts/slideLayout3812.xml" ContentType="application/vnd.openxmlformats-officedocument.presentationml.slideLayout+xml"/>
  <Override PartName="/ppt/slideLayouts/slideLayout3813.xml" ContentType="application/vnd.openxmlformats-officedocument.presentationml.slideLayout+xml"/>
  <Override PartName="/ppt/slideLayouts/slideLayout3814.xml" ContentType="application/vnd.openxmlformats-officedocument.presentationml.slideLayout+xml"/>
  <Override PartName="/ppt/slideLayouts/slideLayout3815.xml" ContentType="application/vnd.openxmlformats-officedocument.presentationml.slideLayout+xml"/>
  <Override PartName="/ppt/slideLayouts/slideLayout3816.xml" ContentType="application/vnd.openxmlformats-officedocument.presentationml.slideLayout+xml"/>
  <Override PartName="/ppt/slideLayouts/slideLayout3817.xml" ContentType="application/vnd.openxmlformats-officedocument.presentationml.slideLayout+xml"/>
  <Override PartName="/ppt/slideLayouts/slideLayout3818.xml" ContentType="application/vnd.openxmlformats-officedocument.presentationml.slideLayout+xml"/>
  <Override PartName="/ppt/slideLayouts/slideLayout3819.xml" ContentType="application/vnd.openxmlformats-officedocument.presentationml.slideLayout+xml"/>
  <Override PartName="/ppt/slideLayouts/slideLayout3820.xml" ContentType="application/vnd.openxmlformats-officedocument.presentationml.slideLayout+xml"/>
  <Override PartName="/ppt/slideLayouts/slideLayout3821.xml" ContentType="application/vnd.openxmlformats-officedocument.presentationml.slideLayout+xml"/>
  <Override PartName="/ppt/slideLayouts/slideLayout3822.xml" ContentType="application/vnd.openxmlformats-officedocument.presentationml.slideLayout+xml"/>
  <Override PartName="/ppt/slideLayouts/slideLayout3823.xml" ContentType="application/vnd.openxmlformats-officedocument.presentationml.slideLayout+xml"/>
  <Override PartName="/ppt/slideLayouts/slideLayout3824.xml" ContentType="application/vnd.openxmlformats-officedocument.presentationml.slideLayout+xml"/>
  <Override PartName="/ppt/slideLayouts/slideLayout3825.xml" ContentType="application/vnd.openxmlformats-officedocument.presentationml.slideLayout+xml"/>
  <Override PartName="/ppt/slideLayouts/slideLayout3826.xml" ContentType="application/vnd.openxmlformats-officedocument.presentationml.slideLayout+xml"/>
  <Override PartName="/ppt/slideLayouts/slideLayout3827.xml" ContentType="application/vnd.openxmlformats-officedocument.presentationml.slideLayout+xml"/>
  <Override PartName="/ppt/slideLayouts/slideLayout3828.xml" ContentType="application/vnd.openxmlformats-officedocument.presentationml.slideLayout+xml"/>
  <Override PartName="/ppt/slideLayouts/slideLayout3829.xml" ContentType="application/vnd.openxmlformats-officedocument.presentationml.slideLayout+xml"/>
  <Override PartName="/ppt/slideLayouts/slideLayout3830.xml" ContentType="application/vnd.openxmlformats-officedocument.presentationml.slideLayout+xml"/>
  <Override PartName="/ppt/slideLayouts/slideLayout3831.xml" ContentType="application/vnd.openxmlformats-officedocument.presentationml.slideLayout+xml"/>
  <Override PartName="/ppt/slideLayouts/slideLayout3832.xml" ContentType="application/vnd.openxmlformats-officedocument.presentationml.slideLayout+xml"/>
  <Override PartName="/ppt/slideLayouts/slideLayout3833.xml" ContentType="application/vnd.openxmlformats-officedocument.presentationml.slideLayout+xml"/>
  <Override PartName="/ppt/slideLayouts/slideLayout3834.xml" ContentType="application/vnd.openxmlformats-officedocument.presentationml.slideLayout+xml"/>
  <Override PartName="/ppt/slideLayouts/slideLayout3835.xml" ContentType="application/vnd.openxmlformats-officedocument.presentationml.slideLayout+xml"/>
  <Override PartName="/ppt/slideLayouts/slideLayout3836.xml" ContentType="application/vnd.openxmlformats-officedocument.presentationml.slideLayout+xml"/>
  <Override PartName="/ppt/slideLayouts/slideLayout3837.xml" ContentType="application/vnd.openxmlformats-officedocument.presentationml.slideLayout+xml"/>
  <Override PartName="/ppt/slideLayouts/slideLayout3838.xml" ContentType="application/vnd.openxmlformats-officedocument.presentationml.slideLayout+xml"/>
  <Override PartName="/ppt/slideLayouts/slideLayout3839.xml" ContentType="application/vnd.openxmlformats-officedocument.presentationml.slideLayout+xml"/>
  <Override PartName="/ppt/slideLayouts/slideLayout3840.xml" ContentType="application/vnd.openxmlformats-officedocument.presentationml.slideLayout+xml"/>
  <Override PartName="/ppt/slideLayouts/slideLayout3841.xml" ContentType="application/vnd.openxmlformats-officedocument.presentationml.slideLayout+xml"/>
  <Override PartName="/ppt/slideLayouts/slideLayout3842.xml" ContentType="application/vnd.openxmlformats-officedocument.presentationml.slideLayout+xml"/>
  <Override PartName="/ppt/slideLayouts/slideLayout3843.xml" ContentType="application/vnd.openxmlformats-officedocument.presentationml.slideLayout+xml"/>
  <Override PartName="/ppt/slideLayouts/slideLayout3844.xml" ContentType="application/vnd.openxmlformats-officedocument.presentationml.slideLayout+xml"/>
  <Override PartName="/ppt/slideLayouts/slideLayout3845.xml" ContentType="application/vnd.openxmlformats-officedocument.presentationml.slideLayout+xml"/>
  <Override PartName="/ppt/slideLayouts/slideLayout3846.xml" ContentType="application/vnd.openxmlformats-officedocument.presentationml.slideLayout+xml"/>
  <Override PartName="/ppt/slideLayouts/slideLayout3847.xml" ContentType="application/vnd.openxmlformats-officedocument.presentationml.slideLayout+xml"/>
  <Override PartName="/ppt/slideLayouts/slideLayout3848.xml" ContentType="application/vnd.openxmlformats-officedocument.presentationml.slideLayout+xml"/>
  <Override PartName="/ppt/slideLayouts/slideLayout3849.xml" ContentType="application/vnd.openxmlformats-officedocument.presentationml.slideLayout+xml"/>
  <Override PartName="/ppt/slideLayouts/slideLayout3850.xml" ContentType="application/vnd.openxmlformats-officedocument.presentationml.slideLayout+xml"/>
  <Override PartName="/ppt/slideLayouts/slideLayout3851.xml" ContentType="application/vnd.openxmlformats-officedocument.presentationml.slideLayout+xml"/>
  <Override PartName="/ppt/slideLayouts/slideLayout3852.xml" ContentType="application/vnd.openxmlformats-officedocument.presentationml.slideLayout+xml"/>
  <Override PartName="/ppt/slideLayouts/slideLayout3853.xml" ContentType="application/vnd.openxmlformats-officedocument.presentationml.slideLayout+xml"/>
  <Override PartName="/ppt/slideLayouts/slideLayout3854.xml" ContentType="application/vnd.openxmlformats-officedocument.presentationml.slideLayout+xml"/>
  <Override PartName="/ppt/slideLayouts/slideLayout3855.xml" ContentType="application/vnd.openxmlformats-officedocument.presentationml.slideLayout+xml"/>
  <Override PartName="/ppt/slideLayouts/slideLayout3856.xml" ContentType="application/vnd.openxmlformats-officedocument.presentationml.slideLayout+xml"/>
  <Override PartName="/ppt/slideLayouts/slideLayout3857.xml" ContentType="application/vnd.openxmlformats-officedocument.presentationml.slideLayout+xml"/>
  <Override PartName="/ppt/slideLayouts/slideLayout3858.xml" ContentType="application/vnd.openxmlformats-officedocument.presentationml.slideLayout+xml"/>
  <Override PartName="/ppt/slideLayouts/slideLayout3859.xml" ContentType="application/vnd.openxmlformats-officedocument.presentationml.slideLayout+xml"/>
  <Override PartName="/ppt/slideLayouts/slideLayout3860.xml" ContentType="application/vnd.openxmlformats-officedocument.presentationml.slideLayout+xml"/>
  <Override PartName="/ppt/slideLayouts/slideLayout3861.xml" ContentType="application/vnd.openxmlformats-officedocument.presentationml.slideLayout+xml"/>
  <Override PartName="/ppt/slideLayouts/slideLayout3862.xml" ContentType="application/vnd.openxmlformats-officedocument.presentationml.slideLayout+xml"/>
  <Override PartName="/ppt/slideLayouts/slideLayout3863.xml" ContentType="application/vnd.openxmlformats-officedocument.presentationml.slideLayout+xml"/>
  <Override PartName="/ppt/slideLayouts/slideLayout3864.xml" ContentType="application/vnd.openxmlformats-officedocument.presentationml.slideLayout+xml"/>
  <Override PartName="/ppt/slideLayouts/slideLayout3865.xml" ContentType="application/vnd.openxmlformats-officedocument.presentationml.slideLayout+xml"/>
  <Override PartName="/ppt/slideLayouts/slideLayout3866.xml" ContentType="application/vnd.openxmlformats-officedocument.presentationml.slideLayout+xml"/>
  <Override PartName="/ppt/slideLayouts/slideLayout3867.xml" ContentType="application/vnd.openxmlformats-officedocument.presentationml.slideLayout+xml"/>
  <Override PartName="/ppt/slideLayouts/slideLayout3868.xml" ContentType="application/vnd.openxmlformats-officedocument.presentationml.slideLayout+xml"/>
  <Override PartName="/ppt/slideLayouts/slideLayout3869.xml" ContentType="application/vnd.openxmlformats-officedocument.presentationml.slideLayout+xml"/>
  <Override PartName="/ppt/slideLayouts/slideLayout3870.xml" ContentType="application/vnd.openxmlformats-officedocument.presentationml.slideLayout+xml"/>
  <Override PartName="/ppt/slideLayouts/slideLayout3871.xml" ContentType="application/vnd.openxmlformats-officedocument.presentationml.slideLayout+xml"/>
  <Override PartName="/ppt/slideLayouts/slideLayout3872.xml" ContentType="application/vnd.openxmlformats-officedocument.presentationml.slideLayout+xml"/>
  <Override PartName="/ppt/slideLayouts/slideLayout3873.xml" ContentType="application/vnd.openxmlformats-officedocument.presentationml.slideLayout+xml"/>
  <Override PartName="/ppt/slideLayouts/slideLayout3874.xml" ContentType="application/vnd.openxmlformats-officedocument.presentationml.slideLayout+xml"/>
  <Override PartName="/ppt/slideLayouts/slideLayout3875.xml" ContentType="application/vnd.openxmlformats-officedocument.presentationml.slideLayout+xml"/>
  <Override PartName="/ppt/slideLayouts/slideLayout3876.xml" ContentType="application/vnd.openxmlformats-officedocument.presentationml.slideLayout+xml"/>
  <Override PartName="/ppt/slideLayouts/slideLayout3877.xml" ContentType="application/vnd.openxmlformats-officedocument.presentationml.slideLayout+xml"/>
  <Override PartName="/ppt/slideLayouts/slideLayout3878.xml" ContentType="application/vnd.openxmlformats-officedocument.presentationml.slideLayout+xml"/>
  <Override PartName="/ppt/slideLayouts/slideLayout3879.xml" ContentType="application/vnd.openxmlformats-officedocument.presentationml.slideLayout+xml"/>
  <Override PartName="/ppt/slideLayouts/slideLayout3880.xml" ContentType="application/vnd.openxmlformats-officedocument.presentationml.slideLayout+xml"/>
  <Override PartName="/ppt/slideLayouts/slideLayout3881.xml" ContentType="application/vnd.openxmlformats-officedocument.presentationml.slideLayout+xml"/>
  <Override PartName="/ppt/slideLayouts/slideLayout3882.xml" ContentType="application/vnd.openxmlformats-officedocument.presentationml.slideLayout+xml"/>
  <Override PartName="/ppt/slideLayouts/slideLayout3883.xml" ContentType="application/vnd.openxmlformats-officedocument.presentationml.slideLayout+xml"/>
  <Override PartName="/ppt/slideLayouts/slideLayout3884.xml" ContentType="application/vnd.openxmlformats-officedocument.presentationml.slideLayout+xml"/>
  <Override PartName="/ppt/slideLayouts/slideLayout3885.xml" ContentType="application/vnd.openxmlformats-officedocument.presentationml.slideLayout+xml"/>
  <Override PartName="/ppt/slideLayouts/slideLayout3886.xml" ContentType="application/vnd.openxmlformats-officedocument.presentationml.slideLayout+xml"/>
  <Override PartName="/ppt/slideLayouts/slideLayout3887.xml" ContentType="application/vnd.openxmlformats-officedocument.presentationml.slideLayout+xml"/>
  <Override PartName="/ppt/slideLayouts/slideLayout3888.xml" ContentType="application/vnd.openxmlformats-officedocument.presentationml.slideLayout+xml"/>
  <Override PartName="/ppt/slideLayouts/slideLayout3889.xml" ContentType="application/vnd.openxmlformats-officedocument.presentationml.slideLayout+xml"/>
  <Override PartName="/ppt/slideLayouts/slideLayout3890.xml" ContentType="application/vnd.openxmlformats-officedocument.presentationml.slideLayout+xml"/>
  <Override PartName="/ppt/slideLayouts/slideLayout3891.xml" ContentType="application/vnd.openxmlformats-officedocument.presentationml.slideLayout+xml"/>
  <Override PartName="/ppt/slideLayouts/slideLayout3892.xml" ContentType="application/vnd.openxmlformats-officedocument.presentationml.slideLayout+xml"/>
  <Override PartName="/ppt/slideLayouts/slideLayout3893.xml" ContentType="application/vnd.openxmlformats-officedocument.presentationml.slideLayout+xml"/>
  <Override PartName="/ppt/slideLayouts/slideLayout3894.xml" ContentType="application/vnd.openxmlformats-officedocument.presentationml.slideLayout+xml"/>
  <Override PartName="/ppt/slideLayouts/slideLayout3895.xml" ContentType="application/vnd.openxmlformats-officedocument.presentationml.slideLayout+xml"/>
  <Override PartName="/ppt/slideLayouts/slideLayout3896.xml" ContentType="application/vnd.openxmlformats-officedocument.presentationml.slideLayout+xml"/>
  <Override PartName="/ppt/slideLayouts/slideLayout3897.xml" ContentType="application/vnd.openxmlformats-officedocument.presentationml.slideLayout+xml"/>
  <Override PartName="/ppt/slideLayouts/slideLayout3898.xml" ContentType="application/vnd.openxmlformats-officedocument.presentationml.slideLayout+xml"/>
  <Override PartName="/ppt/slideLayouts/slideLayout3899.xml" ContentType="application/vnd.openxmlformats-officedocument.presentationml.slideLayout+xml"/>
  <Override PartName="/ppt/slideLayouts/slideLayout3900.xml" ContentType="application/vnd.openxmlformats-officedocument.presentationml.slideLayout+xml"/>
  <Override PartName="/ppt/slideLayouts/slideLayout3901.xml" ContentType="application/vnd.openxmlformats-officedocument.presentationml.slideLayout+xml"/>
  <Override PartName="/ppt/slideLayouts/slideLayout3902.xml" ContentType="application/vnd.openxmlformats-officedocument.presentationml.slideLayout+xml"/>
  <Override PartName="/ppt/slideLayouts/slideLayout3903.xml" ContentType="application/vnd.openxmlformats-officedocument.presentationml.slideLayout+xml"/>
  <Override PartName="/ppt/slideLayouts/slideLayout3904.xml" ContentType="application/vnd.openxmlformats-officedocument.presentationml.slideLayout+xml"/>
  <Override PartName="/ppt/slideLayouts/slideLayout3905.xml" ContentType="application/vnd.openxmlformats-officedocument.presentationml.slideLayout+xml"/>
  <Override PartName="/ppt/slideLayouts/slideLayout3906.xml" ContentType="application/vnd.openxmlformats-officedocument.presentationml.slideLayout+xml"/>
  <Override PartName="/ppt/slideLayouts/slideLayout3907.xml" ContentType="application/vnd.openxmlformats-officedocument.presentationml.slideLayout+xml"/>
  <Override PartName="/ppt/slideLayouts/slideLayout3908.xml" ContentType="application/vnd.openxmlformats-officedocument.presentationml.slideLayout+xml"/>
  <Override PartName="/ppt/slideLayouts/slideLayout3909.xml" ContentType="application/vnd.openxmlformats-officedocument.presentationml.slideLayout+xml"/>
  <Override PartName="/ppt/slideLayouts/slideLayout3910.xml" ContentType="application/vnd.openxmlformats-officedocument.presentationml.slideLayout+xml"/>
  <Override PartName="/ppt/slideLayouts/slideLayout3911.xml" ContentType="application/vnd.openxmlformats-officedocument.presentationml.slideLayout+xml"/>
  <Override PartName="/ppt/slideLayouts/slideLayout3912.xml" ContentType="application/vnd.openxmlformats-officedocument.presentationml.slideLayout+xml"/>
  <Override PartName="/ppt/slideLayouts/slideLayout3913.xml" ContentType="application/vnd.openxmlformats-officedocument.presentationml.slideLayout+xml"/>
  <Override PartName="/ppt/slideLayouts/slideLayout3914.xml" ContentType="application/vnd.openxmlformats-officedocument.presentationml.slideLayout+xml"/>
  <Override PartName="/ppt/slideLayouts/slideLayout3915.xml" ContentType="application/vnd.openxmlformats-officedocument.presentationml.slideLayout+xml"/>
  <Override PartName="/ppt/slideLayouts/slideLayout3916.xml" ContentType="application/vnd.openxmlformats-officedocument.presentationml.slideLayout+xml"/>
  <Override PartName="/ppt/slideLayouts/slideLayout3917.xml" ContentType="application/vnd.openxmlformats-officedocument.presentationml.slideLayout+xml"/>
  <Override PartName="/ppt/slideLayouts/slideLayout3918.xml" ContentType="application/vnd.openxmlformats-officedocument.presentationml.slideLayout+xml"/>
  <Override PartName="/ppt/slideLayouts/slideLayout3919.xml" ContentType="application/vnd.openxmlformats-officedocument.presentationml.slideLayout+xml"/>
  <Override PartName="/ppt/slideLayouts/slideLayout3920.xml" ContentType="application/vnd.openxmlformats-officedocument.presentationml.slideLayout+xml"/>
  <Override PartName="/ppt/slideLayouts/slideLayout3921.xml" ContentType="application/vnd.openxmlformats-officedocument.presentationml.slideLayout+xml"/>
  <Override PartName="/ppt/slideLayouts/slideLayout3922.xml" ContentType="application/vnd.openxmlformats-officedocument.presentationml.slideLayout+xml"/>
  <Override PartName="/ppt/slideLayouts/slideLayout3923.xml" ContentType="application/vnd.openxmlformats-officedocument.presentationml.slideLayout+xml"/>
  <Override PartName="/ppt/slideLayouts/slideLayout3924.xml" ContentType="application/vnd.openxmlformats-officedocument.presentationml.slideLayout+xml"/>
  <Override PartName="/ppt/slideLayouts/slideLayout3925.xml" ContentType="application/vnd.openxmlformats-officedocument.presentationml.slideLayout+xml"/>
  <Override PartName="/ppt/slideLayouts/slideLayout3926.xml" ContentType="application/vnd.openxmlformats-officedocument.presentationml.slideLayout+xml"/>
  <Override PartName="/ppt/slideLayouts/slideLayout3927.xml" ContentType="application/vnd.openxmlformats-officedocument.presentationml.slideLayout+xml"/>
  <Override PartName="/ppt/slideLayouts/slideLayout3928.xml" ContentType="application/vnd.openxmlformats-officedocument.presentationml.slideLayout+xml"/>
  <Override PartName="/ppt/slideLayouts/slideLayout3929.xml" ContentType="application/vnd.openxmlformats-officedocument.presentationml.slideLayout+xml"/>
  <Override PartName="/ppt/slideLayouts/slideLayout3930.xml" ContentType="application/vnd.openxmlformats-officedocument.presentationml.slideLayout+xml"/>
  <Override PartName="/ppt/slideLayouts/slideLayout3931.xml" ContentType="application/vnd.openxmlformats-officedocument.presentationml.slideLayout+xml"/>
  <Override PartName="/ppt/slideLayouts/slideLayout3932.xml" ContentType="application/vnd.openxmlformats-officedocument.presentationml.slideLayout+xml"/>
  <Override PartName="/ppt/slideLayouts/slideLayout3933.xml" ContentType="application/vnd.openxmlformats-officedocument.presentationml.slideLayout+xml"/>
  <Override PartName="/ppt/slideLayouts/slideLayout3934.xml" ContentType="application/vnd.openxmlformats-officedocument.presentationml.slideLayout+xml"/>
  <Override PartName="/ppt/slideLayouts/slideLayout3935.xml" ContentType="application/vnd.openxmlformats-officedocument.presentationml.slideLayout+xml"/>
  <Override PartName="/ppt/slideLayouts/slideLayout3936.xml" ContentType="application/vnd.openxmlformats-officedocument.presentationml.slideLayout+xml"/>
  <Override PartName="/ppt/slideLayouts/slideLayout3937.xml" ContentType="application/vnd.openxmlformats-officedocument.presentationml.slideLayout+xml"/>
  <Override PartName="/ppt/slideLayouts/slideLayout3938.xml" ContentType="application/vnd.openxmlformats-officedocument.presentationml.slideLayout+xml"/>
  <Override PartName="/ppt/slideLayouts/slideLayout3939.xml" ContentType="application/vnd.openxmlformats-officedocument.presentationml.slideLayout+xml"/>
  <Override PartName="/ppt/slideLayouts/slideLayout3940.xml" ContentType="application/vnd.openxmlformats-officedocument.presentationml.slideLayout+xml"/>
  <Override PartName="/ppt/slideLayouts/slideLayout3941.xml" ContentType="application/vnd.openxmlformats-officedocument.presentationml.slideLayout+xml"/>
  <Override PartName="/ppt/slideLayouts/slideLayout3942.xml" ContentType="application/vnd.openxmlformats-officedocument.presentationml.slideLayout+xml"/>
  <Override PartName="/ppt/slideLayouts/slideLayout3943.xml" ContentType="application/vnd.openxmlformats-officedocument.presentationml.slideLayout+xml"/>
  <Override PartName="/ppt/slideLayouts/slideLayout3944.xml" ContentType="application/vnd.openxmlformats-officedocument.presentationml.slideLayout+xml"/>
  <Override PartName="/ppt/slideLayouts/slideLayout3945.xml" ContentType="application/vnd.openxmlformats-officedocument.presentationml.slideLayout+xml"/>
  <Override PartName="/ppt/slideLayouts/slideLayout3946.xml" ContentType="application/vnd.openxmlformats-officedocument.presentationml.slideLayout+xml"/>
  <Override PartName="/ppt/slideLayouts/slideLayout3947.xml" ContentType="application/vnd.openxmlformats-officedocument.presentationml.slideLayout+xml"/>
  <Override PartName="/ppt/slideLayouts/slideLayout3948.xml" ContentType="application/vnd.openxmlformats-officedocument.presentationml.slideLayout+xml"/>
  <Override PartName="/ppt/slideLayouts/slideLayout3949.xml" ContentType="application/vnd.openxmlformats-officedocument.presentationml.slideLayout+xml"/>
  <Override PartName="/ppt/slideLayouts/slideLayout3950.xml" ContentType="application/vnd.openxmlformats-officedocument.presentationml.slideLayout+xml"/>
  <Override PartName="/ppt/slideLayouts/slideLayout3951.xml" ContentType="application/vnd.openxmlformats-officedocument.presentationml.slideLayout+xml"/>
  <Override PartName="/ppt/slideLayouts/slideLayout3952.xml" ContentType="application/vnd.openxmlformats-officedocument.presentationml.slideLayout+xml"/>
  <Override PartName="/ppt/slideLayouts/slideLayout3953.xml" ContentType="application/vnd.openxmlformats-officedocument.presentationml.slideLayout+xml"/>
  <Override PartName="/ppt/slideLayouts/slideLayout3954.xml" ContentType="application/vnd.openxmlformats-officedocument.presentationml.slideLayout+xml"/>
  <Override PartName="/ppt/slideLayouts/slideLayout3955.xml" ContentType="application/vnd.openxmlformats-officedocument.presentationml.slideLayout+xml"/>
  <Override PartName="/ppt/slideLayouts/slideLayout3956.xml" ContentType="application/vnd.openxmlformats-officedocument.presentationml.slideLayout+xml"/>
  <Override PartName="/ppt/slideLayouts/slideLayout3957.xml" ContentType="application/vnd.openxmlformats-officedocument.presentationml.slideLayout+xml"/>
  <Override PartName="/ppt/slideLayouts/slideLayout3958.xml" ContentType="application/vnd.openxmlformats-officedocument.presentationml.slideLayout+xml"/>
  <Override PartName="/ppt/slideLayouts/slideLayout3959.xml" ContentType="application/vnd.openxmlformats-officedocument.presentationml.slideLayout+xml"/>
  <Override PartName="/ppt/slideLayouts/slideLayout3960.xml" ContentType="application/vnd.openxmlformats-officedocument.presentationml.slideLayout+xml"/>
  <Override PartName="/ppt/slideLayouts/slideLayout3961.xml" ContentType="application/vnd.openxmlformats-officedocument.presentationml.slideLayout+xml"/>
  <Override PartName="/ppt/slideLayouts/slideLayout3962.xml" ContentType="application/vnd.openxmlformats-officedocument.presentationml.slideLayout+xml"/>
  <Override PartName="/ppt/slideLayouts/slideLayout3963.xml" ContentType="application/vnd.openxmlformats-officedocument.presentationml.slideLayout+xml"/>
  <Override PartName="/ppt/slideLayouts/slideLayout3964.xml" ContentType="application/vnd.openxmlformats-officedocument.presentationml.slideLayout+xml"/>
  <Override PartName="/ppt/slideLayouts/slideLayout3965.xml" ContentType="application/vnd.openxmlformats-officedocument.presentationml.slideLayout+xml"/>
  <Override PartName="/ppt/slideLayouts/slideLayout3966.xml" ContentType="application/vnd.openxmlformats-officedocument.presentationml.slideLayout+xml"/>
  <Override PartName="/ppt/slideLayouts/slideLayout3967.xml" ContentType="application/vnd.openxmlformats-officedocument.presentationml.slideLayout+xml"/>
  <Override PartName="/ppt/slideLayouts/slideLayout3968.xml" ContentType="application/vnd.openxmlformats-officedocument.presentationml.slideLayout+xml"/>
  <Override PartName="/ppt/slideLayouts/slideLayout3969.xml" ContentType="application/vnd.openxmlformats-officedocument.presentationml.slideLayout+xml"/>
  <Override PartName="/ppt/slideLayouts/slideLayout3970.xml" ContentType="application/vnd.openxmlformats-officedocument.presentationml.slideLayout+xml"/>
  <Override PartName="/ppt/slideLayouts/slideLayout3971.xml" ContentType="application/vnd.openxmlformats-officedocument.presentationml.slideLayout+xml"/>
  <Override PartName="/ppt/slideLayouts/slideLayout3972.xml" ContentType="application/vnd.openxmlformats-officedocument.presentationml.slideLayout+xml"/>
  <Override PartName="/ppt/slideLayouts/slideLayout3973.xml" ContentType="application/vnd.openxmlformats-officedocument.presentationml.slideLayout+xml"/>
  <Override PartName="/ppt/slideLayouts/slideLayout3974.xml" ContentType="application/vnd.openxmlformats-officedocument.presentationml.slideLayout+xml"/>
  <Override PartName="/ppt/slideLayouts/slideLayout3975.xml" ContentType="application/vnd.openxmlformats-officedocument.presentationml.slideLayout+xml"/>
  <Override PartName="/ppt/slideLayouts/slideLayout3976.xml" ContentType="application/vnd.openxmlformats-officedocument.presentationml.slideLayout+xml"/>
  <Override PartName="/ppt/slideLayouts/slideLayout3977.xml" ContentType="application/vnd.openxmlformats-officedocument.presentationml.slideLayout+xml"/>
  <Override PartName="/ppt/slideLayouts/slideLayout3978.xml" ContentType="application/vnd.openxmlformats-officedocument.presentationml.slideLayout+xml"/>
  <Override PartName="/ppt/slideLayouts/slideLayout3979.xml" ContentType="application/vnd.openxmlformats-officedocument.presentationml.slideLayout+xml"/>
  <Override PartName="/ppt/slideLayouts/slideLayout3980.xml" ContentType="application/vnd.openxmlformats-officedocument.presentationml.slideLayout+xml"/>
  <Override PartName="/ppt/slideLayouts/slideLayout3981.xml" ContentType="application/vnd.openxmlformats-officedocument.presentationml.slideLayout+xml"/>
  <Override PartName="/ppt/slideLayouts/slideLayout3982.xml" ContentType="application/vnd.openxmlformats-officedocument.presentationml.slideLayout+xml"/>
  <Override PartName="/ppt/slideLayouts/slideLayout3983.xml" ContentType="application/vnd.openxmlformats-officedocument.presentationml.slideLayout+xml"/>
  <Override PartName="/ppt/slideLayouts/slideLayout3984.xml" ContentType="application/vnd.openxmlformats-officedocument.presentationml.slideLayout+xml"/>
  <Override PartName="/ppt/slideLayouts/slideLayout3985.xml" ContentType="application/vnd.openxmlformats-officedocument.presentationml.slideLayout+xml"/>
  <Override PartName="/ppt/slideLayouts/slideLayout3986.xml" ContentType="application/vnd.openxmlformats-officedocument.presentationml.slideLayout+xml"/>
  <Override PartName="/ppt/slideLayouts/slideLayout3987.xml" ContentType="application/vnd.openxmlformats-officedocument.presentationml.slideLayout+xml"/>
  <Override PartName="/ppt/slideLayouts/slideLayout3988.xml" ContentType="application/vnd.openxmlformats-officedocument.presentationml.slideLayout+xml"/>
  <Override PartName="/ppt/slideLayouts/slideLayout3989.xml" ContentType="application/vnd.openxmlformats-officedocument.presentationml.slideLayout+xml"/>
  <Override PartName="/ppt/slideLayouts/slideLayout3990.xml" ContentType="application/vnd.openxmlformats-officedocument.presentationml.slideLayout+xml"/>
  <Override PartName="/ppt/slideLayouts/slideLayout3991.xml" ContentType="application/vnd.openxmlformats-officedocument.presentationml.slideLayout+xml"/>
  <Override PartName="/ppt/slideLayouts/slideLayout3992.xml" ContentType="application/vnd.openxmlformats-officedocument.presentationml.slideLayout+xml"/>
  <Override PartName="/ppt/slideLayouts/slideLayout3993.xml" ContentType="application/vnd.openxmlformats-officedocument.presentationml.slideLayout+xml"/>
  <Override PartName="/ppt/slideLayouts/slideLayout3994.xml" ContentType="application/vnd.openxmlformats-officedocument.presentationml.slideLayout+xml"/>
  <Override PartName="/ppt/slideLayouts/slideLayout3995.xml" ContentType="application/vnd.openxmlformats-officedocument.presentationml.slideLayout+xml"/>
  <Override PartName="/ppt/slideLayouts/slideLayout3996.xml" ContentType="application/vnd.openxmlformats-officedocument.presentationml.slideLayout+xml"/>
  <Override PartName="/ppt/slideLayouts/slideLayout3997.xml" ContentType="application/vnd.openxmlformats-officedocument.presentationml.slideLayout+xml"/>
  <Override PartName="/ppt/slideLayouts/slideLayout3998.xml" ContentType="application/vnd.openxmlformats-officedocument.presentationml.slideLayout+xml"/>
  <Override PartName="/ppt/slideLayouts/slideLayout3999.xml" ContentType="application/vnd.openxmlformats-officedocument.presentationml.slideLayout+xml"/>
  <Override PartName="/ppt/slideLayouts/slideLayout4000.xml" ContentType="application/vnd.openxmlformats-officedocument.presentationml.slideLayout+xml"/>
  <Override PartName="/ppt/slideLayouts/slideLayout4001.xml" ContentType="application/vnd.openxmlformats-officedocument.presentationml.slideLayout+xml"/>
  <Override PartName="/ppt/slideLayouts/slideLayout4002.xml" ContentType="application/vnd.openxmlformats-officedocument.presentationml.slideLayout+xml"/>
  <Override PartName="/ppt/slideLayouts/slideLayout4003.xml" ContentType="application/vnd.openxmlformats-officedocument.presentationml.slideLayout+xml"/>
  <Override PartName="/ppt/slideLayouts/slideLayout4004.xml" ContentType="application/vnd.openxmlformats-officedocument.presentationml.slideLayout+xml"/>
  <Override PartName="/ppt/slideLayouts/slideLayout4005.xml" ContentType="application/vnd.openxmlformats-officedocument.presentationml.slideLayout+xml"/>
  <Override PartName="/ppt/slideLayouts/slideLayout4006.xml" ContentType="application/vnd.openxmlformats-officedocument.presentationml.slideLayout+xml"/>
  <Override PartName="/ppt/slideLayouts/slideLayout4007.xml" ContentType="application/vnd.openxmlformats-officedocument.presentationml.slideLayout+xml"/>
  <Override PartName="/ppt/slideLayouts/slideLayout4008.xml" ContentType="application/vnd.openxmlformats-officedocument.presentationml.slideLayout+xml"/>
  <Override PartName="/ppt/slideLayouts/slideLayout4009.xml" ContentType="application/vnd.openxmlformats-officedocument.presentationml.slideLayout+xml"/>
  <Override PartName="/ppt/slideLayouts/slideLayout4010.xml" ContentType="application/vnd.openxmlformats-officedocument.presentationml.slideLayout+xml"/>
  <Override PartName="/ppt/slideLayouts/slideLayout4011.xml" ContentType="application/vnd.openxmlformats-officedocument.presentationml.slideLayout+xml"/>
  <Override PartName="/ppt/slideLayouts/slideLayout4012.xml" ContentType="application/vnd.openxmlformats-officedocument.presentationml.slideLayout+xml"/>
  <Override PartName="/ppt/slideLayouts/slideLayout4013.xml" ContentType="application/vnd.openxmlformats-officedocument.presentationml.slideLayout+xml"/>
  <Override PartName="/ppt/slideLayouts/slideLayout4014.xml" ContentType="application/vnd.openxmlformats-officedocument.presentationml.slideLayout+xml"/>
  <Override PartName="/ppt/slideLayouts/slideLayout4015.xml" ContentType="application/vnd.openxmlformats-officedocument.presentationml.slideLayout+xml"/>
  <Override PartName="/ppt/slideLayouts/slideLayout4016.xml" ContentType="application/vnd.openxmlformats-officedocument.presentationml.slideLayout+xml"/>
  <Override PartName="/ppt/slideLayouts/slideLayout4017.xml" ContentType="application/vnd.openxmlformats-officedocument.presentationml.slideLayout+xml"/>
  <Override PartName="/ppt/slideLayouts/slideLayout4018.xml" ContentType="application/vnd.openxmlformats-officedocument.presentationml.slideLayout+xml"/>
  <Override PartName="/ppt/slideLayouts/slideLayout4019.xml" ContentType="application/vnd.openxmlformats-officedocument.presentationml.slideLayout+xml"/>
  <Override PartName="/ppt/slideLayouts/slideLayout4020.xml" ContentType="application/vnd.openxmlformats-officedocument.presentationml.slideLayout+xml"/>
  <Override PartName="/ppt/slideLayouts/slideLayout4021.xml" ContentType="application/vnd.openxmlformats-officedocument.presentationml.slideLayout+xml"/>
  <Override PartName="/ppt/slideLayouts/slideLayout4022.xml" ContentType="application/vnd.openxmlformats-officedocument.presentationml.slideLayout+xml"/>
  <Override PartName="/ppt/slideLayouts/slideLayout4023.xml" ContentType="application/vnd.openxmlformats-officedocument.presentationml.slideLayout+xml"/>
  <Override PartName="/ppt/slideLayouts/slideLayout4024.xml" ContentType="application/vnd.openxmlformats-officedocument.presentationml.slideLayout+xml"/>
  <Override PartName="/ppt/slideLayouts/slideLayout4025.xml" ContentType="application/vnd.openxmlformats-officedocument.presentationml.slideLayout+xml"/>
  <Override PartName="/ppt/slideLayouts/slideLayout4026.xml" ContentType="application/vnd.openxmlformats-officedocument.presentationml.slideLayout+xml"/>
  <Override PartName="/ppt/slideLayouts/slideLayout4027.xml" ContentType="application/vnd.openxmlformats-officedocument.presentationml.slideLayout+xml"/>
  <Override PartName="/ppt/slideLayouts/slideLayout4028.xml" ContentType="application/vnd.openxmlformats-officedocument.presentationml.slideLayout+xml"/>
  <Override PartName="/ppt/slideLayouts/slideLayout4029.xml" ContentType="application/vnd.openxmlformats-officedocument.presentationml.slideLayout+xml"/>
  <Override PartName="/ppt/slideLayouts/slideLayout4030.xml" ContentType="application/vnd.openxmlformats-officedocument.presentationml.slideLayout+xml"/>
  <Override PartName="/ppt/slideLayouts/slideLayout4031.xml" ContentType="application/vnd.openxmlformats-officedocument.presentationml.slideLayout+xml"/>
  <Override PartName="/ppt/slideLayouts/slideLayout4032.xml" ContentType="application/vnd.openxmlformats-officedocument.presentationml.slideLayout+xml"/>
  <Override PartName="/ppt/slideLayouts/slideLayout4033.xml" ContentType="application/vnd.openxmlformats-officedocument.presentationml.slideLayout+xml"/>
  <Override PartName="/ppt/slideLayouts/slideLayout4034.xml" ContentType="application/vnd.openxmlformats-officedocument.presentationml.slideLayout+xml"/>
  <Override PartName="/ppt/slideLayouts/slideLayout4035.xml" ContentType="application/vnd.openxmlformats-officedocument.presentationml.slideLayout+xml"/>
  <Override PartName="/ppt/slideLayouts/slideLayout4036.xml" ContentType="application/vnd.openxmlformats-officedocument.presentationml.slideLayout+xml"/>
  <Override PartName="/ppt/slideLayouts/slideLayout4037.xml" ContentType="application/vnd.openxmlformats-officedocument.presentationml.slideLayout+xml"/>
  <Override PartName="/ppt/slideLayouts/slideLayout4038.xml" ContentType="application/vnd.openxmlformats-officedocument.presentationml.slideLayout+xml"/>
  <Override PartName="/ppt/slideLayouts/slideLayout4039.xml" ContentType="application/vnd.openxmlformats-officedocument.presentationml.slideLayout+xml"/>
  <Override PartName="/ppt/slideLayouts/slideLayout4040.xml" ContentType="application/vnd.openxmlformats-officedocument.presentationml.slideLayout+xml"/>
  <Override PartName="/ppt/slideLayouts/slideLayout4041.xml" ContentType="application/vnd.openxmlformats-officedocument.presentationml.slideLayout+xml"/>
  <Override PartName="/ppt/slideLayouts/slideLayout4042.xml" ContentType="application/vnd.openxmlformats-officedocument.presentationml.slideLayout+xml"/>
  <Override PartName="/ppt/slideLayouts/slideLayout4043.xml" ContentType="application/vnd.openxmlformats-officedocument.presentationml.slideLayout+xml"/>
  <Override PartName="/ppt/slideLayouts/slideLayout4044.xml" ContentType="application/vnd.openxmlformats-officedocument.presentationml.slideLayout+xml"/>
  <Override PartName="/ppt/slideLayouts/slideLayout4045.xml" ContentType="application/vnd.openxmlformats-officedocument.presentationml.slideLayout+xml"/>
  <Override PartName="/ppt/slideLayouts/slideLayout4046.xml" ContentType="application/vnd.openxmlformats-officedocument.presentationml.slideLayout+xml"/>
  <Override PartName="/ppt/slideLayouts/slideLayout4047.xml" ContentType="application/vnd.openxmlformats-officedocument.presentationml.slideLayout+xml"/>
  <Override PartName="/ppt/slideLayouts/slideLayout4048.xml" ContentType="application/vnd.openxmlformats-officedocument.presentationml.slideLayout+xml"/>
  <Override PartName="/ppt/slideLayouts/slideLayout4049.xml" ContentType="application/vnd.openxmlformats-officedocument.presentationml.slideLayout+xml"/>
  <Override PartName="/ppt/slideLayouts/slideLayout4050.xml" ContentType="application/vnd.openxmlformats-officedocument.presentationml.slideLayout+xml"/>
  <Override PartName="/ppt/slideLayouts/slideLayout4051.xml" ContentType="application/vnd.openxmlformats-officedocument.presentationml.slideLayout+xml"/>
  <Override PartName="/ppt/slideLayouts/slideLayout4052.xml" ContentType="application/vnd.openxmlformats-officedocument.presentationml.slideLayout+xml"/>
  <Override PartName="/ppt/slideLayouts/slideLayout4053.xml" ContentType="application/vnd.openxmlformats-officedocument.presentationml.slideLayout+xml"/>
  <Override PartName="/ppt/slideLayouts/slideLayout4054.xml" ContentType="application/vnd.openxmlformats-officedocument.presentationml.slideLayout+xml"/>
  <Override PartName="/ppt/slideLayouts/slideLayout4055.xml" ContentType="application/vnd.openxmlformats-officedocument.presentationml.slideLayout+xml"/>
  <Override PartName="/ppt/slideLayouts/slideLayout4056.xml" ContentType="application/vnd.openxmlformats-officedocument.presentationml.slideLayout+xml"/>
  <Override PartName="/ppt/slideLayouts/slideLayout4057.xml" ContentType="application/vnd.openxmlformats-officedocument.presentationml.slideLayout+xml"/>
  <Override PartName="/ppt/slideLayouts/slideLayout4058.xml" ContentType="application/vnd.openxmlformats-officedocument.presentationml.slideLayout+xml"/>
  <Override PartName="/ppt/slideLayouts/slideLayout4059.xml" ContentType="application/vnd.openxmlformats-officedocument.presentationml.slideLayout+xml"/>
  <Override PartName="/ppt/slideLayouts/slideLayout4060.xml" ContentType="application/vnd.openxmlformats-officedocument.presentationml.slideLayout+xml"/>
  <Override PartName="/ppt/slideLayouts/slideLayout4061.xml" ContentType="application/vnd.openxmlformats-officedocument.presentationml.slideLayout+xml"/>
  <Override PartName="/ppt/slideLayouts/slideLayout4062.xml" ContentType="application/vnd.openxmlformats-officedocument.presentationml.slideLayout+xml"/>
  <Override PartName="/ppt/slideLayouts/slideLayout4063.xml" ContentType="application/vnd.openxmlformats-officedocument.presentationml.slideLayout+xml"/>
  <Override PartName="/ppt/slideLayouts/slideLayout4064.xml" ContentType="application/vnd.openxmlformats-officedocument.presentationml.slideLayout+xml"/>
  <Override PartName="/ppt/slideLayouts/slideLayout4065.xml" ContentType="application/vnd.openxmlformats-officedocument.presentationml.slideLayout+xml"/>
  <Override PartName="/ppt/slideLayouts/slideLayout4066.xml" ContentType="application/vnd.openxmlformats-officedocument.presentationml.slideLayout+xml"/>
  <Override PartName="/ppt/slideLayouts/slideLayout4067.xml" ContentType="application/vnd.openxmlformats-officedocument.presentationml.slideLayout+xml"/>
  <Override PartName="/ppt/slideLayouts/slideLayout4068.xml" ContentType="application/vnd.openxmlformats-officedocument.presentationml.slideLayout+xml"/>
  <Override PartName="/ppt/slideLayouts/slideLayout4069.xml" ContentType="application/vnd.openxmlformats-officedocument.presentationml.slideLayout+xml"/>
  <Override PartName="/ppt/slideLayouts/slideLayout4070.xml" ContentType="application/vnd.openxmlformats-officedocument.presentationml.slideLayout+xml"/>
  <Override PartName="/ppt/slideLayouts/slideLayout4071.xml" ContentType="application/vnd.openxmlformats-officedocument.presentationml.slideLayout+xml"/>
  <Override PartName="/ppt/slideLayouts/slideLayout4072.xml" ContentType="application/vnd.openxmlformats-officedocument.presentationml.slideLayout+xml"/>
  <Override PartName="/ppt/slideLayouts/slideLayout4073.xml" ContentType="application/vnd.openxmlformats-officedocument.presentationml.slideLayout+xml"/>
  <Override PartName="/ppt/slideLayouts/slideLayout4074.xml" ContentType="application/vnd.openxmlformats-officedocument.presentationml.slideLayout+xml"/>
  <Override PartName="/ppt/slideLayouts/slideLayout4075.xml" ContentType="application/vnd.openxmlformats-officedocument.presentationml.slideLayout+xml"/>
  <Override PartName="/ppt/slideLayouts/slideLayout4076.xml" ContentType="application/vnd.openxmlformats-officedocument.presentationml.slideLayout+xml"/>
  <Override PartName="/ppt/slideLayouts/slideLayout4077.xml" ContentType="application/vnd.openxmlformats-officedocument.presentationml.slideLayout+xml"/>
  <Override PartName="/ppt/slideLayouts/slideLayout4078.xml" ContentType="application/vnd.openxmlformats-officedocument.presentationml.slideLayout+xml"/>
  <Override PartName="/ppt/slideLayouts/slideLayout4079.xml" ContentType="application/vnd.openxmlformats-officedocument.presentationml.slideLayout+xml"/>
  <Override PartName="/ppt/slideLayouts/slideLayout4080.xml" ContentType="application/vnd.openxmlformats-officedocument.presentationml.slideLayout+xml"/>
  <Override PartName="/ppt/slideLayouts/slideLayout4081.xml" ContentType="application/vnd.openxmlformats-officedocument.presentationml.slideLayout+xml"/>
  <Override PartName="/ppt/slideLayouts/slideLayout4082.xml" ContentType="application/vnd.openxmlformats-officedocument.presentationml.slideLayout+xml"/>
  <Override PartName="/ppt/slideLayouts/slideLayout4083.xml" ContentType="application/vnd.openxmlformats-officedocument.presentationml.slideLayout+xml"/>
  <Override PartName="/ppt/slideLayouts/slideLayout4084.xml" ContentType="application/vnd.openxmlformats-officedocument.presentationml.slideLayout+xml"/>
  <Override PartName="/ppt/slideLayouts/slideLayout4085.xml" ContentType="application/vnd.openxmlformats-officedocument.presentationml.slideLayout+xml"/>
  <Override PartName="/ppt/slideLayouts/slideLayout4086.xml" ContentType="application/vnd.openxmlformats-officedocument.presentationml.slideLayout+xml"/>
  <Override PartName="/ppt/slideLayouts/slideLayout4087.xml" ContentType="application/vnd.openxmlformats-officedocument.presentationml.slideLayout+xml"/>
  <Override PartName="/ppt/slideLayouts/slideLayout4088.xml" ContentType="application/vnd.openxmlformats-officedocument.presentationml.slideLayout+xml"/>
  <Override PartName="/ppt/slideLayouts/slideLayout4089.xml" ContentType="application/vnd.openxmlformats-officedocument.presentationml.slideLayout+xml"/>
  <Override PartName="/ppt/slideLayouts/slideLayout4090.xml" ContentType="application/vnd.openxmlformats-officedocument.presentationml.slideLayout+xml"/>
  <Override PartName="/ppt/slideLayouts/slideLayout4091.xml" ContentType="application/vnd.openxmlformats-officedocument.presentationml.slideLayout+xml"/>
  <Override PartName="/ppt/slideLayouts/slideLayout4092.xml" ContentType="application/vnd.openxmlformats-officedocument.presentationml.slideLayout+xml"/>
  <Override PartName="/ppt/slideLayouts/slideLayout4093.xml" ContentType="application/vnd.openxmlformats-officedocument.presentationml.slideLayout+xml"/>
  <Override PartName="/ppt/slideLayouts/slideLayout4094.xml" ContentType="application/vnd.openxmlformats-officedocument.presentationml.slideLayout+xml"/>
  <Override PartName="/ppt/slideLayouts/slideLayout4095.xml" ContentType="application/vnd.openxmlformats-officedocument.presentationml.slideLayout+xml"/>
  <Override PartName="/ppt/slideLayouts/slideLayout4096.xml" ContentType="application/vnd.openxmlformats-officedocument.presentationml.slideLayout+xml"/>
  <Override PartName="/ppt/slideLayouts/slideLayout4097.xml" ContentType="application/vnd.openxmlformats-officedocument.presentationml.slideLayout+xml"/>
  <Override PartName="/ppt/slideLayouts/slideLayout4098.xml" ContentType="application/vnd.openxmlformats-officedocument.presentationml.slideLayout+xml"/>
  <Override PartName="/ppt/slideLayouts/slideLayout4099.xml" ContentType="application/vnd.openxmlformats-officedocument.presentationml.slideLayout+xml"/>
  <Override PartName="/ppt/slideLayouts/slideLayout4100.xml" ContentType="application/vnd.openxmlformats-officedocument.presentationml.slideLayout+xml"/>
  <Override PartName="/ppt/slideLayouts/slideLayout4101.xml" ContentType="application/vnd.openxmlformats-officedocument.presentationml.slideLayout+xml"/>
  <Override PartName="/ppt/slideLayouts/slideLayout4102.xml" ContentType="application/vnd.openxmlformats-officedocument.presentationml.slideLayout+xml"/>
  <Override PartName="/ppt/slideLayouts/slideLayout4103.xml" ContentType="application/vnd.openxmlformats-officedocument.presentationml.slideLayout+xml"/>
  <Override PartName="/ppt/slideLayouts/slideLayout4104.xml" ContentType="application/vnd.openxmlformats-officedocument.presentationml.slideLayout+xml"/>
  <Override PartName="/ppt/slideLayouts/slideLayout4105.xml" ContentType="application/vnd.openxmlformats-officedocument.presentationml.slideLayout+xml"/>
  <Override PartName="/ppt/slideLayouts/slideLayout4106.xml" ContentType="application/vnd.openxmlformats-officedocument.presentationml.slideLayout+xml"/>
  <Override PartName="/ppt/slideLayouts/slideLayout4107.xml" ContentType="application/vnd.openxmlformats-officedocument.presentationml.slideLayout+xml"/>
  <Override PartName="/ppt/slideLayouts/slideLayout4108.xml" ContentType="application/vnd.openxmlformats-officedocument.presentationml.slideLayout+xml"/>
  <Override PartName="/ppt/slideLayouts/slideLayout4109.xml" ContentType="application/vnd.openxmlformats-officedocument.presentationml.slideLayout+xml"/>
  <Override PartName="/ppt/slideLayouts/slideLayout4110.xml" ContentType="application/vnd.openxmlformats-officedocument.presentationml.slideLayout+xml"/>
  <Override PartName="/ppt/slideLayouts/slideLayout4111.xml" ContentType="application/vnd.openxmlformats-officedocument.presentationml.slideLayout+xml"/>
  <Override PartName="/ppt/slideLayouts/slideLayout4112.xml" ContentType="application/vnd.openxmlformats-officedocument.presentationml.slideLayout+xml"/>
  <Override PartName="/ppt/slideLayouts/slideLayout4113.xml" ContentType="application/vnd.openxmlformats-officedocument.presentationml.slideLayout+xml"/>
  <Override PartName="/ppt/slideLayouts/slideLayout4114.xml" ContentType="application/vnd.openxmlformats-officedocument.presentationml.slideLayout+xml"/>
  <Override PartName="/ppt/slideLayouts/slideLayout4115.xml" ContentType="application/vnd.openxmlformats-officedocument.presentationml.slideLayout+xml"/>
  <Override PartName="/ppt/slideLayouts/slideLayout4116.xml" ContentType="application/vnd.openxmlformats-officedocument.presentationml.slideLayout+xml"/>
  <Override PartName="/ppt/slideLayouts/slideLayout4117.xml" ContentType="application/vnd.openxmlformats-officedocument.presentationml.slideLayout+xml"/>
  <Override PartName="/ppt/slideLayouts/slideLayout4118.xml" ContentType="application/vnd.openxmlformats-officedocument.presentationml.slideLayout+xml"/>
  <Override PartName="/ppt/slideLayouts/slideLayout4119.xml" ContentType="application/vnd.openxmlformats-officedocument.presentationml.slideLayout+xml"/>
  <Override PartName="/ppt/slideLayouts/slideLayout4120.xml" ContentType="application/vnd.openxmlformats-officedocument.presentationml.slideLayout+xml"/>
  <Override PartName="/ppt/slideLayouts/slideLayout4121.xml" ContentType="application/vnd.openxmlformats-officedocument.presentationml.slideLayout+xml"/>
  <Override PartName="/ppt/slideLayouts/slideLayout4122.xml" ContentType="application/vnd.openxmlformats-officedocument.presentationml.slideLayout+xml"/>
  <Override PartName="/ppt/slideLayouts/slideLayout4123.xml" ContentType="application/vnd.openxmlformats-officedocument.presentationml.slideLayout+xml"/>
  <Override PartName="/ppt/slideLayouts/slideLayout4124.xml" ContentType="application/vnd.openxmlformats-officedocument.presentationml.slideLayout+xml"/>
  <Override PartName="/ppt/slideLayouts/slideLayout4125.xml" ContentType="application/vnd.openxmlformats-officedocument.presentationml.slideLayout+xml"/>
  <Override PartName="/ppt/slideLayouts/slideLayout4126.xml" ContentType="application/vnd.openxmlformats-officedocument.presentationml.slideLayout+xml"/>
  <Override PartName="/ppt/slideLayouts/slideLayout4127.xml" ContentType="application/vnd.openxmlformats-officedocument.presentationml.slideLayout+xml"/>
  <Override PartName="/ppt/slideLayouts/slideLayout4128.xml" ContentType="application/vnd.openxmlformats-officedocument.presentationml.slideLayout+xml"/>
  <Override PartName="/ppt/slideLayouts/slideLayout4129.xml" ContentType="application/vnd.openxmlformats-officedocument.presentationml.slideLayout+xml"/>
  <Override PartName="/ppt/slideLayouts/slideLayout4130.xml" ContentType="application/vnd.openxmlformats-officedocument.presentationml.slideLayout+xml"/>
  <Override PartName="/ppt/slideLayouts/slideLayout4131.xml" ContentType="application/vnd.openxmlformats-officedocument.presentationml.slideLayout+xml"/>
  <Override PartName="/ppt/slideLayouts/slideLayout4132.xml" ContentType="application/vnd.openxmlformats-officedocument.presentationml.slideLayout+xml"/>
  <Override PartName="/ppt/slideLayouts/slideLayout4133.xml" ContentType="application/vnd.openxmlformats-officedocument.presentationml.slideLayout+xml"/>
  <Override PartName="/ppt/slideLayouts/slideLayout4134.xml" ContentType="application/vnd.openxmlformats-officedocument.presentationml.slideLayout+xml"/>
  <Override PartName="/ppt/slideLayouts/slideLayout4135.xml" ContentType="application/vnd.openxmlformats-officedocument.presentationml.slideLayout+xml"/>
  <Override PartName="/ppt/slideLayouts/slideLayout4136.xml" ContentType="application/vnd.openxmlformats-officedocument.presentationml.slideLayout+xml"/>
  <Override PartName="/ppt/slideLayouts/slideLayout4137.xml" ContentType="application/vnd.openxmlformats-officedocument.presentationml.slideLayout+xml"/>
  <Override PartName="/ppt/slideLayouts/slideLayout4138.xml" ContentType="application/vnd.openxmlformats-officedocument.presentationml.slideLayout+xml"/>
  <Override PartName="/ppt/slideLayouts/slideLayout4139.xml" ContentType="application/vnd.openxmlformats-officedocument.presentationml.slideLayout+xml"/>
  <Override PartName="/ppt/slideLayouts/slideLayout4140.xml" ContentType="application/vnd.openxmlformats-officedocument.presentationml.slideLayout+xml"/>
  <Override PartName="/ppt/slideLayouts/slideLayout4141.xml" ContentType="application/vnd.openxmlformats-officedocument.presentationml.slideLayout+xml"/>
  <Override PartName="/ppt/slideLayouts/slideLayout4142.xml" ContentType="application/vnd.openxmlformats-officedocument.presentationml.slideLayout+xml"/>
  <Override PartName="/ppt/slideLayouts/slideLayout4143.xml" ContentType="application/vnd.openxmlformats-officedocument.presentationml.slideLayout+xml"/>
  <Override PartName="/ppt/slideLayouts/slideLayout4144.xml" ContentType="application/vnd.openxmlformats-officedocument.presentationml.slideLayout+xml"/>
  <Override PartName="/ppt/slideLayouts/slideLayout4145.xml" ContentType="application/vnd.openxmlformats-officedocument.presentationml.slideLayout+xml"/>
  <Override PartName="/ppt/slideLayouts/slideLayout4146.xml" ContentType="application/vnd.openxmlformats-officedocument.presentationml.slideLayout+xml"/>
  <Override PartName="/ppt/slideLayouts/slideLayout4147.xml" ContentType="application/vnd.openxmlformats-officedocument.presentationml.slideLayout+xml"/>
  <Override PartName="/ppt/slideLayouts/slideLayout4148.xml" ContentType="application/vnd.openxmlformats-officedocument.presentationml.slideLayout+xml"/>
  <Override PartName="/ppt/slideLayouts/slideLayout4149.xml" ContentType="application/vnd.openxmlformats-officedocument.presentationml.slideLayout+xml"/>
  <Override PartName="/ppt/slideLayouts/slideLayout4150.xml" ContentType="application/vnd.openxmlformats-officedocument.presentationml.slideLayout+xml"/>
  <Override PartName="/ppt/slideLayouts/slideLayout4151.xml" ContentType="application/vnd.openxmlformats-officedocument.presentationml.slideLayout+xml"/>
  <Override PartName="/ppt/slideLayouts/slideLayout4152.xml" ContentType="application/vnd.openxmlformats-officedocument.presentationml.slideLayout+xml"/>
  <Override PartName="/ppt/slideLayouts/slideLayout4153.xml" ContentType="application/vnd.openxmlformats-officedocument.presentationml.slideLayout+xml"/>
  <Override PartName="/ppt/slideLayouts/slideLayout4154.xml" ContentType="application/vnd.openxmlformats-officedocument.presentationml.slideLayout+xml"/>
  <Override PartName="/ppt/slideLayouts/slideLayout4155.xml" ContentType="application/vnd.openxmlformats-officedocument.presentationml.slideLayout+xml"/>
  <Override PartName="/ppt/slideLayouts/slideLayout4156.xml" ContentType="application/vnd.openxmlformats-officedocument.presentationml.slideLayout+xml"/>
  <Override PartName="/ppt/slideLayouts/slideLayout4157.xml" ContentType="application/vnd.openxmlformats-officedocument.presentationml.slideLayout+xml"/>
  <Override PartName="/ppt/slideLayouts/slideLayout4158.xml" ContentType="application/vnd.openxmlformats-officedocument.presentationml.slideLayout+xml"/>
  <Override PartName="/ppt/slideLayouts/slideLayout4159.xml" ContentType="application/vnd.openxmlformats-officedocument.presentationml.slideLayout+xml"/>
  <Override PartName="/ppt/slideLayouts/slideLayout4160.xml" ContentType="application/vnd.openxmlformats-officedocument.presentationml.slideLayout+xml"/>
  <Override PartName="/ppt/slideLayouts/slideLayout4161.xml" ContentType="application/vnd.openxmlformats-officedocument.presentationml.slideLayout+xml"/>
  <Override PartName="/ppt/slideLayouts/slideLayout4162.xml" ContentType="application/vnd.openxmlformats-officedocument.presentationml.slideLayout+xml"/>
  <Override PartName="/ppt/slideLayouts/slideLayout4163.xml" ContentType="application/vnd.openxmlformats-officedocument.presentationml.slideLayout+xml"/>
  <Override PartName="/ppt/slideLayouts/slideLayout4164.xml" ContentType="application/vnd.openxmlformats-officedocument.presentationml.slideLayout+xml"/>
  <Override PartName="/ppt/slideLayouts/slideLayout4165.xml" ContentType="application/vnd.openxmlformats-officedocument.presentationml.slideLayout+xml"/>
  <Override PartName="/ppt/slideLayouts/slideLayout4166.xml" ContentType="application/vnd.openxmlformats-officedocument.presentationml.slideLayout+xml"/>
  <Override PartName="/ppt/slideLayouts/slideLayout4167.xml" ContentType="application/vnd.openxmlformats-officedocument.presentationml.slideLayout+xml"/>
  <Override PartName="/ppt/slideLayouts/slideLayout4168.xml" ContentType="application/vnd.openxmlformats-officedocument.presentationml.slideLayout+xml"/>
  <Override PartName="/ppt/slideLayouts/slideLayout4169.xml" ContentType="application/vnd.openxmlformats-officedocument.presentationml.slideLayout+xml"/>
  <Override PartName="/ppt/slideLayouts/slideLayout4170.xml" ContentType="application/vnd.openxmlformats-officedocument.presentationml.slideLayout+xml"/>
  <Override PartName="/ppt/slideLayouts/slideLayout4171.xml" ContentType="application/vnd.openxmlformats-officedocument.presentationml.slideLayout+xml"/>
  <Override PartName="/ppt/slideLayouts/slideLayout4172.xml" ContentType="application/vnd.openxmlformats-officedocument.presentationml.slideLayout+xml"/>
  <Override PartName="/ppt/slideLayouts/slideLayout4173.xml" ContentType="application/vnd.openxmlformats-officedocument.presentationml.slideLayout+xml"/>
  <Override PartName="/ppt/slideLayouts/slideLayout4174.xml" ContentType="application/vnd.openxmlformats-officedocument.presentationml.slideLayout+xml"/>
  <Override PartName="/ppt/slideLayouts/slideLayout4175.xml" ContentType="application/vnd.openxmlformats-officedocument.presentationml.slideLayout+xml"/>
  <Override PartName="/ppt/slideLayouts/slideLayout4176.xml" ContentType="application/vnd.openxmlformats-officedocument.presentationml.slideLayout+xml"/>
  <Override PartName="/ppt/slideLayouts/slideLayout4177.xml" ContentType="application/vnd.openxmlformats-officedocument.presentationml.slideLayout+xml"/>
  <Override PartName="/ppt/slideLayouts/slideLayout4178.xml" ContentType="application/vnd.openxmlformats-officedocument.presentationml.slideLayout+xml"/>
  <Override PartName="/ppt/slideLayouts/slideLayout4179.xml" ContentType="application/vnd.openxmlformats-officedocument.presentationml.slideLayout+xml"/>
  <Override PartName="/ppt/slideLayouts/slideLayout4180.xml" ContentType="application/vnd.openxmlformats-officedocument.presentationml.slideLayout+xml"/>
  <Override PartName="/ppt/slideLayouts/slideLayout4181.xml" ContentType="application/vnd.openxmlformats-officedocument.presentationml.slideLayout+xml"/>
  <Override PartName="/ppt/slideLayouts/slideLayout4182.xml" ContentType="application/vnd.openxmlformats-officedocument.presentationml.slideLayout+xml"/>
  <Override PartName="/ppt/slideLayouts/slideLayout4183.xml" ContentType="application/vnd.openxmlformats-officedocument.presentationml.slideLayout+xml"/>
  <Override PartName="/ppt/slideLayouts/slideLayout4184.xml" ContentType="application/vnd.openxmlformats-officedocument.presentationml.slideLayout+xml"/>
  <Override PartName="/ppt/slideLayouts/slideLayout4185.xml" ContentType="application/vnd.openxmlformats-officedocument.presentationml.slideLayout+xml"/>
  <Override PartName="/ppt/slideLayouts/slideLayout4186.xml" ContentType="application/vnd.openxmlformats-officedocument.presentationml.slideLayout+xml"/>
  <Override PartName="/ppt/slideLayouts/slideLayout4187.xml" ContentType="application/vnd.openxmlformats-officedocument.presentationml.slideLayout+xml"/>
  <Override PartName="/ppt/slideLayouts/slideLayout4188.xml" ContentType="application/vnd.openxmlformats-officedocument.presentationml.slideLayout+xml"/>
  <Override PartName="/ppt/slideLayouts/slideLayout4189.xml" ContentType="application/vnd.openxmlformats-officedocument.presentationml.slideLayout+xml"/>
  <Override PartName="/ppt/slideLayouts/slideLayout4190.xml" ContentType="application/vnd.openxmlformats-officedocument.presentationml.slideLayout+xml"/>
  <Override PartName="/ppt/slideLayouts/slideLayout4191.xml" ContentType="application/vnd.openxmlformats-officedocument.presentationml.slideLayout+xml"/>
  <Override PartName="/ppt/slideLayouts/slideLayout4192.xml" ContentType="application/vnd.openxmlformats-officedocument.presentationml.slideLayout+xml"/>
  <Override PartName="/ppt/slideLayouts/slideLayout4193.xml" ContentType="application/vnd.openxmlformats-officedocument.presentationml.slideLayout+xml"/>
  <Override PartName="/ppt/slideLayouts/slideLayout4194.xml" ContentType="application/vnd.openxmlformats-officedocument.presentationml.slideLayout+xml"/>
  <Override PartName="/ppt/slideLayouts/slideLayout4195.xml" ContentType="application/vnd.openxmlformats-officedocument.presentationml.slideLayout+xml"/>
  <Override PartName="/ppt/slideLayouts/slideLayout4196.xml" ContentType="application/vnd.openxmlformats-officedocument.presentationml.slideLayout+xml"/>
  <Override PartName="/ppt/slideLayouts/slideLayout4197.xml" ContentType="application/vnd.openxmlformats-officedocument.presentationml.slideLayout+xml"/>
  <Override PartName="/ppt/slideLayouts/slideLayout4198.xml" ContentType="application/vnd.openxmlformats-officedocument.presentationml.slideLayout+xml"/>
  <Override PartName="/ppt/slideLayouts/slideLayout4199.xml" ContentType="application/vnd.openxmlformats-officedocument.presentationml.slideLayout+xml"/>
  <Override PartName="/ppt/slideLayouts/slideLayout4200.xml" ContentType="application/vnd.openxmlformats-officedocument.presentationml.slideLayout+xml"/>
  <Override PartName="/ppt/slideLayouts/slideLayout4201.xml" ContentType="application/vnd.openxmlformats-officedocument.presentationml.slideLayout+xml"/>
  <Override PartName="/ppt/slideLayouts/slideLayout4202.xml" ContentType="application/vnd.openxmlformats-officedocument.presentationml.slideLayout+xml"/>
  <Override PartName="/ppt/slideLayouts/slideLayout4203.xml" ContentType="application/vnd.openxmlformats-officedocument.presentationml.slideLayout+xml"/>
  <Override PartName="/ppt/slideLayouts/slideLayout4204.xml" ContentType="application/vnd.openxmlformats-officedocument.presentationml.slideLayout+xml"/>
  <Override PartName="/ppt/slideLayouts/slideLayout4205.xml" ContentType="application/vnd.openxmlformats-officedocument.presentationml.slideLayout+xml"/>
  <Override PartName="/ppt/slideLayouts/slideLayout4206.xml" ContentType="application/vnd.openxmlformats-officedocument.presentationml.slideLayout+xml"/>
  <Override PartName="/ppt/slideLayouts/slideLayout4207.xml" ContentType="application/vnd.openxmlformats-officedocument.presentationml.slideLayout+xml"/>
  <Override PartName="/ppt/slideLayouts/slideLayout4208.xml" ContentType="application/vnd.openxmlformats-officedocument.presentationml.slideLayout+xml"/>
  <Override PartName="/ppt/slideLayouts/slideLayout4209.xml" ContentType="application/vnd.openxmlformats-officedocument.presentationml.slideLayout+xml"/>
  <Override PartName="/ppt/slideLayouts/slideLayout4210.xml" ContentType="application/vnd.openxmlformats-officedocument.presentationml.slideLayout+xml"/>
  <Override PartName="/ppt/slideLayouts/slideLayout4211.xml" ContentType="application/vnd.openxmlformats-officedocument.presentationml.slideLayout+xml"/>
  <Override PartName="/ppt/slideLayouts/slideLayout4212.xml" ContentType="application/vnd.openxmlformats-officedocument.presentationml.slideLayout+xml"/>
  <Override PartName="/ppt/slideLayouts/slideLayout4213.xml" ContentType="application/vnd.openxmlformats-officedocument.presentationml.slideLayout+xml"/>
  <Override PartName="/ppt/slideLayouts/slideLayout4214.xml" ContentType="application/vnd.openxmlformats-officedocument.presentationml.slideLayout+xml"/>
  <Override PartName="/ppt/slideLayouts/slideLayout4215.xml" ContentType="application/vnd.openxmlformats-officedocument.presentationml.slideLayout+xml"/>
  <Override PartName="/ppt/slideLayouts/slideLayout4216.xml" ContentType="application/vnd.openxmlformats-officedocument.presentationml.slideLayout+xml"/>
  <Override PartName="/ppt/slideLayouts/slideLayout4217.xml" ContentType="application/vnd.openxmlformats-officedocument.presentationml.slideLayout+xml"/>
  <Override PartName="/ppt/slideLayouts/slideLayout4218.xml" ContentType="application/vnd.openxmlformats-officedocument.presentationml.slideLayout+xml"/>
  <Override PartName="/ppt/slideLayouts/slideLayout4219.xml" ContentType="application/vnd.openxmlformats-officedocument.presentationml.slideLayout+xml"/>
  <Override PartName="/ppt/slideLayouts/slideLayout4220.xml" ContentType="application/vnd.openxmlformats-officedocument.presentationml.slideLayout+xml"/>
  <Override PartName="/ppt/slideLayouts/slideLayout4221.xml" ContentType="application/vnd.openxmlformats-officedocument.presentationml.slideLayout+xml"/>
  <Override PartName="/ppt/slideLayouts/slideLayout4222.xml" ContentType="application/vnd.openxmlformats-officedocument.presentationml.slideLayout+xml"/>
  <Override PartName="/ppt/slideLayouts/slideLayout4223.xml" ContentType="application/vnd.openxmlformats-officedocument.presentationml.slideLayout+xml"/>
  <Override PartName="/ppt/slideLayouts/slideLayout4224.xml" ContentType="application/vnd.openxmlformats-officedocument.presentationml.slideLayout+xml"/>
  <Override PartName="/ppt/slideLayouts/slideLayout4225.xml" ContentType="application/vnd.openxmlformats-officedocument.presentationml.slideLayout+xml"/>
  <Override PartName="/ppt/slideLayouts/slideLayout4226.xml" ContentType="application/vnd.openxmlformats-officedocument.presentationml.slideLayout+xml"/>
  <Override PartName="/ppt/slideLayouts/slideLayout4227.xml" ContentType="application/vnd.openxmlformats-officedocument.presentationml.slideLayout+xml"/>
  <Override PartName="/ppt/slideLayouts/slideLayout4228.xml" ContentType="application/vnd.openxmlformats-officedocument.presentationml.slideLayout+xml"/>
  <Override PartName="/ppt/slideLayouts/slideLayout4229.xml" ContentType="application/vnd.openxmlformats-officedocument.presentationml.slideLayout+xml"/>
  <Override PartName="/ppt/slideLayouts/slideLayout4230.xml" ContentType="application/vnd.openxmlformats-officedocument.presentationml.slideLayout+xml"/>
  <Override PartName="/ppt/slideLayouts/slideLayout4231.xml" ContentType="application/vnd.openxmlformats-officedocument.presentationml.slideLayout+xml"/>
  <Override PartName="/ppt/slideLayouts/slideLayout4232.xml" ContentType="application/vnd.openxmlformats-officedocument.presentationml.slideLayout+xml"/>
  <Override PartName="/ppt/slideLayouts/slideLayout4233.xml" ContentType="application/vnd.openxmlformats-officedocument.presentationml.slideLayout+xml"/>
  <Override PartName="/ppt/slideLayouts/slideLayout4234.xml" ContentType="application/vnd.openxmlformats-officedocument.presentationml.slideLayout+xml"/>
  <Override PartName="/ppt/slideLayouts/slideLayout4235.xml" ContentType="application/vnd.openxmlformats-officedocument.presentationml.slideLayout+xml"/>
  <Override PartName="/ppt/slideLayouts/slideLayout4236.xml" ContentType="application/vnd.openxmlformats-officedocument.presentationml.slideLayout+xml"/>
  <Override PartName="/ppt/slideLayouts/slideLayout4237.xml" ContentType="application/vnd.openxmlformats-officedocument.presentationml.slideLayout+xml"/>
  <Override PartName="/ppt/slideLayouts/slideLayout4238.xml" ContentType="application/vnd.openxmlformats-officedocument.presentationml.slideLayout+xml"/>
  <Override PartName="/ppt/slideLayouts/slideLayout4239.xml" ContentType="application/vnd.openxmlformats-officedocument.presentationml.slideLayout+xml"/>
  <Override PartName="/ppt/slideLayouts/slideLayout4240.xml" ContentType="application/vnd.openxmlformats-officedocument.presentationml.slideLayout+xml"/>
  <Override PartName="/ppt/slideLayouts/slideLayout4241.xml" ContentType="application/vnd.openxmlformats-officedocument.presentationml.slideLayout+xml"/>
  <Override PartName="/ppt/slideLayouts/slideLayout4242.xml" ContentType="application/vnd.openxmlformats-officedocument.presentationml.slideLayout+xml"/>
  <Override PartName="/ppt/slideLayouts/slideLayout4243.xml" ContentType="application/vnd.openxmlformats-officedocument.presentationml.slideLayout+xml"/>
  <Override PartName="/ppt/slideLayouts/slideLayout4244.xml" ContentType="application/vnd.openxmlformats-officedocument.presentationml.slideLayout+xml"/>
  <Override PartName="/ppt/slideLayouts/slideLayout4245.xml" ContentType="application/vnd.openxmlformats-officedocument.presentationml.slideLayout+xml"/>
  <Override PartName="/ppt/slideLayouts/slideLayout4246.xml" ContentType="application/vnd.openxmlformats-officedocument.presentationml.slideLayout+xml"/>
  <Override PartName="/ppt/slideLayouts/slideLayout4247.xml" ContentType="application/vnd.openxmlformats-officedocument.presentationml.slideLayout+xml"/>
  <Override PartName="/ppt/slideLayouts/slideLayout4248.xml" ContentType="application/vnd.openxmlformats-officedocument.presentationml.slideLayout+xml"/>
  <Override PartName="/ppt/slideLayouts/slideLayout4249.xml" ContentType="application/vnd.openxmlformats-officedocument.presentationml.slideLayout+xml"/>
  <Override PartName="/ppt/slideLayouts/slideLayout4250.xml" ContentType="application/vnd.openxmlformats-officedocument.presentationml.slideLayout+xml"/>
  <Override PartName="/ppt/slideLayouts/slideLayout4251.xml" ContentType="application/vnd.openxmlformats-officedocument.presentationml.slideLayout+xml"/>
  <Override PartName="/ppt/slideLayouts/slideLayout4252.xml" ContentType="application/vnd.openxmlformats-officedocument.presentationml.slideLayout+xml"/>
  <Override PartName="/ppt/slideLayouts/slideLayout4253.xml" ContentType="application/vnd.openxmlformats-officedocument.presentationml.slideLayout+xml"/>
  <Override PartName="/ppt/slideLayouts/slideLayout4254.xml" ContentType="application/vnd.openxmlformats-officedocument.presentationml.slideLayout+xml"/>
  <Override PartName="/ppt/slideLayouts/slideLayout4255.xml" ContentType="application/vnd.openxmlformats-officedocument.presentationml.slideLayout+xml"/>
  <Override PartName="/ppt/slideLayouts/slideLayout4256.xml" ContentType="application/vnd.openxmlformats-officedocument.presentationml.slideLayout+xml"/>
  <Override PartName="/ppt/slideLayouts/slideLayout4257.xml" ContentType="application/vnd.openxmlformats-officedocument.presentationml.slideLayout+xml"/>
  <Override PartName="/ppt/slideLayouts/slideLayout4258.xml" ContentType="application/vnd.openxmlformats-officedocument.presentationml.slideLayout+xml"/>
  <Override PartName="/ppt/slideLayouts/slideLayout4259.xml" ContentType="application/vnd.openxmlformats-officedocument.presentationml.slideLayout+xml"/>
  <Override PartName="/ppt/slideLayouts/slideLayout4260.xml" ContentType="application/vnd.openxmlformats-officedocument.presentationml.slideLayout+xml"/>
  <Override PartName="/ppt/slideLayouts/slideLayout4261.xml" ContentType="application/vnd.openxmlformats-officedocument.presentationml.slideLayout+xml"/>
  <Override PartName="/ppt/slideLayouts/slideLayout4262.xml" ContentType="application/vnd.openxmlformats-officedocument.presentationml.slideLayout+xml"/>
  <Override PartName="/ppt/slideLayouts/slideLayout4263.xml" ContentType="application/vnd.openxmlformats-officedocument.presentationml.slideLayout+xml"/>
  <Override PartName="/ppt/slideLayouts/slideLayout4264.xml" ContentType="application/vnd.openxmlformats-officedocument.presentationml.slideLayout+xml"/>
  <Override PartName="/ppt/slideLayouts/slideLayout4265.xml" ContentType="application/vnd.openxmlformats-officedocument.presentationml.slideLayout+xml"/>
  <Override PartName="/ppt/slideLayouts/slideLayout4266.xml" ContentType="application/vnd.openxmlformats-officedocument.presentationml.slideLayout+xml"/>
  <Override PartName="/ppt/slideLayouts/slideLayout4267.xml" ContentType="application/vnd.openxmlformats-officedocument.presentationml.slideLayout+xml"/>
  <Override PartName="/ppt/slideLayouts/slideLayout4268.xml" ContentType="application/vnd.openxmlformats-officedocument.presentationml.slideLayout+xml"/>
  <Override PartName="/ppt/slideLayouts/slideLayout4269.xml" ContentType="application/vnd.openxmlformats-officedocument.presentationml.slideLayout+xml"/>
  <Override PartName="/ppt/slideLayouts/slideLayout4270.xml" ContentType="application/vnd.openxmlformats-officedocument.presentationml.slideLayout+xml"/>
  <Override PartName="/ppt/slideLayouts/slideLayout4271.xml" ContentType="application/vnd.openxmlformats-officedocument.presentationml.slideLayout+xml"/>
  <Override PartName="/ppt/slideLayouts/slideLayout4272.xml" ContentType="application/vnd.openxmlformats-officedocument.presentationml.slideLayout+xml"/>
  <Override PartName="/ppt/slideLayouts/slideLayout4273.xml" ContentType="application/vnd.openxmlformats-officedocument.presentationml.slideLayout+xml"/>
  <Override PartName="/ppt/slideLayouts/slideLayout4274.xml" ContentType="application/vnd.openxmlformats-officedocument.presentationml.slideLayout+xml"/>
  <Override PartName="/ppt/slideLayouts/slideLayout4275.xml" ContentType="application/vnd.openxmlformats-officedocument.presentationml.slideLayout+xml"/>
  <Override PartName="/ppt/slideLayouts/slideLayout4276.xml" ContentType="application/vnd.openxmlformats-officedocument.presentationml.slideLayout+xml"/>
  <Override PartName="/ppt/slideLayouts/slideLayout4277.xml" ContentType="application/vnd.openxmlformats-officedocument.presentationml.slideLayout+xml"/>
  <Override PartName="/ppt/slideLayouts/slideLayout4278.xml" ContentType="application/vnd.openxmlformats-officedocument.presentationml.slideLayout+xml"/>
  <Override PartName="/ppt/slideLayouts/slideLayout4279.xml" ContentType="application/vnd.openxmlformats-officedocument.presentationml.slideLayout+xml"/>
  <Override PartName="/ppt/slideLayouts/slideLayout4280.xml" ContentType="application/vnd.openxmlformats-officedocument.presentationml.slideLayout+xml"/>
  <Override PartName="/ppt/slideLayouts/slideLayout4281.xml" ContentType="application/vnd.openxmlformats-officedocument.presentationml.slideLayout+xml"/>
  <Override PartName="/ppt/slideLayouts/slideLayout4282.xml" ContentType="application/vnd.openxmlformats-officedocument.presentationml.slideLayout+xml"/>
  <Override PartName="/ppt/slideLayouts/slideLayout4283.xml" ContentType="application/vnd.openxmlformats-officedocument.presentationml.slideLayout+xml"/>
  <Override PartName="/ppt/slideLayouts/slideLayout4284.xml" ContentType="application/vnd.openxmlformats-officedocument.presentationml.slideLayout+xml"/>
  <Override PartName="/ppt/slideLayouts/slideLayout4285.xml" ContentType="application/vnd.openxmlformats-officedocument.presentationml.slideLayout+xml"/>
  <Override PartName="/ppt/slideLayouts/slideLayout4286.xml" ContentType="application/vnd.openxmlformats-officedocument.presentationml.slideLayout+xml"/>
  <Override PartName="/ppt/slideLayouts/slideLayout4287.xml" ContentType="application/vnd.openxmlformats-officedocument.presentationml.slideLayout+xml"/>
  <Override PartName="/ppt/slideLayouts/slideLayout4288.xml" ContentType="application/vnd.openxmlformats-officedocument.presentationml.slideLayout+xml"/>
  <Override PartName="/ppt/slideLayouts/slideLayout4289.xml" ContentType="application/vnd.openxmlformats-officedocument.presentationml.slideLayout+xml"/>
  <Override PartName="/ppt/slideLayouts/slideLayout4290.xml" ContentType="application/vnd.openxmlformats-officedocument.presentationml.slideLayout+xml"/>
  <Override PartName="/ppt/slideLayouts/slideLayout4291.xml" ContentType="application/vnd.openxmlformats-officedocument.presentationml.slideLayout+xml"/>
  <Override PartName="/ppt/slideLayouts/slideLayout4292.xml" ContentType="application/vnd.openxmlformats-officedocument.presentationml.slideLayout+xml"/>
  <Override PartName="/ppt/slideLayouts/slideLayout4293.xml" ContentType="application/vnd.openxmlformats-officedocument.presentationml.slideLayout+xml"/>
  <Override PartName="/ppt/slideLayouts/slideLayout4294.xml" ContentType="application/vnd.openxmlformats-officedocument.presentationml.slideLayout+xml"/>
  <Override PartName="/ppt/slideLayouts/slideLayout4295.xml" ContentType="application/vnd.openxmlformats-officedocument.presentationml.slideLayout+xml"/>
  <Override PartName="/ppt/slideLayouts/slideLayout4296.xml" ContentType="application/vnd.openxmlformats-officedocument.presentationml.slideLayout+xml"/>
  <Override PartName="/ppt/slideLayouts/slideLayout4297.xml" ContentType="application/vnd.openxmlformats-officedocument.presentationml.slideLayout+xml"/>
  <Override PartName="/ppt/slideLayouts/slideLayout4298.xml" ContentType="application/vnd.openxmlformats-officedocument.presentationml.slideLayout+xml"/>
  <Override PartName="/ppt/slideLayouts/slideLayout4299.xml" ContentType="application/vnd.openxmlformats-officedocument.presentationml.slideLayout+xml"/>
  <Override PartName="/ppt/slideLayouts/slideLayout4300.xml" ContentType="application/vnd.openxmlformats-officedocument.presentationml.slideLayout+xml"/>
  <Override PartName="/ppt/slideLayouts/slideLayout4301.xml" ContentType="application/vnd.openxmlformats-officedocument.presentationml.slideLayout+xml"/>
  <Override PartName="/ppt/slideLayouts/slideLayout4302.xml" ContentType="application/vnd.openxmlformats-officedocument.presentationml.slideLayout+xml"/>
  <Override PartName="/ppt/slideLayouts/slideLayout4303.xml" ContentType="application/vnd.openxmlformats-officedocument.presentationml.slideLayout+xml"/>
  <Override PartName="/ppt/slideLayouts/slideLayout4304.xml" ContentType="application/vnd.openxmlformats-officedocument.presentationml.slideLayout+xml"/>
  <Override PartName="/ppt/slideLayouts/slideLayout4305.xml" ContentType="application/vnd.openxmlformats-officedocument.presentationml.slideLayout+xml"/>
  <Override PartName="/ppt/slideLayouts/slideLayout4306.xml" ContentType="application/vnd.openxmlformats-officedocument.presentationml.slideLayout+xml"/>
  <Override PartName="/ppt/slideLayouts/slideLayout4307.xml" ContentType="application/vnd.openxmlformats-officedocument.presentationml.slideLayout+xml"/>
  <Override PartName="/ppt/slideLayouts/slideLayout4308.xml" ContentType="application/vnd.openxmlformats-officedocument.presentationml.slideLayout+xml"/>
  <Override PartName="/ppt/slideLayouts/slideLayout4309.xml" ContentType="application/vnd.openxmlformats-officedocument.presentationml.slideLayout+xml"/>
  <Override PartName="/ppt/slideLayouts/slideLayout4310.xml" ContentType="application/vnd.openxmlformats-officedocument.presentationml.slideLayout+xml"/>
  <Override PartName="/ppt/slideLayouts/slideLayout4311.xml" ContentType="application/vnd.openxmlformats-officedocument.presentationml.slideLayout+xml"/>
  <Override PartName="/ppt/slideLayouts/slideLayout4312.xml" ContentType="application/vnd.openxmlformats-officedocument.presentationml.slideLayout+xml"/>
  <Override PartName="/ppt/slideLayouts/slideLayout4313.xml" ContentType="application/vnd.openxmlformats-officedocument.presentationml.slideLayout+xml"/>
  <Override PartName="/ppt/slideLayouts/slideLayout4314.xml" ContentType="application/vnd.openxmlformats-officedocument.presentationml.slideLayout+xml"/>
  <Override PartName="/ppt/slideLayouts/slideLayout4315.xml" ContentType="application/vnd.openxmlformats-officedocument.presentationml.slideLayout+xml"/>
  <Override PartName="/ppt/slideLayouts/slideLayout4316.xml" ContentType="application/vnd.openxmlformats-officedocument.presentationml.slideLayout+xml"/>
  <Override PartName="/ppt/slideLayouts/slideLayout4317.xml" ContentType="application/vnd.openxmlformats-officedocument.presentationml.slideLayout+xml"/>
  <Override PartName="/ppt/slideLayouts/slideLayout4318.xml" ContentType="application/vnd.openxmlformats-officedocument.presentationml.slideLayout+xml"/>
  <Override PartName="/ppt/slideLayouts/slideLayout4319.xml" ContentType="application/vnd.openxmlformats-officedocument.presentationml.slideLayout+xml"/>
  <Override PartName="/ppt/slideLayouts/slideLayout4320.xml" ContentType="application/vnd.openxmlformats-officedocument.presentationml.slideLayout+xml"/>
  <Override PartName="/ppt/slideLayouts/slideLayout4321.xml" ContentType="application/vnd.openxmlformats-officedocument.presentationml.slideLayout+xml"/>
  <Override PartName="/ppt/slideLayouts/slideLayout4322.xml" ContentType="application/vnd.openxmlformats-officedocument.presentationml.slideLayout+xml"/>
  <Override PartName="/ppt/slideLayouts/slideLayout4323.xml" ContentType="application/vnd.openxmlformats-officedocument.presentationml.slideLayout+xml"/>
  <Override PartName="/ppt/slideLayouts/slideLayout4324.xml" ContentType="application/vnd.openxmlformats-officedocument.presentationml.slideLayout+xml"/>
  <Override PartName="/ppt/slideLayouts/slideLayout4325.xml" ContentType="application/vnd.openxmlformats-officedocument.presentationml.slideLayout+xml"/>
  <Override PartName="/ppt/slideLayouts/slideLayout4326.xml" ContentType="application/vnd.openxmlformats-officedocument.presentationml.slideLayout+xml"/>
  <Override PartName="/ppt/slideLayouts/slideLayout4327.xml" ContentType="application/vnd.openxmlformats-officedocument.presentationml.slideLayout+xml"/>
  <Override PartName="/ppt/slideLayouts/slideLayout4328.xml" ContentType="application/vnd.openxmlformats-officedocument.presentationml.slideLayout+xml"/>
  <Override PartName="/ppt/slideLayouts/slideLayout4329.xml" ContentType="application/vnd.openxmlformats-officedocument.presentationml.slideLayout+xml"/>
  <Override PartName="/ppt/slideLayouts/slideLayout4330.xml" ContentType="application/vnd.openxmlformats-officedocument.presentationml.slideLayout+xml"/>
  <Override PartName="/ppt/slideLayouts/slideLayout4331.xml" ContentType="application/vnd.openxmlformats-officedocument.presentationml.slideLayout+xml"/>
  <Override PartName="/ppt/slideLayouts/slideLayout4332.xml" ContentType="application/vnd.openxmlformats-officedocument.presentationml.slideLayout+xml"/>
  <Override PartName="/ppt/slideLayouts/slideLayout4333.xml" ContentType="application/vnd.openxmlformats-officedocument.presentationml.slideLayout+xml"/>
  <Override PartName="/ppt/slideLayouts/slideLayout4334.xml" ContentType="application/vnd.openxmlformats-officedocument.presentationml.slideLayout+xml"/>
  <Override PartName="/ppt/slideLayouts/slideLayout4335.xml" ContentType="application/vnd.openxmlformats-officedocument.presentationml.slideLayout+xml"/>
  <Override PartName="/ppt/slideLayouts/slideLayout4336.xml" ContentType="application/vnd.openxmlformats-officedocument.presentationml.slideLayout+xml"/>
  <Override PartName="/ppt/slideLayouts/slideLayout4337.xml" ContentType="application/vnd.openxmlformats-officedocument.presentationml.slideLayout+xml"/>
  <Override PartName="/ppt/slideLayouts/slideLayout4338.xml" ContentType="application/vnd.openxmlformats-officedocument.presentationml.slideLayout+xml"/>
  <Override PartName="/ppt/slideLayouts/slideLayout4339.xml" ContentType="application/vnd.openxmlformats-officedocument.presentationml.slideLayout+xml"/>
  <Override PartName="/ppt/slideLayouts/slideLayout4340.xml" ContentType="application/vnd.openxmlformats-officedocument.presentationml.slideLayout+xml"/>
  <Override PartName="/ppt/slideLayouts/slideLayout4341.xml" ContentType="application/vnd.openxmlformats-officedocument.presentationml.slideLayout+xml"/>
  <Override PartName="/ppt/slideLayouts/slideLayout4342.xml" ContentType="application/vnd.openxmlformats-officedocument.presentationml.slideLayout+xml"/>
  <Override PartName="/ppt/slideLayouts/slideLayout4343.xml" ContentType="application/vnd.openxmlformats-officedocument.presentationml.slideLayout+xml"/>
  <Override PartName="/ppt/slideLayouts/slideLayout4344.xml" ContentType="application/vnd.openxmlformats-officedocument.presentationml.slideLayout+xml"/>
  <Override PartName="/ppt/slideLayouts/slideLayout4345.xml" ContentType="application/vnd.openxmlformats-officedocument.presentationml.slideLayout+xml"/>
  <Override PartName="/ppt/slideLayouts/slideLayout4346.xml" ContentType="application/vnd.openxmlformats-officedocument.presentationml.slideLayout+xml"/>
  <Override PartName="/ppt/slideLayouts/slideLayout4347.xml" ContentType="application/vnd.openxmlformats-officedocument.presentationml.slideLayout+xml"/>
  <Override PartName="/ppt/slideLayouts/slideLayout4348.xml" ContentType="application/vnd.openxmlformats-officedocument.presentationml.slideLayout+xml"/>
  <Override PartName="/ppt/slideLayouts/slideLayout4349.xml" ContentType="application/vnd.openxmlformats-officedocument.presentationml.slideLayout+xml"/>
  <Override PartName="/ppt/slideLayouts/slideLayout4350.xml" ContentType="application/vnd.openxmlformats-officedocument.presentationml.slideLayout+xml"/>
  <Override PartName="/ppt/slideLayouts/slideLayout4351.xml" ContentType="application/vnd.openxmlformats-officedocument.presentationml.slideLayout+xml"/>
  <Override PartName="/ppt/slideLayouts/slideLayout4352.xml" ContentType="application/vnd.openxmlformats-officedocument.presentationml.slideLayout+xml"/>
  <Override PartName="/ppt/slideLayouts/slideLayout4353.xml" ContentType="application/vnd.openxmlformats-officedocument.presentationml.slideLayout+xml"/>
  <Override PartName="/ppt/slideLayouts/slideLayout4354.xml" ContentType="application/vnd.openxmlformats-officedocument.presentationml.slideLayout+xml"/>
  <Override PartName="/ppt/slideLayouts/slideLayout4355.xml" ContentType="application/vnd.openxmlformats-officedocument.presentationml.slideLayout+xml"/>
  <Override PartName="/ppt/slideLayouts/slideLayout4356.xml" ContentType="application/vnd.openxmlformats-officedocument.presentationml.slideLayout+xml"/>
  <Override PartName="/ppt/slideLayouts/slideLayout4357.xml" ContentType="application/vnd.openxmlformats-officedocument.presentationml.slideLayout+xml"/>
  <Override PartName="/ppt/slideLayouts/slideLayout4358.xml" ContentType="application/vnd.openxmlformats-officedocument.presentationml.slideLayout+xml"/>
  <Override PartName="/ppt/slideLayouts/slideLayout4359.xml" ContentType="application/vnd.openxmlformats-officedocument.presentationml.slideLayout+xml"/>
  <Override PartName="/ppt/slideLayouts/slideLayout4360.xml" ContentType="application/vnd.openxmlformats-officedocument.presentationml.slideLayout+xml"/>
  <Override PartName="/ppt/slideLayouts/slideLayout4361.xml" ContentType="application/vnd.openxmlformats-officedocument.presentationml.slideLayout+xml"/>
  <Override PartName="/ppt/slideLayouts/slideLayout4362.xml" ContentType="application/vnd.openxmlformats-officedocument.presentationml.slideLayout+xml"/>
  <Override PartName="/ppt/slideLayouts/slideLayout4363.xml" ContentType="application/vnd.openxmlformats-officedocument.presentationml.slideLayout+xml"/>
  <Override PartName="/ppt/slideLayouts/slideLayout4364.xml" ContentType="application/vnd.openxmlformats-officedocument.presentationml.slideLayout+xml"/>
  <Override PartName="/ppt/slideLayouts/slideLayout4365.xml" ContentType="application/vnd.openxmlformats-officedocument.presentationml.slideLayout+xml"/>
  <Override PartName="/ppt/slideLayouts/slideLayout4366.xml" ContentType="application/vnd.openxmlformats-officedocument.presentationml.slideLayout+xml"/>
  <Override PartName="/ppt/slideLayouts/slideLayout4367.xml" ContentType="application/vnd.openxmlformats-officedocument.presentationml.slideLayout+xml"/>
  <Override PartName="/ppt/slideLayouts/slideLayout4368.xml" ContentType="application/vnd.openxmlformats-officedocument.presentationml.slideLayout+xml"/>
  <Override PartName="/ppt/slideLayouts/slideLayout4369.xml" ContentType="application/vnd.openxmlformats-officedocument.presentationml.slideLayout+xml"/>
  <Override PartName="/ppt/slideLayouts/slideLayout4370.xml" ContentType="application/vnd.openxmlformats-officedocument.presentationml.slideLayout+xml"/>
  <Override PartName="/ppt/slideLayouts/slideLayout4371.xml" ContentType="application/vnd.openxmlformats-officedocument.presentationml.slideLayout+xml"/>
  <Override PartName="/ppt/slideLayouts/slideLayout4372.xml" ContentType="application/vnd.openxmlformats-officedocument.presentationml.slideLayout+xml"/>
  <Override PartName="/ppt/slideLayouts/slideLayout4373.xml" ContentType="application/vnd.openxmlformats-officedocument.presentationml.slideLayout+xml"/>
  <Override PartName="/ppt/slideLayouts/slideLayout4374.xml" ContentType="application/vnd.openxmlformats-officedocument.presentationml.slideLayout+xml"/>
  <Override PartName="/ppt/slideLayouts/slideLayout4375.xml" ContentType="application/vnd.openxmlformats-officedocument.presentationml.slideLayout+xml"/>
  <Override PartName="/ppt/slideLayouts/slideLayout4376.xml" ContentType="application/vnd.openxmlformats-officedocument.presentationml.slideLayout+xml"/>
  <Override PartName="/ppt/slideLayouts/slideLayout4377.xml" ContentType="application/vnd.openxmlformats-officedocument.presentationml.slideLayout+xml"/>
  <Override PartName="/ppt/slideLayouts/slideLayout4378.xml" ContentType="application/vnd.openxmlformats-officedocument.presentationml.slideLayout+xml"/>
  <Override PartName="/ppt/slideLayouts/slideLayout4379.xml" ContentType="application/vnd.openxmlformats-officedocument.presentationml.slideLayout+xml"/>
  <Override PartName="/ppt/slideLayouts/slideLayout4380.xml" ContentType="application/vnd.openxmlformats-officedocument.presentationml.slideLayout+xml"/>
  <Override PartName="/ppt/slideLayouts/slideLayout4381.xml" ContentType="application/vnd.openxmlformats-officedocument.presentationml.slideLayout+xml"/>
  <Override PartName="/ppt/slideLayouts/slideLayout4382.xml" ContentType="application/vnd.openxmlformats-officedocument.presentationml.slideLayout+xml"/>
  <Override PartName="/ppt/slideLayouts/slideLayout4383.xml" ContentType="application/vnd.openxmlformats-officedocument.presentationml.slideLayout+xml"/>
  <Override PartName="/ppt/slideLayouts/slideLayout4384.xml" ContentType="application/vnd.openxmlformats-officedocument.presentationml.slideLayout+xml"/>
  <Override PartName="/ppt/slideLayouts/slideLayout4385.xml" ContentType="application/vnd.openxmlformats-officedocument.presentationml.slideLayout+xml"/>
  <Override PartName="/ppt/slideLayouts/slideLayout4386.xml" ContentType="application/vnd.openxmlformats-officedocument.presentationml.slideLayout+xml"/>
  <Override PartName="/ppt/slideLayouts/slideLayout4387.xml" ContentType="application/vnd.openxmlformats-officedocument.presentationml.slideLayout+xml"/>
  <Override PartName="/ppt/slideLayouts/slideLayout4388.xml" ContentType="application/vnd.openxmlformats-officedocument.presentationml.slideLayout+xml"/>
  <Override PartName="/ppt/slideLayouts/slideLayout4389.xml" ContentType="application/vnd.openxmlformats-officedocument.presentationml.slideLayout+xml"/>
  <Override PartName="/ppt/slideLayouts/slideLayout4390.xml" ContentType="application/vnd.openxmlformats-officedocument.presentationml.slideLayout+xml"/>
  <Override PartName="/ppt/slideLayouts/slideLayout4391.xml" ContentType="application/vnd.openxmlformats-officedocument.presentationml.slideLayout+xml"/>
  <Override PartName="/ppt/slideLayouts/slideLayout4392.xml" ContentType="application/vnd.openxmlformats-officedocument.presentationml.slideLayout+xml"/>
  <Override PartName="/ppt/slideLayouts/slideLayout4393.xml" ContentType="application/vnd.openxmlformats-officedocument.presentationml.slideLayout+xml"/>
  <Override PartName="/ppt/slideLayouts/slideLayout4394.xml" ContentType="application/vnd.openxmlformats-officedocument.presentationml.slideLayout+xml"/>
  <Override PartName="/ppt/slideLayouts/slideLayout4395.xml" ContentType="application/vnd.openxmlformats-officedocument.presentationml.slideLayout+xml"/>
  <Override PartName="/ppt/slideLayouts/slideLayout4396.xml" ContentType="application/vnd.openxmlformats-officedocument.presentationml.slideLayout+xml"/>
  <Override PartName="/ppt/slideLayouts/slideLayout4397.xml" ContentType="application/vnd.openxmlformats-officedocument.presentationml.slideLayout+xml"/>
  <Override PartName="/ppt/slideLayouts/slideLayout4398.xml" ContentType="application/vnd.openxmlformats-officedocument.presentationml.slideLayout+xml"/>
  <Override PartName="/ppt/slideLayouts/slideLayout4399.xml" ContentType="application/vnd.openxmlformats-officedocument.presentationml.slideLayout+xml"/>
  <Override PartName="/ppt/slideLayouts/slideLayout4400.xml" ContentType="application/vnd.openxmlformats-officedocument.presentationml.slideLayout+xml"/>
  <Override PartName="/ppt/slideLayouts/slideLayout4401.xml" ContentType="application/vnd.openxmlformats-officedocument.presentationml.slideLayout+xml"/>
  <Override PartName="/ppt/slideLayouts/slideLayout4402.xml" ContentType="application/vnd.openxmlformats-officedocument.presentationml.slideLayout+xml"/>
  <Override PartName="/ppt/slideLayouts/slideLayout4403.xml" ContentType="application/vnd.openxmlformats-officedocument.presentationml.slideLayout+xml"/>
  <Override PartName="/ppt/slideLayouts/slideLayout4404.xml" ContentType="application/vnd.openxmlformats-officedocument.presentationml.slideLayout+xml"/>
  <Override PartName="/ppt/slideLayouts/slideLayout4405.xml" ContentType="application/vnd.openxmlformats-officedocument.presentationml.slideLayout+xml"/>
  <Override PartName="/ppt/slideLayouts/slideLayout4406.xml" ContentType="application/vnd.openxmlformats-officedocument.presentationml.slideLayout+xml"/>
  <Override PartName="/ppt/slideLayouts/slideLayout4407.xml" ContentType="application/vnd.openxmlformats-officedocument.presentationml.slideLayout+xml"/>
  <Override PartName="/ppt/slideLayouts/slideLayout4408.xml" ContentType="application/vnd.openxmlformats-officedocument.presentationml.slideLayout+xml"/>
  <Override PartName="/ppt/slideLayouts/slideLayout4409.xml" ContentType="application/vnd.openxmlformats-officedocument.presentationml.slideLayout+xml"/>
  <Override PartName="/ppt/slideLayouts/slideLayout4410.xml" ContentType="application/vnd.openxmlformats-officedocument.presentationml.slideLayout+xml"/>
  <Override PartName="/ppt/slideLayouts/slideLayout4411.xml" ContentType="application/vnd.openxmlformats-officedocument.presentationml.slideLayout+xml"/>
  <Override PartName="/ppt/slideLayouts/slideLayout4412.xml" ContentType="application/vnd.openxmlformats-officedocument.presentationml.slideLayout+xml"/>
  <Override PartName="/ppt/slideLayouts/slideLayout4413.xml" ContentType="application/vnd.openxmlformats-officedocument.presentationml.slideLayout+xml"/>
  <Override PartName="/ppt/slideLayouts/slideLayout4414.xml" ContentType="application/vnd.openxmlformats-officedocument.presentationml.slideLayout+xml"/>
  <Override PartName="/ppt/slideLayouts/slideLayout4415.xml" ContentType="application/vnd.openxmlformats-officedocument.presentationml.slideLayout+xml"/>
  <Override PartName="/ppt/slideLayouts/slideLayout4416.xml" ContentType="application/vnd.openxmlformats-officedocument.presentationml.slideLayout+xml"/>
  <Override PartName="/ppt/slideLayouts/slideLayout4417.xml" ContentType="application/vnd.openxmlformats-officedocument.presentationml.slideLayout+xml"/>
  <Override PartName="/ppt/slideLayouts/slideLayout4418.xml" ContentType="application/vnd.openxmlformats-officedocument.presentationml.slideLayout+xml"/>
  <Override PartName="/ppt/slideLayouts/slideLayout4419.xml" ContentType="application/vnd.openxmlformats-officedocument.presentationml.slideLayout+xml"/>
  <Override PartName="/ppt/slideLayouts/slideLayout4420.xml" ContentType="application/vnd.openxmlformats-officedocument.presentationml.slideLayout+xml"/>
  <Override PartName="/ppt/slideLayouts/slideLayout4421.xml" ContentType="application/vnd.openxmlformats-officedocument.presentationml.slideLayout+xml"/>
  <Override PartName="/ppt/slideLayouts/slideLayout4422.xml" ContentType="application/vnd.openxmlformats-officedocument.presentationml.slideLayout+xml"/>
  <Override PartName="/ppt/slideLayouts/slideLayout4423.xml" ContentType="application/vnd.openxmlformats-officedocument.presentationml.slideLayout+xml"/>
  <Override PartName="/ppt/slideLayouts/slideLayout4424.xml" ContentType="application/vnd.openxmlformats-officedocument.presentationml.slideLayout+xml"/>
  <Override PartName="/ppt/slideLayouts/slideLayout4425.xml" ContentType="application/vnd.openxmlformats-officedocument.presentationml.slideLayout+xml"/>
  <Override PartName="/ppt/slideLayouts/slideLayout4426.xml" ContentType="application/vnd.openxmlformats-officedocument.presentationml.slideLayout+xml"/>
  <Override PartName="/ppt/slideLayouts/slideLayout4427.xml" ContentType="application/vnd.openxmlformats-officedocument.presentationml.slideLayout+xml"/>
  <Override PartName="/ppt/slideLayouts/slideLayout4428.xml" ContentType="application/vnd.openxmlformats-officedocument.presentationml.slideLayout+xml"/>
  <Override PartName="/ppt/slideLayouts/slideLayout4429.xml" ContentType="application/vnd.openxmlformats-officedocument.presentationml.slideLayout+xml"/>
  <Override PartName="/ppt/slideLayouts/slideLayout4430.xml" ContentType="application/vnd.openxmlformats-officedocument.presentationml.slideLayout+xml"/>
  <Override PartName="/ppt/slideLayouts/slideLayout4431.xml" ContentType="application/vnd.openxmlformats-officedocument.presentationml.slideLayout+xml"/>
  <Override PartName="/ppt/slideLayouts/slideLayout4432.xml" ContentType="application/vnd.openxmlformats-officedocument.presentationml.slideLayout+xml"/>
  <Override PartName="/ppt/slideLayouts/slideLayout4433.xml" ContentType="application/vnd.openxmlformats-officedocument.presentationml.slideLayout+xml"/>
  <Override PartName="/ppt/slideLayouts/slideLayout4434.xml" ContentType="application/vnd.openxmlformats-officedocument.presentationml.slideLayout+xml"/>
  <Override PartName="/ppt/slideLayouts/slideLayout4435.xml" ContentType="application/vnd.openxmlformats-officedocument.presentationml.slideLayout+xml"/>
  <Override PartName="/ppt/slideLayouts/slideLayout4436.xml" ContentType="application/vnd.openxmlformats-officedocument.presentationml.slideLayout+xml"/>
  <Override PartName="/ppt/slideLayouts/slideLayout4437.xml" ContentType="application/vnd.openxmlformats-officedocument.presentationml.slideLayout+xml"/>
  <Override PartName="/ppt/slideLayouts/slideLayout4438.xml" ContentType="application/vnd.openxmlformats-officedocument.presentationml.slideLayout+xml"/>
  <Override PartName="/ppt/slideLayouts/slideLayout4439.xml" ContentType="application/vnd.openxmlformats-officedocument.presentationml.slideLayout+xml"/>
  <Override PartName="/ppt/slideLayouts/slideLayout4440.xml" ContentType="application/vnd.openxmlformats-officedocument.presentationml.slideLayout+xml"/>
  <Override PartName="/ppt/slideLayouts/slideLayout4441.xml" ContentType="application/vnd.openxmlformats-officedocument.presentationml.slideLayout+xml"/>
  <Override PartName="/ppt/slideLayouts/slideLayout4442.xml" ContentType="application/vnd.openxmlformats-officedocument.presentationml.slideLayout+xml"/>
  <Override PartName="/ppt/slideLayouts/slideLayout4443.xml" ContentType="application/vnd.openxmlformats-officedocument.presentationml.slideLayout+xml"/>
  <Override PartName="/ppt/slideLayouts/slideLayout4444.xml" ContentType="application/vnd.openxmlformats-officedocument.presentationml.slideLayout+xml"/>
  <Override PartName="/ppt/slideLayouts/slideLayout4445.xml" ContentType="application/vnd.openxmlformats-officedocument.presentationml.slideLayout+xml"/>
  <Override PartName="/ppt/slideLayouts/slideLayout4446.xml" ContentType="application/vnd.openxmlformats-officedocument.presentationml.slideLayout+xml"/>
  <Override PartName="/ppt/slideLayouts/slideLayout4447.xml" ContentType="application/vnd.openxmlformats-officedocument.presentationml.slideLayout+xml"/>
  <Override PartName="/ppt/slideLayouts/slideLayout4448.xml" ContentType="application/vnd.openxmlformats-officedocument.presentationml.slideLayout+xml"/>
  <Override PartName="/ppt/slideLayouts/slideLayout4449.xml" ContentType="application/vnd.openxmlformats-officedocument.presentationml.slideLayout+xml"/>
  <Override PartName="/ppt/slideLayouts/slideLayout4450.xml" ContentType="application/vnd.openxmlformats-officedocument.presentationml.slideLayout+xml"/>
  <Override PartName="/ppt/slideLayouts/slideLayout4451.xml" ContentType="application/vnd.openxmlformats-officedocument.presentationml.slideLayout+xml"/>
  <Override PartName="/ppt/slideLayouts/slideLayout4452.xml" ContentType="application/vnd.openxmlformats-officedocument.presentationml.slideLayout+xml"/>
  <Override PartName="/ppt/slideLayouts/slideLayout4453.xml" ContentType="application/vnd.openxmlformats-officedocument.presentationml.slideLayout+xml"/>
  <Override PartName="/ppt/slideLayouts/slideLayout4454.xml" ContentType="application/vnd.openxmlformats-officedocument.presentationml.slideLayout+xml"/>
  <Override PartName="/ppt/slideLayouts/slideLayout4455.xml" ContentType="application/vnd.openxmlformats-officedocument.presentationml.slideLayout+xml"/>
  <Override PartName="/ppt/slideLayouts/slideLayout4456.xml" ContentType="application/vnd.openxmlformats-officedocument.presentationml.slideLayout+xml"/>
  <Override PartName="/ppt/slideLayouts/slideLayout4457.xml" ContentType="application/vnd.openxmlformats-officedocument.presentationml.slideLayout+xml"/>
  <Override PartName="/ppt/slideLayouts/slideLayout4458.xml" ContentType="application/vnd.openxmlformats-officedocument.presentationml.slideLayout+xml"/>
  <Override PartName="/ppt/slideLayouts/slideLayout4459.xml" ContentType="application/vnd.openxmlformats-officedocument.presentationml.slideLayout+xml"/>
  <Override PartName="/ppt/slideLayouts/slideLayout4460.xml" ContentType="application/vnd.openxmlformats-officedocument.presentationml.slideLayout+xml"/>
  <Override PartName="/ppt/slideLayouts/slideLayout4461.xml" ContentType="application/vnd.openxmlformats-officedocument.presentationml.slideLayout+xml"/>
  <Override PartName="/ppt/slideLayouts/slideLayout4462.xml" ContentType="application/vnd.openxmlformats-officedocument.presentationml.slideLayout+xml"/>
  <Override PartName="/ppt/slideLayouts/slideLayout4463.xml" ContentType="application/vnd.openxmlformats-officedocument.presentationml.slideLayout+xml"/>
  <Override PartName="/ppt/slideLayouts/slideLayout4464.xml" ContentType="application/vnd.openxmlformats-officedocument.presentationml.slideLayout+xml"/>
  <Override PartName="/ppt/slideLayouts/slideLayout4465.xml" ContentType="application/vnd.openxmlformats-officedocument.presentationml.slideLayout+xml"/>
  <Override PartName="/ppt/slideLayouts/slideLayout4466.xml" ContentType="application/vnd.openxmlformats-officedocument.presentationml.slideLayout+xml"/>
  <Override PartName="/ppt/slideLayouts/slideLayout4467.xml" ContentType="application/vnd.openxmlformats-officedocument.presentationml.slideLayout+xml"/>
  <Override PartName="/ppt/slideLayouts/slideLayout4468.xml" ContentType="application/vnd.openxmlformats-officedocument.presentationml.slideLayout+xml"/>
  <Override PartName="/ppt/slideLayouts/slideLayout4469.xml" ContentType="application/vnd.openxmlformats-officedocument.presentationml.slideLayout+xml"/>
  <Override PartName="/ppt/slideLayouts/slideLayout4470.xml" ContentType="application/vnd.openxmlformats-officedocument.presentationml.slideLayout+xml"/>
  <Override PartName="/ppt/slideLayouts/slideLayout4471.xml" ContentType="application/vnd.openxmlformats-officedocument.presentationml.slideLayout+xml"/>
  <Override PartName="/ppt/slideLayouts/slideLayout4472.xml" ContentType="application/vnd.openxmlformats-officedocument.presentationml.slideLayout+xml"/>
  <Override PartName="/ppt/slideLayouts/slideLayout4473.xml" ContentType="application/vnd.openxmlformats-officedocument.presentationml.slideLayout+xml"/>
  <Override PartName="/ppt/slideLayouts/slideLayout4474.xml" ContentType="application/vnd.openxmlformats-officedocument.presentationml.slideLayout+xml"/>
  <Override PartName="/ppt/slideLayouts/slideLayout4475.xml" ContentType="application/vnd.openxmlformats-officedocument.presentationml.slideLayout+xml"/>
  <Override PartName="/ppt/slideLayouts/slideLayout4476.xml" ContentType="application/vnd.openxmlformats-officedocument.presentationml.slideLayout+xml"/>
  <Override PartName="/ppt/slideLayouts/slideLayout4477.xml" ContentType="application/vnd.openxmlformats-officedocument.presentationml.slideLayout+xml"/>
  <Override PartName="/ppt/slideLayouts/slideLayout4478.xml" ContentType="application/vnd.openxmlformats-officedocument.presentationml.slideLayout+xml"/>
  <Override PartName="/ppt/slideLayouts/slideLayout4479.xml" ContentType="application/vnd.openxmlformats-officedocument.presentationml.slideLayout+xml"/>
  <Override PartName="/ppt/slideLayouts/slideLayout4480.xml" ContentType="application/vnd.openxmlformats-officedocument.presentationml.slideLayout+xml"/>
  <Override PartName="/ppt/slideLayouts/slideLayout4481.xml" ContentType="application/vnd.openxmlformats-officedocument.presentationml.slideLayout+xml"/>
  <Override PartName="/ppt/slideLayouts/slideLayout4482.xml" ContentType="application/vnd.openxmlformats-officedocument.presentationml.slideLayout+xml"/>
  <Override PartName="/ppt/slideLayouts/slideLayout4483.xml" ContentType="application/vnd.openxmlformats-officedocument.presentationml.slideLayout+xml"/>
  <Override PartName="/ppt/slideLayouts/slideLayout4484.xml" ContentType="application/vnd.openxmlformats-officedocument.presentationml.slideLayout+xml"/>
  <Override PartName="/ppt/slideLayouts/slideLayout4485.xml" ContentType="application/vnd.openxmlformats-officedocument.presentationml.slideLayout+xml"/>
  <Override PartName="/ppt/slideLayouts/slideLayout4486.xml" ContentType="application/vnd.openxmlformats-officedocument.presentationml.slideLayout+xml"/>
  <Override PartName="/ppt/slideLayouts/slideLayout4487.xml" ContentType="application/vnd.openxmlformats-officedocument.presentationml.slideLayout+xml"/>
  <Override PartName="/ppt/slideLayouts/slideLayout4488.xml" ContentType="application/vnd.openxmlformats-officedocument.presentationml.slideLayout+xml"/>
  <Override PartName="/ppt/slideLayouts/slideLayout4489.xml" ContentType="application/vnd.openxmlformats-officedocument.presentationml.slideLayout+xml"/>
  <Override PartName="/ppt/slideLayouts/slideLayout4490.xml" ContentType="application/vnd.openxmlformats-officedocument.presentationml.slideLayout+xml"/>
  <Override PartName="/ppt/slideLayouts/slideLayout4491.xml" ContentType="application/vnd.openxmlformats-officedocument.presentationml.slideLayout+xml"/>
  <Override PartName="/ppt/slideLayouts/slideLayout4492.xml" ContentType="application/vnd.openxmlformats-officedocument.presentationml.slideLayout+xml"/>
  <Override PartName="/ppt/slideLayouts/slideLayout4493.xml" ContentType="application/vnd.openxmlformats-officedocument.presentationml.slideLayout+xml"/>
  <Override PartName="/ppt/slideLayouts/slideLayout4494.xml" ContentType="application/vnd.openxmlformats-officedocument.presentationml.slideLayout+xml"/>
  <Override PartName="/ppt/slideLayouts/slideLayout4495.xml" ContentType="application/vnd.openxmlformats-officedocument.presentationml.slideLayout+xml"/>
  <Override PartName="/ppt/slideLayouts/slideLayout4496.xml" ContentType="application/vnd.openxmlformats-officedocument.presentationml.slideLayout+xml"/>
  <Override PartName="/ppt/slideLayouts/slideLayout4497.xml" ContentType="application/vnd.openxmlformats-officedocument.presentationml.slideLayout+xml"/>
  <Override PartName="/ppt/slideLayouts/slideLayout4498.xml" ContentType="application/vnd.openxmlformats-officedocument.presentationml.slideLayout+xml"/>
  <Override PartName="/ppt/slideLayouts/slideLayout4499.xml" ContentType="application/vnd.openxmlformats-officedocument.presentationml.slideLayout+xml"/>
  <Override PartName="/ppt/slideLayouts/slideLayout4500.xml" ContentType="application/vnd.openxmlformats-officedocument.presentationml.slideLayout+xml"/>
  <Override PartName="/ppt/slideLayouts/slideLayout4501.xml" ContentType="application/vnd.openxmlformats-officedocument.presentationml.slideLayout+xml"/>
  <Override PartName="/ppt/slideLayouts/slideLayout4502.xml" ContentType="application/vnd.openxmlformats-officedocument.presentationml.slideLayout+xml"/>
  <Override PartName="/ppt/slideLayouts/slideLayout4503.xml" ContentType="application/vnd.openxmlformats-officedocument.presentationml.slideLayout+xml"/>
  <Override PartName="/ppt/slideLayouts/slideLayout4504.xml" ContentType="application/vnd.openxmlformats-officedocument.presentationml.slideLayout+xml"/>
  <Override PartName="/ppt/slideLayouts/slideLayout4505.xml" ContentType="application/vnd.openxmlformats-officedocument.presentationml.slideLayout+xml"/>
  <Override PartName="/ppt/slideLayouts/slideLayout4506.xml" ContentType="application/vnd.openxmlformats-officedocument.presentationml.slideLayout+xml"/>
  <Override PartName="/ppt/slideLayouts/slideLayout4507.xml" ContentType="application/vnd.openxmlformats-officedocument.presentationml.slideLayout+xml"/>
  <Override PartName="/ppt/slideLayouts/slideLayout4508.xml" ContentType="application/vnd.openxmlformats-officedocument.presentationml.slideLayout+xml"/>
  <Override PartName="/ppt/slideLayouts/slideLayout4509.xml" ContentType="application/vnd.openxmlformats-officedocument.presentationml.slideLayout+xml"/>
  <Override PartName="/ppt/slideLayouts/slideLayout4510.xml" ContentType="application/vnd.openxmlformats-officedocument.presentationml.slideLayout+xml"/>
  <Override PartName="/ppt/slideLayouts/slideLayout4511.xml" ContentType="application/vnd.openxmlformats-officedocument.presentationml.slideLayout+xml"/>
  <Override PartName="/ppt/slideLayouts/slideLayout4512.xml" ContentType="application/vnd.openxmlformats-officedocument.presentationml.slideLayout+xml"/>
  <Override PartName="/ppt/slideLayouts/slideLayout4513.xml" ContentType="application/vnd.openxmlformats-officedocument.presentationml.slideLayout+xml"/>
  <Override PartName="/ppt/slideLayouts/slideLayout4514.xml" ContentType="application/vnd.openxmlformats-officedocument.presentationml.slideLayout+xml"/>
  <Override PartName="/ppt/slideLayouts/slideLayout4515.xml" ContentType="application/vnd.openxmlformats-officedocument.presentationml.slideLayout+xml"/>
  <Override PartName="/ppt/slideLayouts/slideLayout4516.xml" ContentType="application/vnd.openxmlformats-officedocument.presentationml.slideLayout+xml"/>
  <Override PartName="/ppt/slideLayouts/slideLayout4517.xml" ContentType="application/vnd.openxmlformats-officedocument.presentationml.slideLayout+xml"/>
  <Override PartName="/ppt/slideLayouts/slideLayout4518.xml" ContentType="application/vnd.openxmlformats-officedocument.presentationml.slideLayout+xml"/>
  <Override PartName="/ppt/slideLayouts/slideLayout4519.xml" ContentType="application/vnd.openxmlformats-officedocument.presentationml.slideLayout+xml"/>
  <Override PartName="/ppt/slideLayouts/slideLayout4520.xml" ContentType="application/vnd.openxmlformats-officedocument.presentationml.slideLayout+xml"/>
  <Override PartName="/ppt/slideLayouts/slideLayout4521.xml" ContentType="application/vnd.openxmlformats-officedocument.presentationml.slideLayout+xml"/>
  <Override PartName="/ppt/slideLayouts/slideLayout4522.xml" ContentType="application/vnd.openxmlformats-officedocument.presentationml.slideLayout+xml"/>
  <Override PartName="/ppt/slideLayouts/slideLayout4523.xml" ContentType="application/vnd.openxmlformats-officedocument.presentationml.slideLayout+xml"/>
  <Override PartName="/ppt/slideLayouts/slideLayout4524.xml" ContentType="application/vnd.openxmlformats-officedocument.presentationml.slideLayout+xml"/>
  <Override PartName="/ppt/slideLayouts/slideLayout4525.xml" ContentType="application/vnd.openxmlformats-officedocument.presentationml.slideLayout+xml"/>
  <Override PartName="/ppt/slideLayouts/slideLayout4526.xml" ContentType="application/vnd.openxmlformats-officedocument.presentationml.slideLayout+xml"/>
  <Override PartName="/ppt/slideLayouts/slideLayout4527.xml" ContentType="application/vnd.openxmlformats-officedocument.presentationml.slideLayout+xml"/>
  <Override PartName="/ppt/slideLayouts/slideLayout4528.xml" ContentType="application/vnd.openxmlformats-officedocument.presentationml.slideLayout+xml"/>
  <Override PartName="/ppt/slideLayouts/slideLayout4529.xml" ContentType="application/vnd.openxmlformats-officedocument.presentationml.slideLayout+xml"/>
  <Override PartName="/ppt/slideLayouts/slideLayout4530.xml" ContentType="application/vnd.openxmlformats-officedocument.presentationml.slideLayout+xml"/>
  <Override PartName="/ppt/slideLayouts/slideLayout4531.xml" ContentType="application/vnd.openxmlformats-officedocument.presentationml.slideLayout+xml"/>
  <Override PartName="/ppt/slideLayouts/slideLayout4532.xml" ContentType="application/vnd.openxmlformats-officedocument.presentationml.slideLayout+xml"/>
  <Override PartName="/ppt/slideLayouts/slideLayout4533.xml" ContentType="application/vnd.openxmlformats-officedocument.presentationml.slideLayout+xml"/>
  <Override PartName="/ppt/slideLayouts/slideLayout4534.xml" ContentType="application/vnd.openxmlformats-officedocument.presentationml.slideLayout+xml"/>
  <Override PartName="/ppt/slideLayouts/slideLayout4535.xml" ContentType="application/vnd.openxmlformats-officedocument.presentationml.slideLayout+xml"/>
  <Override PartName="/ppt/slideLayouts/slideLayout4536.xml" ContentType="application/vnd.openxmlformats-officedocument.presentationml.slideLayout+xml"/>
  <Override PartName="/ppt/slideLayouts/slideLayout4537.xml" ContentType="application/vnd.openxmlformats-officedocument.presentationml.slideLayout+xml"/>
  <Override PartName="/ppt/slideLayouts/slideLayout4538.xml" ContentType="application/vnd.openxmlformats-officedocument.presentationml.slideLayout+xml"/>
  <Override PartName="/ppt/slideLayouts/slideLayout4539.xml" ContentType="application/vnd.openxmlformats-officedocument.presentationml.slideLayout+xml"/>
  <Override PartName="/ppt/slideLayouts/slideLayout4540.xml" ContentType="application/vnd.openxmlformats-officedocument.presentationml.slideLayout+xml"/>
  <Override PartName="/ppt/slideLayouts/slideLayout4541.xml" ContentType="application/vnd.openxmlformats-officedocument.presentationml.slideLayout+xml"/>
  <Override PartName="/ppt/slideLayouts/slideLayout4542.xml" ContentType="application/vnd.openxmlformats-officedocument.presentationml.slideLayout+xml"/>
  <Override PartName="/ppt/slideLayouts/slideLayout4543.xml" ContentType="application/vnd.openxmlformats-officedocument.presentationml.slideLayout+xml"/>
  <Override PartName="/ppt/slideLayouts/slideLayout4544.xml" ContentType="application/vnd.openxmlformats-officedocument.presentationml.slideLayout+xml"/>
  <Override PartName="/ppt/slideLayouts/slideLayout4545.xml" ContentType="application/vnd.openxmlformats-officedocument.presentationml.slideLayout+xml"/>
  <Override PartName="/ppt/slideLayouts/slideLayout4546.xml" ContentType="application/vnd.openxmlformats-officedocument.presentationml.slideLayout+xml"/>
  <Override PartName="/ppt/slideLayouts/slideLayout4547.xml" ContentType="application/vnd.openxmlformats-officedocument.presentationml.slideLayout+xml"/>
  <Override PartName="/ppt/slideLayouts/slideLayout4548.xml" ContentType="application/vnd.openxmlformats-officedocument.presentationml.slideLayout+xml"/>
  <Override PartName="/ppt/slideLayouts/slideLayout4549.xml" ContentType="application/vnd.openxmlformats-officedocument.presentationml.slideLayout+xml"/>
  <Override PartName="/ppt/slideLayouts/slideLayout4550.xml" ContentType="application/vnd.openxmlformats-officedocument.presentationml.slideLayout+xml"/>
  <Override PartName="/ppt/slideLayouts/slideLayout4551.xml" ContentType="application/vnd.openxmlformats-officedocument.presentationml.slideLayout+xml"/>
  <Override PartName="/ppt/slideLayouts/slideLayout4552.xml" ContentType="application/vnd.openxmlformats-officedocument.presentationml.slideLayout+xml"/>
  <Override PartName="/ppt/slideLayouts/slideLayout4553.xml" ContentType="application/vnd.openxmlformats-officedocument.presentationml.slideLayout+xml"/>
  <Override PartName="/ppt/slideLayouts/slideLayout4554.xml" ContentType="application/vnd.openxmlformats-officedocument.presentationml.slideLayout+xml"/>
  <Override PartName="/ppt/slideLayouts/slideLayout4555.xml" ContentType="application/vnd.openxmlformats-officedocument.presentationml.slideLayout+xml"/>
  <Override PartName="/ppt/slideLayouts/slideLayout4556.xml" ContentType="application/vnd.openxmlformats-officedocument.presentationml.slideLayout+xml"/>
  <Override PartName="/ppt/slideLayouts/slideLayout4557.xml" ContentType="application/vnd.openxmlformats-officedocument.presentationml.slideLayout+xml"/>
  <Override PartName="/ppt/slideLayouts/slideLayout4558.xml" ContentType="application/vnd.openxmlformats-officedocument.presentationml.slideLayout+xml"/>
  <Override PartName="/ppt/slideLayouts/slideLayout4559.xml" ContentType="application/vnd.openxmlformats-officedocument.presentationml.slideLayout+xml"/>
  <Override PartName="/ppt/slideLayouts/slideLayout4560.xml" ContentType="application/vnd.openxmlformats-officedocument.presentationml.slideLayout+xml"/>
  <Override PartName="/ppt/slideLayouts/slideLayout4561.xml" ContentType="application/vnd.openxmlformats-officedocument.presentationml.slideLayout+xml"/>
  <Override PartName="/ppt/slideLayouts/slideLayout4562.xml" ContentType="application/vnd.openxmlformats-officedocument.presentationml.slideLayout+xml"/>
  <Override PartName="/ppt/slideLayouts/slideLayout4563.xml" ContentType="application/vnd.openxmlformats-officedocument.presentationml.slideLayout+xml"/>
  <Override PartName="/ppt/slideLayouts/slideLayout4564.xml" ContentType="application/vnd.openxmlformats-officedocument.presentationml.slideLayout+xml"/>
  <Override PartName="/ppt/slideLayouts/slideLayout4565.xml" ContentType="application/vnd.openxmlformats-officedocument.presentationml.slideLayout+xml"/>
  <Override PartName="/ppt/slideLayouts/slideLayout4566.xml" ContentType="application/vnd.openxmlformats-officedocument.presentationml.slideLayout+xml"/>
  <Override PartName="/ppt/slideLayouts/slideLayout4567.xml" ContentType="application/vnd.openxmlformats-officedocument.presentationml.slideLayout+xml"/>
  <Override PartName="/ppt/slideLayouts/slideLayout4568.xml" ContentType="application/vnd.openxmlformats-officedocument.presentationml.slideLayout+xml"/>
  <Override PartName="/ppt/slideLayouts/slideLayout4569.xml" ContentType="application/vnd.openxmlformats-officedocument.presentationml.slideLayout+xml"/>
  <Override PartName="/ppt/slideLayouts/slideLayout4570.xml" ContentType="application/vnd.openxmlformats-officedocument.presentationml.slideLayout+xml"/>
  <Override PartName="/ppt/slideLayouts/slideLayout4571.xml" ContentType="application/vnd.openxmlformats-officedocument.presentationml.slideLayout+xml"/>
  <Override PartName="/ppt/slideLayouts/slideLayout4572.xml" ContentType="application/vnd.openxmlformats-officedocument.presentationml.slideLayout+xml"/>
  <Override PartName="/ppt/slideLayouts/slideLayout4573.xml" ContentType="application/vnd.openxmlformats-officedocument.presentationml.slideLayout+xml"/>
  <Override PartName="/ppt/slideLayouts/slideLayout4574.xml" ContentType="application/vnd.openxmlformats-officedocument.presentationml.slideLayout+xml"/>
  <Override PartName="/ppt/slideLayouts/slideLayout4575.xml" ContentType="application/vnd.openxmlformats-officedocument.presentationml.slideLayout+xml"/>
  <Override PartName="/ppt/slideLayouts/slideLayout4576.xml" ContentType="application/vnd.openxmlformats-officedocument.presentationml.slideLayout+xml"/>
  <Override PartName="/ppt/slideLayouts/slideLayout4577.xml" ContentType="application/vnd.openxmlformats-officedocument.presentationml.slideLayout+xml"/>
  <Override PartName="/ppt/slideLayouts/slideLayout4578.xml" ContentType="application/vnd.openxmlformats-officedocument.presentationml.slideLayout+xml"/>
  <Override PartName="/ppt/slideLayouts/slideLayout4579.xml" ContentType="application/vnd.openxmlformats-officedocument.presentationml.slideLayout+xml"/>
  <Override PartName="/ppt/slideLayouts/slideLayout4580.xml" ContentType="application/vnd.openxmlformats-officedocument.presentationml.slideLayout+xml"/>
  <Override PartName="/ppt/slideLayouts/slideLayout4581.xml" ContentType="application/vnd.openxmlformats-officedocument.presentationml.slideLayout+xml"/>
  <Override PartName="/ppt/slideLayouts/slideLayout4582.xml" ContentType="application/vnd.openxmlformats-officedocument.presentationml.slideLayout+xml"/>
  <Override PartName="/ppt/slideLayouts/slideLayout4583.xml" ContentType="application/vnd.openxmlformats-officedocument.presentationml.slideLayout+xml"/>
  <Override PartName="/ppt/slideLayouts/slideLayout4584.xml" ContentType="application/vnd.openxmlformats-officedocument.presentationml.slideLayout+xml"/>
  <Override PartName="/ppt/slideLayouts/slideLayout4585.xml" ContentType="application/vnd.openxmlformats-officedocument.presentationml.slideLayout+xml"/>
  <Override PartName="/ppt/slideLayouts/slideLayout4586.xml" ContentType="application/vnd.openxmlformats-officedocument.presentationml.slideLayout+xml"/>
  <Override PartName="/ppt/slideLayouts/slideLayout4587.xml" ContentType="application/vnd.openxmlformats-officedocument.presentationml.slideLayout+xml"/>
  <Override PartName="/ppt/slideLayouts/slideLayout4588.xml" ContentType="application/vnd.openxmlformats-officedocument.presentationml.slideLayout+xml"/>
  <Override PartName="/ppt/slideLayouts/slideLayout4589.xml" ContentType="application/vnd.openxmlformats-officedocument.presentationml.slideLayout+xml"/>
  <Override PartName="/ppt/slideLayouts/slideLayout4590.xml" ContentType="application/vnd.openxmlformats-officedocument.presentationml.slideLayout+xml"/>
  <Override PartName="/ppt/slideLayouts/slideLayout4591.xml" ContentType="application/vnd.openxmlformats-officedocument.presentationml.slideLayout+xml"/>
  <Override PartName="/ppt/slideLayouts/slideLayout4592.xml" ContentType="application/vnd.openxmlformats-officedocument.presentationml.slideLayout+xml"/>
  <Override PartName="/ppt/slideLayouts/slideLayout4593.xml" ContentType="application/vnd.openxmlformats-officedocument.presentationml.slideLayout+xml"/>
  <Override PartName="/ppt/slideLayouts/slideLayout4594.xml" ContentType="application/vnd.openxmlformats-officedocument.presentationml.slideLayout+xml"/>
  <Override PartName="/ppt/slideLayouts/slideLayout4595.xml" ContentType="application/vnd.openxmlformats-officedocument.presentationml.slideLayout+xml"/>
  <Override PartName="/ppt/slideLayouts/slideLayout4596.xml" ContentType="application/vnd.openxmlformats-officedocument.presentationml.slideLayout+xml"/>
  <Override PartName="/ppt/slideLayouts/slideLayout4597.xml" ContentType="application/vnd.openxmlformats-officedocument.presentationml.slideLayout+xml"/>
  <Override PartName="/ppt/slideLayouts/slideLayout4598.xml" ContentType="application/vnd.openxmlformats-officedocument.presentationml.slideLayout+xml"/>
  <Override PartName="/ppt/slideLayouts/slideLayout4599.xml" ContentType="application/vnd.openxmlformats-officedocument.presentationml.slideLayout+xml"/>
  <Override PartName="/ppt/slideLayouts/slideLayout4600.xml" ContentType="application/vnd.openxmlformats-officedocument.presentationml.slideLayout+xml"/>
  <Override PartName="/ppt/slideLayouts/slideLayout4601.xml" ContentType="application/vnd.openxmlformats-officedocument.presentationml.slideLayout+xml"/>
  <Override PartName="/ppt/slideLayouts/slideLayout4602.xml" ContentType="application/vnd.openxmlformats-officedocument.presentationml.slideLayout+xml"/>
  <Override PartName="/ppt/slideLayouts/slideLayout4603.xml" ContentType="application/vnd.openxmlformats-officedocument.presentationml.slideLayout+xml"/>
  <Override PartName="/ppt/slideLayouts/slideLayout4604.xml" ContentType="application/vnd.openxmlformats-officedocument.presentationml.slideLayout+xml"/>
  <Override PartName="/ppt/slideLayouts/slideLayout4605.xml" ContentType="application/vnd.openxmlformats-officedocument.presentationml.slideLayout+xml"/>
  <Override PartName="/ppt/slideLayouts/slideLayout4606.xml" ContentType="application/vnd.openxmlformats-officedocument.presentationml.slideLayout+xml"/>
  <Override PartName="/ppt/slideLayouts/slideLayout4607.xml" ContentType="application/vnd.openxmlformats-officedocument.presentationml.slideLayout+xml"/>
  <Override PartName="/ppt/slideLayouts/slideLayout4608.xml" ContentType="application/vnd.openxmlformats-officedocument.presentationml.slideLayout+xml"/>
  <Override PartName="/ppt/slideLayouts/slideLayout4609.xml" ContentType="application/vnd.openxmlformats-officedocument.presentationml.slideLayout+xml"/>
  <Override PartName="/ppt/slideLayouts/slideLayout4610.xml" ContentType="application/vnd.openxmlformats-officedocument.presentationml.slideLayout+xml"/>
  <Override PartName="/ppt/slideLayouts/slideLayout4611.xml" ContentType="application/vnd.openxmlformats-officedocument.presentationml.slideLayout+xml"/>
  <Override PartName="/ppt/slideLayouts/slideLayout4612.xml" ContentType="application/vnd.openxmlformats-officedocument.presentationml.slideLayout+xml"/>
  <Override PartName="/ppt/slideLayouts/slideLayout4613.xml" ContentType="application/vnd.openxmlformats-officedocument.presentationml.slideLayout+xml"/>
  <Override PartName="/ppt/slideLayouts/slideLayout4614.xml" ContentType="application/vnd.openxmlformats-officedocument.presentationml.slideLayout+xml"/>
  <Override PartName="/ppt/slideLayouts/slideLayout4615.xml" ContentType="application/vnd.openxmlformats-officedocument.presentationml.slideLayout+xml"/>
  <Override PartName="/ppt/slideLayouts/slideLayout4616.xml" ContentType="application/vnd.openxmlformats-officedocument.presentationml.slideLayout+xml"/>
  <Override PartName="/ppt/slideLayouts/slideLayout4617.xml" ContentType="application/vnd.openxmlformats-officedocument.presentationml.slideLayout+xml"/>
  <Override PartName="/ppt/slideLayouts/slideLayout4618.xml" ContentType="application/vnd.openxmlformats-officedocument.presentationml.slideLayout+xml"/>
  <Override PartName="/ppt/slideLayouts/slideLayout4619.xml" ContentType="application/vnd.openxmlformats-officedocument.presentationml.slideLayout+xml"/>
  <Override PartName="/ppt/slideLayouts/slideLayout4620.xml" ContentType="application/vnd.openxmlformats-officedocument.presentationml.slideLayout+xml"/>
  <Override PartName="/ppt/slideLayouts/slideLayout4621.xml" ContentType="application/vnd.openxmlformats-officedocument.presentationml.slideLayout+xml"/>
  <Override PartName="/ppt/slideLayouts/slideLayout4622.xml" ContentType="application/vnd.openxmlformats-officedocument.presentationml.slideLayout+xml"/>
  <Override PartName="/ppt/slideLayouts/slideLayout4623.xml" ContentType="application/vnd.openxmlformats-officedocument.presentationml.slideLayout+xml"/>
  <Override PartName="/ppt/slideLayouts/slideLayout4624.xml" ContentType="application/vnd.openxmlformats-officedocument.presentationml.slideLayout+xml"/>
  <Override PartName="/ppt/slideLayouts/slideLayout4625.xml" ContentType="application/vnd.openxmlformats-officedocument.presentationml.slideLayout+xml"/>
  <Override PartName="/ppt/slideLayouts/slideLayout4626.xml" ContentType="application/vnd.openxmlformats-officedocument.presentationml.slideLayout+xml"/>
  <Override PartName="/ppt/slideLayouts/slideLayout4627.xml" ContentType="application/vnd.openxmlformats-officedocument.presentationml.slideLayout+xml"/>
  <Override PartName="/ppt/slideLayouts/slideLayout4628.xml" ContentType="application/vnd.openxmlformats-officedocument.presentationml.slideLayout+xml"/>
  <Override PartName="/ppt/slideLayouts/slideLayout4629.xml" ContentType="application/vnd.openxmlformats-officedocument.presentationml.slideLayout+xml"/>
  <Override PartName="/ppt/slideLayouts/slideLayout4630.xml" ContentType="application/vnd.openxmlformats-officedocument.presentationml.slideLayout+xml"/>
  <Override PartName="/ppt/slideLayouts/slideLayout4631.xml" ContentType="application/vnd.openxmlformats-officedocument.presentationml.slideLayout+xml"/>
  <Override PartName="/ppt/slideLayouts/slideLayout4632.xml" ContentType="application/vnd.openxmlformats-officedocument.presentationml.slideLayout+xml"/>
  <Override PartName="/ppt/slideLayouts/slideLayout4633.xml" ContentType="application/vnd.openxmlformats-officedocument.presentationml.slideLayout+xml"/>
  <Override PartName="/ppt/slideLayouts/slideLayout4634.xml" ContentType="application/vnd.openxmlformats-officedocument.presentationml.slideLayout+xml"/>
  <Override PartName="/ppt/slideLayouts/slideLayout4635.xml" ContentType="application/vnd.openxmlformats-officedocument.presentationml.slideLayout+xml"/>
  <Override PartName="/ppt/slideLayouts/slideLayout4636.xml" ContentType="application/vnd.openxmlformats-officedocument.presentationml.slideLayout+xml"/>
  <Override PartName="/ppt/slideLayouts/slideLayout4637.xml" ContentType="application/vnd.openxmlformats-officedocument.presentationml.slideLayout+xml"/>
  <Override PartName="/ppt/slideLayouts/slideLayout4638.xml" ContentType="application/vnd.openxmlformats-officedocument.presentationml.slideLayout+xml"/>
  <Override PartName="/ppt/slideLayouts/slideLayout4639.xml" ContentType="application/vnd.openxmlformats-officedocument.presentationml.slideLayout+xml"/>
  <Override PartName="/ppt/slideLayouts/slideLayout4640.xml" ContentType="application/vnd.openxmlformats-officedocument.presentationml.slideLayout+xml"/>
  <Override PartName="/ppt/slideLayouts/slideLayout4641.xml" ContentType="application/vnd.openxmlformats-officedocument.presentationml.slideLayout+xml"/>
  <Override PartName="/ppt/slideLayouts/slideLayout4642.xml" ContentType="application/vnd.openxmlformats-officedocument.presentationml.slideLayout+xml"/>
  <Override PartName="/ppt/slideLayouts/slideLayout4643.xml" ContentType="application/vnd.openxmlformats-officedocument.presentationml.slideLayout+xml"/>
  <Override PartName="/ppt/slideLayouts/slideLayout4644.xml" ContentType="application/vnd.openxmlformats-officedocument.presentationml.slideLayout+xml"/>
  <Override PartName="/ppt/slideLayouts/slideLayout4645.xml" ContentType="application/vnd.openxmlformats-officedocument.presentationml.slideLayout+xml"/>
  <Override PartName="/ppt/slideLayouts/slideLayout4646.xml" ContentType="application/vnd.openxmlformats-officedocument.presentationml.slideLayout+xml"/>
  <Override PartName="/ppt/slideLayouts/slideLayout4647.xml" ContentType="application/vnd.openxmlformats-officedocument.presentationml.slideLayout+xml"/>
  <Override PartName="/ppt/slideLayouts/slideLayout4648.xml" ContentType="application/vnd.openxmlformats-officedocument.presentationml.slideLayout+xml"/>
  <Override PartName="/ppt/slideLayouts/slideLayout4649.xml" ContentType="application/vnd.openxmlformats-officedocument.presentationml.slideLayout+xml"/>
  <Override PartName="/ppt/slideLayouts/slideLayout4650.xml" ContentType="application/vnd.openxmlformats-officedocument.presentationml.slideLayout+xml"/>
  <Override PartName="/ppt/slideLayouts/slideLayout4651.xml" ContentType="application/vnd.openxmlformats-officedocument.presentationml.slideLayout+xml"/>
  <Override PartName="/ppt/slideLayouts/slideLayout4652.xml" ContentType="application/vnd.openxmlformats-officedocument.presentationml.slideLayout+xml"/>
  <Override PartName="/ppt/slideLayouts/slideLayout4653.xml" ContentType="application/vnd.openxmlformats-officedocument.presentationml.slideLayout+xml"/>
  <Override PartName="/ppt/slideLayouts/slideLayout4654.xml" ContentType="application/vnd.openxmlformats-officedocument.presentationml.slideLayout+xml"/>
  <Override PartName="/ppt/slideLayouts/slideLayout4655.xml" ContentType="application/vnd.openxmlformats-officedocument.presentationml.slideLayout+xml"/>
  <Override PartName="/ppt/slideLayouts/slideLayout4656.xml" ContentType="application/vnd.openxmlformats-officedocument.presentationml.slideLayout+xml"/>
  <Override PartName="/ppt/slideLayouts/slideLayout4657.xml" ContentType="application/vnd.openxmlformats-officedocument.presentationml.slideLayout+xml"/>
  <Override PartName="/ppt/slideLayouts/slideLayout4658.xml" ContentType="application/vnd.openxmlformats-officedocument.presentationml.slideLayout+xml"/>
  <Override PartName="/ppt/slideLayouts/slideLayout4659.xml" ContentType="application/vnd.openxmlformats-officedocument.presentationml.slideLayout+xml"/>
  <Override PartName="/ppt/slideLayouts/slideLayout4660.xml" ContentType="application/vnd.openxmlformats-officedocument.presentationml.slideLayout+xml"/>
  <Override PartName="/ppt/slideLayouts/slideLayout4661.xml" ContentType="application/vnd.openxmlformats-officedocument.presentationml.slideLayout+xml"/>
  <Override PartName="/ppt/slideLayouts/slideLayout4662.xml" ContentType="application/vnd.openxmlformats-officedocument.presentationml.slideLayout+xml"/>
  <Override PartName="/ppt/slideLayouts/slideLayout4663.xml" ContentType="application/vnd.openxmlformats-officedocument.presentationml.slideLayout+xml"/>
  <Override PartName="/ppt/slideLayouts/slideLayout4664.xml" ContentType="application/vnd.openxmlformats-officedocument.presentationml.slideLayout+xml"/>
  <Override PartName="/ppt/slideLayouts/slideLayout4665.xml" ContentType="application/vnd.openxmlformats-officedocument.presentationml.slideLayout+xml"/>
  <Override PartName="/ppt/slideLayouts/slideLayout4666.xml" ContentType="application/vnd.openxmlformats-officedocument.presentationml.slideLayout+xml"/>
  <Override PartName="/ppt/slideLayouts/slideLayout4667.xml" ContentType="application/vnd.openxmlformats-officedocument.presentationml.slideLayout+xml"/>
  <Override PartName="/ppt/slideLayouts/slideLayout4668.xml" ContentType="application/vnd.openxmlformats-officedocument.presentationml.slideLayout+xml"/>
  <Override PartName="/ppt/slideLayouts/slideLayout4669.xml" ContentType="application/vnd.openxmlformats-officedocument.presentationml.slideLayout+xml"/>
  <Override PartName="/ppt/slideLayouts/slideLayout4670.xml" ContentType="application/vnd.openxmlformats-officedocument.presentationml.slideLayout+xml"/>
  <Override PartName="/ppt/slideLayouts/slideLayout4671.xml" ContentType="application/vnd.openxmlformats-officedocument.presentationml.slideLayout+xml"/>
  <Override PartName="/ppt/slideLayouts/slideLayout4672.xml" ContentType="application/vnd.openxmlformats-officedocument.presentationml.slideLayout+xml"/>
  <Override PartName="/ppt/slideLayouts/slideLayout4673.xml" ContentType="application/vnd.openxmlformats-officedocument.presentationml.slideLayout+xml"/>
  <Override PartName="/ppt/slideLayouts/slideLayout4674.xml" ContentType="application/vnd.openxmlformats-officedocument.presentationml.slideLayout+xml"/>
  <Override PartName="/ppt/slideLayouts/slideLayout4675.xml" ContentType="application/vnd.openxmlformats-officedocument.presentationml.slideLayout+xml"/>
  <Override PartName="/ppt/slideLayouts/slideLayout4676.xml" ContentType="application/vnd.openxmlformats-officedocument.presentationml.slideLayout+xml"/>
  <Override PartName="/ppt/slideLayouts/slideLayout4677.xml" ContentType="application/vnd.openxmlformats-officedocument.presentationml.slideLayout+xml"/>
  <Override PartName="/ppt/slideLayouts/slideLayout4678.xml" ContentType="application/vnd.openxmlformats-officedocument.presentationml.slideLayout+xml"/>
  <Override PartName="/ppt/slideLayouts/slideLayout4679.xml" ContentType="application/vnd.openxmlformats-officedocument.presentationml.slideLayout+xml"/>
  <Override PartName="/ppt/slideLayouts/slideLayout4680.xml" ContentType="application/vnd.openxmlformats-officedocument.presentationml.slideLayout+xml"/>
  <Override PartName="/ppt/slideLayouts/slideLayout4681.xml" ContentType="application/vnd.openxmlformats-officedocument.presentationml.slideLayout+xml"/>
  <Override PartName="/ppt/slideLayouts/slideLayout4682.xml" ContentType="application/vnd.openxmlformats-officedocument.presentationml.slideLayout+xml"/>
  <Override PartName="/ppt/slideLayouts/slideLayout4683.xml" ContentType="application/vnd.openxmlformats-officedocument.presentationml.slideLayout+xml"/>
  <Override PartName="/ppt/slideLayouts/slideLayout4684.xml" ContentType="application/vnd.openxmlformats-officedocument.presentationml.slideLayout+xml"/>
  <Override PartName="/ppt/slideLayouts/slideLayout4685.xml" ContentType="application/vnd.openxmlformats-officedocument.presentationml.slideLayout+xml"/>
  <Override PartName="/ppt/slideLayouts/slideLayout4686.xml" ContentType="application/vnd.openxmlformats-officedocument.presentationml.slideLayout+xml"/>
  <Override PartName="/ppt/slideLayouts/slideLayout4687.xml" ContentType="application/vnd.openxmlformats-officedocument.presentationml.slideLayout+xml"/>
  <Override PartName="/ppt/slideLayouts/slideLayout4688.xml" ContentType="application/vnd.openxmlformats-officedocument.presentationml.slideLayout+xml"/>
  <Override PartName="/ppt/slideLayouts/slideLayout4689.xml" ContentType="application/vnd.openxmlformats-officedocument.presentationml.slideLayout+xml"/>
  <Override PartName="/ppt/slideLayouts/slideLayout4690.xml" ContentType="application/vnd.openxmlformats-officedocument.presentationml.slideLayout+xml"/>
  <Override PartName="/ppt/slideLayouts/slideLayout4691.xml" ContentType="application/vnd.openxmlformats-officedocument.presentationml.slideLayout+xml"/>
  <Override PartName="/ppt/slideLayouts/slideLayout4692.xml" ContentType="application/vnd.openxmlformats-officedocument.presentationml.slideLayout+xml"/>
  <Override PartName="/ppt/slideLayouts/slideLayout4693.xml" ContentType="application/vnd.openxmlformats-officedocument.presentationml.slideLayout+xml"/>
  <Override PartName="/ppt/slideLayouts/slideLayout4694.xml" ContentType="application/vnd.openxmlformats-officedocument.presentationml.slideLayout+xml"/>
  <Override PartName="/ppt/slideLayouts/slideLayout4695.xml" ContentType="application/vnd.openxmlformats-officedocument.presentationml.slideLayout+xml"/>
  <Override PartName="/ppt/slideLayouts/slideLayout4696.xml" ContentType="application/vnd.openxmlformats-officedocument.presentationml.slideLayout+xml"/>
  <Override PartName="/ppt/slideLayouts/slideLayout4697.xml" ContentType="application/vnd.openxmlformats-officedocument.presentationml.slideLayout+xml"/>
  <Override PartName="/ppt/slideLayouts/slideLayout4698.xml" ContentType="application/vnd.openxmlformats-officedocument.presentationml.slideLayout+xml"/>
  <Override PartName="/ppt/slideLayouts/slideLayout4699.xml" ContentType="application/vnd.openxmlformats-officedocument.presentationml.slideLayout+xml"/>
  <Override PartName="/ppt/slideLayouts/slideLayout4700.xml" ContentType="application/vnd.openxmlformats-officedocument.presentationml.slideLayout+xml"/>
  <Override PartName="/ppt/slideLayouts/slideLayout4701.xml" ContentType="application/vnd.openxmlformats-officedocument.presentationml.slideLayout+xml"/>
  <Override PartName="/ppt/slideLayouts/slideLayout4702.xml" ContentType="application/vnd.openxmlformats-officedocument.presentationml.slideLayout+xml"/>
  <Override PartName="/ppt/slideLayouts/slideLayout4703.xml" ContentType="application/vnd.openxmlformats-officedocument.presentationml.slideLayout+xml"/>
  <Override PartName="/ppt/slideLayouts/slideLayout4704.xml" ContentType="application/vnd.openxmlformats-officedocument.presentationml.slideLayout+xml"/>
  <Override PartName="/ppt/slideLayouts/slideLayout4705.xml" ContentType="application/vnd.openxmlformats-officedocument.presentationml.slideLayout+xml"/>
  <Override PartName="/ppt/slideLayouts/slideLayout4706.xml" ContentType="application/vnd.openxmlformats-officedocument.presentationml.slideLayout+xml"/>
  <Override PartName="/ppt/slideLayouts/slideLayout4707.xml" ContentType="application/vnd.openxmlformats-officedocument.presentationml.slideLayout+xml"/>
  <Override PartName="/ppt/slideLayouts/slideLayout4708.xml" ContentType="application/vnd.openxmlformats-officedocument.presentationml.slideLayout+xml"/>
  <Override PartName="/ppt/slideLayouts/slideLayout4709.xml" ContentType="application/vnd.openxmlformats-officedocument.presentationml.slideLayout+xml"/>
  <Override PartName="/ppt/slideLayouts/slideLayout4710.xml" ContentType="application/vnd.openxmlformats-officedocument.presentationml.slideLayout+xml"/>
  <Override PartName="/ppt/slideLayouts/slideLayout4711.xml" ContentType="application/vnd.openxmlformats-officedocument.presentationml.slideLayout+xml"/>
  <Override PartName="/ppt/slideLayouts/slideLayout4712.xml" ContentType="application/vnd.openxmlformats-officedocument.presentationml.slideLayout+xml"/>
  <Override PartName="/ppt/slideLayouts/slideLayout4713.xml" ContentType="application/vnd.openxmlformats-officedocument.presentationml.slideLayout+xml"/>
  <Override PartName="/ppt/slideLayouts/slideLayout4714.xml" ContentType="application/vnd.openxmlformats-officedocument.presentationml.slideLayout+xml"/>
  <Override PartName="/ppt/slideLayouts/slideLayout4715.xml" ContentType="application/vnd.openxmlformats-officedocument.presentationml.slideLayout+xml"/>
  <Override PartName="/ppt/slideLayouts/slideLayout4716.xml" ContentType="application/vnd.openxmlformats-officedocument.presentationml.slideLayout+xml"/>
  <Override PartName="/ppt/slideLayouts/slideLayout4717.xml" ContentType="application/vnd.openxmlformats-officedocument.presentationml.slideLayout+xml"/>
  <Override PartName="/ppt/slideLayouts/slideLayout4718.xml" ContentType="application/vnd.openxmlformats-officedocument.presentationml.slideLayout+xml"/>
  <Override PartName="/ppt/slideLayouts/slideLayout4719.xml" ContentType="application/vnd.openxmlformats-officedocument.presentationml.slideLayout+xml"/>
  <Override PartName="/ppt/slideLayouts/slideLayout4720.xml" ContentType="application/vnd.openxmlformats-officedocument.presentationml.slideLayout+xml"/>
  <Override PartName="/ppt/slideLayouts/slideLayout4721.xml" ContentType="application/vnd.openxmlformats-officedocument.presentationml.slideLayout+xml"/>
  <Override PartName="/ppt/slideLayouts/slideLayout4722.xml" ContentType="application/vnd.openxmlformats-officedocument.presentationml.slideLayout+xml"/>
  <Override PartName="/ppt/slideLayouts/slideLayout4723.xml" ContentType="application/vnd.openxmlformats-officedocument.presentationml.slideLayout+xml"/>
  <Override PartName="/ppt/slideLayouts/slideLayout4724.xml" ContentType="application/vnd.openxmlformats-officedocument.presentationml.slideLayout+xml"/>
  <Override PartName="/ppt/slideLayouts/slideLayout4725.xml" ContentType="application/vnd.openxmlformats-officedocument.presentationml.slideLayout+xml"/>
  <Override PartName="/ppt/slideLayouts/slideLayout4726.xml" ContentType="application/vnd.openxmlformats-officedocument.presentationml.slideLayout+xml"/>
  <Override PartName="/ppt/slideLayouts/slideLayout4727.xml" ContentType="application/vnd.openxmlformats-officedocument.presentationml.slideLayout+xml"/>
  <Override PartName="/ppt/slideLayouts/slideLayout4728.xml" ContentType="application/vnd.openxmlformats-officedocument.presentationml.slideLayout+xml"/>
  <Override PartName="/ppt/slideLayouts/slideLayout4729.xml" ContentType="application/vnd.openxmlformats-officedocument.presentationml.slideLayout+xml"/>
  <Override PartName="/ppt/slideLayouts/slideLayout4730.xml" ContentType="application/vnd.openxmlformats-officedocument.presentationml.slideLayout+xml"/>
  <Override PartName="/ppt/slideLayouts/slideLayout4731.xml" ContentType="application/vnd.openxmlformats-officedocument.presentationml.slideLayout+xml"/>
  <Override PartName="/ppt/slideLayouts/slideLayout4732.xml" ContentType="application/vnd.openxmlformats-officedocument.presentationml.slideLayout+xml"/>
  <Override PartName="/ppt/slideLayouts/slideLayout4733.xml" ContentType="application/vnd.openxmlformats-officedocument.presentationml.slideLayout+xml"/>
  <Override PartName="/ppt/slideLayouts/slideLayout4734.xml" ContentType="application/vnd.openxmlformats-officedocument.presentationml.slideLayout+xml"/>
  <Override PartName="/ppt/slideLayouts/slideLayout4735.xml" ContentType="application/vnd.openxmlformats-officedocument.presentationml.slideLayout+xml"/>
  <Override PartName="/ppt/slideLayouts/slideLayout4736.xml" ContentType="application/vnd.openxmlformats-officedocument.presentationml.slideLayout+xml"/>
  <Override PartName="/ppt/slideLayouts/slideLayout4737.xml" ContentType="application/vnd.openxmlformats-officedocument.presentationml.slideLayout+xml"/>
  <Override PartName="/ppt/slideLayouts/slideLayout4738.xml" ContentType="application/vnd.openxmlformats-officedocument.presentationml.slideLayout+xml"/>
  <Override PartName="/ppt/slideLayouts/slideLayout4739.xml" ContentType="application/vnd.openxmlformats-officedocument.presentationml.slideLayout+xml"/>
  <Override PartName="/ppt/slideLayouts/slideLayout4740.xml" ContentType="application/vnd.openxmlformats-officedocument.presentationml.slideLayout+xml"/>
  <Override PartName="/ppt/slideLayouts/slideLayout4741.xml" ContentType="application/vnd.openxmlformats-officedocument.presentationml.slideLayout+xml"/>
  <Override PartName="/ppt/slideLayouts/slideLayout4742.xml" ContentType="application/vnd.openxmlformats-officedocument.presentationml.slideLayout+xml"/>
  <Override PartName="/ppt/slideLayouts/slideLayout4743.xml" ContentType="application/vnd.openxmlformats-officedocument.presentationml.slideLayout+xml"/>
  <Override PartName="/ppt/slideLayouts/slideLayout4744.xml" ContentType="application/vnd.openxmlformats-officedocument.presentationml.slideLayout+xml"/>
  <Override PartName="/ppt/slideLayouts/slideLayout4745.xml" ContentType="application/vnd.openxmlformats-officedocument.presentationml.slideLayout+xml"/>
  <Override PartName="/ppt/slideLayouts/slideLayout4746.xml" ContentType="application/vnd.openxmlformats-officedocument.presentationml.slideLayout+xml"/>
  <Override PartName="/ppt/slideLayouts/slideLayout4747.xml" ContentType="application/vnd.openxmlformats-officedocument.presentationml.slideLayout+xml"/>
  <Override PartName="/ppt/slideLayouts/slideLayout4748.xml" ContentType="application/vnd.openxmlformats-officedocument.presentationml.slideLayout+xml"/>
  <Override PartName="/ppt/slideLayouts/slideLayout4749.xml" ContentType="application/vnd.openxmlformats-officedocument.presentationml.slideLayout+xml"/>
  <Override PartName="/ppt/slideLayouts/slideLayout4750.xml" ContentType="application/vnd.openxmlformats-officedocument.presentationml.slideLayout+xml"/>
  <Override PartName="/ppt/slideLayouts/slideLayout4751.xml" ContentType="application/vnd.openxmlformats-officedocument.presentationml.slideLayout+xml"/>
  <Override PartName="/ppt/slideLayouts/slideLayout4752.xml" ContentType="application/vnd.openxmlformats-officedocument.presentationml.slideLayout+xml"/>
  <Override PartName="/ppt/slideLayouts/slideLayout4753.xml" ContentType="application/vnd.openxmlformats-officedocument.presentationml.slideLayout+xml"/>
  <Override PartName="/ppt/slideLayouts/slideLayout4754.xml" ContentType="application/vnd.openxmlformats-officedocument.presentationml.slideLayout+xml"/>
  <Override PartName="/ppt/slideLayouts/slideLayout4755.xml" ContentType="application/vnd.openxmlformats-officedocument.presentationml.slideLayout+xml"/>
  <Override PartName="/ppt/slideLayouts/slideLayout4756.xml" ContentType="application/vnd.openxmlformats-officedocument.presentationml.slideLayout+xml"/>
  <Override PartName="/ppt/slideLayouts/slideLayout4757.xml" ContentType="application/vnd.openxmlformats-officedocument.presentationml.slideLayout+xml"/>
  <Override PartName="/ppt/slideLayouts/slideLayout4758.xml" ContentType="application/vnd.openxmlformats-officedocument.presentationml.slideLayout+xml"/>
  <Override PartName="/ppt/slideLayouts/slideLayout4759.xml" ContentType="application/vnd.openxmlformats-officedocument.presentationml.slideLayout+xml"/>
  <Override PartName="/ppt/slideLayouts/slideLayout4760.xml" ContentType="application/vnd.openxmlformats-officedocument.presentationml.slideLayout+xml"/>
  <Override PartName="/ppt/slideLayouts/slideLayout4761.xml" ContentType="application/vnd.openxmlformats-officedocument.presentationml.slideLayout+xml"/>
  <Override PartName="/ppt/slideLayouts/slideLayout4762.xml" ContentType="application/vnd.openxmlformats-officedocument.presentationml.slideLayout+xml"/>
  <Override PartName="/ppt/slideLayouts/slideLayout4763.xml" ContentType="application/vnd.openxmlformats-officedocument.presentationml.slideLayout+xml"/>
  <Override PartName="/ppt/slideLayouts/slideLayout4764.xml" ContentType="application/vnd.openxmlformats-officedocument.presentationml.slideLayout+xml"/>
  <Override PartName="/ppt/slideLayouts/slideLayout4765.xml" ContentType="application/vnd.openxmlformats-officedocument.presentationml.slideLayout+xml"/>
  <Override PartName="/ppt/slideLayouts/slideLayout4766.xml" ContentType="application/vnd.openxmlformats-officedocument.presentationml.slideLayout+xml"/>
  <Override PartName="/ppt/slideLayouts/slideLayout4767.xml" ContentType="application/vnd.openxmlformats-officedocument.presentationml.slideLayout+xml"/>
  <Override PartName="/ppt/slideLayouts/slideLayout4768.xml" ContentType="application/vnd.openxmlformats-officedocument.presentationml.slideLayout+xml"/>
  <Override PartName="/ppt/slideLayouts/slideLayout4769.xml" ContentType="application/vnd.openxmlformats-officedocument.presentationml.slideLayout+xml"/>
  <Override PartName="/ppt/slideLayouts/slideLayout4770.xml" ContentType="application/vnd.openxmlformats-officedocument.presentationml.slideLayout+xml"/>
  <Override PartName="/ppt/slideLayouts/slideLayout4771.xml" ContentType="application/vnd.openxmlformats-officedocument.presentationml.slideLayout+xml"/>
  <Override PartName="/ppt/slideLayouts/slideLayout4772.xml" ContentType="application/vnd.openxmlformats-officedocument.presentationml.slideLayout+xml"/>
  <Override PartName="/ppt/slideLayouts/slideLayout4773.xml" ContentType="application/vnd.openxmlformats-officedocument.presentationml.slideLayout+xml"/>
  <Override PartName="/ppt/slideLayouts/slideLayout4774.xml" ContentType="application/vnd.openxmlformats-officedocument.presentationml.slideLayout+xml"/>
  <Override PartName="/ppt/slideLayouts/slideLayout4775.xml" ContentType="application/vnd.openxmlformats-officedocument.presentationml.slideLayout+xml"/>
  <Override PartName="/ppt/slideLayouts/slideLayout4776.xml" ContentType="application/vnd.openxmlformats-officedocument.presentationml.slideLayout+xml"/>
  <Override PartName="/ppt/slideLayouts/slideLayout4777.xml" ContentType="application/vnd.openxmlformats-officedocument.presentationml.slideLayout+xml"/>
  <Override PartName="/ppt/slideLayouts/slideLayout4778.xml" ContentType="application/vnd.openxmlformats-officedocument.presentationml.slideLayout+xml"/>
  <Override PartName="/ppt/slideLayouts/slideLayout4779.xml" ContentType="application/vnd.openxmlformats-officedocument.presentationml.slideLayout+xml"/>
  <Override PartName="/ppt/slideLayouts/slideLayout4780.xml" ContentType="application/vnd.openxmlformats-officedocument.presentationml.slideLayout+xml"/>
  <Override PartName="/ppt/slideLayouts/slideLayout4781.xml" ContentType="application/vnd.openxmlformats-officedocument.presentationml.slideLayout+xml"/>
  <Override PartName="/ppt/slideLayouts/slideLayout4782.xml" ContentType="application/vnd.openxmlformats-officedocument.presentationml.slideLayout+xml"/>
  <Override PartName="/ppt/slideLayouts/slideLayout4783.xml" ContentType="application/vnd.openxmlformats-officedocument.presentationml.slideLayout+xml"/>
  <Override PartName="/ppt/slideLayouts/slideLayout4784.xml" ContentType="application/vnd.openxmlformats-officedocument.presentationml.slideLayout+xml"/>
  <Override PartName="/ppt/slideLayouts/slideLayout4785.xml" ContentType="application/vnd.openxmlformats-officedocument.presentationml.slideLayout+xml"/>
  <Override PartName="/ppt/slideLayouts/slideLayout4786.xml" ContentType="application/vnd.openxmlformats-officedocument.presentationml.slideLayout+xml"/>
  <Override PartName="/ppt/slideLayouts/slideLayout4787.xml" ContentType="application/vnd.openxmlformats-officedocument.presentationml.slideLayout+xml"/>
  <Override PartName="/ppt/slideLayouts/slideLayout4788.xml" ContentType="application/vnd.openxmlformats-officedocument.presentationml.slideLayout+xml"/>
  <Override PartName="/ppt/slideLayouts/slideLayout4789.xml" ContentType="application/vnd.openxmlformats-officedocument.presentationml.slideLayout+xml"/>
  <Override PartName="/ppt/slideLayouts/slideLayout4790.xml" ContentType="application/vnd.openxmlformats-officedocument.presentationml.slideLayout+xml"/>
  <Override PartName="/ppt/slideLayouts/slideLayout4791.xml" ContentType="application/vnd.openxmlformats-officedocument.presentationml.slideLayout+xml"/>
  <Override PartName="/ppt/slideLayouts/slideLayout4792.xml" ContentType="application/vnd.openxmlformats-officedocument.presentationml.slideLayout+xml"/>
  <Override PartName="/ppt/slideLayouts/slideLayout4793.xml" ContentType="application/vnd.openxmlformats-officedocument.presentationml.slideLayout+xml"/>
  <Override PartName="/ppt/slideLayouts/slideLayout4794.xml" ContentType="application/vnd.openxmlformats-officedocument.presentationml.slideLayout+xml"/>
  <Override PartName="/ppt/slideLayouts/slideLayout4795.xml" ContentType="application/vnd.openxmlformats-officedocument.presentationml.slideLayout+xml"/>
  <Override PartName="/ppt/slideLayouts/slideLayout4796.xml" ContentType="application/vnd.openxmlformats-officedocument.presentationml.slideLayout+xml"/>
  <Override PartName="/ppt/slideLayouts/slideLayout4797.xml" ContentType="application/vnd.openxmlformats-officedocument.presentationml.slideLayout+xml"/>
  <Override PartName="/ppt/slideLayouts/slideLayout4798.xml" ContentType="application/vnd.openxmlformats-officedocument.presentationml.slideLayout+xml"/>
  <Override PartName="/ppt/slideLayouts/slideLayout4799.xml" ContentType="application/vnd.openxmlformats-officedocument.presentationml.slideLayout+xml"/>
  <Override PartName="/ppt/slideLayouts/slideLayout4800.xml" ContentType="application/vnd.openxmlformats-officedocument.presentationml.slideLayout+xml"/>
  <Override PartName="/ppt/slideLayouts/slideLayout4801.xml" ContentType="application/vnd.openxmlformats-officedocument.presentationml.slideLayout+xml"/>
  <Override PartName="/ppt/slideLayouts/slideLayout4802.xml" ContentType="application/vnd.openxmlformats-officedocument.presentationml.slideLayout+xml"/>
  <Override PartName="/ppt/slideLayouts/slideLayout4803.xml" ContentType="application/vnd.openxmlformats-officedocument.presentationml.slideLayout+xml"/>
  <Override PartName="/ppt/slideLayouts/slideLayout4804.xml" ContentType="application/vnd.openxmlformats-officedocument.presentationml.slideLayout+xml"/>
  <Override PartName="/ppt/slideLayouts/slideLayout4805.xml" ContentType="application/vnd.openxmlformats-officedocument.presentationml.slideLayout+xml"/>
  <Override PartName="/ppt/slideLayouts/slideLayout4806.xml" ContentType="application/vnd.openxmlformats-officedocument.presentationml.slideLayout+xml"/>
  <Override PartName="/ppt/slideLayouts/slideLayout4807.xml" ContentType="application/vnd.openxmlformats-officedocument.presentationml.slideLayout+xml"/>
  <Override PartName="/ppt/slideLayouts/slideLayout4808.xml" ContentType="application/vnd.openxmlformats-officedocument.presentationml.slideLayout+xml"/>
  <Override PartName="/ppt/slideLayouts/slideLayout4809.xml" ContentType="application/vnd.openxmlformats-officedocument.presentationml.slideLayout+xml"/>
  <Override PartName="/ppt/slideLayouts/slideLayout4810.xml" ContentType="application/vnd.openxmlformats-officedocument.presentationml.slideLayout+xml"/>
  <Override PartName="/ppt/slideLayouts/slideLayout4811.xml" ContentType="application/vnd.openxmlformats-officedocument.presentationml.slideLayout+xml"/>
  <Override PartName="/ppt/slideLayouts/slideLayout4812.xml" ContentType="application/vnd.openxmlformats-officedocument.presentationml.slideLayout+xml"/>
  <Override PartName="/ppt/slideLayouts/slideLayout4813.xml" ContentType="application/vnd.openxmlformats-officedocument.presentationml.slideLayout+xml"/>
  <Override PartName="/ppt/slideLayouts/slideLayout4814.xml" ContentType="application/vnd.openxmlformats-officedocument.presentationml.slideLayout+xml"/>
  <Override PartName="/ppt/slideLayouts/slideLayout4815.xml" ContentType="application/vnd.openxmlformats-officedocument.presentationml.slideLayout+xml"/>
  <Override PartName="/ppt/slideLayouts/slideLayout4816.xml" ContentType="application/vnd.openxmlformats-officedocument.presentationml.slideLayout+xml"/>
  <Override PartName="/ppt/slideLayouts/slideLayout4817.xml" ContentType="application/vnd.openxmlformats-officedocument.presentationml.slideLayout+xml"/>
  <Override PartName="/ppt/slideLayouts/slideLayout4818.xml" ContentType="application/vnd.openxmlformats-officedocument.presentationml.slideLayout+xml"/>
  <Override PartName="/ppt/slideLayouts/slideLayout4819.xml" ContentType="application/vnd.openxmlformats-officedocument.presentationml.slideLayout+xml"/>
  <Override PartName="/ppt/slideLayouts/slideLayout4820.xml" ContentType="application/vnd.openxmlformats-officedocument.presentationml.slideLayout+xml"/>
  <Override PartName="/ppt/slideLayouts/slideLayout4821.xml" ContentType="application/vnd.openxmlformats-officedocument.presentationml.slideLayout+xml"/>
  <Override PartName="/ppt/slideLayouts/slideLayout4822.xml" ContentType="application/vnd.openxmlformats-officedocument.presentationml.slideLayout+xml"/>
  <Override PartName="/ppt/slideLayouts/slideLayout4823.xml" ContentType="application/vnd.openxmlformats-officedocument.presentationml.slideLayout+xml"/>
  <Override PartName="/ppt/slideLayouts/slideLayout4824.xml" ContentType="application/vnd.openxmlformats-officedocument.presentationml.slideLayout+xml"/>
  <Override PartName="/ppt/slideLayouts/slideLayout4825.xml" ContentType="application/vnd.openxmlformats-officedocument.presentationml.slideLayout+xml"/>
  <Override PartName="/ppt/slideLayouts/slideLayout4826.xml" ContentType="application/vnd.openxmlformats-officedocument.presentationml.slideLayout+xml"/>
  <Override PartName="/ppt/slideLayouts/slideLayout4827.xml" ContentType="application/vnd.openxmlformats-officedocument.presentationml.slideLayout+xml"/>
  <Override PartName="/ppt/slideLayouts/slideLayout4828.xml" ContentType="application/vnd.openxmlformats-officedocument.presentationml.slideLayout+xml"/>
  <Override PartName="/ppt/slideLayouts/slideLayout4829.xml" ContentType="application/vnd.openxmlformats-officedocument.presentationml.slideLayout+xml"/>
  <Override PartName="/ppt/slideLayouts/slideLayout4830.xml" ContentType="application/vnd.openxmlformats-officedocument.presentationml.slideLayout+xml"/>
  <Override PartName="/ppt/slideLayouts/slideLayout4831.xml" ContentType="application/vnd.openxmlformats-officedocument.presentationml.slideLayout+xml"/>
  <Override PartName="/ppt/slideLayouts/slideLayout4832.xml" ContentType="application/vnd.openxmlformats-officedocument.presentationml.slideLayout+xml"/>
  <Override PartName="/ppt/slideLayouts/slideLayout4833.xml" ContentType="application/vnd.openxmlformats-officedocument.presentationml.slideLayout+xml"/>
  <Override PartName="/ppt/slideLayouts/slideLayout4834.xml" ContentType="application/vnd.openxmlformats-officedocument.presentationml.slideLayout+xml"/>
  <Override PartName="/ppt/slideLayouts/slideLayout4835.xml" ContentType="application/vnd.openxmlformats-officedocument.presentationml.slideLayout+xml"/>
  <Override PartName="/ppt/slideLayouts/slideLayout4836.xml" ContentType="application/vnd.openxmlformats-officedocument.presentationml.slideLayout+xml"/>
  <Override PartName="/ppt/slideLayouts/slideLayout4837.xml" ContentType="application/vnd.openxmlformats-officedocument.presentationml.slideLayout+xml"/>
  <Override PartName="/ppt/slideLayouts/slideLayout4838.xml" ContentType="application/vnd.openxmlformats-officedocument.presentationml.slideLayout+xml"/>
  <Override PartName="/ppt/slideLayouts/slideLayout4839.xml" ContentType="application/vnd.openxmlformats-officedocument.presentationml.slideLayout+xml"/>
  <Override PartName="/ppt/slideLayouts/slideLayout4840.xml" ContentType="application/vnd.openxmlformats-officedocument.presentationml.slideLayout+xml"/>
  <Override PartName="/ppt/slideLayouts/slideLayout4841.xml" ContentType="application/vnd.openxmlformats-officedocument.presentationml.slideLayout+xml"/>
  <Override PartName="/ppt/slideLayouts/slideLayout4842.xml" ContentType="application/vnd.openxmlformats-officedocument.presentationml.slideLayout+xml"/>
  <Override PartName="/ppt/slideLayouts/slideLayout4843.xml" ContentType="application/vnd.openxmlformats-officedocument.presentationml.slideLayout+xml"/>
  <Override PartName="/ppt/slideLayouts/slideLayout4844.xml" ContentType="application/vnd.openxmlformats-officedocument.presentationml.slideLayout+xml"/>
  <Override PartName="/ppt/slideLayouts/slideLayout4845.xml" ContentType="application/vnd.openxmlformats-officedocument.presentationml.slideLayout+xml"/>
  <Override PartName="/ppt/slideLayouts/slideLayout4846.xml" ContentType="application/vnd.openxmlformats-officedocument.presentationml.slideLayout+xml"/>
  <Override PartName="/ppt/slideLayouts/slideLayout4847.xml" ContentType="application/vnd.openxmlformats-officedocument.presentationml.slideLayout+xml"/>
  <Override PartName="/ppt/slideLayouts/slideLayout4848.xml" ContentType="application/vnd.openxmlformats-officedocument.presentationml.slideLayout+xml"/>
  <Override PartName="/ppt/slideLayouts/slideLayout4849.xml" ContentType="application/vnd.openxmlformats-officedocument.presentationml.slideLayout+xml"/>
  <Override PartName="/ppt/slideLayouts/slideLayout4850.xml" ContentType="application/vnd.openxmlformats-officedocument.presentationml.slideLayout+xml"/>
  <Override PartName="/ppt/slideLayouts/slideLayout4851.xml" ContentType="application/vnd.openxmlformats-officedocument.presentationml.slideLayout+xml"/>
  <Override PartName="/ppt/slideLayouts/slideLayout4852.xml" ContentType="application/vnd.openxmlformats-officedocument.presentationml.slideLayout+xml"/>
  <Override PartName="/ppt/slideLayouts/slideLayout4853.xml" ContentType="application/vnd.openxmlformats-officedocument.presentationml.slideLayout+xml"/>
  <Override PartName="/ppt/slideLayouts/slideLayout4854.xml" ContentType="application/vnd.openxmlformats-officedocument.presentationml.slideLayout+xml"/>
  <Override PartName="/ppt/slideLayouts/slideLayout4855.xml" ContentType="application/vnd.openxmlformats-officedocument.presentationml.slideLayout+xml"/>
  <Override PartName="/ppt/slideLayouts/slideLayout4856.xml" ContentType="application/vnd.openxmlformats-officedocument.presentationml.slideLayout+xml"/>
  <Override PartName="/ppt/slideLayouts/slideLayout4857.xml" ContentType="application/vnd.openxmlformats-officedocument.presentationml.slideLayout+xml"/>
  <Override PartName="/ppt/slideLayouts/slideLayout4858.xml" ContentType="application/vnd.openxmlformats-officedocument.presentationml.slideLayout+xml"/>
  <Override PartName="/ppt/slideLayouts/slideLayout4859.xml" ContentType="application/vnd.openxmlformats-officedocument.presentationml.slideLayout+xml"/>
  <Override PartName="/ppt/slideLayouts/slideLayout4860.xml" ContentType="application/vnd.openxmlformats-officedocument.presentationml.slideLayout+xml"/>
  <Override PartName="/ppt/slideLayouts/slideLayout4861.xml" ContentType="application/vnd.openxmlformats-officedocument.presentationml.slideLayout+xml"/>
  <Override PartName="/ppt/slideLayouts/slideLayout4862.xml" ContentType="application/vnd.openxmlformats-officedocument.presentationml.slideLayout+xml"/>
  <Override PartName="/ppt/slideLayouts/slideLayout4863.xml" ContentType="application/vnd.openxmlformats-officedocument.presentationml.slideLayout+xml"/>
  <Override PartName="/ppt/slideLayouts/slideLayout4864.xml" ContentType="application/vnd.openxmlformats-officedocument.presentationml.slideLayout+xml"/>
  <Override PartName="/ppt/slideLayouts/slideLayout4865.xml" ContentType="application/vnd.openxmlformats-officedocument.presentationml.slideLayout+xml"/>
  <Override PartName="/ppt/slideLayouts/slideLayout4866.xml" ContentType="application/vnd.openxmlformats-officedocument.presentationml.slideLayout+xml"/>
  <Override PartName="/ppt/slideLayouts/slideLayout4867.xml" ContentType="application/vnd.openxmlformats-officedocument.presentationml.slideLayout+xml"/>
  <Override PartName="/ppt/slideLayouts/slideLayout4868.xml" ContentType="application/vnd.openxmlformats-officedocument.presentationml.slideLayout+xml"/>
  <Override PartName="/ppt/slideLayouts/slideLayout4869.xml" ContentType="application/vnd.openxmlformats-officedocument.presentationml.slideLayout+xml"/>
  <Override PartName="/ppt/slideLayouts/slideLayout4870.xml" ContentType="application/vnd.openxmlformats-officedocument.presentationml.slideLayout+xml"/>
  <Override PartName="/ppt/slideLayouts/slideLayout4871.xml" ContentType="application/vnd.openxmlformats-officedocument.presentationml.slideLayout+xml"/>
  <Override PartName="/ppt/slideLayouts/slideLayout4872.xml" ContentType="application/vnd.openxmlformats-officedocument.presentationml.slideLayout+xml"/>
  <Override PartName="/ppt/slideLayouts/slideLayout4873.xml" ContentType="application/vnd.openxmlformats-officedocument.presentationml.slideLayout+xml"/>
  <Override PartName="/ppt/slideLayouts/slideLayout4874.xml" ContentType="application/vnd.openxmlformats-officedocument.presentationml.slideLayout+xml"/>
  <Override PartName="/ppt/slideLayouts/slideLayout4875.xml" ContentType="application/vnd.openxmlformats-officedocument.presentationml.slideLayout+xml"/>
  <Override PartName="/ppt/slideLayouts/slideLayout4876.xml" ContentType="application/vnd.openxmlformats-officedocument.presentationml.slideLayout+xml"/>
  <Override PartName="/ppt/slideLayouts/slideLayout4877.xml" ContentType="application/vnd.openxmlformats-officedocument.presentationml.slideLayout+xml"/>
  <Override PartName="/ppt/slideLayouts/slideLayout4878.xml" ContentType="application/vnd.openxmlformats-officedocument.presentationml.slideLayout+xml"/>
  <Override PartName="/ppt/slideLayouts/slideLayout4879.xml" ContentType="application/vnd.openxmlformats-officedocument.presentationml.slideLayout+xml"/>
  <Override PartName="/ppt/slideLayouts/slideLayout4880.xml" ContentType="application/vnd.openxmlformats-officedocument.presentationml.slideLayout+xml"/>
  <Override PartName="/ppt/slideLayouts/slideLayout4881.xml" ContentType="application/vnd.openxmlformats-officedocument.presentationml.slideLayout+xml"/>
  <Override PartName="/ppt/slideLayouts/slideLayout4882.xml" ContentType="application/vnd.openxmlformats-officedocument.presentationml.slideLayout+xml"/>
  <Override PartName="/ppt/slideLayouts/slideLayout4883.xml" ContentType="application/vnd.openxmlformats-officedocument.presentationml.slideLayout+xml"/>
  <Override PartName="/ppt/slideLayouts/slideLayout4884.xml" ContentType="application/vnd.openxmlformats-officedocument.presentationml.slideLayout+xml"/>
  <Override PartName="/ppt/slideLayouts/slideLayout4885.xml" ContentType="application/vnd.openxmlformats-officedocument.presentationml.slideLayout+xml"/>
  <Override PartName="/ppt/slideLayouts/slideLayout4886.xml" ContentType="application/vnd.openxmlformats-officedocument.presentationml.slideLayout+xml"/>
  <Override PartName="/ppt/slideLayouts/slideLayout4887.xml" ContentType="application/vnd.openxmlformats-officedocument.presentationml.slideLayout+xml"/>
  <Override PartName="/ppt/slideLayouts/slideLayout4888.xml" ContentType="application/vnd.openxmlformats-officedocument.presentationml.slideLayout+xml"/>
  <Override PartName="/ppt/slideLayouts/slideLayout4889.xml" ContentType="application/vnd.openxmlformats-officedocument.presentationml.slideLayout+xml"/>
  <Override PartName="/ppt/slideLayouts/slideLayout4890.xml" ContentType="application/vnd.openxmlformats-officedocument.presentationml.slideLayout+xml"/>
  <Override PartName="/ppt/slideLayouts/slideLayout4891.xml" ContentType="application/vnd.openxmlformats-officedocument.presentationml.slideLayout+xml"/>
  <Override PartName="/ppt/slideLayouts/slideLayout4892.xml" ContentType="application/vnd.openxmlformats-officedocument.presentationml.slideLayout+xml"/>
  <Override PartName="/ppt/slideLayouts/slideLayout4893.xml" ContentType="application/vnd.openxmlformats-officedocument.presentationml.slideLayout+xml"/>
  <Override PartName="/ppt/slideLayouts/slideLayout4894.xml" ContentType="application/vnd.openxmlformats-officedocument.presentationml.slideLayout+xml"/>
  <Override PartName="/ppt/slideLayouts/slideLayout4895.xml" ContentType="application/vnd.openxmlformats-officedocument.presentationml.slideLayout+xml"/>
  <Override PartName="/ppt/slideLayouts/slideLayout4896.xml" ContentType="application/vnd.openxmlformats-officedocument.presentationml.slideLayout+xml"/>
  <Override PartName="/ppt/slideLayouts/slideLayout4897.xml" ContentType="application/vnd.openxmlformats-officedocument.presentationml.slideLayout+xml"/>
  <Override PartName="/ppt/slideLayouts/slideLayout4898.xml" ContentType="application/vnd.openxmlformats-officedocument.presentationml.slideLayout+xml"/>
  <Override PartName="/ppt/slideLayouts/slideLayout4899.xml" ContentType="application/vnd.openxmlformats-officedocument.presentationml.slideLayout+xml"/>
  <Override PartName="/ppt/slideLayouts/slideLayout4900.xml" ContentType="application/vnd.openxmlformats-officedocument.presentationml.slideLayout+xml"/>
  <Override PartName="/ppt/slideLayouts/slideLayout4901.xml" ContentType="application/vnd.openxmlformats-officedocument.presentationml.slideLayout+xml"/>
  <Override PartName="/ppt/slideLayouts/slideLayout4902.xml" ContentType="application/vnd.openxmlformats-officedocument.presentationml.slideLayout+xml"/>
  <Override PartName="/ppt/slideLayouts/slideLayout4903.xml" ContentType="application/vnd.openxmlformats-officedocument.presentationml.slideLayout+xml"/>
  <Override PartName="/ppt/slideLayouts/slideLayout4904.xml" ContentType="application/vnd.openxmlformats-officedocument.presentationml.slideLayout+xml"/>
  <Override PartName="/ppt/slideLayouts/slideLayout4905.xml" ContentType="application/vnd.openxmlformats-officedocument.presentationml.slideLayout+xml"/>
  <Override PartName="/ppt/slideLayouts/slideLayout4906.xml" ContentType="application/vnd.openxmlformats-officedocument.presentationml.slideLayout+xml"/>
  <Override PartName="/ppt/slideLayouts/slideLayout4907.xml" ContentType="application/vnd.openxmlformats-officedocument.presentationml.slideLayout+xml"/>
  <Override PartName="/ppt/slideLayouts/slideLayout4908.xml" ContentType="application/vnd.openxmlformats-officedocument.presentationml.slideLayout+xml"/>
  <Override PartName="/ppt/slideLayouts/slideLayout4909.xml" ContentType="application/vnd.openxmlformats-officedocument.presentationml.slideLayout+xml"/>
  <Override PartName="/ppt/slideLayouts/slideLayout4910.xml" ContentType="application/vnd.openxmlformats-officedocument.presentationml.slideLayout+xml"/>
  <Override PartName="/ppt/slideLayouts/slideLayout4911.xml" ContentType="application/vnd.openxmlformats-officedocument.presentationml.slideLayout+xml"/>
  <Override PartName="/ppt/slideLayouts/slideLayout4912.xml" ContentType="application/vnd.openxmlformats-officedocument.presentationml.slideLayout+xml"/>
  <Override PartName="/ppt/slideLayouts/slideLayout4913.xml" ContentType="application/vnd.openxmlformats-officedocument.presentationml.slideLayout+xml"/>
  <Override PartName="/ppt/slideLayouts/slideLayout4914.xml" ContentType="application/vnd.openxmlformats-officedocument.presentationml.slideLayout+xml"/>
  <Override PartName="/ppt/slideLayouts/slideLayout4915.xml" ContentType="application/vnd.openxmlformats-officedocument.presentationml.slideLayout+xml"/>
  <Override PartName="/ppt/slideLayouts/slideLayout4916.xml" ContentType="application/vnd.openxmlformats-officedocument.presentationml.slideLayout+xml"/>
  <Override PartName="/ppt/slideLayouts/slideLayout4917.xml" ContentType="application/vnd.openxmlformats-officedocument.presentationml.slideLayout+xml"/>
  <Override PartName="/ppt/slideLayouts/slideLayout4918.xml" ContentType="application/vnd.openxmlformats-officedocument.presentationml.slideLayout+xml"/>
  <Override PartName="/ppt/slideLayouts/slideLayout4919.xml" ContentType="application/vnd.openxmlformats-officedocument.presentationml.slideLayout+xml"/>
  <Override PartName="/ppt/slideLayouts/slideLayout4920.xml" ContentType="application/vnd.openxmlformats-officedocument.presentationml.slideLayout+xml"/>
  <Override PartName="/ppt/slideLayouts/slideLayout4921.xml" ContentType="application/vnd.openxmlformats-officedocument.presentationml.slideLayout+xml"/>
  <Override PartName="/ppt/slideLayouts/slideLayout4922.xml" ContentType="application/vnd.openxmlformats-officedocument.presentationml.slideLayout+xml"/>
  <Override PartName="/ppt/slideLayouts/slideLayout4923.xml" ContentType="application/vnd.openxmlformats-officedocument.presentationml.slideLayout+xml"/>
  <Override PartName="/ppt/slideLayouts/slideLayout4924.xml" ContentType="application/vnd.openxmlformats-officedocument.presentationml.slideLayout+xml"/>
  <Override PartName="/ppt/slideLayouts/slideLayout4925.xml" ContentType="application/vnd.openxmlformats-officedocument.presentationml.slideLayout+xml"/>
  <Override PartName="/ppt/slideLayouts/slideLayout4926.xml" ContentType="application/vnd.openxmlformats-officedocument.presentationml.slideLayout+xml"/>
  <Override PartName="/ppt/slideLayouts/slideLayout4927.xml" ContentType="application/vnd.openxmlformats-officedocument.presentationml.slideLayout+xml"/>
  <Override PartName="/ppt/slideLayouts/slideLayout4928.xml" ContentType="application/vnd.openxmlformats-officedocument.presentationml.slideLayout+xml"/>
  <Override PartName="/ppt/slideLayouts/slideLayout4929.xml" ContentType="application/vnd.openxmlformats-officedocument.presentationml.slideLayout+xml"/>
  <Override PartName="/ppt/slideLayouts/slideLayout4930.xml" ContentType="application/vnd.openxmlformats-officedocument.presentationml.slideLayout+xml"/>
  <Override PartName="/ppt/slideLayouts/slideLayout4931.xml" ContentType="application/vnd.openxmlformats-officedocument.presentationml.slideLayout+xml"/>
  <Override PartName="/ppt/slideLayouts/slideLayout4932.xml" ContentType="application/vnd.openxmlformats-officedocument.presentationml.slideLayout+xml"/>
  <Override PartName="/ppt/slideLayouts/slideLayout4933.xml" ContentType="application/vnd.openxmlformats-officedocument.presentationml.slideLayout+xml"/>
  <Override PartName="/ppt/slideLayouts/slideLayout4934.xml" ContentType="application/vnd.openxmlformats-officedocument.presentationml.slideLayout+xml"/>
  <Override PartName="/ppt/slideLayouts/slideLayout4935.xml" ContentType="application/vnd.openxmlformats-officedocument.presentationml.slideLayout+xml"/>
  <Override PartName="/ppt/slideLayouts/slideLayout4936.xml" ContentType="application/vnd.openxmlformats-officedocument.presentationml.slideLayout+xml"/>
  <Override PartName="/ppt/slideLayouts/slideLayout4937.xml" ContentType="application/vnd.openxmlformats-officedocument.presentationml.slideLayout+xml"/>
  <Override PartName="/ppt/slideLayouts/slideLayout4938.xml" ContentType="application/vnd.openxmlformats-officedocument.presentationml.slideLayout+xml"/>
  <Override PartName="/ppt/slideLayouts/slideLayout4939.xml" ContentType="application/vnd.openxmlformats-officedocument.presentationml.slideLayout+xml"/>
  <Override PartName="/ppt/slideLayouts/slideLayout4940.xml" ContentType="application/vnd.openxmlformats-officedocument.presentationml.slideLayout+xml"/>
  <Override PartName="/ppt/slideLayouts/slideLayout4941.xml" ContentType="application/vnd.openxmlformats-officedocument.presentationml.slideLayout+xml"/>
  <Override PartName="/ppt/slideLayouts/slideLayout4942.xml" ContentType="application/vnd.openxmlformats-officedocument.presentationml.slideLayout+xml"/>
  <Override PartName="/ppt/slideLayouts/slideLayout4943.xml" ContentType="application/vnd.openxmlformats-officedocument.presentationml.slideLayout+xml"/>
  <Override PartName="/ppt/slideLayouts/slideLayout4944.xml" ContentType="application/vnd.openxmlformats-officedocument.presentationml.slideLayout+xml"/>
  <Override PartName="/ppt/slideLayouts/slideLayout4945.xml" ContentType="application/vnd.openxmlformats-officedocument.presentationml.slideLayout+xml"/>
  <Override PartName="/ppt/slideLayouts/slideLayout4946.xml" ContentType="application/vnd.openxmlformats-officedocument.presentationml.slideLayout+xml"/>
  <Override PartName="/ppt/slideLayouts/slideLayout4947.xml" ContentType="application/vnd.openxmlformats-officedocument.presentationml.slideLayout+xml"/>
  <Override PartName="/ppt/slideLayouts/slideLayout4948.xml" ContentType="application/vnd.openxmlformats-officedocument.presentationml.slideLayout+xml"/>
  <Override PartName="/ppt/slideLayouts/slideLayout4949.xml" ContentType="application/vnd.openxmlformats-officedocument.presentationml.slideLayout+xml"/>
  <Override PartName="/ppt/slideLayouts/slideLayout4950.xml" ContentType="application/vnd.openxmlformats-officedocument.presentationml.slideLayout+xml"/>
  <Override PartName="/ppt/slideLayouts/slideLayout4951.xml" ContentType="application/vnd.openxmlformats-officedocument.presentationml.slideLayout+xml"/>
  <Override PartName="/ppt/slideLayouts/slideLayout4952.xml" ContentType="application/vnd.openxmlformats-officedocument.presentationml.slideLayout+xml"/>
  <Override PartName="/ppt/slideLayouts/slideLayout4953.xml" ContentType="application/vnd.openxmlformats-officedocument.presentationml.slideLayout+xml"/>
  <Override PartName="/ppt/slideLayouts/slideLayout4954.xml" ContentType="application/vnd.openxmlformats-officedocument.presentationml.slideLayout+xml"/>
  <Override PartName="/ppt/slideLayouts/slideLayout4955.xml" ContentType="application/vnd.openxmlformats-officedocument.presentationml.slideLayout+xml"/>
  <Override PartName="/ppt/slideLayouts/slideLayout4956.xml" ContentType="application/vnd.openxmlformats-officedocument.presentationml.slideLayout+xml"/>
  <Override PartName="/ppt/slideLayouts/slideLayout4957.xml" ContentType="application/vnd.openxmlformats-officedocument.presentationml.slideLayout+xml"/>
  <Override PartName="/ppt/slideLayouts/slideLayout4958.xml" ContentType="application/vnd.openxmlformats-officedocument.presentationml.slideLayout+xml"/>
  <Override PartName="/ppt/slideLayouts/slideLayout4959.xml" ContentType="application/vnd.openxmlformats-officedocument.presentationml.slideLayout+xml"/>
  <Override PartName="/ppt/slideLayouts/slideLayout4960.xml" ContentType="application/vnd.openxmlformats-officedocument.presentationml.slideLayout+xml"/>
  <Override PartName="/ppt/slideLayouts/slideLayout4961.xml" ContentType="application/vnd.openxmlformats-officedocument.presentationml.slideLayout+xml"/>
  <Override PartName="/ppt/slideLayouts/slideLayout4962.xml" ContentType="application/vnd.openxmlformats-officedocument.presentationml.slideLayout+xml"/>
  <Override PartName="/ppt/slideLayouts/slideLayout4963.xml" ContentType="application/vnd.openxmlformats-officedocument.presentationml.slideLayout+xml"/>
  <Override PartName="/ppt/slideLayouts/slideLayout4964.xml" ContentType="application/vnd.openxmlformats-officedocument.presentationml.slideLayout+xml"/>
  <Override PartName="/ppt/slideLayouts/slideLayout4965.xml" ContentType="application/vnd.openxmlformats-officedocument.presentationml.slideLayout+xml"/>
  <Override PartName="/ppt/slideLayouts/slideLayout4966.xml" ContentType="application/vnd.openxmlformats-officedocument.presentationml.slideLayout+xml"/>
  <Override PartName="/ppt/slideLayouts/slideLayout4967.xml" ContentType="application/vnd.openxmlformats-officedocument.presentationml.slideLayout+xml"/>
  <Override PartName="/ppt/slideLayouts/slideLayout4968.xml" ContentType="application/vnd.openxmlformats-officedocument.presentationml.slideLayout+xml"/>
  <Override PartName="/ppt/slideLayouts/slideLayout4969.xml" ContentType="application/vnd.openxmlformats-officedocument.presentationml.slideLayout+xml"/>
  <Override PartName="/ppt/slideLayouts/slideLayout4970.xml" ContentType="application/vnd.openxmlformats-officedocument.presentationml.slideLayout+xml"/>
  <Override PartName="/ppt/slideLayouts/slideLayout4971.xml" ContentType="application/vnd.openxmlformats-officedocument.presentationml.slideLayout+xml"/>
  <Override PartName="/ppt/slideLayouts/slideLayout4972.xml" ContentType="application/vnd.openxmlformats-officedocument.presentationml.slideLayout+xml"/>
  <Override PartName="/ppt/slideLayouts/slideLayout4973.xml" ContentType="application/vnd.openxmlformats-officedocument.presentationml.slideLayout+xml"/>
  <Override PartName="/ppt/slideLayouts/slideLayout4974.xml" ContentType="application/vnd.openxmlformats-officedocument.presentationml.slideLayout+xml"/>
  <Override PartName="/ppt/slideLayouts/slideLayout4975.xml" ContentType="application/vnd.openxmlformats-officedocument.presentationml.slideLayout+xml"/>
  <Override PartName="/ppt/slideLayouts/slideLayout4976.xml" ContentType="application/vnd.openxmlformats-officedocument.presentationml.slideLayout+xml"/>
  <Override PartName="/ppt/slideLayouts/slideLayout4977.xml" ContentType="application/vnd.openxmlformats-officedocument.presentationml.slideLayout+xml"/>
  <Override PartName="/ppt/slideLayouts/slideLayout4978.xml" ContentType="application/vnd.openxmlformats-officedocument.presentationml.slideLayout+xml"/>
  <Override PartName="/ppt/slideLayouts/slideLayout4979.xml" ContentType="application/vnd.openxmlformats-officedocument.presentationml.slideLayout+xml"/>
  <Override PartName="/ppt/slideLayouts/slideLayout4980.xml" ContentType="application/vnd.openxmlformats-officedocument.presentationml.slideLayout+xml"/>
  <Override PartName="/ppt/slideLayouts/slideLayout4981.xml" ContentType="application/vnd.openxmlformats-officedocument.presentationml.slideLayout+xml"/>
  <Override PartName="/ppt/slideLayouts/slideLayout4982.xml" ContentType="application/vnd.openxmlformats-officedocument.presentationml.slideLayout+xml"/>
  <Override PartName="/ppt/slideLayouts/slideLayout4983.xml" ContentType="application/vnd.openxmlformats-officedocument.presentationml.slideLayout+xml"/>
  <Override PartName="/ppt/slideLayouts/slideLayout4984.xml" ContentType="application/vnd.openxmlformats-officedocument.presentationml.slideLayout+xml"/>
  <Override PartName="/ppt/slideLayouts/slideLayout4985.xml" ContentType="application/vnd.openxmlformats-officedocument.presentationml.slideLayout+xml"/>
  <Override PartName="/ppt/slideLayouts/slideLayout4986.xml" ContentType="application/vnd.openxmlformats-officedocument.presentationml.slideLayout+xml"/>
  <Override PartName="/ppt/slideLayouts/slideLayout4987.xml" ContentType="application/vnd.openxmlformats-officedocument.presentationml.slideLayout+xml"/>
  <Override PartName="/ppt/slideLayouts/slideLayout4988.xml" ContentType="application/vnd.openxmlformats-officedocument.presentationml.slideLayout+xml"/>
  <Override PartName="/ppt/slideLayouts/slideLayout4989.xml" ContentType="application/vnd.openxmlformats-officedocument.presentationml.slideLayout+xml"/>
  <Override PartName="/ppt/slideLayouts/slideLayout4990.xml" ContentType="application/vnd.openxmlformats-officedocument.presentationml.slideLayout+xml"/>
  <Override PartName="/ppt/slideLayouts/slideLayout4991.xml" ContentType="application/vnd.openxmlformats-officedocument.presentationml.slideLayout+xml"/>
  <Override PartName="/ppt/slideLayouts/slideLayout4992.xml" ContentType="application/vnd.openxmlformats-officedocument.presentationml.slideLayout+xml"/>
  <Override PartName="/ppt/slideLayouts/slideLayout4993.xml" ContentType="application/vnd.openxmlformats-officedocument.presentationml.slideLayout+xml"/>
  <Override PartName="/ppt/slideLayouts/slideLayout4994.xml" ContentType="application/vnd.openxmlformats-officedocument.presentationml.slideLayout+xml"/>
  <Override PartName="/ppt/slideLayouts/slideLayout4995.xml" ContentType="application/vnd.openxmlformats-officedocument.presentationml.slideLayout+xml"/>
  <Override PartName="/ppt/slideLayouts/slideLayout4996.xml" ContentType="application/vnd.openxmlformats-officedocument.presentationml.slideLayout+xml"/>
  <Override PartName="/ppt/slideLayouts/slideLayout4997.xml" ContentType="application/vnd.openxmlformats-officedocument.presentationml.slideLayout+xml"/>
  <Override PartName="/ppt/slideLayouts/slideLayout4998.xml" ContentType="application/vnd.openxmlformats-officedocument.presentationml.slideLayout+xml"/>
  <Override PartName="/ppt/slideLayouts/slideLayout4999.xml" ContentType="application/vnd.openxmlformats-officedocument.presentationml.slideLayout+xml"/>
  <Override PartName="/ppt/slideLayouts/slideLayout5000.xml" ContentType="application/vnd.openxmlformats-officedocument.presentationml.slideLayout+xml"/>
  <Override PartName="/ppt/slideLayouts/slideLayout5001.xml" ContentType="application/vnd.openxmlformats-officedocument.presentationml.slideLayout+xml"/>
  <Override PartName="/ppt/slideLayouts/slideLayout5002.xml" ContentType="application/vnd.openxmlformats-officedocument.presentationml.slideLayout+xml"/>
  <Override PartName="/ppt/slideLayouts/slideLayout5003.xml" ContentType="application/vnd.openxmlformats-officedocument.presentationml.slideLayout+xml"/>
  <Override PartName="/ppt/slideLayouts/slideLayout5004.xml" ContentType="application/vnd.openxmlformats-officedocument.presentationml.slideLayout+xml"/>
  <Override PartName="/ppt/slideLayouts/slideLayout5005.xml" ContentType="application/vnd.openxmlformats-officedocument.presentationml.slideLayout+xml"/>
  <Override PartName="/ppt/slideLayouts/slideLayout5006.xml" ContentType="application/vnd.openxmlformats-officedocument.presentationml.slideLayout+xml"/>
  <Override PartName="/ppt/slideLayouts/slideLayout5007.xml" ContentType="application/vnd.openxmlformats-officedocument.presentationml.slideLayout+xml"/>
  <Override PartName="/ppt/slideLayouts/slideLayout5008.xml" ContentType="application/vnd.openxmlformats-officedocument.presentationml.slideLayout+xml"/>
  <Override PartName="/ppt/slideLayouts/slideLayout5009.xml" ContentType="application/vnd.openxmlformats-officedocument.presentationml.slideLayout+xml"/>
  <Override PartName="/ppt/slideLayouts/slideLayout5010.xml" ContentType="application/vnd.openxmlformats-officedocument.presentationml.slideLayout+xml"/>
  <Override PartName="/ppt/slideLayouts/slideLayout5011.xml" ContentType="application/vnd.openxmlformats-officedocument.presentationml.slideLayout+xml"/>
  <Override PartName="/ppt/slideLayouts/slideLayout5012.xml" ContentType="application/vnd.openxmlformats-officedocument.presentationml.slideLayout+xml"/>
  <Override PartName="/ppt/slideLayouts/slideLayout5013.xml" ContentType="application/vnd.openxmlformats-officedocument.presentationml.slideLayout+xml"/>
  <Override PartName="/ppt/slideLayouts/slideLayout5014.xml" ContentType="application/vnd.openxmlformats-officedocument.presentationml.slideLayout+xml"/>
  <Override PartName="/ppt/slideLayouts/slideLayout5015.xml" ContentType="application/vnd.openxmlformats-officedocument.presentationml.slideLayout+xml"/>
  <Override PartName="/ppt/slideLayouts/slideLayout5016.xml" ContentType="application/vnd.openxmlformats-officedocument.presentationml.slideLayout+xml"/>
  <Override PartName="/ppt/slideLayouts/slideLayout5017.xml" ContentType="application/vnd.openxmlformats-officedocument.presentationml.slideLayout+xml"/>
  <Override PartName="/ppt/slideLayouts/slideLayout5018.xml" ContentType="application/vnd.openxmlformats-officedocument.presentationml.slideLayout+xml"/>
  <Override PartName="/ppt/slideLayouts/slideLayout5019.xml" ContentType="application/vnd.openxmlformats-officedocument.presentationml.slideLayout+xml"/>
  <Override PartName="/ppt/slideLayouts/slideLayout5020.xml" ContentType="application/vnd.openxmlformats-officedocument.presentationml.slideLayout+xml"/>
  <Override PartName="/ppt/slideLayouts/slideLayout5021.xml" ContentType="application/vnd.openxmlformats-officedocument.presentationml.slideLayout+xml"/>
  <Override PartName="/ppt/slideLayouts/slideLayout5022.xml" ContentType="application/vnd.openxmlformats-officedocument.presentationml.slideLayout+xml"/>
  <Override PartName="/ppt/slideLayouts/slideLayout5023.xml" ContentType="application/vnd.openxmlformats-officedocument.presentationml.slideLayout+xml"/>
  <Override PartName="/ppt/slideLayouts/slideLayout5024.xml" ContentType="application/vnd.openxmlformats-officedocument.presentationml.slideLayout+xml"/>
  <Override PartName="/ppt/slideLayouts/slideLayout5025.xml" ContentType="application/vnd.openxmlformats-officedocument.presentationml.slideLayout+xml"/>
  <Override PartName="/ppt/slideLayouts/slideLayout5026.xml" ContentType="application/vnd.openxmlformats-officedocument.presentationml.slideLayout+xml"/>
  <Override PartName="/ppt/slideLayouts/slideLayout5027.xml" ContentType="application/vnd.openxmlformats-officedocument.presentationml.slideLayout+xml"/>
  <Override PartName="/ppt/slideLayouts/slideLayout5028.xml" ContentType="application/vnd.openxmlformats-officedocument.presentationml.slideLayout+xml"/>
  <Override PartName="/ppt/slideLayouts/slideLayout5029.xml" ContentType="application/vnd.openxmlformats-officedocument.presentationml.slideLayout+xml"/>
  <Override PartName="/ppt/slideLayouts/slideLayout5030.xml" ContentType="application/vnd.openxmlformats-officedocument.presentationml.slideLayout+xml"/>
  <Override PartName="/ppt/slideLayouts/slideLayout5031.xml" ContentType="application/vnd.openxmlformats-officedocument.presentationml.slideLayout+xml"/>
  <Override PartName="/ppt/slideLayouts/slideLayout5032.xml" ContentType="application/vnd.openxmlformats-officedocument.presentationml.slideLayout+xml"/>
  <Override PartName="/ppt/slideLayouts/slideLayout5033.xml" ContentType="application/vnd.openxmlformats-officedocument.presentationml.slideLayout+xml"/>
  <Override PartName="/ppt/slideLayouts/slideLayout5034.xml" ContentType="application/vnd.openxmlformats-officedocument.presentationml.slideLayout+xml"/>
  <Override PartName="/ppt/slideLayouts/slideLayout5035.xml" ContentType="application/vnd.openxmlformats-officedocument.presentationml.slideLayout+xml"/>
  <Override PartName="/ppt/slideLayouts/slideLayout5036.xml" ContentType="application/vnd.openxmlformats-officedocument.presentationml.slideLayout+xml"/>
  <Override PartName="/ppt/slideLayouts/slideLayout5037.xml" ContentType="application/vnd.openxmlformats-officedocument.presentationml.slideLayout+xml"/>
  <Override PartName="/ppt/slideLayouts/slideLayout5038.xml" ContentType="application/vnd.openxmlformats-officedocument.presentationml.slideLayout+xml"/>
  <Override PartName="/ppt/slideLayouts/slideLayout5039.xml" ContentType="application/vnd.openxmlformats-officedocument.presentationml.slideLayout+xml"/>
  <Override PartName="/ppt/slideLayouts/slideLayout5040.xml" ContentType="application/vnd.openxmlformats-officedocument.presentationml.slideLayout+xml"/>
  <Override PartName="/ppt/slideLayouts/slideLayout5041.xml" ContentType="application/vnd.openxmlformats-officedocument.presentationml.slideLayout+xml"/>
  <Override PartName="/ppt/slideLayouts/slideLayout5042.xml" ContentType="application/vnd.openxmlformats-officedocument.presentationml.slideLayout+xml"/>
  <Override PartName="/ppt/slideLayouts/slideLayout5043.xml" ContentType="application/vnd.openxmlformats-officedocument.presentationml.slideLayout+xml"/>
  <Override PartName="/ppt/slideLayouts/slideLayout5044.xml" ContentType="application/vnd.openxmlformats-officedocument.presentationml.slideLayout+xml"/>
  <Override PartName="/ppt/slideLayouts/slideLayout5045.xml" ContentType="application/vnd.openxmlformats-officedocument.presentationml.slideLayout+xml"/>
  <Override PartName="/ppt/slideLayouts/slideLayout5046.xml" ContentType="application/vnd.openxmlformats-officedocument.presentationml.slideLayout+xml"/>
  <Override PartName="/ppt/slideLayouts/slideLayout5047.xml" ContentType="application/vnd.openxmlformats-officedocument.presentationml.slideLayout+xml"/>
  <Override PartName="/ppt/slideLayouts/slideLayout5048.xml" ContentType="application/vnd.openxmlformats-officedocument.presentationml.slideLayout+xml"/>
  <Override PartName="/ppt/slideLayouts/slideLayout5049.xml" ContentType="application/vnd.openxmlformats-officedocument.presentationml.slideLayout+xml"/>
  <Override PartName="/ppt/slideLayouts/slideLayout5050.xml" ContentType="application/vnd.openxmlformats-officedocument.presentationml.slideLayout+xml"/>
  <Override PartName="/ppt/slideLayouts/slideLayout5051.xml" ContentType="application/vnd.openxmlformats-officedocument.presentationml.slideLayout+xml"/>
  <Override PartName="/ppt/slideLayouts/slideLayout5052.xml" ContentType="application/vnd.openxmlformats-officedocument.presentationml.slideLayout+xml"/>
  <Override PartName="/ppt/slideLayouts/slideLayout5053.xml" ContentType="application/vnd.openxmlformats-officedocument.presentationml.slideLayout+xml"/>
  <Override PartName="/ppt/slideLayouts/slideLayout5054.xml" ContentType="application/vnd.openxmlformats-officedocument.presentationml.slideLayout+xml"/>
  <Override PartName="/ppt/slideLayouts/slideLayout5055.xml" ContentType="application/vnd.openxmlformats-officedocument.presentationml.slideLayout+xml"/>
  <Override PartName="/ppt/slideLayouts/slideLayout5056.xml" ContentType="application/vnd.openxmlformats-officedocument.presentationml.slideLayout+xml"/>
  <Override PartName="/ppt/slideLayouts/slideLayout5057.xml" ContentType="application/vnd.openxmlformats-officedocument.presentationml.slideLayout+xml"/>
  <Override PartName="/ppt/slideLayouts/slideLayout5058.xml" ContentType="application/vnd.openxmlformats-officedocument.presentationml.slideLayout+xml"/>
  <Override PartName="/ppt/slideLayouts/slideLayout5059.xml" ContentType="application/vnd.openxmlformats-officedocument.presentationml.slideLayout+xml"/>
  <Override PartName="/ppt/slideLayouts/slideLayout5060.xml" ContentType="application/vnd.openxmlformats-officedocument.presentationml.slideLayout+xml"/>
  <Override PartName="/ppt/slideLayouts/slideLayout5061.xml" ContentType="application/vnd.openxmlformats-officedocument.presentationml.slideLayout+xml"/>
  <Override PartName="/ppt/slideLayouts/slideLayout5062.xml" ContentType="application/vnd.openxmlformats-officedocument.presentationml.slideLayout+xml"/>
  <Override PartName="/ppt/slideLayouts/slideLayout5063.xml" ContentType="application/vnd.openxmlformats-officedocument.presentationml.slideLayout+xml"/>
  <Override PartName="/ppt/slideLayouts/slideLayout5064.xml" ContentType="application/vnd.openxmlformats-officedocument.presentationml.slideLayout+xml"/>
  <Override PartName="/ppt/slideLayouts/slideLayout5065.xml" ContentType="application/vnd.openxmlformats-officedocument.presentationml.slideLayout+xml"/>
  <Override PartName="/ppt/slideLayouts/slideLayout5066.xml" ContentType="application/vnd.openxmlformats-officedocument.presentationml.slideLayout+xml"/>
  <Override PartName="/ppt/slideLayouts/slideLayout5067.xml" ContentType="application/vnd.openxmlformats-officedocument.presentationml.slideLayout+xml"/>
  <Override PartName="/ppt/slideLayouts/slideLayout5068.xml" ContentType="application/vnd.openxmlformats-officedocument.presentationml.slideLayout+xml"/>
  <Override PartName="/ppt/slideLayouts/slideLayout5069.xml" ContentType="application/vnd.openxmlformats-officedocument.presentationml.slideLayout+xml"/>
  <Override PartName="/ppt/slideLayouts/slideLayout5070.xml" ContentType="application/vnd.openxmlformats-officedocument.presentationml.slideLayout+xml"/>
  <Override PartName="/ppt/slideLayouts/slideLayout5071.xml" ContentType="application/vnd.openxmlformats-officedocument.presentationml.slideLayout+xml"/>
  <Override PartName="/ppt/slideLayouts/slideLayout5072.xml" ContentType="application/vnd.openxmlformats-officedocument.presentationml.slideLayout+xml"/>
  <Override PartName="/ppt/slideLayouts/slideLayout5073.xml" ContentType="application/vnd.openxmlformats-officedocument.presentationml.slideLayout+xml"/>
  <Override PartName="/ppt/slideLayouts/slideLayout5074.xml" ContentType="application/vnd.openxmlformats-officedocument.presentationml.slideLayout+xml"/>
  <Override PartName="/ppt/slideLayouts/slideLayout5075.xml" ContentType="application/vnd.openxmlformats-officedocument.presentationml.slideLayout+xml"/>
  <Override PartName="/ppt/slideLayouts/slideLayout5076.xml" ContentType="application/vnd.openxmlformats-officedocument.presentationml.slideLayout+xml"/>
  <Override PartName="/ppt/slideLayouts/slideLayout5077.xml" ContentType="application/vnd.openxmlformats-officedocument.presentationml.slideLayout+xml"/>
  <Override PartName="/ppt/slideLayouts/slideLayout5078.xml" ContentType="application/vnd.openxmlformats-officedocument.presentationml.slideLayout+xml"/>
  <Override PartName="/ppt/slideLayouts/slideLayout5079.xml" ContentType="application/vnd.openxmlformats-officedocument.presentationml.slideLayout+xml"/>
  <Override PartName="/ppt/slideLayouts/slideLayout5080.xml" ContentType="application/vnd.openxmlformats-officedocument.presentationml.slideLayout+xml"/>
  <Override PartName="/ppt/slideLayouts/slideLayout5081.xml" ContentType="application/vnd.openxmlformats-officedocument.presentationml.slideLayout+xml"/>
  <Override PartName="/ppt/slideLayouts/slideLayout5082.xml" ContentType="application/vnd.openxmlformats-officedocument.presentationml.slideLayout+xml"/>
  <Override PartName="/ppt/slideLayouts/slideLayout5083.xml" ContentType="application/vnd.openxmlformats-officedocument.presentationml.slideLayout+xml"/>
  <Override PartName="/ppt/slideLayouts/slideLayout5084.xml" ContentType="application/vnd.openxmlformats-officedocument.presentationml.slideLayout+xml"/>
  <Override PartName="/ppt/slideLayouts/slideLayout5085.xml" ContentType="application/vnd.openxmlformats-officedocument.presentationml.slideLayout+xml"/>
  <Override PartName="/ppt/slideLayouts/slideLayout5086.xml" ContentType="application/vnd.openxmlformats-officedocument.presentationml.slideLayout+xml"/>
  <Override PartName="/ppt/slideLayouts/slideLayout5087.xml" ContentType="application/vnd.openxmlformats-officedocument.presentationml.slideLayout+xml"/>
  <Override PartName="/ppt/slideLayouts/slideLayout5088.xml" ContentType="application/vnd.openxmlformats-officedocument.presentationml.slideLayout+xml"/>
  <Override PartName="/ppt/slideLayouts/slideLayout5089.xml" ContentType="application/vnd.openxmlformats-officedocument.presentationml.slideLayout+xml"/>
  <Override PartName="/ppt/slideLayouts/slideLayout5090.xml" ContentType="application/vnd.openxmlformats-officedocument.presentationml.slideLayout+xml"/>
  <Override PartName="/ppt/slideLayouts/slideLayout5091.xml" ContentType="application/vnd.openxmlformats-officedocument.presentationml.slideLayout+xml"/>
  <Override PartName="/ppt/slideLayouts/slideLayout5092.xml" ContentType="application/vnd.openxmlformats-officedocument.presentationml.slideLayout+xml"/>
  <Override PartName="/ppt/slideLayouts/slideLayout5093.xml" ContentType="application/vnd.openxmlformats-officedocument.presentationml.slideLayout+xml"/>
  <Override PartName="/ppt/slideLayouts/slideLayout5094.xml" ContentType="application/vnd.openxmlformats-officedocument.presentationml.slideLayout+xml"/>
  <Override PartName="/ppt/slideLayouts/slideLayout5095.xml" ContentType="application/vnd.openxmlformats-officedocument.presentationml.slideLayout+xml"/>
  <Override PartName="/ppt/slideLayouts/slideLayout5096.xml" ContentType="application/vnd.openxmlformats-officedocument.presentationml.slideLayout+xml"/>
  <Override PartName="/ppt/slideLayouts/slideLayout5097.xml" ContentType="application/vnd.openxmlformats-officedocument.presentationml.slideLayout+xml"/>
  <Override PartName="/ppt/slideLayouts/slideLayout5098.xml" ContentType="application/vnd.openxmlformats-officedocument.presentationml.slideLayout+xml"/>
  <Override PartName="/ppt/slideLayouts/slideLayout5099.xml" ContentType="application/vnd.openxmlformats-officedocument.presentationml.slideLayout+xml"/>
  <Override PartName="/ppt/slideLayouts/slideLayout5100.xml" ContentType="application/vnd.openxmlformats-officedocument.presentationml.slideLayout+xml"/>
  <Override PartName="/ppt/slideLayouts/slideLayout5101.xml" ContentType="application/vnd.openxmlformats-officedocument.presentationml.slideLayout+xml"/>
  <Override PartName="/ppt/slideLayouts/slideLayout5102.xml" ContentType="application/vnd.openxmlformats-officedocument.presentationml.slideLayout+xml"/>
  <Override PartName="/ppt/slideLayouts/slideLayout5103.xml" ContentType="application/vnd.openxmlformats-officedocument.presentationml.slideLayout+xml"/>
  <Override PartName="/ppt/slideLayouts/slideLayout5104.xml" ContentType="application/vnd.openxmlformats-officedocument.presentationml.slideLayout+xml"/>
  <Override PartName="/ppt/slideLayouts/slideLayout5105.xml" ContentType="application/vnd.openxmlformats-officedocument.presentationml.slideLayout+xml"/>
  <Override PartName="/ppt/slideLayouts/slideLayout5106.xml" ContentType="application/vnd.openxmlformats-officedocument.presentationml.slideLayout+xml"/>
  <Override PartName="/ppt/slideLayouts/slideLayout5107.xml" ContentType="application/vnd.openxmlformats-officedocument.presentationml.slideLayout+xml"/>
  <Override PartName="/ppt/slideLayouts/slideLayout5108.xml" ContentType="application/vnd.openxmlformats-officedocument.presentationml.slideLayout+xml"/>
  <Override PartName="/ppt/slideLayouts/slideLayout5109.xml" ContentType="application/vnd.openxmlformats-officedocument.presentationml.slideLayout+xml"/>
  <Override PartName="/ppt/slideLayouts/slideLayout5110.xml" ContentType="application/vnd.openxmlformats-officedocument.presentationml.slideLayout+xml"/>
  <Override PartName="/ppt/slideLayouts/slideLayout5111.xml" ContentType="application/vnd.openxmlformats-officedocument.presentationml.slideLayout+xml"/>
  <Override PartName="/ppt/slideLayouts/slideLayout5112.xml" ContentType="application/vnd.openxmlformats-officedocument.presentationml.slideLayout+xml"/>
  <Override PartName="/ppt/slideLayouts/slideLayout5113.xml" ContentType="application/vnd.openxmlformats-officedocument.presentationml.slideLayout+xml"/>
  <Override PartName="/ppt/slideLayouts/slideLayout5114.xml" ContentType="application/vnd.openxmlformats-officedocument.presentationml.slideLayout+xml"/>
  <Override PartName="/ppt/slideLayouts/slideLayout5115.xml" ContentType="application/vnd.openxmlformats-officedocument.presentationml.slideLayout+xml"/>
  <Override PartName="/ppt/slideLayouts/slideLayout5116.xml" ContentType="application/vnd.openxmlformats-officedocument.presentationml.slideLayout+xml"/>
  <Override PartName="/ppt/slideLayouts/slideLayout5117.xml" ContentType="application/vnd.openxmlformats-officedocument.presentationml.slideLayout+xml"/>
  <Override PartName="/ppt/slideLayouts/slideLayout5118.xml" ContentType="application/vnd.openxmlformats-officedocument.presentationml.slideLayout+xml"/>
  <Override PartName="/ppt/slideLayouts/slideLayout5119.xml" ContentType="application/vnd.openxmlformats-officedocument.presentationml.slideLayout+xml"/>
  <Override PartName="/ppt/slideLayouts/slideLayout5120.xml" ContentType="application/vnd.openxmlformats-officedocument.presentationml.slideLayout+xml"/>
  <Override PartName="/ppt/slideLayouts/slideLayout5121.xml" ContentType="application/vnd.openxmlformats-officedocument.presentationml.slideLayout+xml"/>
  <Override PartName="/ppt/slideLayouts/slideLayout5122.xml" ContentType="application/vnd.openxmlformats-officedocument.presentationml.slideLayout+xml"/>
  <Override PartName="/ppt/slideLayouts/slideLayout5123.xml" ContentType="application/vnd.openxmlformats-officedocument.presentationml.slideLayout+xml"/>
  <Override PartName="/ppt/slideLayouts/slideLayout5124.xml" ContentType="application/vnd.openxmlformats-officedocument.presentationml.slideLayout+xml"/>
  <Override PartName="/ppt/slideLayouts/slideLayout5125.xml" ContentType="application/vnd.openxmlformats-officedocument.presentationml.slideLayout+xml"/>
  <Override PartName="/ppt/slideLayouts/slideLayout5126.xml" ContentType="application/vnd.openxmlformats-officedocument.presentationml.slideLayout+xml"/>
  <Override PartName="/ppt/slideLayouts/slideLayout5127.xml" ContentType="application/vnd.openxmlformats-officedocument.presentationml.slideLayout+xml"/>
  <Override PartName="/ppt/slideLayouts/slideLayout5128.xml" ContentType="application/vnd.openxmlformats-officedocument.presentationml.slideLayout+xml"/>
  <Override PartName="/ppt/slideLayouts/slideLayout5129.xml" ContentType="application/vnd.openxmlformats-officedocument.presentationml.slideLayout+xml"/>
  <Override PartName="/ppt/slideLayouts/slideLayout5130.xml" ContentType="application/vnd.openxmlformats-officedocument.presentationml.slideLayout+xml"/>
  <Override PartName="/ppt/slideLayouts/slideLayout5131.xml" ContentType="application/vnd.openxmlformats-officedocument.presentationml.slideLayout+xml"/>
  <Override PartName="/ppt/slideLayouts/slideLayout5132.xml" ContentType="application/vnd.openxmlformats-officedocument.presentationml.slideLayout+xml"/>
  <Override PartName="/ppt/slideLayouts/slideLayout5133.xml" ContentType="application/vnd.openxmlformats-officedocument.presentationml.slideLayout+xml"/>
  <Override PartName="/ppt/slideLayouts/slideLayout5134.xml" ContentType="application/vnd.openxmlformats-officedocument.presentationml.slideLayout+xml"/>
  <Override PartName="/ppt/slideLayouts/slideLayout5135.xml" ContentType="application/vnd.openxmlformats-officedocument.presentationml.slideLayout+xml"/>
  <Override PartName="/ppt/slideLayouts/slideLayout5136.xml" ContentType="application/vnd.openxmlformats-officedocument.presentationml.slideLayout+xml"/>
  <Override PartName="/ppt/slideLayouts/slideLayout5137.xml" ContentType="application/vnd.openxmlformats-officedocument.presentationml.slideLayout+xml"/>
  <Override PartName="/ppt/slideLayouts/slideLayout5138.xml" ContentType="application/vnd.openxmlformats-officedocument.presentationml.slideLayout+xml"/>
  <Override PartName="/ppt/slideLayouts/slideLayout5139.xml" ContentType="application/vnd.openxmlformats-officedocument.presentationml.slideLayout+xml"/>
  <Override PartName="/ppt/slideLayouts/slideLayout5140.xml" ContentType="application/vnd.openxmlformats-officedocument.presentationml.slideLayout+xml"/>
  <Override PartName="/ppt/slideLayouts/slideLayout5141.xml" ContentType="application/vnd.openxmlformats-officedocument.presentationml.slideLayout+xml"/>
  <Override PartName="/ppt/slideLayouts/slideLayout5142.xml" ContentType="application/vnd.openxmlformats-officedocument.presentationml.slideLayout+xml"/>
  <Override PartName="/ppt/slideLayouts/slideLayout5143.xml" ContentType="application/vnd.openxmlformats-officedocument.presentationml.slideLayout+xml"/>
  <Override PartName="/ppt/slideLayouts/slideLayout5144.xml" ContentType="application/vnd.openxmlformats-officedocument.presentationml.slideLayout+xml"/>
  <Override PartName="/ppt/slideLayouts/slideLayout5145.xml" ContentType="application/vnd.openxmlformats-officedocument.presentationml.slideLayout+xml"/>
  <Override PartName="/ppt/slideLayouts/slideLayout5146.xml" ContentType="application/vnd.openxmlformats-officedocument.presentationml.slideLayout+xml"/>
  <Override PartName="/ppt/slideLayouts/slideLayout5147.xml" ContentType="application/vnd.openxmlformats-officedocument.presentationml.slideLayout+xml"/>
  <Override PartName="/ppt/slideLayouts/slideLayout5148.xml" ContentType="application/vnd.openxmlformats-officedocument.presentationml.slideLayout+xml"/>
  <Override PartName="/ppt/slideLayouts/slideLayout5149.xml" ContentType="application/vnd.openxmlformats-officedocument.presentationml.slideLayout+xml"/>
  <Override PartName="/ppt/slideLayouts/slideLayout5150.xml" ContentType="application/vnd.openxmlformats-officedocument.presentationml.slideLayout+xml"/>
  <Override PartName="/ppt/slideLayouts/slideLayout5151.xml" ContentType="application/vnd.openxmlformats-officedocument.presentationml.slideLayout+xml"/>
  <Override PartName="/ppt/slideLayouts/slideLayout5152.xml" ContentType="application/vnd.openxmlformats-officedocument.presentationml.slideLayout+xml"/>
  <Override PartName="/ppt/slideLayouts/slideLayout5153.xml" ContentType="application/vnd.openxmlformats-officedocument.presentationml.slideLayout+xml"/>
  <Override PartName="/ppt/slideLayouts/slideLayout5154.xml" ContentType="application/vnd.openxmlformats-officedocument.presentationml.slideLayout+xml"/>
  <Override PartName="/ppt/slideLayouts/slideLayout5155.xml" ContentType="application/vnd.openxmlformats-officedocument.presentationml.slideLayout+xml"/>
  <Override PartName="/ppt/slideLayouts/slideLayout5156.xml" ContentType="application/vnd.openxmlformats-officedocument.presentationml.slideLayout+xml"/>
  <Override PartName="/ppt/slideLayouts/slideLayout5157.xml" ContentType="application/vnd.openxmlformats-officedocument.presentationml.slideLayout+xml"/>
  <Override PartName="/ppt/slideLayouts/slideLayout5158.xml" ContentType="application/vnd.openxmlformats-officedocument.presentationml.slideLayout+xml"/>
  <Override PartName="/ppt/slideLayouts/slideLayout5159.xml" ContentType="application/vnd.openxmlformats-officedocument.presentationml.slideLayout+xml"/>
  <Override PartName="/ppt/slideLayouts/slideLayout5160.xml" ContentType="application/vnd.openxmlformats-officedocument.presentationml.slideLayout+xml"/>
  <Override PartName="/ppt/slideLayouts/slideLayout5161.xml" ContentType="application/vnd.openxmlformats-officedocument.presentationml.slideLayout+xml"/>
  <Override PartName="/ppt/slideLayouts/slideLayout5162.xml" ContentType="application/vnd.openxmlformats-officedocument.presentationml.slideLayout+xml"/>
  <Override PartName="/ppt/slideLayouts/slideLayout5163.xml" ContentType="application/vnd.openxmlformats-officedocument.presentationml.slideLayout+xml"/>
  <Override PartName="/ppt/slideLayouts/slideLayout5164.xml" ContentType="application/vnd.openxmlformats-officedocument.presentationml.slideLayout+xml"/>
  <Override PartName="/ppt/slideLayouts/slideLayout5165.xml" ContentType="application/vnd.openxmlformats-officedocument.presentationml.slideLayout+xml"/>
  <Override PartName="/ppt/slideLayouts/slideLayout5166.xml" ContentType="application/vnd.openxmlformats-officedocument.presentationml.slideLayout+xml"/>
  <Override PartName="/ppt/slideLayouts/slideLayout5167.xml" ContentType="application/vnd.openxmlformats-officedocument.presentationml.slideLayout+xml"/>
  <Override PartName="/ppt/slideLayouts/slideLayout5168.xml" ContentType="application/vnd.openxmlformats-officedocument.presentationml.slideLayout+xml"/>
  <Override PartName="/ppt/slideLayouts/slideLayout5169.xml" ContentType="application/vnd.openxmlformats-officedocument.presentationml.slideLayout+xml"/>
  <Override PartName="/ppt/slideLayouts/slideLayout5170.xml" ContentType="application/vnd.openxmlformats-officedocument.presentationml.slideLayout+xml"/>
  <Override PartName="/ppt/slideLayouts/slideLayout5171.xml" ContentType="application/vnd.openxmlformats-officedocument.presentationml.slideLayout+xml"/>
  <Override PartName="/ppt/slideLayouts/slideLayout5172.xml" ContentType="application/vnd.openxmlformats-officedocument.presentationml.slideLayout+xml"/>
  <Override PartName="/ppt/slideLayouts/slideLayout5173.xml" ContentType="application/vnd.openxmlformats-officedocument.presentationml.slideLayout+xml"/>
  <Override PartName="/ppt/slideLayouts/slideLayout5174.xml" ContentType="application/vnd.openxmlformats-officedocument.presentationml.slideLayout+xml"/>
  <Override PartName="/ppt/slideLayouts/slideLayout5175.xml" ContentType="application/vnd.openxmlformats-officedocument.presentationml.slideLayout+xml"/>
  <Override PartName="/ppt/slideLayouts/slideLayout5176.xml" ContentType="application/vnd.openxmlformats-officedocument.presentationml.slideLayout+xml"/>
  <Override PartName="/ppt/slideLayouts/slideLayout5177.xml" ContentType="application/vnd.openxmlformats-officedocument.presentationml.slideLayout+xml"/>
  <Override PartName="/ppt/slideLayouts/slideLayout5178.xml" ContentType="application/vnd.openxmlformats-officedocument.presentationml.slideLayout+xml"/>
  <Override PartName="/ppt/slideLayouts/slideLayout5179.xml" ContentType="application/vnd.openxmlformats-officedocument.presentationml.slideLayout+xml"/>
  <Override PartName="/ppt/slideLayouts/slideLayout5180.xml" ContentType="application/vnd.openxmlformats-officedocument.presentationml.slideLayout+xml"/>
  <Override PartName="/ppt/slideLayouts/slideLayout5181.xml" ContentType="application/vnd.openxmlformats-officedocument.presentationml.slideLayout+xml"/>
  <Override PartName="/ppt/slideLayouts/slideLayout5182.xml" ContentType="application/vnd.openxmlformats-officedocument.presentationml.slideLayout+xml"/>
  <Override PartName="/ppt/slideLayouts/slideLayout5183.xml" ContentType="application/vnd.openxmlformats-officedocument.presentationml.slideLayout+xml"/>
  <Override PartName="/ppt/slideLayouts/slideLayout5184.xml" ContentType="application/vnd.openxmlformats-officedocument.presentationml.slideLayout+xml"/>
  <Override PartName="/ppt/slideLayouts/slideLayout5185.xml" ContentType="application/vnd.openxmlformats-officedocument.presentationml.slideLayout+xml"/>
  <Override PartName="/ppt/slideLayouts/slideLayout5186.xml" ContentType="application/vnd.openxmlformats-officedocument.presentationml.slideLayout+xml"/>
  <Override PartName="/ppt/slideLayouts/slideLayout5187.xml" ContentType="application/vnd.openxmlformats-officedocument.presentationml.slideLayout+xml"/>
  <Override PartName="/ppt/slideLayouts/slideLayout5188.xml" ContentType="application/vnd.openxmlformats-officedocument.presentationml.slideLayout+xml"/>
  <Override PartName="/ppt/slideLayouts/slideLayout5189.xml" ContentType="application/vnd.openxmlformats-officedocument.presentationml.slideLayout+xml"/>
  <Override PartName="/ppt/slideLayouts/slideLayout5190.xml" ContentType="application/vnd.openxmlformats-officedocument.presentationml.slideLayout+xml"/>
  <Override PartName="/ppt/slideLayouts/slideLayout5191.xml" ContentType="application/vnd.openxmlformats-officedocument.presentationml.slideLayout+xml"/>
  <Override PartName="/ppt/slideLayouts/slideLayout5192.xml" ContentType="application/vnd.openxmlformats-officedocument.presentationml.slideLayout+xml"/>
  <Override PartName="/ppt/slideLayouts/slideLayout5193.xml" ContentType="application/vnd.openxmlformats-officedocument.presentationml.slideLayout+xml"/>
  <Override PartName="/ppt/slideLayouts/slideLayout5194.xml" ContentType="application/vnd.openxmlformats-officedocument.presentationml.slideLayout+xml"/>
  <Override PartName="/ppt/slideLayouts/slideLayout5195.xml" ContentType="application/vnd.openxmlformats-officedocument.presentationml.slideLayout+xml"/>
  <Override PartName="/ppt/slideLayouts/slideLayout5196.xml" ContentType="application/vnd.openxmlformats-officedocument.presentationml.slideLayout+xml"/>
  <Override PartName="/ppt/slideLayouts/slideLayout5197.xml" ContentType="application/vnd.openxmlformats-officedocument.presentationml.slideLayout+xml"/>
  <Override PartName="/ppt/slideLayouts/slideLayout5198.xml" ContentType="application/vnd.openxmlformats-officedocument.presentationml.slideLayout+xml"/>
  <Override PartName="/ppt/slideLayouts/slideLayout5199.xml" ContentType="application/vnd.openxmlformats-officedocument.presentationml.slideLayout+xml"/>
  <Override PartName="/ppt/slideLayouts/slideLayout5200.xml" ContentType="application/vnd.openxmlformats-officedocument.presentationml.slideLayout+xml"/>
  <Override PartName="/ppt/slideLayouts/slideLayout5201.xml" ContentType="application/vnd.openxmlformats-officedocument.presentationml.slideLayout+xml"/>
  <Override PartName="/ppt/slideLayouts/slideLayout5202.xml" ContentType="application/vnd.openxmlformats-officedocument.presentationml.slideLayout+xml"/>
  <Override PartName="/ppt/slideLayouts/slideLayout5203.xml" ContentType="application/vnd.openxmlformats-officedocument.presentationml.slideLayout+xml"/>
  <Override PartName="/ppt/slideLayouts/slideLayout5204.xml" ContentType="application/vnd.openxmlformats-officedocument.presentationml.slideLayout+xml"/>
  <Override PartName="/ppt/slideLayouts/slideLayout5205.xml" ContentType="application/vnd.openxmlformats-officedocument.presentationml.slideLayout+xml"/>
  <Override PartName="/ppt/slideLayouts/slideLayout5206.xml" ContentType="application/vnd.openxmlformats-officedocument.presentationml.slideLayout+xml"/>
  <Override PartName="/ppt/slideLayouts/slideLayout5207.xml" ContentType="application/vnd.openxmlformats-officedocument.presentationml.slideLayout+xml"/>
  <Override PartName="/ppt/slideLayouts/slideLayout5208.xml" ContentType="application/vnd.openxmlformats-officedocument.presentationml.slideLayout+xml"/>
  <Override PartName="/ppt/slideLayouts/slideLayout5209.xml" ContentType="application/vnd.openxmlformats-officedocument.presentationml.slideLayout+xml"/>
  <Override PartName="/ppt/slideLayouts/slideLayout5210.xml" ContentType="application/vnd.openxmlformats-officedocument.presentationml.slideLayout+xml"/>
  <Override PartName="/ppt/slideLayouts/slideLayout5211.xml" ContentType="application/vnd.openxmlformats-officedocument.presentationml.slideLayout+xml"/>
  <Override PartName="/ppt/slideLayouts/slideLayout5212.xml" ContentType="application/vnd.openxmlformats-officedocument.presentationml.slideLayout+xml"/>
  <Override PartName="/ppt/slideLayouts/slideLayout5213.xml" ContentType="application/vnd.openxmlformats-officedocument.presentationml.slideLayout+xml"/>
  <Override PartName="/ppt/slideLayouts/slideLayout5214.xml" ContentType="application/vnd.openxmlformats-officedocument.presentationml.slideLayout+xml"/>
  <Override PartName="/ppt/slideLayouts/slideLayout5215.xml" ContentType="application/vnd.openxmlformats-officedocument.presentationml.slideLayout+xml"/>
  <Override PartName="/ppt/slideLayouts/slideLayout5216.xml" ContentType="application/vnd.openxmlformats-officedocument.presentationml.slideLayout+xml"/>
  <Override PartName="/ppt/slideLayouts/slideLayout5217.xml" ContentType="application/vnd.openxmlformats-officedocument.presentationml.slideLayout+xml"/>
  <Override PartName="/ppt/slideLayouts/slideLayout5218.xml" ContentType="application/vnd.openxmlformats-officedocument.presentationml.slideLayout+xml"/>
  <Override PartName="/ppt/slideLayouts/slideLayout5219.xml" ContentType="application/vnd.openxmlformats-officedocument.presentationml.slideLayout+xml"/>
  <Override PartName="/ppt/slideLayouts/slideLayout5220.xml" ContentType="application/vnd.openxmlformats-officedocument.presentationml.slideLayout+xml"/>
  <Override PartName="/ppt/slideLayouts/slideLayout5221.xml" ContentType="application/vnd.openxmlformats-officedocument.presentationml.slideLayout+xml"/>
  <Override PartName="/ppt/slideLayouts/slideLayout5222.xml" ContentType="application/vnd.openxmlformats-officedocument.presentationml.slideLayout+xml"/>
  <Override PartName="/ppt/slideLayouts/slideLayout5223.xml" ContentType="application/vnd.openxmlformats-officedocument.presentationml.slideLayout+xml"/>
  <Override PartName="/ppt/slideLayouts/slideLayout5224.xml" ContentType="application/vnd.openxmlformats-officedocument.presentationml.slideLayout+xml"/>
  <Override PartName="/ppt/slideLayouts/slideLayout5225.xml" ContentType="application/vnd.openxmlformats-officedocument.presentationml.slideLayout+xml"/>
  <Override PartName="/ppt/slideLayouts/slideLayout5226.xml" ContentType="application/vnd.openxmlformats-officedocument.presentationml.slideLayout+xml"/>
  <Override PartName="/ppt/slideLayouts/slideLayout5227.xml" ContentType="application/vnd.openxmlformats-officedocument.presentationml.slideLayout+xml"/>
  <Override PartName="/ppt/slideLayouts/slideLayout5228.xml" ContentType="application/vnd.openxmlformats-officedocument.presentationml.slideLayout+xml"/>
  <Override PartName="/ppt/slideLayouts/slideLayout5229.xml" ContentType="application/vnd.openxmlformats-officedocument.presentationml.slideLayout+xml"/>
  <Override PartName="/ppt/slideLayouts/slideLayout5230.xml" ContentType="application/vnd.openxmlformats-officedocument.presentationml.slideLayout+xml"/>
  <Override PartName="/ppt/slideLayouts/slideLayout5231.xml" ContentType="application/vnd.openxmlformats-officedocument.presentationml.slideLayout+xml"/>
  <Override PartName="/ppt/slideLayouts/slideLayout5232.xml" ContentType="application/vnd.openxmlformats-officedocument.presentationml.slideLayout+xml"/>
  <Override PartName="/ppt/slideLayouts/slideLayout5233.xml" ContentType="application/vnd.openxmlformats-officedocument.presentationml.slideLayout+xml"/>
  <Override PartName="/ppt/slideLayouts/slideLayout5234.xml" ContentType="application/vnd.openxmlformats-officedocument.presentationml.slideLayout+xml"/>
  <Override PartName="/ppt/slideLayouts/slideLayout5235.xml" ContentType="application/vnd.openxmlformats-officedocument.presentationml.slideLayout+xml"/>
  <Override PartName="/ppt/slideLayouts/slideLayout5236.xml" ContentType="application/vnd.openxmlformats-officedocument.presentationml.slideLayout+xml"/>
  <Override PartName="/ppt/slideLayouts/slideLayout5237.xml" ContentType="application/vnd.openxmlformats-officedocument.presentationml.slideLayout+xml"/>
  <Override PartName="/ppt/slideLayouts/slideLayout5238.xml" ContentType="application/vnd.openxmlformats-officedocument.presentationml.slideLayout+xml"/>
  <Override PartName="/ppt/slideLayouts/slideLayout5239.xml" ContentType="application/vnd.openxmlformats-officedocument.presentationml.slideLayout+xml"/>
  <Override PartName="/ppt/slideLayouts/slideLayout5240.xml" ContentType="application/vnd.openxmlformats-officedocument.presentationml.slideLayout+xml"/>
  <Override PartName="/ppt/slideLayouts/slideLayout5241.xml" ContentType="application/vnd.openxmlformats-officedocument.presentationml.slideLayout+xml"/>
  <Override PartName="/ppt/slideLayouts/slideLayout5242.xml" ContentType="application/vnd.openxmlformats-officedocument.presentationml.slideLayout+xml"/>
  <Override PartName="/ppt/slideLayouts/slideLayout5243.xml" ContentType="application/vnd.openxmlformats-officedocument.presentationml.slideLayout+xml"/>
  <Override PartName="/ppt/slideLayouts/slideLayout5244.xml" ContentType="application/vnd.openxmlformats-officedocument.presentationml.slideLayout+xml"/>
  <Override PartName="/ppt/slideLayouts/slideLayout5245.xml" ContentType="application/vnd.openxmlformats-officedocument.presentationml.slideLayout+xml"/>
  <Override PartName="/ppt/slideLayouts/slideLayout5246.xml" ContentType="application/vnd.openxmlformats-officedocument.presentationml.slideLayout+xml"/>
  <Override PartName="/ppt/slideLayouts/slideLayout5247.xml" ContentType="application/vnd.openxmlformats-officedocument.presentationml.slideLayout+xml"/>
  <Override PartName="/ppt/slideLayouts/slideLayout5248.xml" ContentType="application/vnd.openxmlformats-officedocument.presentationml.slideLayout+xml"/>
  <Override PartName="/ppt/slideLayouts/slideLayout5249.xml" ContentType="application/vnd.openxmlformats-officedocument.presentationml.slideLayout+xml"/>
  <Override PartName="/ppt/slideLayouts/slideLayout5250.xml" ContentType="application/vnd.openxmlformats-officedocument.presentationml.slideLayout+xml"/>
  <Override PartName="/ppt/slideLayouts/slideLayout5251.xml" ContentType="application/vnd.openxmlformats-officedocument.presentationml.slideLayout+xml"/>
  <Override PartName="/ppt/slideLayouts/slideLayout5252.xml" ContentType="application/vnd.openxmlformats-officedocument.presentationml.slideLayout+xml"/>
  <Override PartName="/ppt/slideLayouts/slideLayout5253.xml" ContentType="application/vnd.openxmlformats-officedocument.presentationml.slideLayout+xml"/>
  <Override PartName="/ppt/slideLayouts/slideLayout5254.xml" ContentType="application/vnd.openxmlformats-officedocument.presentationml.slideLayout+xml"/>
  <Override PartName="/ppt/slideLayouts/slideLayout5255.xml" ContentType="application/vnd.openxmlformats-officedocument.presentationml.slideLayout+xml"/>
  <Override PartName="/ppt/slideLayouts/slideLayout5256.xml" ContentType="application/vnd.openxmlformats-officedocument.presentationml.slideLayout+xml"/>
  <Override PartName="/ppt/slideLayouts/slideLayout5257.xml" ContentType="application/vnd.openxmlformats-officedocument.presentationml.slideLayout+xml"/>
  <Override PartName="/ppt/slideLayouts/slideLayout5258.xml" ContentType="application/vnd.openxmlformats-officedocument.presentationml.slideLayout+xml"/>
  <Override PartName="/ppt/slideLayouts/slideLayout5259.xml" ContentType="application/vnd.openxmlformats-officedocument.presentationml.slideLayout+xml"/>
  <Override PartName="/ppt/slideLayouts/slideLayout5260.xml" ContentType="application/vnd.openxmlformats-officedocument.presentationml.slideLayout+xml"/>
  <Override PartName="/ppt/slideLayouts/slideLayout5261.xml" ContentType="application/vnd.openxmlformats-officedocument.presentationml.slideLayout+xml"/>
  <Override PartName="/ppt/slideLayouts/slideLayout5262.xml" ContentType="application/vnd.openxmlformats-officedocument.presentationml.slideLayout+xml"/>
  <Override PartName="/ppt/slideLayouts/slideLayout5263.xml" ContentType="application/vnd.openxmlformats-officedocument.presentationml.slideLayout+xml"/>
  <Override PartName="/ppt/slideLayouts/slideLayout5264.xml" ContentType="application/vnd.openxmlformats-officedocument.presentationml.slideLayout+xml"/>
  <Override PartName="/ppt/slideLayouts/slideLayout5265.xml" ContentType="application/vnd.openxmlformats-officedocument.presentationml.slideLayout+xml"/>
  <Override PartName="/ppt/slideLayouts/slideLayout5266.xml" ContentType="application/vnd.openxmlformats-officedocument.presentationml.slideLayout+xml"/>
  <Override PartName="/ppt/slideLayouts/slideLayout5267.xml" ContentType="application/vnd.openxmlformats-officedocument.presentationml.slideLayout+xml"/>
  <Override PartName="/ppt/slideLayouts/slideLayout5268.xml" ContentType="application/vnd.openxmlformats-officedocument.presentationml.slideLayout+xml"/>
  <Override PartName="/ppt/slideLayouts/slideLayout5269.xml" ContentType="application/vnd.openxmlformats-officedocument.presentationml.slideLayout+xml"/>
  <Override PartName="/ppt/slideLayouts/slideLayout5270.xml" ContentType="application/vnd.openxmlformats-officedocument.presentationml.slideLayout+xml"/>
  <Override PartName="/ppt/slideLayouts/slideLayout5271.xml" ContentType="application/vnd.openxmlformats-officedocument.presentationml.slideLayout+xml"/>
  <Override PartName="/ppt/slideLayouts/slideLayout5272.xml" ContentType="application/vnd.openxmlformats-officedocument.presentationml.slideLayout+xml"/>
  <Override PartName="/ppt/slideLayouts/slideLayout5273.xml" ContentType="application/vnd.openxmlformats-officedocument.presentationml.slideLayout+xml"/>
  <Override PartName="/ppt/slideLayouts/slideLayout5274.xml" ContentType="application/vnd.openxmlformats-officedocument.presentationml.slideLayout+xml"/>
  <Override PartName="/ppt/slideLayouts/slideLayout5275.xml" ContentType="application/vnd.openxmlformats-officedocument.presentationml.slideLayout+xml"/>
  <Override PartName="/ppt/slideLayouts/slideLayout5276.xml" ContentType="application/vnd.openxmlformats-officedocument.presentationml.slideLayout+xml"/>
  <Override PartName="/ppt/slideLayouts/slideLayout5277.xml" ContentType="application/vnd.openxmlformats-officedocument.presentationml.slideLayout+xml"/>
  <Override PartName="/ppt/slideLayouts/slideLayout5278.xml" ContentType="application/vnd.openxmlformats-officedocument.presentationml.slideLayout+xml"/>
  <Override PartName="/ppt/slideLayouts/slideLayout5279.xml" ContentType="application/vnd.openxmlformats-officedocument.presentationml.slideLayout+xml"/>
  <Override PartName="/ppt/slideLayouts/slideLayout5280.xml" ContentType="application/vnd.openxmlformats-officedocument.presentationml.slideLayout+xml"/>
  <Override PartName="/ppt/slideLayouts/slideLayout5281.xml" ContentType="application/vnd.openxmlformats-officedocument.presentationml.slideLayout+xml"/>
  <Override PartName="/ppt/slideLayouts/slideLayout5282.xml" ContentType="application/vnd.openxmlformats-officedocument.presentationml.slideLayout+xml"/>
  <Override PartName="/ppt/slideLayouts/slideLayout5283.xml" ContentType="application/vnd.openxmlformats-officedocument.presentationml.slideLayout+xml"/>
  <Override PartName="/ppt/slideLayouts/slideLayout5284.xml" ContentType="application/vnd.openxmlformats-officedocument.presentationml.slideLayout+xml"/>
  <Override PartName="/ppt/slideLayouts/slideLayout5285.xml" ContentType="application/vnd.openxmlformats-officedocument.presentationml.slideLayout+xml"/>
  <Override PartName="/ppt/slideLayouts/slideLayout5286.xml" ContentType="application/vnd.openxmlformats-officedocument.presentationml.slideLayout+xml"/>
  <Override PartName="/ppt/slideLayouts/slideLayout5287.xml" ContentType="application/vnd.openxmlformats-officedocument.presentationml.slideLayout+xml"/>
  <Override PartName="/ppt/slideLayouts/slideLayout5288.xml" ContentType="application/vnd.openxmlformats-officedocument.presentationml.slideLayout+xml"/>
  <Override PartName="/ppt/slideLayouts/slideLayout5289.xml" ContentType="application/vnd.openxmlformats-officedocument.presentationml.slideLayout+xml"/>
  <Override PartName="/ppt/slideLayouts/slideLayout5290.xml" ContentType="application/vnd.openxmlformats-officedocument.presentationml.slideLayout+xml"/>
  <Override PartName="/ppt/slideLayouts/slideLayout5291.xml" ContentType="application/vnd.openxmlformats-officedocument.presentationml.slideLayout+xml"/>
  <Override PartName="/ppt/slideLayouts/slideLayout5292.xml" ContentType="application/vnd.openxmlformats-officedocument.presentationml.slideLayout+xml"/>
  <Override PartName="/ppt/slideLayouts/slideLayout5293.xml" ContentType="application/vnd.openxmlformats-officedocument.presentationml.slideLayout+xml"/>
  <Override PartName="/ppt/slideLayouts/slideLayout5294.xml" ContentType="application/vnd.openxmlformats-officedocument.presentationml.slideLayout+xml"/>
  <Override PartName="/ppt/slideLayouts/slideLayout5295.xml" ContentType="application/vnd.openxmlformats-officedocument.presentationml.slideLayout+xml"/>
  <Override PartName="/ppt/slideLayouts/slideLayout5296.xml" ContentType="application/vnd.openxmlformats-officedocument.presentationml.slideLayout+xml"/>
  <Override PartName="/ppt/slideLayouts/slideLayout5297.xml" ContentType="application/vnd.openxmlformats-officedocument.presentationml.slideLayout+xml"/>
  <Override PartName="/ppt/slideLayouts/slideLayout5298.xml" ContentType="application/vnd.openxmlformats-officedocument.presentationml.slideLayout+xml"/>
  <Override PartName="/ppt/slideLayouts/slideLayout5299.xml" ContentType="application/vnd.openxmlformats-officedocument.presentationml.slideLayout+xml"/>
  <Override PartName="/ppt/slideLayouts/slideLayout5300.xml" ContentType="application/vnd.openxmlformats-officedocument.presentationml.slideLayout+xml"/>
  <Override PartName="/ppt/slideLayouts/slideLayout5301.xml" ContentType="application/vnd.openxmlformats-officedocument.presentationml.slideLayout+xml"/>
  <Override PartName="/ppt/slideLayouts/slideLayout5302.xml" ContentType="application/vnd.openxmlformats-officedocument.presentationml.slideLayout+xml"/>
  <Override PartName="/ppt/slideLayouts/slideLayout5303.xml" ContentType="application/vnd.openxmlformats-officedocument.presentationml.slideLayout+xml"/>
  <Override PartName="/ppt/slideLayouts/slideLayout5304.xml" ContentType="application/vnd.openxmlformats-officedocument.presentationml.slideLayout+xml"/>
  <Override PartName="/ppt/slideLayouts/slideLayout5305.xml" ContentType="application/vnd.openxmlformats-officedocument.presentationml.slideLayout+xml"/>
  <Override PartName="/ppt/slideLayouts/slideLayout5306.xml" ContentType="application/vnd.openxmlformats-officedocument.presentationml.slideLayout+xml"/>
  <Override PartName="/ppt/slideLayouts/slideLayout5307.xml" ContentType="application/vnd.openxmlformats-officedocument.presentationml.slideLayout+xml"/>
  <Override PartName="/ppt/slideLayouts/slideLayout5308.xml" ContentType="application/vnd.openxmlformats-officedocument.presentationml.slideLayout+xml"/>
  <Override PartName="/ppt/slideLayouts/slideLayout5309.xml" ContentType="application/vnd.openxmlformats-officedocument.presentationml.slideLayout+xml"/>
  <Override PartName="/ppt/slideLayouts/slideLayout5310.xml" ContentType="application/vnd.openxmlformats-officedocument.presentationml.slideLayout+xml"/>
  <Override PartName="/ppt/slideLayouts/slideLayout5311.xml" ContentType="application/vnd.openxmlformats-officedocument.presentationml.slideLayout+xml"/>
  <Override PartName="/ppt/slideLayouts/slideLayout5312.xml" ContentType="application/vnd.openxmlformats-officedocument.presentationml.slideLayout+xml"/>
  <Override PartName="/ppt/slideLayouts/slideLayout5313.xml" ContentType="application/vnd.openxmlformats-officedocument.presentationml.slideLayout+xml"/>
  <Override PartName="/ppt/slideLayouts/slideLayout5314.xml" ContentType="application/vnd.openxmlformats-officedocument.presentationml.slideLayout+xml"/>
  <Override PartName="/ppt/slideLayouts/slideLayout5315.xml" ContentType="application/vnd.openxmlformats-officedocument.presentationml.slideLayout+xml"/>
  <Override PartName="/ppt/slideLayouts/slideLayout5316.xml" ContentType="application/vnd.openxmlformats-officedocument.presentationml.slideLayout+xml"/>
  <Override PartName="/ppt/slideLayouts/slideLayout5317.xml" ContentType="application/vnd.openxmlformats-officedocument.presentationml.slideLayout+xml"/>
  <Override PartName="/ppt/slideLayouts/slideLayout5318.xml" ContentType="application/vnd.openxmlformats-officedocument.presentationml.slideLayout+xml"/>
  <Override PartName="/ppt/slideLayouts/slideLayout5319.xml" ContentType="application/vnd.openxmlformats-officedocument.presentationml.slideLayout+xml"/>
  <Override PartName="/ppt/slideLayouts/slideLayout5320.xml" ContentType="application/vnd.openxmlformats-officedocument.presentationml.slideLayout+xml"/>
  <Override PartName="/ppt/slideLayouts/slideLayout5321.xml" ContentType="application/vnd.openxmlformats-officedocument.presentationml.slideLayout+xml"/>
  <Override PartName="/ppt/slideLayouts/slideLayout5322.xml" ContentType="application/vnd.openxmlformats-officedocument.presentationml.slideLayout+xml"/>
  <Override PartName="/ppt/slideLayouts/slideLayout5323.xml" ContentType="application/vnd.openxmlformats-officedocument.presentationml.slideLayout+xml"/>
  <Override PartName="/ppt/slideLayouts/slideLayout5324.xml" ContentType="application/vnd.openxmlformats-officedocument.presentationml.slideLayout+xml"/>
  <Override PartName="/ppt/slideLayouts/slideLayout5325.xml" ContentType="application/vnd.openxmlformats-officedocument.presentationml.slideLayout+xml"/>
  <Override PartName="/ppt/slideLayouts/slideLayout5326.xml" ContentType="application/vnd.openxmlformats-officedocument.presentationml.slideLayout+xml"/>
  <Override PartName="/ppt/slideLayouts/slideLayout5327.xml" ContentType="application/vnd.openxmlformats-officedocument.presentationml.slideLayout+xml"/>
  <Override PartName="/ppt/slideLayouts/slideLayout5328.xml" ContentType="application/vnd.openxmlformats-officedocument.presentationml.slideLayout+xml"/>
  <Override PartName="/ppt/slideLayouts/slideLayout5329.xml" ContentType="application/vnd.openxmlformats-officedocument.presentationml.slideLayout+xml"/>
  <Override PartName="/ppt/slideLayouts/slideLayout5330.xml" ContentType="application/vnd.openxmlformats-officedocument.presentationml.slideLayout+xml"/>
  <Override PartName="/ppt/slideLayouts/slideLayout5331.xml" ContentType="application/vnd.openxmlformats-officedocument.presentationml.slideLayout+xml"/>
  <Override PartName="/ppt/slideLayouts/slideLayout5332.xml" ContentType="application/vnd.openxmlformats-officedocument.presentationml.slideLayout+xml"/>
  <Override PartName="/ppt/slideLayouts/slideLayout5333.xml" ContentType="application/vnd.openxmlformats-officedocument.presentationml.slideLayout+xml"/>
  <Override PartName="/ppt/slideLayouts/slideLayout5334.xml" ContentType="application/vnd.openxmlformats-officedocument.presentationml.slideLayout+xml"/>
  <Override PartName="/ppt/slideLayouts/slideLayout5335.xml" ContentType="application/vnd.openxmlformats-officedocument.presentationml.slideLayout+xml"/>
  <Override PartName="/ppt/slideLayouts/slideLayout5336.xml" ContentType="application/vnd.openxmlformats-officedocument.presentationml.slideLayout+xml"/>
  <Override PartName="/ppt/slideLayouts/slideLayout5337.xml" ContentType="application/vnd.openxmlformats-officedocument.presentationml.slideLayout+xml"/>
  <Override PartName="/ppt/slideLayouts/slideLayout5338.xml" ContentType="application/vnd.openxmlformats-officedocument.presentationml.slideLayout+xml"/>
  <Override PartName="/ppt/slideLayouts/slideLayout5339.xml" ContentType="application/vnd.openxmlformats-officedocument.presentationml.slideLayout+xml"/>
  <Override PartName="/ppt/slideLayouts/slideLayout5340.xml" ContentType="application/vnd.openxmlformats-officedocument.presentationml.slideLayout+xml"/>
  <Override PartName="/ppt/slideLayouts/slideLayout5341.xml" ContentType="application/vnd.openxmlformats-officedocument.presentationml.slideLayout+xml"/>
  <Override PartName="/ppt/slideLayouts/slideLayout5342.xml" ContentType="application/vnd.openxmlformats-officedocument.presentationml.slideLayout+xml"/>
  <Override PartName="/ppt/slideLayouts/slideLayout5343.xml" ContentType="application/vnd.openxmlformats-officedocument.presentationml.slideLayout+xml"/>
  <Override PartName="/ppt/slideLayouts/slideLayout5344.xml" ContentType="application/vnd.openxmlformats-officedocument.presentationml.slideLayout+xml"/>
  <Override PartName="/ppt/slideLayouts/slideLayout5345.xml" ContentType="application/vnd.openxmlformats-officedocument.presentationml.slideLayout+xml"/>
  <Override PartName="/ppt/slideLayouts/slideLayout5346.xml" ContentType="application/vnd.openxmlformats-officedocument.presentationml.slideLayout+xml"/>
  <Override PartName="/ppt/slideLayouts/slideLayout5347.xml" ContentType="application/vnd.openxmlformats-officedocument.presentationml.slideLayout+xml"/>
  <Override PartName="/ppt/slideLayouts/slideLayout5348.xml" ContentType="application/vnd.openxmlformats-officedocument.presentationml.slideLayout+xml"/>
  <Override PartName="/ppt/slideLayouts/slideLayout5349.xml" ContentType="application/vnd.openxmlformats-officedocument.presentationml.slideLayout+xml"/>
  <Override PartName="/ppt/slideLayouts/slideLayout5350.xml" ContentType="application/vnd.openxmlformats-officedocument.presentationml.slideLayout+xml"/>
  <Override PartName="/ppt/slideLayouts/slideLayout5351.xml" ContentType="application/vnd.openxmlformats-officedocument.presentationml.slideLayout+xml"/>
  <Override PartName="/ppt/slideLayouts/slideLayout5352.xml" ContentType="application/vnd.openxmlformats-officedocument.presentationml.slideLayout+xml"/>
  <Override PartName="/ppt/slideLayouts/slideLayout5353.xml" ContentType="application/vnd.openxmlformats-officedocument.presentationml.slideLayout+xml"/>
  <Override PartName="/ppt/slideLayouts/slideLayout5354.xml" ContentType="application/vnd.openxmlformats-officedocument.presentationml.slideLayout+xml"/>
  <Override PartName="/ppt/slideLayouts/slideLayout5355.xml" ContentType="application/vnd.openxmlformats-officedocument.presentationml.slideLayout+xml"/>
  <Override PartName="/ppt/slideLayouts/slideLayout5356.xml" ContentType="application/vnd.openxmlformats-officedocument.presentationml.slideLayout+xml"/>
  <Override PartName="/ppt/slideLayouts/slideLayout5357.xml" ContentType="application/vnd.openxmlformats-officedocument.presentationml.slideLayout+xml"/>
  <Override PartName="/ppt/slideLayouts/slideLayout5358.xml" ContentType="application/vnd.openxmlformats-officedocument.presentationml.slideLayout+xml"/>
  <Override PartName="/ppt/slideLayouts/slideLayout5359.xml" ContentType="application/vnd.openxmlformats-officedocument.presentationml.slideLayout+xml"/>
  <Override PartName="/ppt/slideLayouts/slideLayout5360.xml" ContentType="application/vnd.openxmlformats-officedocument.presentationml.slideLayout+xml"/>
  <Override PartName="/ppt/slideLayouts/slideLayout5361.xml" ContentType="application/vnd.openxmlformats-officedocument.presentationml.slideLayout+xml"/>
  <Override PartName="/ppt/slideLayouts/slideLayout5362.xml" ContentType="application/vnd.openxmlformats-officedocument.presentationml.slideLayout+xml"/>
  <Override PartName="/ppt/slideLayouts/slideLayout5363.xml" ContentType="application/vnd.openxmlformats-officedocument.presentationml.slideLayout+xml"/>
  <Override PartName="/ppt/slideLayouts/slideLayout5364.xml" ContentType="application/vnd.openxmlformats-officedocument.presentationml.slideLayout+xml"/>
  <Override PartName="/ppt/slideLayouts/slideLayout5365.xml" ContentType="application/vnd.openxmlformats-officedocument.presentationml.slideLayout+xml"/>
  <Override PartName="/ppt/slideLayouts/slideLayout5366.xml" ContentType="application/vnd.openxmlformats-officedocument.presentationml.slideLayout+xml"/>
  <Override PartName="/ppt/slideLayouts/slideLayout5367.xml" ContentType="application/vnd.openxmlformats-officedocument.presentationml.slideLayout+xml"/>
  <Override PartName="/ppt/slideLayouts/slideLayout5368.xml" ContentType="application/vnd.openxmlformats-officedocument.presentationml.slideLayout+xml"/>
  <Override PartName="/ppt/slideLayouts/slideLayout5369.xml" ContentType="application/vnd.openxmlformats-officedocument.presentationml.slideLayout+xml"/>
  <Override PartName="/ppt/slideLayouts/slideLayout5370.xml" ContentType="application/vnd.openxmlformats-officedocument.presentationml.slideLayout+xml"/>
  <Override PartName="/ppt/slideLayouts/slideLayout5371.xml" ContentType="application/vnd.openxmlformats-officedocument.presentationml.slideLayout+xml"/>
  <Override PartName="/ppt/slideLayouts/slideLayout5372.xml" ContentType="application/vnd.openxmlformats-officedocument.presentationml.slideLayout+xml"/>
  <Override PartName="/ppt/slideLayouts/slideLayout5373.xml" ContentType="application/vnd.openxmlformats-officedocument.presentationml.slideLayout+xml"/>
  <Override PartName="/ppt/slideLayouts/slideLayout5374.xml" ContentType="application/vnd.openxmlformats-officedocument.presentationml.slideLayout+xml"/>
  <Override PartName="/ppt/slideLayouts/slideLayout5375.xml" ContentType="application/vnd.openxmlformats-officedocument.presentationml.slideLayout+xml"/>
  <Override PartName="/ppt/slideLayouts/slideLayout5376.xml" ContentType="application/vnd.openxmlformats-officedocument.presentationml.slideLayout+xml"/>
  <Override PartName="/ppt/slideLayouts/slideLayout5377.xml" ContentType="application/vnd.openxmlformats-officedocument.presentationml.slideLayout+xml"/>
  <Override PartName="/ppt/slideLayouts/slideLayout5378.xml" ContentType="application/vnd.openxmlformats-officedocument.presentationml.slideLayout+xml"/>
  <Override PartName="/ppt/slideLayouts/slideLayout5379.xml" ContentType="application/vnd.openxmlformats-officedocument.presentationml.slideLayout+xml"/>
  <Override PartName="/ppt/slideLayouts/slideLayout5380.xml" ContentType="application/vnd.openxmlformats-officedocument.presentationml.slideLayout+xml"/>
  <Override PartName="/ppt/slideLayouts/slideLayout5381.xml" ContentType="application/vnd.openxmlformats-officedocument.presentationml.slideLayout+xml"/>
  <Override PartName="/ppt/slideLayouts/slideLayout5382.xml" ContentType="application/vnd.openxmlformats-officedocument.presentationml.slideLayout+xml"/>
  <Override PartName="/ppt/slideLayouts/slideLayout5383.xml" ContentType="application/vnd.openxmlformats-officedocument.presentationml.slideLayout+xml"/>
  <Override PartName="/ppt/slideLayouts/slideLayout5384.xml" ContentType="application/vnd.openxmlformats-officedocument.presentationml.slideLayout+xml"/>
  <Override PartName="/ppt/slideLayouts/slideLayout5385.xml" ContentType="application/vnd.openxmlformats-officedocument.presentationml.slideLayout+xml"/>
  <Override PartName="/ppt/slideLayouts/slideLayout5386.xml" ContentType="application/vnd.openxmlformats-officedocument.presentationml.slideLayout+xml"/>
  <Override PartName="/ppt/slideLayouts/slideLayout5387.xml" ContentType="application/vnd.openxmlformats-officedocument.presentationml.slideLayout+xml"/>
  <Override PartName="/ppt/slideLayouts/slideLayout5388.xml" ContentType="application/vnd.openxmlformats-officedocument.presentationml.slideLayout+xml"/>
  <Override PartName="/ppt/slideLayouts/slideLayout5389.xml" ContentType="application/vnd.openxmlformats-officedocument.presentationml.slideLayout+xml"/>
  <Override PartName="/ppt/slideLayouts/slideLayout5390.xml" ContentType="application/vnd.openxmlformats-officedocument.presentationml.slideLayout+xml"/>
  <Override PartName="/ppt/slideLayouts/slideLayout5391.xml" ContentType="application/vnd.openxmlformats-officedocument.presentationml.slideLayout+xml"/>
  <Override PartName="/ppt/slideLayouts/slideLayout5392.xml" ContentType="application/vnd.openxmlformats-officedocument.presentationml.slideLayout+xml"/>
  <Override PartName="/ppt/slideLayouts/slideLayout5393.xml" ContentType="application/vnd.openxmlformats-officedocument.presentationml.slideLayout+xml"/>
  <Override PartName="/ppt/slideLayouts/slideLayout5394.xml" ContentType="application/vnd.openxmlformats-officedocument.presentationml.slideLayout+xml"/>
  <Override PartName="/ppt/slideLayouts/slideLayout5395.xml" ContentType="application/vnd.openxmlformats-officedocument.presentationml.slideLayout+xml"/>
  <Override PartName="/ppt/slideLayouts/slideLayout5396.xml" ContentType="application/vnd.openxmlformats-officedocument.presentationml.slideLayout+xml"/>
  <Override PartName="/ppt/slideLayouts/slideLayout5397.xml" ContentType="application/vnd.openxmlformats-officedocument.presentationml.slideLayout+xml"/>
  <Override PartName="/ppt/slideLayouts/slideLayout5398.xml" ContentType="application/vnd.openxmlformats-officedocument.presentationml.slideLayout+xml"/>
  <Override PartName="/ppt/slideLayouts/slideLayout5399.xml" ContentType="application/vnd.openxmlformats-officedocument.presentationml.slideLayout+xml"/>
  <Override PartName="/ppt/slideLayouts/slideLayout5400.xml" ContentType="application/vnd.openxmlformats-officedocument.presentationml.slideLayout+xml"/>
  <Override PartName="/ppt/slideLayouts/slideLayout5401.xml" ContentType="application/vnd.openxmlformats-officedocument.presentationml.slideLayout+xml"/>
  <Override PartName="/ppt/slideLayouts/slideLayout5402.xml" ContentType="application/vnd.openxmlformats-officedocument.presentationml.slideLayout+xml"/>
  <Override PartName="/ppt/slideLayouts/slideLayout5403.xml" ContentType="application/vnd.openxmlformats-officedocument.presentationml.slideLayout+xml"/>
  <Override PartName="/ppt/slideLayouts/slideLayout5404.xml" ContentType="application/vnd.openxmlformats-officedocument.presentationml.slideLayout+xml"/>
  <Override PartName="/ppt/slideLayouts/slideLayout5405.xml" ContentType="application/vnd.openxmlformats-officedocument.presentationml.slideLayout+xml"/>
  <Override PartName="/ppt/slideLayouts/slideLayout5406.xml" ContentType="application/vnd.openxmlformats-officedocument.presentationml.slideLayout+xml"/>
  <Override PartName="/ppt/slideLayouts/slideLayout5407.xml" ContentType="application/vnd.openxmlformats-officedocument.presentationml.slideLayout+xml"/>
  <Override PartName="/ppt/slideLayouts/slideLayout5408.xml" ContentType="application/vnd.openxmlformats-officedocument.presentationml.slideLayout+xml"/>
  <Override PartName="/ppt/slideLayouts/slideLayout5409.xml" ContentType="application/vnd.openxmlformats-officedocument.presentationml.slideLayout+xml"/>
  <Override PartName="/ppt/slideLayouts/slideLayout5410.xml" ContentType="application/vnd.openxmlformats-officedocument.presentationml.slideLayout+xml"/>
  <Override PartName="/ppt/slideLayouts/slideLayout5411.xml" ContentType="application/vnd.openxmlformats-officedocument.presentationml.slideLayout+xml"/>
  <Override PartName="/ppt/slideLayouts/slideLayout5412.xml" ContentType="application/vnd.openxmlformats-officedocument.presentationml.slideLayout+xml"/>
  <Override PartName="/ppt/slideLayouts/slideLayout5413.xml" ContentType="application/vnd.openxmlformats-officedocument.presentationml.slideLayout+xml"/>
  <Override PartName="/ppt/slideLayouts/slideLayout5414.xml" ContentType="application/vnd.openxmlformats-officedocument.presentationml.slideLayout+xml"/>
  <Override PartName="/ppt/slideLayouts/slideLayout5415.xml" ContentType="application/vnd.openxmlformats-officedocument.presentationml.slideLayout+xml"/>
  <Override PartName="/ppt/slideLayouts/slideLayout5416.xml" ContentType="application/vnd.openxmlformats-officedocument.presentationml.slideLayout+xml"/>
  <Override PartName="/ppt/slideLayouts/slideLayout5417.xml" ContentType="application/vnd.openxmlformats-officedocument.presentationml.slideLayout+xml"/>
  <Override PartName="/ppt/slideLayouts/slideLayout5418.xml" ContentType="application/vnd.openxmlformats-officedocument.presentationml.slideLayout+xml"/>
  <Override PartName="/ppt/slideLayouts/slideLayout5419.xml" ContentType="application/vnd.openxmlformats-officedocument.presentationml.slideLayout+xml"/>
  <Override PartName="/ppt/slideLayouts/slideLayout5420.xml" ContentType="application/vnd.openxmlformats-officedocument.presentationml.slideLayout+xml"/>
  <Override PartName="/ppt/slideLayouts/slideLayout5421.xml" ContentType="application/vnd.openxmlformats-officedocument.presentationml.slideLayout+xml"/>
  <Override PartName="/ppt/slideLayouts/slideLayout5422.xml" ContentType="application/vnd.openxmlformats-officedocument.presentationml.slideLayout+xml"/>
  <Override PartName="/ppt/slideLayouts/slideLayout5423.xml" ContentType="application/vnd.openxmlformats-officedocument.presentationml.slideLayout+xml"/>
  <Override PartName="/ppt/slideLayouts/slideLayout5424.xml" ContentType="application/vnd.openxmlformats-officedocument.presentationml.slideLayout+xml"/>
  <Override PartName="/ppt/slideLayouts/slideLayout5425.xml" ContentType="application/vnd.openxmlformats-officedocument.presentationml.slideLayout+xml"/>
  <Override PartName="/ppt/slideLayouts/slideLayout5426.xml" ContentType="application/vnd.openxmlformats-officedocument.presentationml.slideLayout+xml"/>
  <Override PartName="/ppt/slideLayouts/slideLayout5427.xml" ContentType="application/vnd.openxmlformats-officedocument.presentationml.slideLayout+xml"/>
  <Override PartName="/ppt/slideLayouts/slideLayout5428.xml" ContentType="application/vnd.openxmlformats-officedocument.presentationml.slideLayout+xml"/>
  <Override PartName="/ppt/slideLayouts/slideLayout5429.xml" ContentType="application/vnd.openxmlformats-officedocument.presentationml.slideLayout+xml"/>
  <Override PartName="/ppt/slideLayouts/slideLayout5430.xml" ContentType="application/vnd.openxmlformats-officedocument.presentationml.slideLayout+xml"/>
  <Override PartName="/ppt/slideLayouts/slideLayout5431.xml" ContentType="application/vnd.openxmlformats-officedocument.presentationml.slideLayout+xml"/>
  <Override PartName="/ppt/slideLayouts/slideLayout5432.xml" ContentType="application/vnd.openxmlformats-officedocument.presentationml.slideLayout+xml"/>
  <Override PartName="/ppt/slideLayouts/slideLayout5433.xml" ContentType="application/vnd.openxmlformats-officedocument.presentationml.slideLayout+xml"/>
  <Override PartName="/ppt/slideLayouts/slideLayout5434.xml" ContentType="application/vnd.openxmlformats-officedocument.presentationml.slideLayout+xml"/>
  <Override PartName="/ppt/slideLayouts/slideLayout5435.xml" ContentType="application/vnd.openxmlformats-officedocument.presentationml.slideLayout+xml"/>
  <Override PartName="/ppt/slideLayouts/slideLayout5436.xml" ContentType="application/vnd.openxmlformats-officedocument.presentationml.slideLayout+xml"/>
  <Override PartName="/ppt/slideLayouts/slideLayout5437.xml" ContentType="application/vnd.openxmlformats-officedocument.presentationml.slideLayout+xml"/>
  <Override PartName="/ppt/slideLayouts/slideLayout5438.xml" ContentType="application/vnd.openxmlformats-officedocument.presentationml.slideLayout+xml"/>
  <Override PartName="/ppt/slideLayouts/slideLayout5439.xml" ContentType="application/vnd.openxmlformats-officedocument.presentationml.slideLayout+xml"/>
  <Override PartName="/ppt/slideLayouts/slideLayout5440.xml" ContentType="application/vnd.openxmlformats-officedocument.presentationml.slideLayout+xml"/>
  <Override PartName="/ppt/slideLayouts/slideLayout5441.xml" ContentType="application/vnd.openxmlformats-officedocument.presentationml.slideLayout+xml"/>
  <Override PartName="/ppt/slideLayouts/slideLayout5442.xml" ContentType="application/vnd.openxmlformats-officedocument.presentationml.slideLayout+xml"/>
  <Override PartName="/ppt/slideLayouts/slideLayout5443.xml" ContentType="application/vnd.openxmlformats-officedocument.presentationml.slideLayout+xml"/>
  <Override PartName="/ppt/slideLayouts/slideLayout5444.xml" ContentType="application/vnd.openxmlformats-officedocument.presentationml.slideLayout+xml"/>
  <Override PartName="/ppt/slideLayouts/slideLayout5445.xml" ContentType="application/vnd.openxmlformats-officedocument.presentationml.slideLayout+xml"/>
  <Override PartName="/ppt/slideLayouts/slideLayout5446.xml" ContentType="application/vnd.openxmlformats-officedocument.presentationml.slideLayout+xml"/>
  <Override PartName="/ppt/slideLayouts/slideLayout5447.xml" ContentType="application/vnd.openxmlformats-officedocument.presentationml.slideLayout+xml"/>
  <Override PartName="/ppt/slideLayouts/slideLayout5448.xml" ContentType="application/vnd.openxmlformats-officedocument.presentationml.slideLayout+xml"/>
  <Override PartName="/ppt/slideLayouts/slideLayout5449.xml" ContentType="application/vnd.openxmlformats-officedocument.presentationml.slideLayout+xml"/>
  <Override PartName="/ppt/slideLayouts/slideLayout5450.xml" ContentType="application/vnd.openxmlformats-officedocument.presentationml.slideLayout+xml"/>
  <Override PartName="/ppt/slideLayouts/slideLayout5451.xml" ContentType="application/vnd.openxmlformats-officedocument.presentationml.slideLayout+xml"/>
  <Override PartName="/ppt/slideLayouts/slideLayout5452.xml" ContentType="application/vnd.openxmlformats-officedocument.presentationml.slideLayout+xml"/>
  <Override PartName="/ppt/slideLayouts/slideLayout5453.xml" ContentType="application/vnd.openxmlformats-officedocument.presentationml.slideLayout+xml"/>
  <Override PartName="/ppt/slideLayouts/slideLayout5454.xml" ContentType="application/vnd.openxmlformats-officedocument.presentationml.slideLayout+xml"/>
  <Override PartName="/ppt/slideLayouts/slideLayout5455.xml" ContentType="application/vnd.openxmlformats-officedocument.presentationml.slideLayout+xml"/>
  <Override PartName="/ppt/slideLayouts/slideLayout5456.xml" ContentType="application/vnd.openxmlformats-officedocument.presentationml.slideLayout+xml"/>
  <Override PartName="/ppt/slideLayouts/slideLayout5457.xml" ContentType="application/vnd.openxmlformats-officedocument.presentationml.slideLayout+xml"/>
  <Override PartName="/ppt/slideLayouts/slideLayout5458.xml" ContentType="application/vnd.openxmlformats-officedocument.presentationml.slideLayout+xml"/>
  <Override PartName="/ppt/slideLayouts/slideLayout5459.xml" ContentType="application/vnd.openxmlformats-officedocument.presentationml.slideLayout+xml"/>
  <Override PartName="/ppt/slideLayouts/slideLayout5460.xml" ContentType="application/vnd.openxmlformats-officedocument.presentationml.slideLayout+xml"/>
  <Override PartName="/ppt/slideLayouts/slideLayout5461.xml" ContentType="application/vnd.openxmlformats-officedocument.presentationml.slideLayout+xml"/>
  <Override PartName="/ppt/slideLayouts/slideLayout5462.xml" ContentType="application/vnd.openxmlformats-officedocument.presentationml.slideLayout+xml"/>
  <Override PartName="/ppt/slideLayouts/slideLayout5463.xml" ContentType="application/vnd.openxmlformats-officedocument.presentationml.slideLayout+xml"/>
  <Override PartName="/ppt/slideLayouts/slideLayout5464.xml" ContentType="application/vnd.openxmlformats-officedocument.presentationml.slideLayout+xml"/>
  <Override PartName="/ppt/slideLayouts/slideLayout5465.xml" ContentType="application/vnd.openxmlformats-officedocument.presentationml.slideLayout+xml"/>
  <Override PartName="/ppt/slideLayouts/slideLayout5466.xml" ContentType="application/vnd.openxmlformats-officedocument.presentationml.slideLayout+xml"/>
  <Override PartName="/ppt/slideLayouts/slideLayout5467.xml" ContentType="application/vnd.openxmlformats-officedocument.presentationml.slideLayout+xml"/>
  <Override PartName="/ppt/slideLayouts/slideLayout5468.xml" ContentType="application/vnd.openxmlformats-officedocument.presentationml.slideLayout+xml"/>
  <Override PartName="/ppt/slideLayouts/slideLayout5469.xml" ContentType="application/vnd.openxmlformats-officedocument.presentationml.slideLayout+xml"/>
  <Override PartName="/ppt/slideLayouts/slideLayout5470.xml" ContentType="application/vnd.openxmlformats-officedocument.presentationml.slideLayout+xml"/>
  <Override PartName="/ppt/slideLayouts/slideLayout5471.xml" ContentType="application/vnd.openxmlformats-officedocument.presentationml.slideLayout+xml"/>
  <Override PartName="/ppt/slideLayouts/slideLayout5472.xml" ContentType="application/vnd.openxmlformats-officedocument.presentationml.slideLayout+xml"/>
  <Override PartName="/ppt/slideLayouts/slideLayout5473.xml" ContentType="application/vnd.openxmlformats-officedocument.presentationml.slideLayout+xml"/>
  <Override PartName="/ppt/slideLayouts/slideLayout5474.xml" ContentType="application/vnd.openxmlformats-officedocument.presentationml.slideLayout+xml"/>
  <Override PartName="/ppt/slideLayouts/slideLayout5475.xml" ContentType="application/vnd.openxmlformats-officedocument.presentationml.slideLayout+xml"/>
  <Override PartName="/ppt/slideLayouts/slideLayout5476.xml" ContentType="application/vnd.openxmlformats-officedocument.presentationml.slideLayout+xml"/>
  <Override PartName="/ppt/slideLayouts/slideLayout5477.xml" ContentType="application/vnd.openxmlformats-officedocument.presentationml.slideLayout+xml"/>
  <Override PartName="/ppt/slideLayouts/slideLayout5478.xml" ContentType="application/vnd.openxmlformats-officedocument.presentationml.slideLayout+xml"/>
  <Override PartName="/ppt/slideLayouts/slideLayout5479.xml" ContentType="application/vnd.openxmlformats-officedocument.presentationml.slideLayout+xml"/>
  <Override PartName="/ppt/slideLayouts/slideLayout5480.xml" ContentType="application/vnd.openxmlformats-officedocument.presentationml.slideLayout+xml"/>
  <Override PartName="/ppt/slideLayouts/slideLayout5481.xml" ContentType="application/vnd.openxmlformats-officedocument.presentationml.slideLayout+xml"/>
  <Override PartName="/ppt/slideLayouts/slideLayout5482.xml" ContentType="application/vnd.openxmlformats-officedocument.presentationml.slideLayout+xml"/>
  <Override PartName="/ppt/slideLayouts/slideLayout5483.xml" ContentType="application/vnd.openxmlformats-officedocument.presentationml.slideLayout+xml"/>
  <Override PartName="/ppt/slideLayouts/slideLayout5484.xml" ContentType="application/vnd.openxmlformats-officedocument.presentationml.slideLayout+xml"/>
  <Override PartName="/ppt/slideLayouts/slideLayout5485.xml" ContentType="application/vnd.openxmlformats-officedocument.presentationml.slideLayout+xml"/>
  <Override PartName="/ppt/slideLayouts/slideLayout5486.xml" ContentType="application/vnd.openxmlformats-officedocument.presentationml.slideLayout+xml"/>
  <Override PartName="/ppt/slideLayouts/slideLayout5487.xml" ContentType="application/vnd.openxmlformats-officedocument.presentationml.slideLayout+xml"/>
  <Override PartName="/ppt/slideLayouts/slideLayout5488.xml" ContentType="application/vnd.openxmlformats-officedocument.presentationml.slideLayout+xml"/>
  <Override PartName="/ppt/slideLayouts/slideLayout5489.xml" ContentType="application/vnd.openxmlformats-officedocument.presentationml.slideLayout+xml"/>
  <Override PartName="/ppt/slideLayouts/slideLayout5490.xml" ContentType="application/vnd.openxmlformats-officedocument.presentationml.slideLayout+xml"/>
  <Override PartName="/ppt/slideLayouts/slideLayout5491.xml" ContentType="application/vnd.openxmlformats-officedocument.presentationml.slideLayout+xml"/>
  <Override PartName="/ppt/slideLayouts/slideLayout5492.xml" ContentType="application/vnd.openxmlformats-officedocument.presentationml.slideLayout+xml"/>
  <Override PartName="/ppt/slideLayouts/slideLayout5493.xml" ContentType="application/vnd.openxmlformats-officedocument.presentationml.slideLayout+xml"/>
  <Override PartName="/ppt/slideLayouts/slideLayout5494.xml" ContentType="application/vnd.openxmlformats-officedocument.presentationml.slideLayout+xml"/>
  <Override PartName="/ppt/slideLayouts/slideLayout5495.xml" ContentType="application/vnd.openxmlformats-officedocument.presentationml.slideLayout+xml"/>
  <Override PartName="/ppt/slideLayouts/slideLayout5496.xml" ContentType="application/vnd.openxmlformats-officedocument.presentationml.slideLayout+xml"/>
  <Override PartName="/ppt/slideLayouts/slideLayout5497.xml" ContentType="application/vnd.openxmlformats-officedocument.presentationml.slideLayout+xml"/>
  <Override PartName="/ppt/slideLayouts/slideLayout5498.xml" ContentType="application/vnd.openxmlformats-officedocument.presentationml.slideLayout+xml"/>
  <Override PartName="/ppt/slideLayouts/slideLayout5499.xml" ContentType="application/vnd.openxmlformats-officedocument.presentationml.slideLayout+xml"/>
  <Override PartName="/ppt/slideLayouts/slideLayout5500.xml" ContentType="application/vnd.openxmlformats-officedocument.presentationml.slideLayout+xml"/>
  <Override PartName="/ppt/slideLayouts/slideLayout5501.xml" ContentType="application/vnd.openxmlformats-officedocument.presentationml.slideLayout+xml"/>
  <Override PartName="/ppt/slideLayouts/slideLayout5502.xml" ContentType="application/vnd.openxmlformats-officedocument.presentationml.slideLayout+xml"/>
  <Override PartName="/ppt/slideLayouts/slideLayout5503.xml" ContentType="application/vnd.openxmlformats-officedocument.presentationml.slideLayout+xml"/>
  <Override PartName="/ppt/slideLayouts/slideLayout5504.xml" ContentType="application/vnd.openxmlformats-officedocument.presentationml.slideLayout+xml"/>
  <Override PartName="/ppt/slideLayouts/slideLayout5505.xml" ContentType="application/vnd.openxmlformats-officedocument.presentationml.slideLayout+xml"/>
  <Override PartName="/ppt/slideLayouts/slideLayout5506.xml" ContentType="application/vnd.openxmlformats-officedocument.presentationml.slideLayout+xml"/>
  <Override PartName="/ppt/slideLayouts/slideLayout5507.xml" ContentType="application/vnd.openxmlformats-officedocument.presentationml.slideLayout+xml"/>
  <Override PartName="/ppt/slideLayouts/slideLayout5508.xml" ContentType="application/vnd.openxmlformats-officedocument.presentationml.slideLayout+xml"/>
  <Override PartName="/ppt/slideLayouts/slideLayout5509.xml" ContentType="application/vnd.openxmlformats-officedocument.presentationml.slideLayout+xml"/>
  <Override PartName="/ppt/slideLayouts/slideLayout5510.xml" ContentType="application/vnd.openxmlformats-officedocument.presentationml.slideLayout+xml"/>
  <Override PartName="/ppt/slideLayouts/slideLayout5511.xml" ContentType="application/vnd.openxmlformats-officedocument.presentationml.slideLayout+xml"/>
  <Override PartName="/ppt/slideLayouts/slideLayout5512.xml" ContentType="application/vnd.openxmlformats-officedocument.presentationml.slideLayout+xml"/>
  <Override PartName="/ppt/slideLayouts/slideLayout5513.xml" ContentType="application/vnd.openxmlformats-officedocument.presentationml.slideLayout+xml"/>
  <Override PartName="/ppt/slideLayouts/slideLayout5514.xml" ContentType="application/vnd.openxmlformats-officedocument.presentationml.slideLayout+xml"/>
  <Override PartName="/ppt/slideLayouts/slideLayout5515.xml" ContentType="application/vnd.openxmlformats-officedocument.presentationml.slideLayout+xml"/>
  <Override PartName="/ppt/slideLayouts/slideLayout5516.xml" ContentType="application/vnd.openxmlformats-officedocument.presentationml.slideLayout+xml"/>
  <Override PartName="/ppt/slideLayouts/slideLayout5517.xml" ContentType="application/vnd.openxmlformats-officedocument.presentationml.slideLayout+xml"/>
  <Override PartName="/ppt/slideLayouts/slideLayout5518.xml" ContentType="application/vnd.openxmlformats-officedocument.presentationml.slideLayout+xml"/>
  <Override PartName="/ppt/slideLayouts/slideLayout5519.xml" ContentType="application/vnd.openxmlformats-officedocument.presentationml.slideLayout+xml"/>
  <Override PartName="/ppt/slideLayouts/slideLayout5520.xml" ContentType="application/vnd.openxmlformats-officedocument.presentationml.slideLayout+xml"/>
  <Override PartName="/ppt/slideLayouts/slideLayout5521.xml" ContentType="application/vnd.openxmlformats-officedocument.presentationml.slideLayout+xml"/>
  <Override PartName="/ppt/slideLayouts/slideLayout5522.xml" ContentType="application/vnd.openxmlformats-officedocument.presentationml.slideLayout+xml"/>
  <Override PartName="/ppt/slideLayouts/slideLayout5523.xml" ContentType="application/vnd.openxmlformats-officedocument.presentationml.slideLayout+xml"/>
  <Override PartName="/ppt/slideLayouts/slideLayout5524.xml" ContentType="application/vnd.openxmlformats-officedocument.presentationml.slideLayout+xml"/>
  <Override PartName="/ppt/slideLayouts/slideLayout5525.xml" ContentType="application/vnd.openxmlformats-officedocument.presentationml.slideLayout+xml"/>
  <Override PartName="/ppt/slideLayouts/slideLayout5526.xml" ContentType="application/vnd.openxmlformats-officedocument.presentationml.slideLayout+xml"/>
  <Override PartName="/ppt/slideLayouts/slideLayout5527.xml" ContentType="application/vnd.openxmlformats-officedocument.presentationml.slideLayout+xml"/>
  <Override PartName="/ppt/slideLayouts/slideLayout5528.xml" ContentType="application/vnd.openxmlformats-officedocument.presentationml.slideLayout+xml"/>
  <Override PartName="/ppt/slideLayouts/slideLayout5529.xml" ContentType="application/vnd.openxmlformats-officedocument.presentationml.slideLayout+xml"/>
  <Override PartName="/ppt/slideLayouts/slideLayout5530.xml" ContentType="application/vnd.openxmlformats-officedocument.presentationml.slideLayout+xml"/>
  <Override PartName="/ppt/slideLayouts/slideLayout5531.xml" ContentType="application/vnd.openxmlformats-officedocument.presentationml.slideLayout+xml"/>
  <Override PartName="/ppt/slideLayouts/slideLayout5532.xml" ContentType="application/vnd.openxmlformats-officedocument.presentationml.slideLayout+xml"/>
  <Override PartName="/ppt/slideLayouts/slideLayout5533.xml" ContentType="application/vnd.openxmlformats-officedocument.presentationml.slideLayout+xml"/>
  <Override PartName="/ppt/slideLayouts/slideLayout5534.xml" ContentType="application/vnd.openxmlformats-officedocument.presentationml.slideLayout+xml"/>
  <Override PartName="/ppt/slideLayouts/slideLayout5535.xml" ContentType="application/vnd.openxmlformats-officedocument.presentationml.slideLayout+xml"/>
  <Override PartName="/ppt/slideLayouts/slideLayout5536.xml" ContentType="application/vnd.openxmlformats-officedocument.presentationml.slideLayout+xml"/>
  <Override PartName="/ppt/slideLayouts/slideLayout5537.xml" ContentType="application/vnd.openxmlformats-officedocument.presentationml.slideLayout+xml"/>
  <Override PartName="/ppt/slideLayouts/slideLayout5538.xml" ContentType="application/vnd.openxmlformats-officedocument.presentationml.slideLayout+xml"/>
  <Override PartName="/ppt/slideLayouts/slideLayout5539.xml" ContentType="application/vnd.openxmlformats-officedocument.presentationml.slideLayout+xml"/>
  <Override PartName="/ppt/slideLayouts/slideLayout5540.xml" ContentType="application/vnd.openxmlformats-officedocument.presentationml.slideLayout+xml"/>
  <Override PartName="/ppt/slideLayouts/slideLayout5541.xml" ContentType="application/vnd.openxmlformats-officedocument.presentationml.slideLayout+xml"/>
  <Override PartName="/ppt/slideLayouts/slideLayout5542.xml" ContentType="application/vnd.openxmlformats-officedocument.presentationml.slideLayout+xml"/>
  <Override PartName="/ppt/slideLayouts/slideLayout5543.xml" ContentType="application/vnd.openxmlformats-officedocument.presentationml.slideLayout+xml"/>
  <Override PartName="/ppt/slideLayouts/slideLayout5544.xml" ContentType="application/vnd.openxmlformats-officedocument.presentationml.slideLayout+xml"/>
  <Override PartName="/ppt/slideLayouts/slideLayout5545.xml" ContentType="application/vnd.openxmlformats-officedocument.presentationml.slideLayout+xml"/>
  <Override PartName="/ppt/slideLayouts/slideLayout5546.xml" ContentType="application/vnd.openxmlformats-officedocument.presentationml.slideLayout+xml"/>
  <Override PartName="/ppt/slideLayouts/slideLayout5547.xml" ContentType="application/vnd.openxmlformats-officedocument.presentationml.slideLayout+xml"/>
  <Override PartName="/ppt/slideLayouts/slideLayout5548.xml" ContentType="application/vnd.openxmlformats-officedocument.presentationml.slideLayout+xml"/>
  <Override PartName="/ppt/slideLayouts/slideLayout5549.xml" ContentType="application/vnd.openxmlformats-officedocument.presentationml.slideLayout+xml"/>
  <Override PartName="/ppt/slideLayouts/slideLayout5550.xml" ContentType="application/vnd.openxmlformats-officedocument.presentationml.slideLayout+xml"/>
  <Override PartName="/ppt/slideLayouts/slideLayout5551.xml" ContentType="application/vnd.openxmlformats-officedocument.presentationml.slideLayout+xml"/>
  <Override PartName="/ppt/slideLayouts/slideLayout5552.xml" ContentType="application/vnd.openxmlformats-officedocument.presentationml.slideLayout+xml"/>
  <Override PartName="/ppt/slideLayouts/slideLayout5553.xml" ContentType="application/vnd.openxmlformats-officedocument.presentationml.slideLayout+xml"/>
  <Override PartName="/ppt/slideLayouts/slideLayout5554.xml" ContentType="application/vnd.openxmlformats-officedocument.presentationml.slideLayout+xml"/>
  <Override PartName="/ppt/slideLayouts/slideLayout5555.xml" ContentType="application/vnd.openxmlformats-officedocument.presentationml.slideLayout+xml"/>
  <Override PartName="/ppt/slideLayouts/slideLayout5556.xml" ContentType="application/vnd.openxmlformats-officedocument.presentationml.slideLayout+xml"/>
  <Override PartName="/ppt/slideLayouts/slideLayout5557.xml" ContentType="application/vnd.openxmlformats-officedocument.presentationml.slideLayout+xml"/>
  <Override PartName="/ppt/slideLayouts/slideLayout5558.xml" ContentType="application/vnd.openxmlformats-officedocument.presentationml.slideLayout+xml"/>
  <Override PartName="/ppt/slideLayouts/slideLayout5559.xml" ContentType="application/vnd.openxmlformats-officedocument.presentationml.slideLayout+xml"/>
  <Override PartName="/ppt/slideLayouts/slideLayout5560.xml" ContentType="application/vnd.openxmlformats-officedocument.presentationml.slideLayout+xml"/>
  <Override PartName="/ppt/slideLayouts/slideLayout5561.xml" ContentType="application/vnd.openxmlformats-officedocument.presentationml.slideLayout+xml"/>
  <Override PartName="/ppt/slideLayouts/slideLayout5562.xml" ContentType="application/vnd.openxmlformats-officedocument.presentationml.slideLayout+xml"/>
  <Override PartName="/ppt/slideLayouts/slideLayout5563.xml" ContentType="application/vnd.openxmlformats-officedocument.presentationml.slideLayout+xml"/>
  <Override PartName="/ppt/slideLayouts/slideLayout5564.xml" ContentType="application/vnd.openxmlformats-officedocument.presentationml.slideLayout+xml"/>
  <Override PartName="/ppt/slideLayouts/slideLayout5565.xml" ContentType="application/vnd.openxmlformats-officedocument.presentationml.slideLayout+xml"/>
  <Override PartName="/ppt/slideLayouts/slideLayout5566.xml" ContentType="application/vnd.openxmlformats-officedocument.presentationml.slideLayout+xml"/>
  <Override PartName="/ppt/slideLayouts/slideLayout5567.xml" ContentType="application/vnd.openxmlformats-officedocument.presentationml.slideLayout+xml"/>
  <Override PartName="/ppt/slideLayouts/slideLayout5568.xml" ContentType="application/vnd.openxmlformats-officedocument.presentationml.slideLayout+xml"/>
  <Override PartName="/ppt/slideLayouts/slideLayout5569.xml" ContentType="application/vnd.openxmlformats-officedocument.presentationml.slideLayout+xml"/>
  <Override PartName="/ppt/slideLayouts/slideLayout5570.xml" ContentType="application/vnd.openxmlformats-officedocument.presentationml.slideLayout+xml"/>
  <Override PartName="/ppt/slideLayouts/slideLayout5571.xml" ContentType="application/vnd.openxmlformats-officedocument.presentationml.slideLayout+xml"/>
  <Override PartName="/ppt/slideLayouts/slideLayout5572.xml" ContentType="application/vnd.openxmlformats-officedocument.presentationml.slideLayout+xml"/>
  <Override PartName="/ppt/slideLayouts/slideLayout5573.xml" ContentType="application/vnd.openxmlformats-officedocument.presentationml.slideLayout+xml"/>
  <Override PartName="/ppt/slideLayouts/slideLayout5574.xml" ContentType="application/vnd.openxmlformats-officedocument.presentationml.slideLayout+xml"/>
  <Override PartName="/ppt/slideLayouts/slideLayout5575.xml" ContentType="application/vnd.openxmlformats-officedocument.presentationml.slideLayout+xml"/>
  <Override PartName="/ppt/slideLayouts/slideLayout5576.xml" ContentType="application/vnd.openxmlformats-officedocument.presentationml.slideLayout+xml"/>
  <Override PartName="/ppt/slideLayouts/slideLayout5577.xml" ContentType="application/vnd.openxmlformats-officedocument.presentationml.slideLayout+xml"/>
  <Override PartName="/ppt/slideLayouts/slideLayout5578.xml" ContentType="application/vnd.openxmlformats-officedocument.presentationml.slideLayout+xml"/>
  <Override PartName="/ppt/slideLayouts/slideLayout5579.xml" ContentType="application/vnd.openxmlformats-officedocument.presentationml.slideLayout+xml"/>
  <Override PartName="/ppt/slideLayouts/slideLayout5580.xml" ContentType="application/vnd.openxmlformats-officedocument.presentationml.slideLayout+xml"/>
  <Override PartName="/ppt/slideLayouts/slideLayout5581.xml" ContentType="application/vnd.openxmlformats-officedocument.presentationml.slideLayout+xml"/>
  <Override PartName="/ppt/slideLayouts/slideLayout5582.xml" ContentType="application/vnd.openxmlformats-officedocument.presentationml.slideLayout+xml"/>
  <Override PartName="/ppt/slideLayouts/slideLayout5583.xml" ContentType="application/vnd.openxmlformats-officedocument.presentationml.slideLayout+xml"/>
  <Override PartName="/ppt/slideLayouts/slideLayout5584.xml" ContentType="application/vnd.openxmlformats-officedocument.presentationml.slideLayout+xml"/>
  <Override PartName="/ppt/slideLayouts/slideLayout5585.xml" ContentType="application/vnd.openxmlformats-officedocument.presentationml.slideLayout+xml"/>
  <Override PartName="/ppt/slideLayouts/slideLayout5586.xml" ContentType="application/vnd.openxmlformats-officedocument.presentationml.slideLayout+xml"/>
  <Override PartName="/ppt/slideLayouts/slideLayout5587.xml" ContentType="application/vnd.openxmlformats-officedocument.presentationml.slideLayout+xml"/>
  <Override PartName="/ppt/slideLayouts/slideLayout5588.xml" ContentType="application/vnd.openxmlformats-officedocument.presentationml.slideLayout+xml"/>
  <Override PartName="/ppt/slideLayouts/slideLayout5589.xml" ContentType="application/vnd.openxmlformats-officedocument.presentationml.slideLayout+xml"/>
  <Override PartName="/ppt/slideLayouts/slideLayout5590.xml" ContentType="application/vnd.openxmlformats-officedocument.presentationml.slideLayout+xml"/>
  <Override PartName="/ppt/slideLayouts/slideLayout5591.xml" ContentType="application/vnd.openxmlformats-officedocument.presentationml.slideLayout+xml"/>
  <Override PartName="/ppt/slideLayouts/slideLayout5592.xml" ContentType="application/vnd.openxmlformats-officedocument.presentationml.slideLayout+xml"/>
  <Override PartName="/ppt/slideLayouts/slideLayout5593.xml" ContentType="application/vnd.openxmlformats-officedocument.presentationml.slideLayout+xml"/>
  <Override PartName="/ppt/slideLayouts/slideLayout5594.xml" ContentType="application/vnd.openxmlformats-officedocument.presentationml.slideLayout+xml"/>
  <Override PartName="/ppt/slideLayouts/slideLayout5595.xml" ContentType="application/vnd.openxmlformats-officedocument.presentationml.slideLayout+xml"/>
  <Override PartName="/ppt/slideLayouts/slideLayout5596.xml" ContentType="application/vnd.openxmlformats-officedocument.presentationml.slideLayout+xml"/>
  <Override PartName="/ppt/slideLayouts/slideLayout5597.xml" ContentType="application/vnd.openxmlformats-officedocument.presentationml.slideLayout+xml"/>
  <Override PartName="/ppt/slideLayouts/slideLayout5598.xml" ContentType="application/vnd.openxmlformats-officedocument.presentationml.slideLayout+xml"/>
  <Override PartName="/ppt/slideLayouts/slideLayout5599.xml" ContentType="application/vnd.openxmlformats-officedocument.presentationml.slideLayout+xml"/>
  <Override PartName="/ppt/slideLayouts/slideLayout5600.xml" ContentType="application/vnd.openxmlformats-officedocument.presentationml.slideLayout+xml"/>
  <Override PartName="/ppt/slideLayouts/slideLayout5601.xml" ContentType="application/vnd.openxmlformats-officedocument.presentationml.slideLayout+xml"/>
  <Override PartName="/ppt/slideLayouts/slideLayout5602.xml" ContentType="application/vnd.openxmlformats-officedocument.presentationml.slideLayout+xml"/>
  <Override PartName="/ppt/slideLayouts/slideLayout5603.xml" ContentType="application/vnd.openxmlformats-officedocument.presentationml.slideLayout+xml"/>
  <Override PartName="/ppt/slideLayouts/slideLayout5604.xml" ContentType="application/vnd.openxmlformats-officedocument.presentationml.slideLayout+xml"/>
  <Override PartName="/ppt/slideLayouts/slideLayout5605.xml" ContentType="application/vnd.openxmlformats-officedocument.presentationml.slideLayout+xml"/>
  <Override PartName="/ppt/slideLayouts/slideLayout5606.xml" ContentType="application/vnd.openxmlformats-officedocument.presentationml.slideLayout+xml"/>
  <Override PartName="/ppt/slideLayouts/slideLayout5607.xml" ContentType="application/vnd.openxmlformats-officedocument.presentationml.slideLayout+xml"/>
  <Override PartName="/ppt/slideLayouts/slideLayout5608.xml" ContentType="application/vnd.openxmlformats-officedocument.presentationml.slideLayout+xml"/>
  <Override PartName="/ppt/slideLayouts/slideLayout5609.xml" ContentType="application/vnd.openxmlformats-officedocument.presentationml.slideLayout+xml"/>
  <Override PartName="/ppt/slideLayouts/slideLayout5610.xml" ContentType="application/vnd.openxmlformats-officedocument.presentationml.slideLayout+xml"/>
  <Override PartName="/ppt/slideLayouts/slideLayout5611.xml" ContentType="application/vnd.openxmlformats-officedocument.presentationml.slideLayout+xml"/>
  <Override PartName="/ppt/slideLayouts/slideLayout5612.xml" ContentType="application/vnd.openxmlformats-officedocument.presentationml.slideLayout+xml"/>
  <Override PartName="/ppt/slideLayouts/slideLayout5613.xml" ContentType="application/vnd.openxmlformats-officedocument.presentationml.slideLayout+xml"/>
  <Override PartName="/ppt/slideLayouts/slideLayout5614.xml" ContentType="application/vnd.openxmlformats-officedocument.presentationml.slideLayout+xml"/>
  <Override PartName="/ppt/slideLayouts/slideLayout5615.xml" ContentType="application/vnd.openxmlformats-officedocument.presentationml.slideLayout+xml"/>
  <Override PartName="/ppt/slideLayouts/slideLayout5616.xml" ContentType="application/vnd.openxmlformats-officedocument.presentationml.slideLayout+xml"/>
  <Override PartName="/ppt/slideLayouts/slideLayout5617.xml" ContentType="application/vnd.openxmlformats-officedocument.presentationml.slideLayout+xml"/>
  <Override PartName="/ppt/slideLayouts/slideLayout5618.xml" ContentType="application/vnd.openxmlformats-officedocument.presentationml.slideLayout+xml"/>
  <Override PartName="/ppt/slideLayouts/slideLayout5619.xml" ContentType="application/vnd.openxmlformats-officedocument.presentationml.slideLayout+xml"/>
  <Override PartName="/ppt/slideLayouts/slideLayout5620.xml" ContentType="application/vnd.openxmlformats-officedocument.presentationml.slideLayout+xml"/>
  <Override PartName="/ppt/slideLayouts/slideLayout5621.xml" ContentType="application/vnd.openxmlformats-officedocument.presentationml.slideLayout+xml"/>
  <Override PartName="/ppt/slideLayouts/slideLayout5622.xml" ContentType="application/vnd.openxmlformats-officedocument.presentationml.slideLayout+xml"/>
  <Override PartName="/ppt/slideLayouts/slideLayout5623.xml" ContentType="application/vnd.openxmlformats-officedocument.presentationml.slideLayout+xml"/>
  <Override PartName="/ppt/slideLayouts/slideLayout5624.xml" ContentType="application/vnd.openxmlformats-officedocument.presentationml.slideLayout+xml"/>
  <Override PartName="/ppt/slideLayouts/slideLayout5625.xml" ContentType="application/vnd.openxmlformats-officedocument.presentationml.slideLayout+xml"/>
  <Override PartName="/ppt/slideLayouts/slideLayout5626.xml" ContentType="application/vnd.openxmlformats-officedocument.presentationml.slideLayout+xml"/>
  <Override PartName="/ppt/slideLayouts/slideLayout5627.xml" ContentType="application/vnd.openxmlformats-officedocument.presentationml.slideLayout+xml"/>
  <Override PartName="/ppt/slideLayouts/slideLayout5628.xml" ContentType="application/vnd.openxmlformats-officedocument.presentationml.slideLayout+xml"/>
  <Override PartName="/ppt/slideLayouts/slideLayout5629.xml" ContentType="application/vnd.openxmlformats-officedocument.presentationml.slideLayout+xml"/>
  <Override PartName="/ppt/slideLayouts/slideLayout5630.xml" ContentType="application/vnd.openxmlformats-officedocument.presentationml.slideLayout+xml"/>
  <Override PartName="/ppt/slideLayouts/slideLayout5631.xml" ContentType="application/vnd.openxmlformats-officedocument.presentationml.slideLayout+xml"/>
  <Override PartName="/ppt/slideLayouts/slideLayout5632.xml" ContentType="application/vnd.openxmlformats-officedocument.presentationml.slideLayout+xml"/>
  <Override PartName="/ppt/slideLayouts/slideLayout5633.xml" ContentType="application/vnd.openxmlformats-officedocument.presentationml.slideLayout+xml"/>
  <Override PartName="/ppt/slideLayouts/slideLayout5634.xml" ContentType="application/vnd.openxmlformats-officedocument.presentationml.slideLayout+xml"/>
  <Override PartName="/ppt/slideLayouts/slideLayout5635.xml" ContentType="application/vnd.openxmlformats-officedocument.presentationml.slideLayout+xml"/>
  <Override PartName="/ppt/slideLayouts/slideLayout5636.xml" ContentType="application/vnd.openxmlformats-officedocument.presentationml.slideLayout+xml"/>
  <Override PartName="/ppt/slideLayouts/slideLayout5637.xml" ContentType="application/vnd.openxmlformats-officedocument.presentationml.slideLayout+xml"/>
  <Override PartName="/ppt/slideLayouts/slideLayout5638.xml" ContentType="application/vnd.openxmlformats-officedocument.presentationml.slideLayout+xml"/>
  <Override PartName="/ppt/slideLayouts/slideLayout5639.xml" ContentType="application/vnd.openxmlformats-officedocument.presentationml.slideLayout+xml"/>
  <Override PartName="/ppt/slideLayouts/slideLayout5640.xml" ContentType="application/vnd.openxmlformats-officedocument.presentationml.slideLayout+xml"/>
  <Override PartName="/ppt/slideLayouts/slideLayout5641.xml" ContentType="application/vnd.openxmlformats-officedocument.presentationml.slideLayout+xml"/>
  <Override PartName="/ppt/slideLayouts/slideLayout5642.xml" ContentType="application/vnd.openxmlformats-officedocument.presentationml.slideLayout+xml"/>
  <Override PartName="/ppt/slideLayouts/slideLayout5643.xml" ContentType="application/vnd.openxmlformats-officedocument.presentationml.slideLayout+xml"/>
  <Override PartName="/ppt/slideLayouts/slideLayout5644.xml" ContentType="application/vnd.openxmlformats-officedocument.presentationml.slideLayout+xml"/>
  <Override PartName="/ppt/slideLayouts/slideLayout5645.xml" ContentType="application/vnd.openxmlformats-officedocument.presentationml.slideLayout+xml"/>
  <Override PartName="/ppt/slideLayouts/slideLayout5646.xml" ContentType="application/vnd.openxmlformats-officedocument.presentationml.slideLayout+xml"/>
  <Override PartName="/ppt/slideLayouts/slideLayout5647.xml" ContentType="application/vnd.openxmlformats-officedocument.presentationml.slideLayout+xml"/>
  <Override PartName="/ppt/slideLayouts/slideLayout5648.xml" ContentType="application/vnd.openxmlformats-officedocument.presentationml.slideLayout+xml"/>
  <Override PartName="/ppt/slideLayouts/slideLayout5649.xml" ContentType="application/vnd.openxmlformats-officedocument.presentationml.slideLayout+xml"/>
  <Override PartName="/ppt/slideLayouts/slideLayout5650.xml" ContentType="application/vnd.openxmlformats-officedocument.presentationml.slideLayout+xml"/>
  <Override PartName="/ppt/slideLayouts/slideLayout5651.xml" ContentType="application/vnd.openxmlformats-officedocument.presentationml.slideLayout+xml"/>
  <Override PartName="/ppt/slideLayouts/slideLayout5652.xml" ContentType="application/vnd.openxmlformats-officedocument.presentationml.slideLayout+xml"/>
  <Override PartName="/ppt/slideLayouts/slideLayout5653.xml" ContentType="application/vnd.openxmlformats-officedocument.presentationml.slideLayout+xml"/>
  <Override PartName="/ppt/slideLayouts/slideLayout5654.xml" ContentType="application/vnd.openxmlformats-officedocument.presentationml.slideLayout+xml"/>
  <Override PartName="/ppt/slideLayouts/slideLayout5655.xml" ContentType="application/vnd.openxmlformats-officedocument.presentationml.slideLayout+xml"/>
  <Override PartName="/ppt/slideLayouts/slideLayout5656.xml" ContentType="application/vnd.openxmlformats-officedocument.presentationml.slideLayout+xml"/>
  <Override PartName="/ppt/slideLayouts/slideLayout5657.xml" ContentType="application/vnd.openxmlformats-officedocument.presentationml.slideLayout+xml"/>
  <Override PartName="/ppt/slideLayouts/slideLayout5658.xml" ContentType="application/vnd.openxmlformats-officedocument.presentationml.slideLayout+xml"/>
  <Override PartName="/ppt/slideLayouts/slideLayout5659.xml" ContentType="application/vnd.openxmlformats-officedocument.presentationml.slideLayout+xml"/>
  <Override PartName="/ppt/slideLayouts/slideLayout5660.xml" ContentType="application/vnd.openxmlformats-officedocument.presentationml.slideLayout+xml"/>
  <Override PartName="/ppt/slideLayouts/slideLayout5661.xml" ContentType="application/vnd.openxmlformats-officedocument.presentationml.slideLayout+xml"/>
  <Override PartName="/ppt/slideLayouts/slideLayout5662.xml" ContentType="application/vnd.openxmlformats-officedocument.presentationml.slideLayout+xml"/>
  <Override PartName="/ppt/slideLayouts/slideLayout5663.xml" ContentType="application/vnd.openxmlformats-officedocument.presentationml.slideLayout+xml"/>
  <Override PartName="/ppt/slideLayouts/slideLayout5664.xml" ContentType="application/vnd.openxmlformats-officedocument.presentationml.slideLayout+xml"/>
  <Override PartName="/ppt/slideLayouts/slideLayout5665.xml" ContentType="application/vnd.openxmlformats-officedocument.presentationml.slideLayout+xml"/>
  <Override PartName="/ppt/slideLayouts/slideLayout5666.xml" ContentType="application/vnd.openxmlformats-officedocument.presentationml.slideLayout+xml"/>
  <Override PartName="/ppt/slideLayouts/slideLayout5667.xml" ContentType="application/vnd.openxmlformats-officedocument.presentationml.slideLayout+xml"/>
  <Override PartName="/ppt/slideLayouts/slideLayout5668.xml" ContentType="application/vnd.openxmlformats-officedocument.presentationml.slideLayout+xml"/>
  <Override PartName="/ppt/slideLayouts/slideLayout5669.xml" ContentType="application/vnd.openxmlformats-officedocument.presentationml.slideLayout+xml"/>
  <Override PartName="/ppt/slideLayouts/slideLayout5670.xml" ContentType="application/vnd.openxmlformats-officedocument.presentationml.slideLayout+xml"/>
  <Override PartName="/ppt/slideLayouts/slideLayout5671.xml" ContentType="application/vnd.openxmlformats-officedocument.presentationml.slideLayout+xml"/>
  <Override PartName="/ppt/slideLayouts/slideLayout5672.xml" ContentType="application/vnd.openxmlformats-officedocument.presentationml.slideLayout+xml"/>
  <Override PartName="/ppt/slideLayouts/slideLayout5673.xml" ContentType="application/vnd.openxmlformats-officedocument.presentationml.slideLayout+xml"/>
  <Override PartName="/ppt/slideLayouts/slideLayout5674.xml" ContentType="application/vnd.openxmlformats-officedocument.presentationml.slideLayout+xml"/>
  <Override PartName="/ppt/slideLayouts/slideLayout5675.xml" ContentType="application/vnd.openxmlformats-officedocument.presentationml.slideLayout+xml"/>
  <Override PartName="/ppt/slideLayouts/slideLayout5676.xml" ContentType="application/vnd.openxmlformats-officedocument.presentationml.slideLayout+xml"/>
  <Override PartName="/ppt/slideLayouts/slideLayout5677.xml" ContentType="application/vnd.openxmlformats-officedocument.presentationml.slideLayout+xml"/>
  <Override PartName="/ppt/slideLayouts/slideLayout5678.xml" ContentType="application/vnd.openxmlformats-officedocument.presentationml.slideLayout+xml"/>
  <Override PartName="/ppt/slideLayouts/slideLayout5679.xml" ContentType="application/vnd.openxmlformats-officedocument.presentationml.slideLayout+xml"/>
  <Override PartName="/ppt/slideLayouts/slideLayout5680.xml" ContentType="application/vnd.openxmlformats-officedocument.presentationml.slideLayout+xml"/>
  <Override PartName="/ppt/slideLayouts/slideLayout5681.xml" ContentType="application/vnd.openxmlformats-officedocument.presentationml.slideLayout+xml"/>
  <Override PartName="/ppt/slideLayouts/slideLayout5682.xml" ContentType="application/vnd.openxmlformats-officedocument.presentationml.slideLayout+xml"/>
  <Override PartName="/ppt/slideLayouts/slideLayout5683.xml" ContentType="application/vnd.openxmlformats-officedocument.presentationml.slideLayout+xml"/>
  <Override PartName="/ppt/slideLayouts/slideLayout5684.xml" ContentType="application/vnd.openxmlformats-officedocument.presentationml.slideLayout+xml"/>
  <Override PartName="/ppt/slideLayouts/slideLayout5685.xml" ContentType="application/vnd.openxmlformats-officedocument.presentationml.slideLayout+xml"/>
  <Override PartName="/ppt/slideLayouts/slideLayout5686.xml" ContentType="application/vnd.openxmlformats-officedocument.presentationml.slideLayout+xml"/>
  <Override PartName="/ppt/slideLayouts/slideLayout5687.xml" ContentType="application/vnd.openxmlformats-officedocument.presentationml.slideLayout+xml"/>
  <Override PartName="/ppt/slideLayouts/slideLayout5688.xml" ContentType="application/vnd.openxmlformats-officedocument.presentationml.slideLayout+xml"/>
  <Override PartName="/ppt/slideLayouts/slideLayout5689.xml" ContentType="application/vnd.openxmlformats-officedocument.presentationml.slideLayout+xml"/>
  <Override PartName="/ppt/slideLayouts/slideLayout5690.xml" ContentType="application/vnd.openxmlformats-officedocument.presentationml.slideLayout+xml"/>
  <Override PartName="/ppt/slideLayouts/slideLayout5691.xml" ContentType="application/vnd.openxmlformats-officedocument.presentationml.slideLayout+xml"/>
  <Override PartName="/ppt/slideLayouts/slideLayout5692.xml" ContentType="application/vnd.openxmlformats-officedocument.presentationml.slideLayout+xml"/>
  <Override PartName="/ppt/slideLayouts/slideLayout5693.xml" ContentType="application/vnd.openxmlformats-officedocument.presentationml.slideLayout+xml"/>
  <Override PartName="/ppt/slideLayouts/slideLayout5694.xml" ContentType="application/vnd.openxmlformats-officedocument.presentationml.slideLayout+xml"/>
  <Override PartName="/ppt/slideLayouts/slideLayout5695.xml" ContentType="application/vnd.openxmlformats-officedocument.presentationml.slideLayout+xml"/>
  <Override PartName="/ppt/slideLayouts/slideLayout5696.xml" ContentType="application/vnd.openxmlformats-officedocument.presentationml.slideLayout+xml"/>
  <Override PartName="/ppt/slideLayouts/slideLayout5697.xml" ContentType="application/vnd.openxmlformats-officedocument.presentationml.slideLayout+xml"/>
  <Override PartName="/ppt/slideLayouts/slideLayout5698.xml" ContentType="application/vnd.openxmlformats-officedocument.presentationml.slideLayout+xml"/>
  <Override PartName="/ppt/slideLayouts/slideLayout5699.xml" ContentType="application/vnd.openxmlformats-officedocument.presentationml.slideLayout+xml"/>
  <Override PartName="/ppt/slideLayouts/slideLayout5700.xml" ContentType="application/vnd.openxmlformats-officedocument.presentationml.slideLayout+xml"/>
  <Override PartName="/ppt/slideLayouts/slideLayout5701.xml" ContentType="application/vnd.openxmlformats-officedocument.presentationml.slideLayout+xml"/>
  <Override PartName="/ppt/slideLayouts/slideLayout5702.xml" ContentType="application/vnd.openxmlformats-officedocument.presentationml.slideLayout+xml"/>
  <Override PartName="/ppt/slideLayouts/slideLayout5703.xml" ContentType="application/vnd.openxmlformats-officedocument.presentationml.slideLayout+xml"/>
  <Override PartName="/ppt/slideLayouts/slideLayout5704.xml" ContentType="application/vnd.openxmlformats-officedocument.presentationml.slideLayout+xml"/>
  <Override PartName="/ppt/slideLayouts/slideLayout5705.xml" ContentType="application/vnd.openxmlformats-officedocument.presentationml.slideLayout+xml"/>
  <Override PartName="/ppt/slideLayouts/slideLayout5706.xml" ContentType="application/vnd.openxmlformats-officedocument.presentationml.slideLayout+xml"/>
  <Override PartName="/ppt/slideLayouts/slideLayout5707.xml" ContentType="application/vnd.openxmlformats-officedocument.presentationml.slideLayout+xml"/>
  <Override PartName="/ppt/slideLayouts/slideLayout5708.xml" ContentType="application/vnd.openxmlformats-officedocument.presentationml.slideLayout+xml"/>
  <Override PartName="/ppt/slideLayouts/slideLayout5709.xml" ContentType="application/vnd.openxmlformats-officedocument.presentationml.slideLayout+xml"/>
  <Override PartName="/ppt/slideLayouts/slideLayout5710.xml" ContentType="application/vnd.openxmlformats-officedocument.presentationml.slideLayout+xml"/>
  <Override PartName="/ppt/slideLayouts/slideLayout5711.xml" ContentType="application/vnd.openxmlformats-officedocument.presentationml.slideLayout+xml"/>
  <Override PartName="/ppt/slideLayouts/slideLayout5712.xml" ContentType="application/vnd.openxmlformats-officedocument.presentationml.slideLayout+xml"/>
  <Override PartName="/ppt/slideLayouts/slideLayout5713.xml" ContentType="application/vnd.openxmlformats-officedocument.presentationml.slideLayout+xml"/>
  <Override PartName="/ppt/slideLayouts/slideLayout5714.xml" ContentType="application/vnd.openxmlformats-officedocument.presentationml.slideLayout+xml"/>
  <Override PartName="/ppt/slideLayouts/slideLayout5715.xml" ContentType="application/vnd.openxmlformats-officedocument.presentationml.slideLayout+xml"/>
  <Override PartName="/ppt/slideLayouts/slideLayout5716.xml" ContentType="application/vnd.openxmlformats-officedocument.presentationml.slideLayout+xml"/>
  <Override PartName="/ppt/slideLayouts/slideLayout5717.xml" ContentType="application/vnd.openxmlformats-officedocument.presentationml.slideLayout+xml"/>
  <Override PartName="/ppt/slideLayouts/slideLayout5718.xml" ContentType="application/vnd.openxmlformats-officedocument.presentationml.slideLayout+xml"/>
  <Override PartName="/ppt/slideLayouts/slideLayout5719.xml" ContentType="application/vnd.openxmlformats-officedocument.presentationml.slideLayout+xml"/>
  <Override PartName="/ppt/slideLayouts/slideLayout5720.xml" ContentType="application/vnd.openxmlformats-officedocument.presentationml.slideLayout+xml"/>
  <Override PartName="/ppt/slideLayouts/slideLayout5721.xml" ContentType="application/vnd.openxmlformats-officedocument.presentationml.slideLayout+xml"/>
  <Override PartName="/ppt/slideLayouts/slideLayout5722.xml" ContentType="application/vnd.openxmlformats-officedocument.presentationml.slideLayout+xml"/>
  <Override PartName="/ppt/slideLayouts/slideLayout5723.xml" ContentType="application/vnd.openxmlformats-officedocument.presentationml.slideLayout+xml"/>
  <Override PartName="/ppt/slideLayouts/slideLayout5724.xml" ContentType="application/vnd.openxmlformats-officedocument.presentationml.slideLayout+xml"/>
  <Override PartName="/ppt/slideLayouts/slideLayout5725.xml" ContentType="application/vnd.openxmlformats-officedocument.presentationml.slideLayout+xml"/>
  <Override PartName="/ppt/slideLayouts/slideLayout5726.xml" ContentType="application/vnd.openxmlformats-officedocument.presentationml.slideLayout+xml"/>
  <Override PartName="/ppt/slideLayouts/slideLayout5727.xml" ContentType="application/vnd.openxmlformats-officedocument.presentationml.slideLayout+xml"/>
  <Override PartName="/ppt/slideLayouts/slideLayout5728.xml" ContentType="application/vnd.openxmlformats-officedocument.presentationml.slideLayout+xml"/>
  <Override PartName="/ppt/slideLayouts/slideLayout5729.xml" ContentType="application/vnd.openxmlformats-officedocument.presentationml.slideLayout+xml"/>
  <Override PartName="/ppt/slideLayouts/slideLayout5730.xml" ContentType="application/vnd.openxmlformats-officedocument.presentationml.slideLayout+xml"/>
  <Override PartName="/ppt/slideLayouts/slideLayout5731.xml" ContentType="application/vnd.openxmlformats-officedocument.presentationml.slideLayout+xml"/>
  <Override PartName="/ppt/slideLayouts/slideLayout5732.xml" ContentType="application/vnd.openxmlformats-officedocument.presentationml.slideLayout+xml"/>
  <Override PartName="/ppt/slideLayouts/slideLayout5733.xml" ContentType="application/vnd.openxmlformats-officedocument.presentationml.slideLayout+xml"/>
  <Override PartName="/ppt/slideLayouts/slideLayout5734.xml" ContentType="application/vnd.openxmlformats-officedocument.presentationml.slideLayout+xml"/>
  <Override PartName="/ppt/slideLayouts/slideLayout5735.xml" ContentType="application/vnd.openxmlformats-officedocument.presentationml.slideLayout+xml"/>
  <Override PartName="/ppt/slideLayouts/slideLayout5736.xml" ContentType="application/vnd.openxmlformats-officedocument.presentationml.slideLayout+xml"/>
  <Override PartName="/ppt/slideLayouts/slideLayout5737.xml" ContentType="application/vnd.openxmlformats-officedocument.presentationml.slideLayout+xml"/>
  <Override PartName="/ppt/slideLayouts/slideLayout5738.xml" ContentType="application/vnd.openxmlformats-officedocument.presentationml.slideLayout+xml"/>
  <Override PartName="/ppt/slideLayouts/slideLayout5739.xml" ContentType="application/vnd.openxmlformats-officedocument.presentationml.slideLayout+xml"/>
  <Override PartName="/ppt/slideLayouts/slideLayout5740.xml" ContentType="application/vnd.openxmlformats-officedocument.presentationml.slideLayout+xml"/>
  <Override PartName="/ppt/slideLayouts/slideLayout5741.xml" ContentType="application/vnd.openxmlformats-officedocument.presentationml.slideLayout+xml"/>
  <Override PartName="/ppt/slideLayouts/slideLayout5742.xml" ContentType="application/vnd.openxmlformats-officedocument.presentationml.slideLayout+xml"/>
  <Override PartName="/ppt/slideLayouts/slideLayout5743.xml" ContentType="application/vnd.openxmlformats-officedocument.presentationml.slideLayout+xml"/>
  <Override PartName="/ppt/slideLayouts/slideLayout5744.xml" ContentType="application/vnd.openxmlformats-officedocument.presentationml.slideLayout+xml"/>
  <Override PartName="/ppt/slideLayouts/slideLayout5745.xml" ContentType="application/vnd.openxmlformats-officedocument.presentationml.slideLayout+xml"/>
  <Override PartName="/ppt/slideLayouts/slideLayout5746.xml" ContentType="application/vnd.openxmlformats-officedocument.presentationml.slideLayout+xml"/>
  <Override PartName="/ppt/slideLayouts/slideLayout5747.xml" ContentType="application/vnd.openxmlformats-officedocument.presentationml.slideLayout+xml"/>
  <Override PartName="/ppt/slideLayouts/slideLayout5748.xml" ContentType="application/vnd.openxmlformats-officedocument.presentationml.slideLayout+xml"/>
  <Override PartName="/ppt/slideLayouts/slideLayout5749.xml" ContentType="application/vnd.openxmlformats-officedocument.presentationml.slideLayout+xml"/>
  <Override PartName="/ppt/slideLayouts/slideLayout5750.xml" ContentType="application/vnd.openxmlformats-officedocument.presentationml.slideLayout+xml"/>
  <Override PartName="/ppt/slideLayouts/slideLayout5751.xml" ContentType="application/vnd.openxmlformats-officedocument.presentationml.slideLayout+xml"/>
  <Override PartName="/ppt/slideLayouts/slideLayout5752.xml" ContentType="application/vnd.openxmlformats-officedocument.presentationml.slideLayout+xml"/>
  <Override PartName="/ppt/slideLayouts/slideLayout5753.xml" ContentType="application/vnd.openxmlformats-officedocument.presentationml.slideLayout+xml"/>
  <Override PartName="/ppt/slideLayouts/slideLayout5754.xml" ContentType="application/vnd.openxmlformats-officedocument.presentationml.slideLayout+xml"/>
  <Override PartName="/ppt/slideLayouts/slideLayout5755.xml" ContentType="application/vnd.openxmlformats-officedocument.presentationml.slideLayout+xml"/>
  <Override PartName="/ppt/slideLayouts/slideLayout5756.xml" ContentType="application/vnd.openxmlformats-officedocument.presentationml.slideLayout+xml"/>
  <Override PartName="/ppt/slideLayouts/slideLayout5757.xml" ContentType="application/vnd.openxmlformats-officedocument.presentationml.slideLayout+xml"/>
  <Override PartName="/ppt/slideLayouts/slideLayout5758.xml" ContentType="application/vnd.openxmlformats-officedocument.presentationml.slideLayout+xml"/>
  <Override PartName="/ppt/slideLayouts/slideLayout5759.xml" ContentType="application/vnd.openxmlformats-officedocument.presentationml.slideLayout+xml"/>
  <Override PartName="/ppt/slideLayouts/slideLayout5760.xml" ContentType="application/vnd.openxmlformats-officedocument.presentationml.slideLayout+xml"/>
  <Override PartName="/ppt/slideLayouts/slideLayout5761.xml" ContentType="application/vnd.openxmlformats-officedocument.presentationml.slideLayout+xml"/>
  <Override PartName="/ppt/slideLayouts/slideLayout5762.xml" ContentType="application/vnd.openxmlformats-officedocument.presentationml.slideLayout+xml"/>
  <Override PartName="/ppt/slideLayouts/slideLayout5763.xml" ContentType="application/vnd.openxmlformats-officedocument.presentationml.slideLayout+xml"/>
  <Override PartName="/ppt/slideLayouts/slideLayout5764.xml" ContentType="application/vnd.openxmlformats-officedocument.presentationml.slideLayout+xml"/>
  <Override PartName="/ppt/slideLayouts/slideLayout5765.xml" ContentType="application/vnd.openxmlformats-officedocument.presentationml.slideLayout+xml"/>
  <Override PartName="/ppt/slideLayouts/slideLayout5766.xml" ContentType="application/vnd.openxmlformats-officedocument.presentationml.slideLayout+xml"/>
  <Override PartName="/ppt/slideLayouts/slideLayout5767.xml" ContentType="application/vnd.openxmlformats-officedocument.presentationml.slideLayout+xml"/>
  <Override PartName="/ppt/slideLayouts/slideLayout5768.xml" ContentType="application/vnd.openxmlformats-officedocument.presentationml.slideLayout+xml"/>
  <Override PartName="/ppt/slideLayouts/slideLayout5769.xml" ContentType="application/vnd.openxmlformats-officedocument.presentationml.slideLayout+xml"/>
  <Override PartName="/ppt/slideLayouts/slideLayout5770.xml" ContentType="application/vnd.openxmlformats-officedocument.presentationml.slideLayout+xml"/>
  <Override PartName="/ppt/slideLayouts/slideLayout5771.xml" ContentType="application/vnd.openxmlformats-officedocument.presentationml.slideLayout+xml"/>
  <Override PartName="/ppt/slideLayouts/slideLayout5772.xml" ContentType="application/vnd.openxmlformats-officedocument.presentationml.slideLayout+xml"/>
  <Override PartName="/ppt/slideLayouts/slideLayout5773.xml" ContentType="application/vnd.openxmlformats-officedocument.presentationml.slideLayout+xml"/>
  <Override PartName="/ppt/slideLayouts/slideLayout5774.xml" ContentType="application/vnd.openxmlformats-officedocument.presentationml.slideLayout+xml"/>
  <Override PartName="/ppt/slideLayouts/slideLayout5775.xml" ContentType="application/vnd.openxmlformats-officedocument.presentationml.slideLayout+xml"/>
  <Override PartName="/ppt/slideLayouts/slideLayout5776.xml" ContentType="application/vnd.openxmlformats-officedocument.presentationml.slideLayout+xml"/>
  <Override PartName="/ppt/slideLayouts/slideLayout5777.xml" ContentType="application/vnd.openxmlformats-officedocument.presentationml.slideLayout+xml"/>
  <Override PartName="/ppt/slideLayouts/slideLayout5778.xml" ContentType="application/vnd.openxmlformats-officedocument.presentationml.slideLayout+xml"/>
  <Override PartName="/ppt/slideLayouts/slideLayout5779.xml" ContentType="application/vnd.openxmlformats-officedocument.presentationml.slideLayout+xml"/>
  <Override PartName="/ppt/slideLayouts/slideLayout5780.xml" ContentType="application/vnd.openxmlformats-officedocument.presentationml.slideLayout+xml"/>
  <Override PartName="/ppt/slideLayouts/slideLayout5781.xml" ContentType="application/vnd.openxmlformats-officedocument.presentationml.slideLayout+xml"/>
  <Override PartName="/ppt/slideLayouts/slideLayout5782.xml" ContentType="application/vnd.openxmlformats-officedocument.presentationml.slideLayout+xml"/>
  <Override PartName="/ppt/slideLayouts/slideLayout5783.xml" ContentType="application/vnd.openxmlformats-officedocument.presentationml.slideLayout+xml"/>
  <Override PartName="/ppt/slideLayouts/slideLayout5784.xml" ContentType="application/vnd.openxmlformats-officedocument.presentationml.slideLayout+xml"/>
  <Override PartName="/ppt/slideLayouts/slideLayout5785.xml" ContentType="application/vnd.openxmlformats-officedocument.presentationml.slideLayout+xml"/>
  <Override PartName="/ppt/slideLayouts/slideLayout5786.xml" ContentType="application/vnd.openxmlformats-officedocument.presentationml.slideLayout+xml"/>
  <Override PartName="/ppt/slideLayouts/slideLayout5787.xml" ContentType="application/vnd.openxmlformats-officedocument.presentationml.slideLayout+xml"/>
  <Override PartName="/ppt/slideLayouts/slideLayout5788.xml" ContentType="application/vnd.openxmlformats-officedocument.presentationml.slideLayout+xml"/>
  <Override PartName="/ppt/slideLayouts/slideLayout5789.xml" ContentType="application/vnd.openxmlformats-officedocument.presentationml.slideLayout+xml"/>
  <Override PartName="/ppt/slideLayouts/slideLayout5790.xml" ContentType="application/vnd.openxmlformats-officedocument.presentationml.slideLayout+xml"/>
  <Override PartName="/ppt/slideLayouts/slideLayout5791.xml" ContentType="application/vnd.openxmlformats-officedocument.presentationml.slideLayout+xml"/>
  <Override PartName="/ppt/slideLayouts/slideLayout5792.xml" ContentType="application/vnd.openxmlformats-officedocument.presentationml.slideLayout+xml"/>
  <Override PartName="/ppt/slideLayouts/slideLayout5793.xml" ContentType="application/vnd.openxmlformats-officedocument.presentationml.slideLayout+xml"/>
  <Override PartName="/ppt/slideLayouts/slideLayout5794.xml" ContentType="application/vnd.openxmlformats-officedocument.presentationml.slideLayout+xml"/>
  <Override PartName="/ppt/slideLayouts/slideLayout5795.xml" ContentType="application/vnd.openxmlformats-officedocument.presentationml.slideLayout+xml"/>
  <Override PartName="/ppt/slideLayouts/slideLayout5796.xml" ContentType="application/vnd.openxmlformats-officedocument.presentationml.slideLayout+xml"/>
  <Override PartName="/ppt/slideLayouts/slideLayout5797.xml" ContentType="application/vnd.openxmlformats-officedocument.presentationml.slideLayout+xml"/>
  <Override PartName="/ppt/slideLayouts/slideLayout5798.xml" ContentType="application/vnd.openxmlformats-officedocument.presentationml.slideLayout+xml"/>
  <Override PartName="/ppt/slideLayouts/slideLayout5799.xml" ContentType="application/vnd.openxmlformats-officedocument.presentationml.slideLayout+xml"/>
  <Override PartName="/ppt/slideLayouts/slideLayout5800.xml" ContentType="application/vnd.openxmlformats-officedocument.presentationml.slideLayout+xml"/>
  <Override PartName="/ppt/slideLayouts/slideLayout5801.xml" ContentType="application/vnd.openxmlformats-officedocument.presentationml.slideLayout+xml"/>
  <Override PartName="/ppt/slideLayouts/slideLayout5802.xml" ContentType="application/vnd.openxmlformats-officedocument.presentationml.slideLayout+xml"/>
  <Override PartName="/ppt/slideLayouts/slideLayout5803.xml" ContentType="application/vnd.openxmlformats-officedocument.presentationml.slideLayout+xml"/>
  <Override PartName="/ppt/slideLayouts/slideLayout5804.xml" ContentType="application/vnd.openxmlformats-officedocument.presentationml.slideLayout+xml"/>
  <Override PartName="/ppt/slideLayouts/slideLayout5805.xml" ContentType="application/vnd.openxmlformats-officedocument.presentationml.slideLayout+xml"/>
  <Override PartName="/ppt/slideLayouts/slideLayout5806.xml" ContentType="application/vnd.openxmlformats-officedocument.presentationml.slideLayout+xml"/>
  <Override PartName="/ppt/slideLayouts/slideLayout5807.xml" ContentType="application/vnd.openxmlformats-officedocument.presentationml.slideLayout+xml"/>
  <Override PartName="/ppt/slideLayouts/slideLayout5808.xml" ContentType="application/vnd.openxmlformats-officedocument.presentationml.slideLayout+xml"/>
  <Override PartName="/ppt/slideLayouts/slideLayout5809.xml" ContentType="application/vnd.openxmlformats-officedocument.presentationml.slideLayout+xml"/>
  <Override PartName="/ppt/slideLayouts/slideLayout5810.xml" ContentType="application/vnd.openxmlformats-officedocument.presentationml.slideLayout+xml"/>
  <Override PartName="/ppt/slideLayouts/slideLayout5811.xml" ContentType="application/vnd.openxmlformats-officedocument.presentationml.slideLayout+xml"/>
  <Override PartName="/ppt/slideLayouts/slideLayout5812.xml" ContentType="application/vnd.openxmlformats-officedocument.presentationml.slideLayout+xml"/>
  <Override PartName="/ppt/slideLayouts/slideLayout5813.xml" ContentType="application/vnd.openxmlformats-officedocument.presentationml.slideLayout+xml"/>
  <Override PartName="/ppt/slideLayouts/slideLayout5814.xml" ContentType="application/vnd.openxmlformats-officedocument.presentationml.slideLayout+xml"/>
  <Override PartName="/ppt/slideLayouts/slideLayout5815.xml" ContentType="application/vnd.openxmlformats-officedocument.presentationml.slideLayout+xml"/>
  <Override PartName="/ppt/slideLayouts/slideLayout5816.xml" ContentType="application/vnd.openxmlformats-officedocument.presentationml.slideLayout+xml"/>
  <Override PartName="/ppt/slideLayouts/slideLayout5817.xml" ContentType="application/vnd.openxmlformats-officedocument.presentationml.slideLayout+xml"/>
  <Override PartName="/ppt/slideLayouts/slideLayout5818.xml" ContentType="application/vnd.openxmlformats-officedocument.presentationml.slideLayout+xml"/>
  <Override PartName="/ppt/slideLayouts/slideLayout5819.xml" ContentType="application/vnd.openxmlformats-officedocument.presentationml.slideLayout+xml"/>
  <Override PartName="/ppt/slideLayouts/slideLayout5820.xml" ContentType="application/vnd.openxmlformats-officedocument.presentationml.slideLayout+xml"/>
  <Override PartName="/ppt/slideLayouts/slideLayout5821.xml" ContentType="application/vnd.openxmlformats-officedocument.presentationml.slideLayout+xml"/>
  <Override PartName="/ppt/slideLayouts/slideLayout5822.xml" ContentType="application/vnd.openxmlformats-officedocument.presentationml.slideLayout+xml"/>
  <Override PartName="/ppt/slideLayouts/slideLayout5823.xml" ContentType="application/vnd.openxmlformats-officedocument.presentationml.slideLayout+xml"/>
  <Override PartName="/ppt/slideLayouts/slideLayout5824.xml" ContentType="application/vnd.openxmlformats-officedocument.presentationml.slideLayout+xml"/>
  <Override PartName="/ppt/slideLayouts/slideLayout5825.xml" ContentType="application/vnd.openxmlformats-officedocument.presentationml.slideLayout+xml"/>
  <Override PartName="/ppt/slideLayouts/slideLayout5826.xml" ContentType="application/vnd.openxmlformats-officedocument.presentationml.slideLayout+xml"/>
  <Override PartName="/ppt/slideLayouts/slideLayout5827.xml" ContentType="application/vnd.openxmlformats-officedocument.presentationml.slideLayout+xml"/>
  <Override PartName="/ppt/slideLayouts/slideLayout5828.xml" ContentType="application/vnd.openxmlformats-officedocument.presentationml.slideLayout+xml"/>
  <Override PartName="/ppt/slideLayouts/slideLayout5829.xml" ContentType="application/vnd.openxmlformats-officedocument.presentationml.slideLayout+xml"/>
  <Override PartName="/ppt/slideLayouts/slideLayout5830.xml" ContentType="application/vnd.openxmlformats-officedocument.presentationml.slideLayout+xml"/>
  <Override PartName="/ppt/slideLayouts/slideLayout5831.xml" ContentType="application/vnd.openxmlformats-officedocument.presentationml.slideLayout+xml"/>
  <Override PartName="/ppt/slideLayouts/slideLayout5832.xml" ContentType="application/vnd.openxmlformats-officedocument.presentationml.slideLayout+xml"/>
  <Override PartName="/ppt/slideLayouts/slideLayout5833.xml" ContentType="application/vnd.openxmlformats-officedocument.presentationml.slideLayout+xml"/>
  <Override PartName="/ppt/slideLayouts/slideLayout5834.xml" ContentType="application/vnd.openxmlformats-officedocument.presentationml.slideLayout+xml"/>
  <Override PartName="/ppt/slideLayouts/slideLayout5835.xml" ContentType="application/vnd.openxmlformats-officedocument.presentationml.slideLayout+xml"/>
  <Override PartName="/ppt/slideLayouts/slideLayout5836.xml" ContentType="application/vnd.openxmlformats-officedocument.presentationml.slideLayout+xml"/>
  <Override PartName="/ppt/slideLayouts/slideLayout5837.xml" ContentType="application/vnd.openxmlformats-officedocument.presentationml.slideLayout+xml"/>
  <Override PartName="/ppt/slideLayouts/slideLayout5838.xml" ContentType="application/vnd.openxmlformats-officedocument.presentationml.slideLayout+xml"/>
  <Override PartName="/ppt/slideLayouts/slideLayout5839.xml" ContentType="application/vnd.openxmlformats-officedocument.presentationml.slideLayout+xml"/>
  <Override PartName="/ppt/slideLayouts/slideLayout5840.xml" ContentType="application/vnd.openxmlformats-officedocument.presentationml.slideLayout+xml"/>
  <Override PartName="/ppt/slideLayouts/slideLayout5841.xml" ContentType="application/vnd.openxmlformats-officedocument.presentationml.slideLayout+xml"/>
  <Override PartName="/ppt/slideLayouts/slideLayout5842.xml" ContentType="application/vnd.openxmlformats-officedocument.presentationml.slideLayout+xml"/>
  <Override PartName="/ppt/slideLayouts/slideLayout5843.xml" ContentType="application/vnd.openxmlformats-officedocument.presentationml.slideLayout+xml"/>
  <Override PartName="/ppt/slideLayouts/slideLayout5844.xml" ContentType="application/vnd.openxmlformats-officedocument.presentationml.slideLayout+xml"/>
  <Override PartName="/ppt/slideLayouts/slideLayout5845.xml" ContentType="application/vnd.openxmlformats-officedocument.presentationml.slideLayout+xml"/>
  <Override PartName="/ppt/slideLayouts/slideLayout5846.xml" ContentType="application/vnd.openxmlformats-officedocument.presentationml.slideLayout+xml"/>
  <Override PartName="/ppt/slideLayouts/slideLayout5847.xml" ContentType="application/vnd.openxmlformats-officedocument.presentationml.slideLayout+xml"/>
  <Override PartName="/ppt/slideLayouts/slideLayout5848.xml" ContentType="application/vnd.openxmlformats-officedocument.presentationml.slideLayout+xml"/>
  <Override PartName="/ppt/slideLayouts/slideLayout5849.xml" ContentType="application/vnd.openxmlformats-officedocument.presentationml.slideLayout+xml"/>
  <Override PartName="/ppt/slideLayouts/slideLayout5850.xml" ContentType="application/vnd.openxmlformats-officedocument.presentationml.slideLayout+xml"/>
  <Override PartName="/ppt/slideLayouts/slideLayout5851.xml" ContentType="application/vnd.openxmlformats-officedocument.presentationml.slideLayout+xml"/>
  <Override PartName="/ppt/slideLayouts/slideLayout5852.xml" ContentType="application/vnd.openxmlformats-officedocument.presentationml.slideLayout+xml"/>
  <Override PartName="/ppt/slideLayouts/slideLayout5853.xml" ContentType="application/vnd.openxmlformats-officedocument.presentationml.slideLayout+xml"/>
  <Override PartName="/ppt/slideLayouts/slideLayout5854.xml" ContentType="application/vnd.openxmlformats-officedocument.presentationml.slideLayout+xml"/>
  <Override PartName="/ppt/slideLayouts/slideLayout5855.xml" ContentType="application/vnd.openxmlformats-officedocument.presentationml.slideLayout+xml"/>
  <Override PartName="/ppt/slideLayouts/slideLayout5856.xml" ContentType="application/vnd.openxmlformats-officedocument.presentationml.slideLayout+xml"/>
  <Override PartName="/ppt/slideLayouts/slideLayout5857.xml" ContentType="application/vnd.openxmlformats-officedocument.presentationml.slideLayout+xml"/>
  <Override PartName="/ppt/slideLayouts/slideLayout5858.xml" ContentType="application/vnd.openxmlformats-officedocument.presentationml.slideLayout+xml"/>
  <Override PartName="/ppt/slideLayouts/slideLayout5859.xml" ContentType="application/vnd.openxmlformats-officedocument.presentationml.slideLayout+xml"/>
  <Override PartName="/ppt/slideLayouts/slideLayout5860.xml" ContentType="application/vnd.openxmlformats-officedocument.presentationml.slideLayout+xml"/>
  <Override PartName="/ppt/slideLayouts/slideLayout5861.xml" ContentType="application/vnd.openxmlformats-officedocument.presentationml.slideLayout+xml"/>
  <Override PartName="/ppt/slideLayouts/slideLayout5862.xml" ContentType="application/vnd.openxmlformats-officedocument.presentationml.slideLayout+xml"/>
  <Override PartName="/ppt/slideLayouts/slideLayout5863.xml" ContentType="application/vnd.openxmlformats-officedocument.presentationml.slideLayout+xml"/>
  <Override PartName="/ppt/slideLayouts/slideLayout5864.xml" ContentType="application/vnd.openxmlformats-officedocument.presentationml.slideLayout+xml"/>
  <Override PartName="/ppt/slideLayouts/slideLayout5865.xml" ContentType="application/vnd.openxmlformats-officedocument.presentationml.slideLayout+xml"/>
  <Override PartName="/ppt/slideLayouts/slideLayout5866.xml" ContentType="application/vnd.openxmlformats-officedocument.presentationml.slideLayout+xml"/>
  <Override PartName="/ppt/slideLayouts/slideLayout5867.xml" ContentType="application/vnd.openxmlformats-officedocument.presentationml.slideLayout+xml"/>
  <Override PartName="/ppt/slideLayouts/slideLayout5868.xml" ContentType="application/vnd.openxmlformats-officedocument.presentationml.slideLayout+xml"/>
  <Override PartName="/ppt/slideLayouts/slideLayout5869.xml" ContentType="application/vnd.openxmlformats-officedocument.presentationml.slideLayout+xml"/>
  <Override PartName="/ppt/slideLayouts/slideLayout5870.xml" ContentType="application/vnd.openxmlformats-officedocument.presentationml.slideLayout+xml"/>
  <Override PartName="/ppt/slideLayouts/slideLayout5871.xml" ContentType="application/vnd.openxmlformats-officedocument.presentationml.slideLayout+xml"/>
  <Override PartName="/ppt/slideLayouts/slideLayout5872.xml" ContentType="application/vnd.openxmlformats-officedocument.presentationml.slideLayout+xml"/>
  <Override PartName="/ppt/slideLayouts/slideLayout5873.xml" ContentType="application/vnd.openxmlformats-officedocument.presentationml.slideLayout+xml"/>
  <Override PartName="/ppt/slideLayouts/slideLayout5874.xml" ContentType="application/vnd.openxmlformats-officedocument.presentationml.slideLayout+xml"/>
  <Override PartName="/ppt/slideLayouts/slideLayout5875.xml" ContentType="application/vnd.openxmlformats-officedocument.presentationml.slideLayout+xml"/>
  <Override PartName="/ppt/slideLayouts/slideLayout5876.xml" ContentType="application/vnd.openxmlformats-officedocument.presentationml.slideLayout+xml"/>
  <Override PartName="/ppt/slideLayouts/slideLayout5877.xml" ContentType="application/vnd.openxmlformats-officedocument.presentationml.slideLayout+xml"/>
  <Override PartName="/ppt/slideLayouts/slideLayout5878.xml" ContentType="application/vnd.openxmlformats-officedocument.presentationml.slideLayout+xml"/>
  <Override PartName="/ppt/slideLayouts/slideLayout5879.xml" ContentType="application/vnd.openxmlformats-officedocument.presentationml.slideLayout+xml"/>
  <Override PartName="/ppt/slideLayouts/slideLayout5880.xml" ContentType="application/vnd.openxmlformats-officedocument.presentationml.slideLayout+xml"/>
  <Override PartName="/ppt/slideLayouts/slideLayout5881.xml" ContentType="application/vnd.openxmlformats-officedocument.presentationml.slideLayout+xml"/>
  <Override PartName="/ppt/slideLayouts/slideLayout5882.xml" ContentType="application/vnd.openxmlformats-officedocument.presentationml.slideLayout+xml"/>
  <Override PartName="/ppt/slideLayouts/slideLayout5883.xml" ContentType="application/vnd.openxmlformats-officedocument.presentationml.slideLayout+xml"/>
  <Override PartName="/ppt/slideLayouts/slideLayout5884.xml" ContentType="application/vnd.openxmlformats-officedocument.presentationml.slideLayout+xml"/>
  <Override PartName="/ppt/slideLayouts/slideLayout5885.xml" ContentType="application/vnd.openxmlformats-officedocument.presentationml.slideLayout+xml"/>
  <Override PartName="/ppt/slideLayouts/slideLayout5886.xml" ContentType="application/vnd.openxmlformats-officedocument.presentationml.slideLayout+xml"/>
  <Override PartName="/ppt/slideLayouts/slideLayout5887.xml" ContentType="application/vnd.openxmlformats-officedocument.presentationml.slideLayout+xml"/>
  <Override PartName="/ppt/slideLayouts/slideLayout5888.xml" ContentType="application/vnd.openxmlformats-officedocument.presentationml.slideLayout+xml"/>
  <Override PartName="/ppt/slideLayouts/slideLayout5889.xml" ContentType="application/vnd.openxmlformats-officedocument.presentationml.slideLayout+xml"/>
  <Override PartName="/ppt/slideLayouts/slideLayout5890.xml" ContentType="application/vnd.openxmlformats-officedocument.presentationml.slideLayout+xml"/>
  <Override PartName="/ppt/slideLayouts/slideLayout5891.xml" ContentType="application/vnd.openxmlformats-officedocument.presentationml.slideLayout+xml"/>
  <Override PartName="/ppt/slideLayouts/slideLayout5892.xml" ContentType="application/vnd.openxmlformats-officedocument.presentationml.slideLayout+xml"/>
  <Override PartName="/ppt/slideLayouts/slideLayout5893.xml" ContentType="application/vnd.openxmlformats-officedocument.presentationml.slideLayout+xml"/>
  <Override PartName="/ppt/slideLayouts/slideLayout5894.xml" ContentType="application/vnd.openxmlformats-officedocument.presentationml.slideLayout+xml"/>
  <Override PartName="/ppt/slideLayouts/slideLayout5895.xml" ContentType="application/vnd.openxmlformats-officedocument.presentationml.slideLayout+xml"/>
  <Override PartName="/ppt/slideLayouts/slideLayout5896.xml" ContentType="application/vnd.openxmlformats-officedocument.presentationml.slideLayout+xml"/>
  <Override PartName="/ppt/slideLayouts/slideLayout5897.xml" ContentType="application/vnd.openxmlformats-officedocument.presentationml.slideLayout+xml"/>
  <Override PartName="/ppt/slideLayouts/slideLayout5898.xml" ContentType="application/vnd.openxmlformats-officedocument.presentationml.slideLayout+xml"/>
  <Override PartName="/ppt/slideLayouts/slideLayout5899.xml" ContentType="application/vnd.openxmlformats-officedocument.presentationml.slideLayout+xml"/>
  <Override PartName="/ppt/slideLayouts/slideLayout5900.xml" ContentType="application/vnd.openxmlformats-officedocument.presentationml.slideLayout+xml"/>
  <Override PartName="/ppt/slideLayouts/slideLayout5901.xml" ContentType="application/vnd.openxmlformats-officedocument.presentationml.slideLayout+xml"/>
  <Override PartName="/ppt/slideLayouts/slideLayout5902.xml" ContentType="application/vnd.openxmlformats-officedocument.presentationml.slideLayout+xml"/>
  <Override PartName="/ppt/slideLayouts/slideLayout5903.xml" ContentType="application/vnd.openxmlformats-officedocument.presentationml.slideLayout+xml"/>
  <Override PartName="/ppt/slideLayouts/slideLayout5904.xml" ContentType="application/vnd.openxmlformats-officedocument.presentationml.slideLayout+xml"/>
  <Override PartName="/ppt/slideLayouts/slideLayout5905.xml" ContentType="application/vnd.openxmlformats-officedocument.presentationml.slideLayout+xml"/>
  <Override PartName="/ppt/slideLayouts/slideLayout5906.xml" ContentType="application/vnd.openxmlformats-officedocument.presentationml.slideLayout+xml"/>
  <Override PartName="/ppt/slideLayouts/slideLayout5907.xml" ContentType="application/vnd.openxmlformats-officedocument.presentationml.slideLayout+xml"/>
  <Override PartName="/ppt/slideLayouts/slideLayout5908.xml" ContentType="application/vnd.openxmlformats-officedocument.presentationml.slideLayout+xml"/>
  <Override PartName="/ppt/slideLayouts/slideLayout5909.xml" ContentType="application/vnd.openxmlformats-officedocument.presentationml.slideLayout+xml"/>
  <Override PartName="/ppt/slideLayouts/slideLayout5910.xml" ContentType="application/vnd.openxmlformats-officedocument.presentationml.slideLayout+xml"/>
  <Override PartName="/ppt/slideLayouts/slideLayout5911.xml" ContentType="application/vnd.openxmlformats-officedocument.presentationml.slideLayout+xml"/>
  <Override PartName="/ppt/slideLayouts/slideLayout5912.xml" ContentType="application/vnd.openxmlformats-officedocument.presentationml.slideLayout+xml"/>
  <Override PartName="/ppt/slideLayouts/slideLayout5913.xml" ContentType="application/vnd.openxmlformats-officedocument.presentationml.slideLayout+xml"/>
  <Override PartName="/ppt/slideLayouts/slideLayout5914.xml" ContentType="application/vnd.openxmlformats-officedocument.presentationml.slideLayout+xml"/>
  <Override PartName="/ppt/slideLayouts/slideLayout5915.xml" ContentType="application/vnd.openxmlformats-officedocument.presentationml.slideLayout+xml"/>
  <Override PartName="/ppt/slideLayouts/slideLayout5916.xml" ContentType="application/vnd.openxmlformats-officedocument.presentationml.slideLayout+xml"/>
  <Override PartName="/ppt/slideLayouts/slideLayout5917.xml" ContentType="application/vnd.openxmlformats-officedocument.presentationml.slideLayout+xml"/>
  <Override PartName="/ppt/slideLayouts/slideLayout5918.xml" ContentType="application/vnd.openxmlformats-officedocument.presentationml.slideLayout+xml"/>
  <Override PartName="/ppt/slideLayouts/slideLayout5919.xml" ContentType="application/vnd.openxmlformats-officedocument.presentationml.slideLayout+xml"/>
  <Override PartName="/ppt/slideLayouts/slideLayout5920.xml" ContentType="application/vnd.openxmlformats-officedocument.presentationml.slideLayout+xml"/>
  <Override PartName="/ppt/slideLayouts/slideLayout5921.xml" ContentType="application/vnd.openxmlformats-officedocument.presentationml.slideLayout+xml"/>
  <Override PartName="/ppt/slideLayouts/slideLayout5922.xml" ContentType="application/vnd.openxmlformats-officedocument.presentationml.slideLayout+xml"/>
  <Override PartName="/ppt/slideLayouts/slideLayout5923.xml" ContentType="application/vnd.openxmlformats-officedocument.presentationml.slideLayout+xml"/>
  <Override PartName="/ppt/slideLayouts/slideLayout5924.xml" ContentType="application/vnd.openxmlformats-officedocument.presentationml.slideLayout+xml"/>
  <Override PartName="/ppt/slideLayouts/slideLayout5925.xml" ContentType="application/vnd.openxmlformats-officedocument.presentationml.slideLayout+xml"/>
  <Override PartName="/ppt/slideLayouts/slideLayout5926.xml" ContentType="application/vnd.openxmlformats-officedocument.presentationml.slideLayout+xml"/>
  <Override PartName="/ppt/slideLayouts/slideLayout5927.xml" ContentType="application/vnd.openxmlformats-officedocument.presentationml.slideLayout+xml"/>
  <Override PartName="/ppt/slideLayouts/slideLayout5928.xml" ContentType="application/vnd.openxmlformats-officedocument.presentationml.slideLayout+xml"/>
  <Override PartName="/ppt/slideLayouts/slideLayout5929.xml" ContentType="application/vnd.openxmlformats-officedocument.presentationml.slideLayout+xml"/>
  <Override PartName="/ppt/slideLayouts/slideLayout5930.xml" ContentType="application/vnd.openxmlformats-officedocument.presentationml.slideLayout+xml"/>
  <Override PartName="/ppt/slideLayouts/slideLayout5931.xml" ContentType="application/vnd.openxmlformats-officedocument.presentationml.slideLayout+xml"/>
  <Override PartName="/ppt/slideLayouts/slideLayout5932.xml" ContentType="application/vnd.openxmlformats-officedocument.presentationml.slideLayout+xml"/>
  <Override PartName="/ppt/slideLayouts/slideLayout5933.xml" ContentType="application/vnd.openxmlformats-officedocument.presentationml.slideLayout+xml"/>
  <Override PartName="/ppt/slideLayouts/slideLayout5934.xml" ContentType="application/vnd.openxmlformats-officedocument.presentationml.slideLayout+xml"/>
  <Override PartName="/ppt/slideLayouts/slideLayout5935.xml" ContentType="application/vnd.openxmlformats-officedocument.presentationml.slideLayout+xml"/>
  <Override PartName="/ppt/slideLayouts/slideLayout5936.xml" ContentType="application/vnd.openxmlformats-officedocument.presentationml.slideLayout+xml"/>
  <Override PartName="/ppt/slideLayouts/slideLayout5937.xml" ContentType="application/vnd.openxmlformats-officedocument.presentationml.slideLayout+xml"/>
  <Override PartName="/ppt/slideLayouts/slideLayout5938.xml" ContentType="application/vnd.openxmlformats-officedocument.presentationml.slideLayout+xml"/>
  <Override PartName="/ppt/slideLayouts/slideLayout5939.xml" ContentType="application/vnd.openxmlformats-officedocument.presentationml.slideLayout+xml"/>
  <Override PartName="/ppt/slideLayouts/slideLayout5940.xml" ContentType="application/vnd.openxmlformats-officedocument.presentationml.slideLayout+xml"/>
  <Override PartName="/ppt/slideLayouts/slideLayout5941.xml" ContentType="application/vnd.openxmlformats-officedocument.presentationml.slideLayout+xml"/>
  <Override PartName="/ppt/slideLayouts/slideLayout5942.xml" ContentType="application/vnd.openxmlformats-officedocument.presentationml.slideLayout+xml"/>
  <Override PartName="/ppt/slideLayouts/slideLayout5943.xml" ContentType="application/vnd.openxmlformats-officedocument.presentationml.slideLayout+xml"/>
  <Override PartName="/ppt/slideLayouts/slideLayout5944.xml" ContentType="application/vnd.openxmlformats-officedocument.presentationml.slideLayout+xml"/>
  <Override PartName="/ppt/slideLayouts/slideLayout5945.xml" ContentType="application/vnd.openxmlformats-officedocument.presentationml.slideLayout+xml"/>
  <Override PartName="/ppt/slideLayouts/slideLayout5946.xml" ContentType="application/vnd.openxmlformats-officedocument.presentationml.slideLayout+xml"/>
  <Override PartName="/ppt/slideLayouts/slideLayout5947.xml" ContentType="application/vnd.openxmlformats-officedocument.presentationml.slideLayout+xml"/>
  <Override PartName="/ppt/slideLayouts/slideLayout5948.xml" ContentType="application/vnd.openxmlformats-officedocument.presentationml.slideLayout+xml"/>
  <Override PartName="/ppt/slideLayouts/slideLayout5949.xml" ContentType="application/vnd.openxmlformats-officedocument.presentationml.slideLayout+xml"/>
  <Override PartName="/ppt/slideLayouts/slideLayout5950.xml" ContentType="application/vnd.openxmlformats-officedocument.presentationml.slideLayout+xml"/>
  <Override PartName="/ppt/slideLayouts/slideLayout5951.xml" ContentType="application/vnd.openxmlformats-officedocument.presentationml.slideLayout+xml"/>
  <Override PartName="/ppt/slideLayouts/slideLayout5952.xml" ContentType="application/vnd.openxmlformats-officedocument.presentationml.slideLayout+xml"/>
  <Override PartName="/ppt/slideLayouts/slideLayout5953.xml" ContentType="application/vnd.openxmlformats-officedocument.presentationml.slideLayout+xml"/>
  <Override PartName="/ppt/slideLayouts/slideLayout5954.xml" ContentType="application/vnd.openxmlformats-officedocument.presentationml.slideLayout+xml"/>
  <Override PartName="/ppt/slideLayouts/slideLayout5955.xml" ContentType="application/vnd.openxmlformats-officedocument.presentationml.slideLayout+xml"/>
  <Override PartName="/ppt/slideLayouts/slideLayout5956.xml" ContentType="application/vnd.openxmlformats-officedocument.presentationml.slideLayout+xml"/>
  <Override PartName="/ppt/slideLayouts/slideLayout5957.xml" ContentType="application/vnd.openxmlformats-officedocument.presentationml.slideLayout+xml"/>
  <Override PartName="/ppt/slideLayouts/slideLayout5958.xml" ContentType="application/vnd.openxmlformats-officedocument.presentationml.slideLayout+xml"/>
  <Override PartName="/ppt/slideLayouts/slideLayout5959.xml" ContentType="application/vnd.openxmlformats-officedocument.presentationml.slideLayout+xml"/>
  <Override PartName="/ppt/slideLayouts/slideLayout5960.xml" ContentType="application/vnd.openxmlformats-officedocument.presentationml.slideLayout+xml"/>
  <Override PartName="/ppt/slideLayouts/slideLayout5961.xml" ContentType="application/vnd.openxmlformats-officedocument.presentationml.slideLayout+xml"/>
  <Override PartName="/ppt/slideLayouts/slideLayout5962.xml" ContentType="application/vnd.openxmlformats-officedocument.presentationml.slideLayout+xml"/>
  <Override PartName="/ppt/slideLayouts/slideLayout5963.xml" ContentType="application/vnd.openxmlformats-officedocument.presentationml.slideLayout+xml"/>
  <Override PartName="/ppt/slideLayouts/slideLayout5964.xml" ContentType="application/vnd.openxmlformats-officedocument.presentationml.slideLayout+xml"/>
  <Override PartName="/ppt/slideLayouts/slideLayout5965.xml" ContentType="application/vnd.openxmlformats-officedocument.presentationml.slideLayout+xml"/>
  <Override PartName="/ppt/slideLayouts/slideLayout5966.xml" ContentType="application/vnd.openxmlformats-officedocument.presentationml.slideLayout+xml"/>
  <Override PartName="/ppt/slideLayouts/slideLayout5967.xml" ContentType="application/vnd.openxmlformats-officedocument.presentationml.slideLayout+xml"/>
  <Override PartName="/ppt/slideLayouts/slideLayout5968.xml" ContentType="application/vnd.openxmlformats-officedocument.presentationml.slideLayout+xml"/>
  <Override PartName="/ppt/slideLayouts/slideLayout5969.xml" ContentType="application/vnd.openxmlformats-officedocument.presentationml.slideLayout+xml"/>
  <Override PartName="/ppt/slideLayouts/slideLayout5970.xml" ContentType="application/vnd.openxmlformats-officedocument.presentationml.slideLayout+xml"/>
  <Override PartName="/ppt/slideLayouts/slideLayout5971.xml" ContentType="application/vnd.openxmlformats-officedocument.presentationml.slideLayout+xml"/>
  <Override PartName="/ppt/slideLayouts/slideLayout5972.xml" ContentType="application/vnd.openxmlformats-officedocument.presentationml.slideLayout+xml"/>
  <Override PartName="/ppt/slideLayouts/slideLayout5973.xml" ContentType="application/vnd.openxmlformats-officedocument.presentationml.slideLayout+xml"/>
  <Override PartName="/ppt/slideLayouts/slideLayout5974.xml" ContentType="application/vnd.openxmlformats-officedocument.presentationml.slideLayout+xml"/>
  <Override PartName="/ppt/slideLayouts/slideLayout5975.xml" ContentType="application/vnd.openxmlformats-officedocument.presentationml.slideLayout+xml"/>
  <Override PartName="/ppt/slideLayouts/slideLayout5976.xml" ContentType="application/vnd.openxmlformats-officedocument.presentationml.slideLayout+xml"/>
  <Override PartName="/ppt/slideLayouts/slideLayout5977.xml" ContentType="application/vnd.openxmlformats-officedocument.presentationml.slideLayout+xml"/>
  <Override PartName="/ppt/slideLayouts/slideLayout5978.xml" ContentType="application/vnd.openxmlformats-officedocument.presentationml.slideLayout+xml"/>
  <Override PartName="/ppt/slideLayouts/slideLayout5979.xml" ContentType="application/vnd.openxmlformats-officedocument.presentationml.slideLayout+xml"/>
  <Override PartName="/ppt/slideLayouts/slideLayout5980.xml" ContentType="application/vnd.openxmlformats-officedocument.presentationml.slideLayout+xml"/>
  <Override PartName="/ppt/slideLayouts/slideLayout5981.xml" ContentType="application/vnd.openxmlformats-officedocument.presentationml.slideLayout+xml"/>
  <Override PartName="/ppt/slideLayouts/slideLayout5982.xml" ContentType="application/vnd.openxmlformats-officedocument.presentationml.slideLayout+xml"/>
  <Override PartName="/ppt/slideLayouts/slideLayout5983.xml" ContentType="application/vnd.openxmlformats-officedocument.presentationml.slideLayout+xml"/>
  <Override PartName="/ppt/slideLayouts/slideLayout5984.xml" ContentType="application/vnd.openxmlformats-officedocument.presentationml.slideLayout+xml"/>
  <Override PartName="/ppt/slideLayouts/slideLayout5985.xml" ContentType="application/vnd.openxmlformats-officedocument.presentationml.slideLayout+xml"/>
  <Override PartName="/ppt/slideLayouts/slideLayout5986.xml" ContentType="application/vnd.openxmlformats-officedocument.presentationml.slideLayout+xml"/>
  <Override PartName="/ppt/slideLayouts/slideLayout5987.xml" ContentType="application/vnd.openxmlformats-officedocument.presentationml.slideLayout+xml"/>
  <Override PartName="/ppt/slideLayouts/slideLayout5988.xml" ContentType="application/vnd.openxmlformats-officedocument.presentationml.slideLayout+xml"/>
  <Override PartName="/ppt/slideLayouts/slideLayout5989.xml" ContentType="application/vnd.openxmlformats-officedocument.presentationml.slideLayout+xml"/>
  <Override PartName="/ppt/slideLayouts/slideLayout5990.xml" ContentType="application/vnd.openxmlformats-officedocument.presentationml.slideLayout+xml"/>
  <Override PartName="/ppt/slideLayouts/slideLayout5991.xml" ContentType="application/vnd.openxmlformats-officedocument.presentationml.slideLayout+xml"/>
  <Override PartName="/ppt/slideLayouts/slideLayout5992.xml" ContentType="application/vnd.openxmlformats-officedocument.presentationml.slideLayout+xml"/>
  <Override PartName="/ppt/slideLayouts/slideLayout5993.xml" ContentType="application/vnd.openxmlformats-officedocument.presentationml.slideLayout+xml"/>
  <Override PartName="/ppt/slideLayouts/slideLayout5994.xml" ContentType="application/vnd.openxmlformats-officedocument.presentationml.slideLayout+xml"/>
  <Override PartName="/ppt/slideLayouts/slideLayout5995.xml" ContentType="application/vnd.openxmlformats-officedocument.presentationml.slideLayout+xml"/>
  <Override PartName="/ppt/slideLayouts/slideLayout5996.xml" ContentType="application/vnd.openxmlformats-officedocument.presentationml.slideLayout+xml"/>
  <Override PartName="/ppt/slideLayouts/slideLayout5997.xml" ContentType="application/vnd.openxmlformats-officedocument.presentationml.slideLayout+xml"/>
  <Override PartName="/ppt/slideLayouts/slideLayout5998.xml" ContentType="application/vnd.openxmlformats-officedocument.presentationml.slideLayout+xml"/>
  <Override PartName="/ppt/slideLayouts/slideLayout5999.xml" ContentType="application/vnd.openxmlformats-officedocument.presentationml.slideLayout+xml"/>
  <Override PartName="/ppt/slideLayouts/slideLayout6000.xml" ContentType="application/vnd.openxmlformats-officedocument.presentationml.slideLayout+xml"/>
  <Override PartName="/ppt/slideLayouts/slideLayout6001.xml" ContentType="application/vnd.openxmlformats-officedocument.presentationml.slideLayout+xml"/>
  <Override PartName="/ppt/slideLayouts/slideLayout6002.xml" ContentType="application/vnd.openxmlformats-officedocument.presentationml.slideLayout+xml"/>
  <Override PartName="/ppt/slideLayouts/slideLayout6003.xml" ContentType="application/vnd.openxmlformats-officedocument.presentationml.slideLayout+xml"/>
  <Override PartName="/ppt/slideLayouts/slideLayout6004.xml" ContentType="application/vnd.openxmlformats-officedocument.presentationml.slideLayout+xml"/>
  <Override PartName="/ppt/slideLayouts/slideLayout6005.xml" ContentType="application/vnd.openxmlformats-officedocument.presentationml.slideLayout+xml"/>
  <Override PartName="/ppt/slideLayouts/slideLayout6006.xml" ContentType="application/vnd.openxmlformats-officedocument.presentationml.slideLayout+xml"/>
  <Override PartName="/ppt/slideLayouts/slideLayout6007.xml" ContentType="application/vnd.openxmlformats-officedocument.presentationml.slideLayout+xml"/>
  <Override PartName="/ppt/slideLayouts/slideLayout6008.xml" ContentType="application/vnd.openxmlformats-officedocument.presentationml.slideLayout+xml"/>
  <Override PartName="/ppt/slideLayouts/slideLayout6009.xml" ContentType="application/vnd.openxmlformats-officedocument.presentationml.slideLayout+xml"/>
  <Override PartName="/ppt/slideLayouts/slideLayout6010.xml" ContentType="application/vnd.openxmlformats-officedocument.presentationml.slideLayout+xml"/>
  <Override PartName="/ppt/slideLayouts/slideLayout6011.xml" ContentType="application/vnd.openxmlformats-officedocument.presentationml.slideLayout+xml"/>
  <Override PartName="/ppt/slideLayouts/slideLayout6012.xml" ContentType="application/vnd.openxmlformats-officedocument.presentationml.slideLayout+xml"/>
  <Override PartName="/ppt/slideLayouts/slideLayout6013.xml" ContentType="application/vnd.openxmlformats-officedocument.presentationml.slideLayout+xml"/>
  <Override PartName="/ppt/slideLayouts/slideLayout6014.xml" ContentType="application/vnd.openxmlformats-officedocument.presentationml.slideLayout+xml"/>
  <Override PartName="/ppt/slideLayouts/slideLayout6015.xml" ContentType="application/vnd.openxmlformats-officedocument.presentationml.slideLayout+xml"/>
  <Override PartName="/ppt/slideLayouts/slideLayout6016.xml" ContentType="application/vnd.openxmlformats-officedocument.presentationml.slideLayout+xml"/>
  <Override PartName="/ppt/slideLayouts/slideLayout6017.xml" ContentType="application/vnd.openxmlformats-officedocument.presentationml.slideLayout+xml"/>
  <Override PartName="/ppt/slideLayouts/slideLayout6018.xml" ContentType="application/vnd.openxmlformats-officedocument.presentationml.slideLayout+xml"/>
  <Override PartName="/ppt/slideLayouts/slideLayout6019.xml" ContentType="application/vnd.openxmlformats-officedocument.presentationml.slideLayout+xml"/>
  <Override PartName="/ppt/slideLayouts/slideLayout6020.xml" ContentType="application/vnd.openxmlformats-officedocument.presentationml.slideLayout+xml"/>
  <Override PartName="/ppt/slideLayouts/slideLayout6021.xml" ContentType="application/vnd.openxmlformats-officedocument.presentationml.slideLayout+xml"/>
  <Override PartName="/ppt/slideLayouts/slideLayout6022.xml" ContentType="application/vnd.openxmlformats-officedocument.presentationml.slideLayout+xml"/>
  <Override PartName="/ppt/slideLayouts/slideLayout6023.xml" ContentType="application/vnd.openxmlformats-officedocument.presentationml.slideLayout+xml"/>
  <Override PartName="/ppt/slideLayouts/slideLayout6024.xml" ContentType="application/vnd.openxmlformats-officedocument.presentationml.slideLayout+xml"/>
  <Override PartName="/ppt/slideLayouts/slideLayout6025.xml" ContentType="application/vnd.openxmlformats-officedocument.presentationml.slideLayout+xml"/>
  <Override PartName="/ppt/slideLayouts/slideLayout6026.xml" ContentType="application/vnd.openxmlformats-officedocument.presentationml.slideLayout+xml"/>
  <Override PartName="/ppt/slideLayouts/slideLayout6027.xml" ContentType="application/vnd.openxmlformats-officedocument.presentationml.slideLayout+xml"/>
  <Override PartName="/ppt/slideLayouts/slideLayout6028.xml" ContentType="application/vnd.openxmlformats-officedocument.presentationml.slideLayout+xml"/>
  <Override PartName="/ppt/slideLayouts/slideLayout6029.xml" ContentType="application/vnd.openxmlformats-officedocument.presentationml.slideLayout+xml"/>
  <Override PartName="/ppt/slideLayouts/slideLayout6030.xml" ContentType="application/vnd.openxmlformats-officedocument.presentationml.slideLayout+xml"/>
  <Override PartName="/ppt/slideLayouts/slideLayout6031.xml" ContentType="application/vnd.openxmlformats-officedocument.presentationml.slideLayout+xml"/>
  <Override PartName="/ppt/slideLayouts/slideLayout6032.xml" ContentType="application/vnd.openxmlformats-officedocument.presentationml.slideLayout+xml"/>
  <Override PartName="/ppt/slideLayouts/slideLayout6033.xml" ContentType="application/vnd.openxmlformats-officedocument.presentationml.slideLayout+xml"/>
  <Override PartName="/ppt/slideLayouts/slideLayout6034.xml" ContentType="application/vnd.openxmlformats-officedocument.presentationml.slideLayout+xml"/>
  <Override PartName="/ppt/slideLayouts/slideLayout6035.xml" ContentType="application/vnd.openxmlformats-officedocument.presentationml.slideLayout+xml"/>
  <Override PartName="/ppt/slideLayouts/slideLayout6036.xml" ContentType="application/vnd.openxmlformats-officedocument.presentationml.slideLayout+xml"/>
  <Override PartName="/ppt/slideLayouts/slideLayout6037.xml" ContentType="application/vnd.openxmlformats-officedocument.presentationml.slideLayout+xml"/>
  <Override PartName="/ppt/slideLayouts/slideLayout6038.xml" ContentType="application/vnd.openxmlformats-officedocument.presentationml.slideLayout+xml"/>
  <Override PartName="/ppt/slideLayouts/slideLayout6039.xml" ContentType="application/vnd.openxmlformats-officedocument.presentationml.slideLayout+xml"/>
  <Override PartName="/ppt/slideLayouts/slideLayout6040.xml" ContentType="application/vnd.openxmlformats-officedocument.presentationml.slideLayout+xml"/>
  <Override PartName="/ppt/slideLayouts/slideLayout6041.xml" ContentType="application/vnd.openxmlformats-officedocument.presentationml.slideLayout+xml"/>
  <Override PartName="/ppt/slideLayouts/slideLayout6042.xml" ContentType="application/vnd.openxmlformats-officedocument.presentationml.slideLayout+xml"/>
  <Override PartName="/ppt/slideLayouts/slideLayout6043.xml" ContentType="application/vnd.openxmlformats-officedocument.presentationml.slideLayout+xml"/>
  <Override PartName="/ppt/slideLayouts/slideLayout6044.xml" ContentType="application/vnd.openxmlformats-officedocument.presentationml.slideLayout+xml"/>
  <Override PartName="/ppt/slideLayouts/slideLayout6045.xml" ContentType="application/vnd.openxmlformats-officedocument.presentationml.slideLayout+xml"/>
  <Override PartName="/ppt/slideLayouts/slideLayout6046.xml" ContentType="application/vnd.openxmlformats-officedocument.presentationml.slideLayout+xml"/>
  <Override PartName="/ppt/slideLayouts/slideLayout6047.xml" ContentType="application/vnd.openxmlformats-officedocument.presentationml.slideLayout+xml"/>
  <Override PartName="/ppt/slideLayouts/slideLayout6048.xml" ContentType="application/vnd.openxmlformats-officedocument.presentationml.slideLayout+xml"/>
  <Override PartName="/ppt/slideLayouts/slideLayout6049.xml" ContentType="application/vnd.openxmlformats-officedocument.presentationml.slideLayout+xml"/>
  <Override PartName="/ppt/slideLayouts/slideLayout6050.xml" ContentType="application/vnd.openxmlformats-officedocument.presentationml.slideLayout+xml"/>
  <Override PartName="/ppt/slideLayouts/slideLayout6051.xml" ContentType="application/vnd.openxmlformats-officedocument.presentationml.slideLayout+xml"/>
  <Override PartName="/ppt/slideLayouts/slideLayout6052.xml" ContentType="application/vnd.openxmlformats-officedocument.presentationml.slideLayout+xml"/>
  <Override PartName="/ppt/slideLayouts/slideLayout6053.xml" ContentType="application/vnd.openxmlformats-officedocument.presentationml.slideLayout+xml"/>
  <Override PartName="/ppt/slideLayouts/slideLayout6054.xml" ContentType="application/vnd.openxmlformats-officedocument.presentationml.slideLayout+xml"/>
  <Override PartName="/ppt/slideLayouts/slideLayout6055.xml" ContentType="application/vnd.openxmlformats-officedocument.presentationml.slideLayout+xml"/>
  <Override PartName="/ppt/slideLayouts/slideLayout6056.xml" ContentType="application/vnd.openxmlformats-officedocument.presentationml.slideLayout+xml"/>
  <Override PartName="/ppt/slideLayouts/slideLayout6057.xml" ContentType="application/vnd.openxmlformats-officedocument.presentationml.slideLayout+xml"/>
  <Override PartName="/ppt/slideLayouts/slideLayout6058.xml" ContentType="application/vnd.openxmlformats-officedocument.presentationml.slideLayout+xml"/>
  <Override PartName="/ppt/slideLayouts/slideLayout6059.xml" ContentType="application/vnd.openxmlformats-officedocument.presentationml.slideLayout+xml"/>
  <Override PartName="/ppt/slideLayouts/slideLayout6060.xml" ContentType="application/vnd.openxmlformats-officedocument.presentationml.slideLayout+xml"/>
  <Override PartName="/ppt/slideLayouts/slideLayout6061.xml" ContentType="application/vnd.openxmlformats-officedocument.presentationml.slideLayout+xml"/>
  <Override PartName="/ppt/slideLayouts/slideLayout6062.xml" ContentType="application/vnd.openxmlformats-officedocument.presentationml.slideLayout+xml"/>
  <Override PartName="/ppt/slideLayouts/slideLayout6063.xml" ContentType="application/vnd.openxmlformats-officedocument.presentationml.slideLayout+xml"/>
  <Override PartName="/ppt/slideLayouts/slideLayout6064.xml" ContentType="application/vnd.openxmlformats-officedocument.presentationml.slideLayout+xml"/>
  <Override PartName="/ppt/slideLayouts/slideLayout6065.xml" ContentType="application/vnd.openxmlformats-officedocument.presentationml.slideLayout+xml"/>
  <Override PartName="/ppt/slideLayouts/slideLayout6066.xml" ContentType="application/vnd.openxmlformats-officedocument.presentationml.slideLayout+xml"/>
  <Override PartName="/ppt/slideLayouts/slideLayout6067.xml" ContentType="application/vnd.openxmlformats-officedocument.presentationml.slideLayout+xml"/>
  <Override PartName="/ppt/slideLayouts/slideLayout6068.xml" ContentType="application/vnd.openxmlformats-officedocument.presentationml.slideLayout+xml"/>
  <Override PartName="/ppt/slideLayouts/slideLayout6069.xml" ContentType="application/vnd.openxmlformats-officedocument.presentationml.slideLayout+xml"/>
  <Override PartName="/ppt/slideLayouts/slideLayout6070.xml" ContentType="application/vnd.openxmlformats-officedocument.presentationml.slideLayout+xml"/>
  <Override PartName="/ppt/slideLayouts/slideLayout6071.xml" ContentType="application/vnd.openxmlformats-officedocument.presentationml.slideLayout+xml"/>
  <Override PartName="/ppt/slideLayouts/slideLayout6072.xml" ContentType="application/vnd.openxmlformats-officedocument.presentationml.slideLayout+xml"/>
  <Override PartName="/ppt/slideLayouts/slideLayout6073.xml" ContentType="application/vnd.openxmlformats-officedocument.presentationml.slideLayout+xml"/>
  <Override PartName="/ppt/slideLayouts/slideLayout6074.xml" ContentType="application/vnd.openxmlformats-officedocument.presentationml.slideLayout+xml"/>
  <Override PartName="/ppt/slideLayouts/slideLayout6075.xml" ContentType="application/vnd.openxmlformats-officedocument.presentationml.slideLayout+xml"/>
  <Override PartName="/ppt/slideLayouts/slideLayout6076.xml" ContentType="application/vnd.openxmlformats-officedocument.presentationml.slideLayout+xml"/>
  <Override PartName="/ppt/slideLayouts/slideLayout6077.xml" ContentType="application/vnd.openxmlformats-officedocument.presentationml.slideLayout+xml"/>
  <Override PartName="/ppt/slideLayouts/slideLayout6078.xml" ContentType="application/vnd.openxmlformats-officedocument.presentationml.slideLayout+xml"/>
  <Override PartName="/ppt/slideLayouts/slideLayout6079.xml" ContentType="application/vnd.openxmlformats-officedocument.presentationml.slideLayout+xml"/>
  <Override PartName="/ppt/slideLayouts/slideLayout6080.xml" ContentType="application/vnd.openxmlformats-officedocument.presentationml.slideLayout+xml"/>
  <Override PartName="/ppt/slideLayouts/slideLayout6081.xml" ContentType="application/vnd.openxmlformats-officedocument.presentationml.slideLayout+xml"/>
  <Override PartName="/ppt/slideLayouts/slideLayout6082.xml" ContentType="application/vnd.openxmlformats-officedocument.presentationml.slideLayout+xml"/>
  <Override PartName="/ppt/slideLayouts/slideLayout6083.xml" ContentType="application/vnd.openxmlformats-officedocument.presentationml.slideLayout+xml"/>
  <Override PartName="/ppt/slideLayouts/slideLayout6084.xml" ContentType="application/vnd.openxmlformats-officedocument.presentationml.slideLayout+xml"/>
  <Override PartName="/ppt/slideLayouts/slideLayout6085.xml" ContentType="application/vnd.openxmlformats-officedocument.presentationml.slideLayout+xml"/>
  <Override PartName="/ppt/slideLayouts/slideLayout6086.xml" ContentType="application/vnd.openxmlformats-officedocument.presentationml.slideLayout+xml"/>
  <Override PartName="/ppt/slideLayouts/slideLayout6087.xml" ContentType="application/vnd.openxmlformats-officedocument.presentationml.slideLayout+xml"/>
  <Override PartName="/ppt/slideLayouts/slideLayout6088.xml" ContentType="application/vnd.openxmlformats-officedocument.presentationml.slideLayout+xml"/>
  <Override PartName="/ppt/slideLayouts/slideLayout6089.xml" ContentType="application/vnd.openxmlformats-officedocument.presentationml.slideLayout+xml"/>
  <Override PartName="/ppt/slideLayouts/slideLayout6090.xml" ContentType="application/vnd.openxmlformats-officedocument.presentationml.slideLayout+xml"/>
  <Override PartName="/ppt/slideLayouts/slideLayout6091.xml" ContentType="application/vnd.openxmlformats-officedocument.presentationml.slideLayout+xml"/>
  <Override PartName="/ppt/slideLayouts/slideLayout6092.xml" ContentType="application/vnd.openxmlformats-officedocument.presentationml.slideLayout+xml"/>
  <Override PartName="/ppt/slideLayouts/slideLayout6093.xml" ContentType="application/vnd.openxmlformats-officedocument.presentationml.slideLayout+xml"/>
  <Override PartName="/ppt/slideLayouts/slideLayout6094.xml" ContentType="application/vnd.openxmlformats-officedocument.presentationml.slideLayout+xml"/>
  <Override PartName="/ppt/slideLayouts/slideLayout6095.xml" ContentType="application/vnd.openxmlformats-officedocument.presentationml.slideLayout+xml"/>
  <Override PartName="/ppt/slideLayouts/slideLayout6096.xml" ContentType="application/vnd.openxmlformats-officedocument.presentationml.slideLayout+xml"/>
  <Override PartName="/ppt/slideLayouts/slideLayout6097.xml" ContentType="application/vnd.openxmlformats-officedocument.presentationml.slideLayout+xml"/>
  <Override PartName="/ppt/slideLayouts/slideLayout6098.xml" ContentType="application/vnd.openxmlformats-officedocument.presentationml.slideLayout+xml"/>
  <Override PartName="/ppt/slideLayouts/slideLayout6099.xml" ContentType="application/vnd.openxmlformats-officedocument.presentationml.slideLayout+xml"/>
  <Override PartName="/ppt/slideLayouts/slideLayout6100.xml" ContentType="application/vnd.openxmlformats-officedocument.presentationml.slideLayout+xml"/>
  <Override PartName="/ppt/slideLayouts/slideLayout6101.xml" ContentType="application/vnd.openxmlformats-officedocument.presentationml.slideLayout+xml"/>
  <Override PartName="/ppt/slideLayouts/slideLayout6102.xml" ContentType="application/vnd.openxmlformats-officedocument.presentationml.slideLayout+xml"/>
  <Override PartName="/ppt/slideLayouts/slideLayout6103.xml" ContentType="application/vnd.openxmlformats-officedocument.presentationml.slideLayout+xml"/>
  <Override PartName="/ppt/slideLayouts/slideLayout6104.xml" ContentType="application/vnd.openxmlformats-officedocument.presentationml.slideLayout+xml"/>
  <Override PartName="/ppt/slideLayouts/slideLayout6105.xml" ContentType="application/vnd.openxmlformats-officedocument.presentationml.slideLayout+xml"/>
  <Override PartName="/ppt/slideLayouts/slideLayout6106.xml" ContentType="application/vnd.openxmlformats-officedocument.presentationml.slideLayout+xml"/>
  <Override PartName="/ppt/slideLayouts/slideLayout6107.xml" ContentType="application/vnd.openxmlformats-officedocument.presentationml.slideLayout+xml"/>
  <Override PartName="/ppt/slideLayouts/slideLayout6108.xml" ContentType="application/vnd.openxmlformats-officedocument.presentationml.slideLayout+xml"/>
  <Override PartName="/ppt/slideLayouts/slideLayout6109.xml" ContentType="application/vnd.openxmlformats-officedocument.presentationml.slideLayout+xml"/>
  <Override PartName="/ppt/slideLayouts/slideLayout6110.xml" ContentType="application/vnd.openxmlformats-officedocument.presentationml.slideLayout+xml"/>
  <Override PartName="/ppt/slideLayouts/slideLayout6111.xml" ContentType="application/vnd.openxmlformats-officedocument.presentationml.slideLayout+xml"/>
  <Override PartName="/ppt/slideLayouts/slideLayout6112.xml" ContentType="application/vnd.openxmlformats-officedocument.presentationml.slideLayout+xml"/>
  <Override PartName="/ppt/slideLayouts/slideLayout6113.xml" ContentType="application/vnd.openxmlformats-officedocument.presentationml.slideLayout+xml"/>
  <Override PartName="/ppt/slideLayouts/slideLayout6114.xml" ContentType="application/vnd.openxmlformats-officedocument.presentationml.slideLayout+xml"/>
  <Override PartName="/ppt/slideLayouts/slideLayout6115.xml" ContentType="application/vnd.openxmlformats-officedocument.presentationml.slideLayout+xml"/>
  <Override PartName="/ppt/slideLayouts/slideLayout6116.xml" ContentType="application/vnd.openxmlformats-officedocument.presentationml.slideLayout+xml"/>
  <Override PartName="/ppt/slideLayouts/slideLayout6117.xml" ContentType="application/vnd.openxmlformats-officedocument.presentationml.slideLayout+xml"/>
  <Override PartName="/ppt/slideLayouts/slideLayout6118.xml" ContentType="application/vnd.openxmlformats-officedocument.presentationml.slideLayout+xml"/>
  <Override PartName="/ppt/slideLayouts/slideLayout6119.xml" ContentType="application/vnd.openxmlformats-officedocument.presentationml.slideLayout+xml"/>
  <Override PartName="/ppt/slideLayouts/slideLayout6120.xml" ContentType="application/vnd.openxmlformats-officedocument.presentationml.slideLayout+xml"/>
  <Override PartName="/ppt/slideLayouts/slideLayout6121.xml" ContentType="application/vnd.openxmlformats-officedocument.presentationml.slideLayout+xml"/>
  <Override PartName="/ppt/slideLayouts/slideLayout6122.xml" ContentType="application/vnd.openxmlformats-officedocument.presentationml.slideLayout+xml"/>
  <Override PartName="/ppt/slideLayouts/slideLayout6123.xml" ContentType="application/vnd.openxmlformats-officedocument.presentationml.slideLayout+xml"/>
  <Override PartName="/ppt/slideLayouts/slideLayout6124.xml" ContentType="application/vnd.openxmlformats-officedocument.presentationml.slideLayout+xml"/>
  <Override PartName="/ppt/slideLayouts/slideLayout6125.xml" ContentType="application/vnd.openxmlformats-officedocument.presentationml.slideLayout+xml"/>
  <Override PartName="/ppt/slideLayouts/slideLayout6126.xml" ContentType="application/vnd.openxmlformats-officedocument.presentationml.slideLayout+xml"/>
  <Override PartName="/ppt/slideLayouts/slideLayout6127.xml" ContentType="application/vnd.openxmlformats-officedocument.presentationml.slideLayout+xml"/>
  <Override PartName="/ppt/slideLayouts/slideLayout6128.xml" ContentType="application/vnd.openxmlformats-officedocument.presentationml.slideLayout+xml"/>
  <Override PartName="/ppt/slideLayouts/slideLayout6129.xml" ContentType="application/vnd.openxmlformats-officedocument.presentationml.slideLayout+xml"/>
  <Override PartName="/ppt/slideLayouts/slideLayout6130.xml" ContentType="application/vnd.openxmlformats-officedocument.presentationml.slideLayout+xml"/>
  <Override PartName="/ppt/slideLayouts/slideLayout6131.xml" ContentType="application/vnd.openxmlformats-officedocument.presentationml.slideLayout+xml"/>
  <Override PartName="/ppt/slideLayouts/slideLayout6132.xml" ContentType="application/vnd.openxmlformats-officedocument.presentationml.slideLayout+xml"/>
  <Override PartName="/ppt/slideLayouts/slideLayout6133.xml" ContentType="application/vnd.openxmlformats-officedocument.presentationml.slideLayout+xml"/>
  <Override PartName="/ppt/slideLayouts/slideLayout6134.xml" ContentType="application/vnd.openxmlformats-officedocument.presentationml.slideLayout+xml"/>
  <Override PartName="/ppt/slideLayouts/slideLayout6135.xml" ContentType="application/vnd.openxmlformats-officedocument.presentationml.slideLayout+xml"/>
  <Override PartName="/ppt/slideLayouts/slideLayout6136.xml" ContentType="application/vnd.openxmlformats-officedocument.presentationml.slideLayout+xml"/>
  <Override PartName="/ppt/slideLayouts/slideLayout6137.xml" ContentType="application/vnd.openxmlformats-officedocument.presentationml.slideLayout+xml"/>
  <Override PartName="/ppt/slideLayouts/slideLayout6138.xml" ContentType="application/vnd.openxmlformats-officedocument.presentationml.slideLayout+xml"/>
  <Override PartName="/ppt/slideLayouts/slideLayout6139.xml" ContentType="application/vnd.openxmlformats-officedocument.presentationml.slideLayout+xml"/>
  <Override PartName="/ppt/slideLayouts/slideLayout6140.xml" ContentType="application/vnd.openxmlformats-officedocument.presentationml.slideLayout+xml"/>
  <Override PartName="/ppt/slideLayouts/slideLayout6141.xml" ContentType="application/vnd.openxmlformats-officedocument.presentationml.slideLayout+xml"/>
  <Override PartName="/ppt/slideLayouts/slideLayout6142.xml" ContentType="application/vnd.openxmlformats-officedocument.presentationml.slideLayout+xml"/>
  <Override PartName="/ppt/slideLayouts/slideLayout6143.xml" ContentType="application/vnd.openxmlformats-officedocument.presentationml.slideLayout+xml"/>
  <Override PartName="/ppt/slideLayouts/slideLayout6144.xml" ContentType="application/vnd.openxmlformats-officedocument.presentationml.slideLayout+xml"/>
  <Override PartName="/ppt/slideLayouts/slideLayout6145.xml" ContentType="application/vnd.openxmlformats-officedocument.presentationml.slideLayout+xml"/>
  <Override PartName="/ppt/slideLayouts/slideLayout6146.xml" ContentType="application/vnd.openxmlformats-officedocument.presentationml.slideLayout+xml"/>
  <Override PartName="/ppt/slideLayouts/slideLayout6147.xml" ContentType="application/vnd.openxmlformats-officedocument.presentationml.slideLayout+xml"/>
  <Override PartName="/ppt/slideLayouts/slideLayout6148.xml" ContentType="application/vnd.openxmlformats-officedocument.presentationml.slideLayout+xml"/>
  <Override PartName="/ppt/slideLayouts/slideLayout6149.xml" ContentType="application/vnd.openxmlformats-officedocument.presentationml.slideLayout+xml"/>
  <Override PartName="/ppt/slideLayouts/slideLayout6150.xml" ContentType="application/vnd.openxmlformats-officedocument.presentationml.slideLayout+xml"/>
  <Override PartName="/ppt/slideLayouts/slideLayout6151.xml" ContentType="application/vnd.openxmlformats-officedocument.presentationml.slideLayout+xml"/>
  <Override PartName="/ppt/slideLayouts/slideLayout6152.xml" ContentType="application/vnd.openxmlformats-officedocument.presentationml.slideLayout+xml"/>
  <Override PartName="/ppt/slideLayouts/slideLayout6153.xml" ContentType="application/vnd.openxmlformats-officedocument.presentationml.slideLayout+xml"/>
  <Override PartName="/ppt/slideLayouts/slideLayout6154.xml" ContentType="application/vnd.openxmlformats-officedocument.presentationml.slideLayout+xml"/>
  <Override PartName="/ppt/slideLayouts/slideLayout6155.xml" ContentType="application/vnd.openxmlformats-officedocument.presentationml.slideLayout+xml"/>
  <Override PartName="/ppt/slideLayouts/slideLayout6156.xml" ContentType="application/vnd.openxmlformats-officedocument.presentationml.slideLayout+xml"/>
  <Override PartName="/ppt/slideLayouts/slideLayout6157.xml" ContentType="application/vnd.openxmlformats-officedocument.presentationml.slideLayout+xml"/>
  <Override PartName="/ppt/slideLayouts/slideLayout6158.xml" ContentType="application/vnd.openxmlformats-officedocument.presentationml.slideLayout+xml"/>
  <Override PartName="/ppt/slideLayouts/slideLayout6159.xml" ContentType="application/vnd.openxmlformats-officedocument.presentationml.slideLayout+xml"/>
  <Override PartName="/ppt/slideLayouts/slideLayout6160.xml" ContentType="application/vnd.openxmlformats-officedocument.presentationml.slideLayout+xml"/>
  <Override PartName="/ppt/slideLayouts/slideLayout6161.xml" ContentType="application/vnd.openxmlformats-officedocument.presentationml.slideLayout+xml"/>
  <Override PartName="/ppt/slideLayouts/slideLayout6162.xml" ContentType="application/vnd.openxmlformats-officedocument.presentationml.slideLayout+xml"/>
  <Override PartName="/ppt/slideLayouts/slideLayout6163.xml" ContentType="application/vnd.openxmlformats-officedocument.presentationml.slideLayout+xml"/>
  <Override PartName="/ppt/slideLayouts/slideLayout6164.xml" ContentType="application/vnd.openxmlformats-officedocument.presentationml.slideLayout+xml"/>
  <Override PartName="/ppt/slideLayouts/slideLayout6165.xml" ContentType="application/vnd.openxmlformats-officedocument.presentationml.slideLayout+xml"/>
  <Override PartName="/ppt/slideLayouts/slideLayout6166.xml" ContentType="application/vnd.openxmlformats-officedocument.presentationml.slideLayout+xml"/>
  <Override PartName="/ppt/slideLayouts/slideLayout6167.xml" ContentType="application/vnd.openxmlformats-officedocument.presentationml.slideLayout+xml"/>
  <Override PartName="/ppt/slideLayouts/slideLayout6168.xml" ContentType="application/vnd.openxmlformats-officedocument.presentationml.slideLayout+xml"/>
  <Override PartName="/ppt/slideLayouts/slideLayout6169.xml" ContentType="application/vnd.openxmlformats-officedocument.presentationml.slideLayout+xml"/>
  <Override PartName="/ppt/slideLayouts/slideLayout6170.xml" ContentType="application/vnd.openxmlformats-officedocument.presentationml.slideLayout+xml"/>
  <Override PartName="/ppt/slideLayouts/slideLayout6171.xml" ContentType="application/vnd.openxmlformats-officedocument.presentationml.slideLayout+xml"/>
  <Override PartName="/ppt/slideLayouts/slideLayout6172.xml" ContentType="application/vnd.openxmlformats-officedocument.presentationml.slideLayout+xml"/>
  <Override PartName="/ppt/slideLayouts/slideLayout6173.xml" ContentType="application/vnd.openxmlformats-officedocument.presentationml.slideLayout+xml"/>
  <Override PartName="/ppt/slideLayouts/slideLayout6174.xml" ContentType="application/vnd.openxmlformats-officedocument.presentationml.slideLayout+xml"/>
  <Override PartName="/ppt/slideLayouts/slideLayout6175.xml" ContentType="application/vnd.openxmlformats-officedocument.presentationml.slideLayout+xml"/>
  <Override PartName="/ppt/slideLayouts/slideLayout6176.xml" ContentType="application/vnd.openxmlformats-officedocument.presentationml.slideLayout+xml"/>
  <Override PartName="/ppt/slideLayouts/slideLayout6177.xml" ContentType="application/vnd.openxmlformats-officedocument.presentationml.slideLayout+xml"/>
  <Override PartName="/ppt/slideLayouts/slideLayout6178.xml" ContentType="application/vnd.openxmlformats-officedocument.presentationml.slideLayout+xml"/>
  <Override PartName="/ppt/slideLayouts/slideLayout6179.xml" ContentType="application/vnd.openxmlformats-officedocument.presentationml.slideLayout+xml"/>
  <Override PartName="/ppt/slideLayouts/slideLayout6180.xml" ContentType="application/vnd.openxmlformats-officedocument.presentationml.slideLayout+xml"/>
  <Override PartName="/ppt/slideLayouts/slideLayout6181.xml" ContentType="application/vnd.openxmlformats-officedocument.presentationml.slideLayout+xml"/>
  <Override PartName="/ppt/slideLayouts/slideLayout6182.xml" ContentType="application/vnd.openxmlformats-officedocument.presentationml.slideLayout+xml"/>
  <Override PartName="/ppt/slideLayouts/slideLayout6183.xml" ContentType="application/vnd.openxmlformats-officedocument.presentationml.slideLayout+xml"/>
  <Override PartName="/ppt/slideLayouts/slideLayout6184.xml" ContentType="application/vnd.openxmlformats-officedocument.presentationml.slideLayout+xml"/>
  <Override PartName="/ppt/slideLayouts/slideLayout6185.xml" ContentType="application/vnd.openxmlformats-officedocument.presentationml.slideLayout+xml"/>
  <Override PartName="/ppt/slideLayouts/slideLayout6186.xml" ContentType="application/vnd.openxmlformats-officedocument.presentationml.slideLayout+xml"/>
  <Override PartName="/ppt/slideLayouts/slideLayout6187.xml" ContentType="application/vnd.openxmlformats-officedocument.presentationml.slideLayout+xml"/>
  <Override PartName="/ppt/slideLayouts/slideLayout6188.xml" ContentType="application/vnd.openxmlformats-officedocument.presentationml.slideLayout+xml"/>
  <Override PartName="/ppt/slideLayouts/slideLayout6189.xml" ContentType="application/vnd.openxmlformats-officedocument.presentationml.slideLayout+xml"/>
  <Override PartName="/ppt/slideLayouts/slideLayout6190.xml" ContentType="application/vnd.openxmlformats-officedocument.presentationml.slideLayout+xml"/>
  <Override PartName="/ppt/slideLayouts/slideLayout6191.xml" ContentType="application/vnd.openxmlformats-officedocument.presentationml.slideLayout+xml"/>
  <Override PartName="/ppt/slideLayouts/slideLayout6192.xml" ContentType="application/vnd.openxmlformats-officedocument.presentationml.slideLayout+xml"/>
  <Override PartName="/ppt/slideLayouts/slideLayout6193.xml" ContentType="application/vnd.openxmlformats-officedocument.presentationml.slideLayout+xml"/>
  <Override PartName="/ppt/slideLayouts/slideLayout6194.xml" ContentType="application/vnd.openxmlformats-officedocument.presentationml.slideLayout+xml"/>
  <Override PartName="/ppt/slideLayouts/slideLayout6195.xml" ContentType="application/vnd.openxmlformats-officedocument.presentationml.slideLayout+xml"/>
  <Override PartName="/ppt/slideLayouts/slideLayout6196.xml" ContentType="application/vnd.openxmlformats-officedocument.presentationml.slideLayout+xml"/>
  <Override PartName="/ppt/slideLayouts/slideLayout6197.xml" ContentType="application/vnd.openxmlformats-officedocument.presentationml.slideLayout+xml"/>
  <Override PartName="/ppt/slideLayouts/slideLayout6198.xml" ContentType="application/vnd.openxmlformats-officedocument.presentationml.slideLayout+xml"/>
  <Override PartName="/ppt/slideLayouts/slideLayout6199.xml" ContentType="application/vnd.openxmlformats-officedocument.presentationml.slideLayout+xml"/>
  <Override PartName="/ppt/slideLayouts/slideLayout6200.xml" ContentType="application/vnd.openxmlformats-officedocument.presentationml.slideLayout+xml"/>
  <Override PartName="/ppt/slideLayouts/slideLayout6201.xml" ContentType="application/vnd.openxmlformats-officedocument.presentationml.slideLayout+xml"/>
  <Override PartName="/ppt/slideLayouts/slideLayout6202.xml" ContentType="application/vnd.openxmlformats-officedocument.presentationml.slideLayout+xml"/>
  <Override PartName="/ppt/slideLayouts/slideLayout6203.xml" ContentType="application/vnd.openxmlformats-officedocument.presentationml.slideLayout+xml"/>
  <Override PartName="/ppt/slideLayouts/slideLayout6204.xml" ContentType="application/vnd.openxmlformats-officedocument.presentationml.slideLayout+xml"/>
  <Override PartName="/ppt/slideLayouts/slideLayout6205.xml" ContentType="application/vnd.openxmlformats-officedocument.presentationml.slideLayout+xml"/>
  <Override PartName="/ppt/slideLayouts/slideLayout6206.xml" ContentType="application/vnd.openxmlformats-officedocument.presentationml.slideLayout+xml"/>
  <Override PartName="/ppt/slideLayouts/slideLayout6207.xml" ContentType="application/vnd.openxmlformats-officedocument.presentationml.slideLayout+xml"/>
  <Override PartName="/ppt/slideLayouts/slideLayout6208.xml" ContentType="application/vnd.openxmlformats-officedocument.presentationml.slideLayout+xml"/>
  <Override PartName="/ppt/slideLayouts/slideLayout6209.xml" ContentType="application/vnd.openxmlformats-officedocument.presentationml.slideLayout+xml"/>
  <Override PartName="/ppt/slideLayouts/slideLayout6210.xml" ContentType="application/vnd.openxmlformats-officedocument.presentationml.slideLayout+xml"/>
  <Override PartName="/ppt/slideLayouts/slideLayout6211.xml" ContentType="application/vnd.openxmlformats-officedocument.presentationml.slideLayout+xml"/>
  <Override PartName="/ppt/slideLayouts/slideLayout6212.xml" ContentType="application/vnd.openxmlformats-officedocument.presentationml.slideLayout+xml"/>
  <Override PartName="/ppt/slideLayouts/slideLayout6213.xml" ContentType="application/vnd.openxmlformats-officedocument.presentationml.slideLayout+xml"/>
  <Override PartName="/ppt/slideLayouts/slideLayout6214.xml" ContentType="application/vnd.openxmlformats-officedocument.presentationml.slideLayout+xml"/>
  <Override PartName="/ppt/slideLayouts/slideLayout6215.xml" ContentType="application/vnd.openxmlformats-officedocument.presentationml.slideLayout+xml"/>
  <Override PartName="/ppt/slideLayouts/slideLayout6216.xml" ContentType="application/vnd.openxmlformats-officedocument.presentationml.slideLayout+xml"/>
  <Override PartName="/ppt/slideLayouts/slideLayout6217.xml" ContentType="application/vnd.openxmlformats-officedocument.presentationml.slideLayout+xml"/>
  <Override PartName="/ppt/slideLayouts/slideLayout6218.xml" ContentType="application/vnd.openxmlformats-officedocument.presentationml.slideLayout+xml"/>
  <Override PartName="/ppt/slideLayouts/slideLayout6219.xml" ContentType="application/vnd.openxmlformats-officedocument.presentationml.slideLayout+xml"/>
  <Override PartName="/ppt/slideLayouts/slideLayout6220.xml" ContentType="application/vnd.openxmlformats-officedocument.presentationml.slideLayout+xml"/>
  <Override PartName="/ppt/slideLayouts/slideLayout6221.xml" ContentType="application/vnd.openxmlformats-officedocument.presentationml.slideLayout+xml"/>
  <Override PartName="/ppt/slideLayouts/slideLayout6222.xml" ContentType="application/vnd.openxmlformats-officedocument.presentationml.slideLayout+xml"/>
  <Override PartName="/ppt/slideLayouts/slideLayout6223.xml" ContentType="application/vnd.openxmlformats-officedocument.presentationml.slideLayout+xml"/>
  <Override PartName="/ppt/slideLayouts/slideLayout6224.xml" ContentType="application/vnd.openxmlformats-officedocument.presentationml.slideLayout+xml"/>
  <Override PartName="/ppt/slideLayouts/slideLayout6225.xml" ContentType="application/vnd.openxmlformats-officedocument.presentationml.slideLayout+xml"/>
  <Override PartName="/ppt/slideLayouts/slideLayout6226.xml" ContentType="application/vnd.openxmlformats-officedocument.presentationml.slideLayout+xml"/>
  <Override PartName="/ppt/slideLayouts/slideLayout6227.xml" ContentType="application/vnd.openxmlformats-officedocument.presentationml.slideLayout+xml"/>
  <Override PartName="/ppt/slideLayouts/slideLayout6228.xml" ContentType="application/vnd.openxmlformats-officedocument.presentationml.slideLayout+xml"/>
  <Override PartName="/ppt/slideLayouts/slideLayout6229.xml" ContentType="application/vnd.openxmlformats-officedocument.presentationml.slideLayout+xml"/>
  <Override PartName="/ppt/slideLayouts/slideLayout6230.xml" ContentType="application/vnd.openxmlformats-officedocument.presentationml.slideLayout+xml"/>
  <Override PartName="/ppt/slideLayouts/slideLayout6231.xml" ContentType="application/vnd.openxmlformats-officedocument.presentationml.slideLayout+xml"/>
  <Override PartName="/ppt/slideLayouts/slideLayout6232.xml" ContentType="application/vnd.openxmlformats-officedocument.presentationml.slideLayout+xml"/>
  <Override PartName="/ppt/slideLayouts/slideLayout6233.xml" ContentType="application/vnd.openxmlformats-officedocument.presentationml.slideLayout+xml"/>
  <Override PartName="/ppt/slideLayouts/slideLayout6234.xml" ContentType="application/vnd.openxmlformats-officedocument.presentationml.slideLayout+xml"/>
  <Override PartName="/ppt/slideLayouts/slideLayout6235.xml" ContentType="application/vnd.openxmlformats-officedocument.presentationml.slideLayout+xml"/>
  <Override PartName="/ppt/slideLayouts/slideLayout6236.xml" ContentType="application/vnd.openxmlformats-officedocument.presentationml.slideLayout+xml"/>
  <Override PartName="/ppt/slideLayouts/slideLayout6237.xml" ContentType="application/vnd.openxmlformats-officedocument.presentationml.slideLayout+xml"/>
  <Override PartName="/ppt/slideLayouts/slideLayout6238.xml" ContentType="application/vnd.openxmlformats-officedocument.presentationml.slideLayout+xml"/>
  <Override PartName="/ppt/slideLayouts/slideLayout6239.xml" ContentType="application/vnd.openxmlformats-officedocument.presentationml.slideLayout+xml"/>
  <Override PartName="/ppt/slideLayouts/slideLayout6240.xml" ContentType="application/vnd.openxmlformats-officedocument.presentationml.slideLayout+xml"/>
  <Override PartName="/ppt/slideLayouts/slideLayout6241.xml" ContentType="application/vnd.openxmlformats-officedocument.presentationml.slideLayout+xml"/>
  <Override PartName="/ppt/slideLayouts/slideLayout6242.xml" ContentType="application/vnd.openxmlformats-officedocument.presentationml.slideLayout+xml"/>
  <Override PartName="/ppt/slideLayouts/slideLayout6243.xml" ContentType="application/vnd.openxmlformats-officedocument.presentationml.slideLayout+xml"/>
  <Override PartName="/ppt/slideLayouts/slideLayout6244.xml" ContentType="application/vnd.openxmlformats-officedocument.presentationml.slideLayout+xml"/>
  <Override PartName="/ppt/slideLayouts/slideLayout6245.xml" ContentType="application/vnd.openxmlformats-officedocument.presentationml.slideLayout+xml"/>
  <Override PartName="/ppt/slideLayouts/slideLayout6246.xml" ContentType="application/vnd.openxmlformats-officedocument.presentationml.slideLayout+xml"/>
  <Override PartName="/ppt/slideLayouts/slideLayout6247.xml" ContentType="application/vnd.openxmlformats-officedocument.presentationml.slideLayout+xml"/>
  <Override PartName="/ppt/slideLayouts/slideLayout6248.xml" ContentType="application/vnd.openxmlformats-officedocument.presentationml.slideLayout+xml"/>
  <Override PartName="/ppt/slideLayouts/slideLayout6249.xml" ContentType="application/vnd.openxmlformats-officedocument.presentationml.slideLayout+xml"/>
  <Override PartName="/ppt/slideLayouts/slideLayout6250.xml" ContentType="application/vnd.openxmlformats-officedocument.presentationml.slideLayout+xml"/>
  <Override PartName="/ppt/slideLayouts/slideLayout6251.xml" ContentType="application/vnd.openxmlformats-officedocument.presentationml.slideLayout+xml"/>
  <Override PartName="/ppt/slideLayouts/slideLayout6252.xml" ContentType="application/vnd.openxmlformats-officedocument.presentationml.slideLayout+xml"/>
  <Override PartName="/ppt/slideLayouts/slideLayout6253.xml" ContentType="application/vnd.openxmlformats-officedocument.presentationml.slideLayout+xml"/>
  <Override PartName="/ppt/slideLayouts/slideLayout6254.xml" ContentType="application/vnd.openxmlformats-officedocument.presentationml.slideLayout+xml"/>
  <Override PartName="/ppt/slideLayouts/slideLayout6255.xml" ContentType="application/vnd.openxmlformats-officedocument.presentationml.slideLayout+xml"/>
  <Override PartName="/ppt/slideLayouts/slideLayout6256.xml" ContentType="application/vnd.openxmlformats-officedocument.presentationml.slideLayout+xml"/>
  <Override PartName="/ppt/slideLayouts/slideLayout6257.xml" ContentType="application/vnd.openxmlformats-officedocument.presentationml.slideLayout+xml"/>
  <Override PartName="/ppt/slideLayouts/slideLayout6258.xml" ContentType="application/vnd.openxmlformats-officedocument.presentationml.slideLayout+xml"/>
  <Override PartName="/ppt/slideLayouts/slideLayout6259.xml" ContentType="application/vnd.openxmlformats-officedocument.presentationml.slideLayout+xml"/>
  <Override PartName="/ppt/slideLayouts/slideLayout6260.xml" ContentType="application/vnd.openxmlformats-officedocument.presentationml.slideLayout+xml"/>
  <Override PartName="/ppt/slideLayouts/slideLayout6261.xml" ContentType="application/vnd.openxmlformats-officedocument.presentationml.slideLayout+xml"/>
  <Override PartName="/ppt/slideLayouts/slideLayout6262.xml" ContentType="application/vnd.openxmlformats-officedocument.presentationml.slideLayout+xml"/>
  <Override PartName="/ppt/slideLayouts/slideLayout6263.xml" ContentType="application/vnd.openxmlformats-officedocument.presentationml.slideLayout+xml"/>
  <Override PartName="/ppt/slideLayouts/slideLayout6264.xml" ContentType="application/vnd.openxmlformats-officedocument.presentationml.slideLayout+xml"/>
  <Override PartName="/ppt/slideLayouts/slideLayout6265.xml" ContentType="application/vnd.openxmlformats-officedocument.presentationml.slideLayout+xml"/>
  <Override PartName="/ppt/slideLayouts/slideLayout6266.xml" ContentType="application/vnd.openxmlformats-officedocument.presentationml.slideLayout+xml"/>
  <Override PartName="/ppt/slideLayouts/slideLayout6267.xml" ContentType="application/vnd.openxmlformats-officedocument.presentationml.slideLayout+xml"/>
  <Override PartName="/ppt/slideLayouts/slideLayout6268.xml" ContentType="application/vnd.openxmlformats-officedocument.presentationml.slideLayout+xml"/>
  <Override PartName="/ppt/slideLayouts/slideLayout6269.xml" ContentType="application/vnd.openxmlformats-officedocument.presentationml.slideLayout+xml"/>
  <Override PartName="/ppt/slideLayouts/slideLayout6270.xml" ContentType="application/vnd.openxmlformats-officedocument.presentationml.slideLayout+xml"/>
  <Override PartName="/ppt/slideLayouts/slideLayout6271.xml" ContentType="application/vnd.openxmlformats-officedocument.presentationml.slideLayout+xml"/>
  <Override PartName="/ppt/slideLayouts/slideLayout6272.xml" ContentType="application/vnd.openxmlformats-officedocument.presentationml.slideLayout+xml"/>
  <Override PartName="/ppt/slideLayouts/slideLayout6273.xml" ContentType="application/vnd.openxmlformats-officedocument.presentationml.slideLayout+xml"/>
  <Override PartName="/ppt/slideLayouts/slideLayout6274.xml" ContentType="application/vnd.openxmlformats-officedocument.presentationml.slideLayout+xml"/>
  <Override PartName="/ppt/slideLayouts/slideLayout6275.xml" ContentType="application/vnd.openxmlformats-officedocument.presentationml.slideLayout+xml"/>
  <Override PartName="/ppt/slideLayouts/slideLayout6276.xml" ContentType="application/vnd.openxmlformats-officedocument.presentationml.slideLayout+xml"/>
  <Override PartName="/ppt/slideLayouts/slideLayout6277.xml" ContentType="application/vnd.openxmlformats-officedocument.presentationml.slideLayout+xml"/>
  <Override PartName="/ppt/slideLayouts/slideLayout6278.xml" ContentType="application/vnd.openxmlformats-officedocument.presentationml.slideLayout+xml"/>
  <Override PartName="/ppt/slideLayouts/slideLayout6279.xml" ContentType="application/vnd.openxmlformats-officedocument.presentationml.slideLayout+xml"/>
  <Override PartName="/ppt/slideLayouts/slideLayout6280.xml" ContentType="application/vnd.openxmlformats-officedocument.presentationml.slideLayout+xml"/>
  <Override PartName="/ppt/slideLayouts/slideLayout6281.xml" ContentType="application/vnd.openxmlformats-officedocument.presentationml.slideLayout+xml"/>
  <Override PartName="/ppt/slideLayouts/slideLayout6282.xml" ContentType="application/vnd.openxmlformats-officedocument.presentationml.slideLayout+xml"/>
  <Override PartName="/ppt/slideLayouts/slideLayout6283.xml" ContentType="application/vnd.openxmlformats-officedocument.presentationml.slideLayout+xml"/>
  <Override PartName="/ppt/slideLayouts/slideLayout6284.xml" ContentType="application/vnd.openxmlformats-officedocument.presentationml.slideLayout+xml"/>
  <Override PartName="/ppt/slideLayouts/slideLayout6285.xml" ContentType="application/vnd.openxmlformats-officedocument.presentationml.slideLayout+xml"/>
  <Override PartName="/ppt/slideLayouts/slideLayout6286.xml" ContentType="application/vnd.openxmlformats-officedocument.presentationml.slideLayout+xml"/>
  <Override PartName="/ppt/slideLayouts/slideLayout6287.xml" ContentType="application/vnd.openxmlformats-officedocument.presentationml.slideLayout+xml"/>
  <Override PartName="/ppt/slideLayouts/slideLayout6288.xml" ContentType="application/vnd.openxmlformats-officedocument.presentationml.slideLayout+xml"/>
  <Override PartName="/ppt/slideLayouts/slideLayout6289.xml" ContentType="application/vnd.openxmlformats-officedocument.presentationml.slideLayout+xml"/>
  <Override PartName="/ppt/slideLayouts/slideLayout6290.xml" ContentType="application/vnd.openxmlformats-officedocument.presentationml.slideLayout+xml"/>
  <Override PartName="/ppt/slideLayouts/slideLayout6291.xml" ContentType="application/vnd.openxmlformats-officedocument.presentationml.slideLayout+xml"/>
  <Override PartName="/ppt/slideLayouts/slideLayout6292.xml" ContentType="application/vnd.openxmlformats-officedocument.presentationml.slideLayout+xml"/>
  <Override PartName="/ppt/slideLayouts/slideLayout6293.xml" ContentType="application/vnd.openxmlformats-officedocument.presentationml.slideLayout+xml"/>
  <Override PartName="/ppt/slideLayouts/slideLayout6294.xml" ContentType="application/vnd.openxmlformats-officedocument.presentationml.slideLayout+xml"/>
  <Override PartName="/ppt/slideLayouts/slideLayout6295.xml" ContentType="application/vnd.openxmlformats-officedocument.presentationml.slideLayout+xml"/>
  <Override PartName="/ppt/slideLayouts/slideLayout6296.xml" ContentType="application/vnd.openxmlformats-officedocument.presentationml.slideLayout+xml"/>
  <Override PartName="/ppt/slideLayouts/slideLayout6297.xml" ContentType="application/vnd.openxmlformats-officedocument.presentationml.slideLayout+xml"/>
  <Override PartName="/ppt/slideLayouts/slideLayout6298.xml" ContentType="application/vnd.openxmlformats-officedocument.presentationml.slideLayout+xml"/>
  <Override PartName="/ppt/slideLayouts/slideLayout6299.xml" ContentType="application/vnd.openxmlformats-officedocument.presentationml.slideLayout+xml"/>
  <Override PartName="/ppt/slideLayouts/slideLayout6300.xml" ContentType="application/vnd.openxmlformats-officedocument.presentationml.slideLayout+xml"/>
  <Override PartName="/ppt/slideLayouts/slideLayout6301.xml" ContentType="application/vnd.openxmlformats-officedocument.presentationml.slideLayout+xml"/>
  <Override PartName="/ppt/slideLayouts/slideLayout6302.xml" ContentType="application/vnd.openxmlformats-officedocument.presentationml.slideLayout+xml"/>
  <Override PartName="/ppt/slideLayouts/slideLayout6303.xml" ContentType="application/vnd.openxmlformats-officedocument.presentationml.slideLayout+xml"/>
  <Override PartName="/ppt/slideLayouts/slideLayout6304.xml" ContentType="application/vnd.openxmlformats-officedocument.presentationml.slideLayout+xml"/>
  <Override PartName="/ppt/slideLayouts/slideLayout6305.xml" ContentType="application/vnd.openxmlformats-officedocument.presentationml.slideLayout+xml"/>
  <Override PartName="/ppt/slideLayouts/slideLayout6306.xml" ContentType="application/vnd.openxmlformats-officedocument.presentationml.slideLayout+xml"/>
  <Override PartName="/ppt/slideLayouts/slideLayout6307.xml" ContentType="application/vnd.openxmlformats-officedocument.presentationml.slideLayout+xml"/>
  <Override PartName="/ppt/slideLayouts/slideLayout6308.xml" ContentType="application/vnd.openxmlformats-officedocument.presentationml.slideLayout+xml"/>
  <Override PartName="/ppt/slideLayouts/slideLayout6309.xml" ContentType="application/vnd.openxmlformats-officedocument.presentationml.slideLayout+xml"/>
  <Override PartName="/ppt/slideLayouts/slideLayout6310.xml" ContentType="application/vnd.openxmlformats-officedocument.presentationml.slideLayout+xml"/>
  <Override PartName="/ppt/slideLayouts/slideLayout6311.xml" ContentType="application/vnd.openxmlformats-officedocument.presentationml.slideLayout+xml"/>
  <Override PartName="/ppt/slideLayouts/slideLayout6312.xml" ContentType="application/vnd.openxmlformats-officedocument.presentationml.slideLayout+xml"/>
  <Override PartName="/ppt/slideLayouts/slideLayout6313.xml" ContentType="application/vnd.openxmlformats-officedocument.presentationml.slideLayout+xml"/>
  <Override PartName="/ppt/slideLayouts/slideLayout6314.xml" ContentType="application/vnd.openxmlformats-officedocument.presentationml.slideLayout+xml"/>
  <Override PartName="/ppt/slideLayouts/slideLayout6315.xml" ContentType="application/vnd.openxmlformats-officedocument.presentationml.slideLayout+xml"/>
  <Override PartName="/ppt/slideLayouts/slideLayout6316.xml" ContentType="application/vnd.openxmlformats-officedocument.presentationml.slideLayout+xml"/>
  <Override PartName="/ppt/slideLayouts/slideLayout6317.xml" ContentType="application/vnd.openxmlformats-officedocument.presentationml.slideLayout+xml"/>
  <Override PartName="/ppt/slideLayouts/slideLayout6318.xml" ContentType="application/vnd.openxmlformats-officedocument.presentationml.slideLayout+xml"/>
  <Override PartName="/ppt/slideLayouts/slideLayout6319.xml" ContentType="application/vnd.openxmlformats-officedocument.presentationml.slideLayout+xml"/>
  <Override PartName="/ppt/slideLayouts/slideLayout6320.xml" ContentType="application/vnd.openxmlformats-officedocument.presentationml.slideLayout+xml"/>
  <Override PartName="/ppt/slideLayouts/slideLayout6321.xml" ContentType="application/vnd.openxmlformats-officedocument.presentationml.slideLayout+xml"/>
  <Override PartName="/ppt/slideLayouts/slideLayout6322.xml" ContentType="application/vnd.openxmlformats-officedocument.presentationml.slideLayout+xml"/>
  <Override PartName="/ppt/slideLayouts/slideLayout6323.xml" ContentType="application/vnd.openxmlformats-officedocument.presentationml.slideLayout+xml"/>
  <Override PartName="/ppt/slideLayouts/slideLayout6324.xml" ContentType="application/vnd.openxmlformats-officedocument.presentationml.slideLayout+xml"/>
  <Override PartName="/ppt/slideLayouts/slideLayout6325.xml" ContentType="application/vnd.openxmlformats-officedocument.presentationml.slideLayout+xml"/>
  <Override PartName="/ppt/slideLayouts/slideLayout6326.xml" ContentType="application/vnd.openxmlformats-officedocument.presentationml.slideLayout+xml"/>
  <Override PartName="/ppt/slideLayouts/slideLayout6327.xml" ContentType="application/vnd.openxmlformats-officedocument.presentationml.slideLayout+xml"/>
  <Override PartName="/ppt/slideLayouts/slideLayout6328.xml" ContentType="application/vnd.openxmlformats-officedocument.presentationml.slideLayout+xml"/>
  <Override PartName="/ppt/slideLayouts/slideLayout6329.xml" ContentType="application/vnd.openxmlformats-officedocument.presentationml.slideLayout+xml"/>
  <Override PartName="/ppt/slideLayouts/slideLayout6330.xml" ContentType="application/vnd.openxmlformats-officedocument.presentationml.slideLayout+xml"/>
  <Override PartName="/ppt/slideLayouts/slideLayout6331.xml" ContentType="application/vnd.openxmlformats-officedocument.presentationml.slideLayout+xml"/>
  <Override PartName="/ppt/slideLayouts/slideLayout6332.xml" ContentType="application/vnd.openxmlformats-officedocument.presentationml.slideLayout+xml"/>
  <Override PartName="/ppt/slideLayouts/slideLayout6333.xml" ContentType="application/vnd.openxmlformats-officedocument.presentationml.slideLayout+xml"/>
  <Override PartName="/ppt/slideLayouts/slideLayout6334.xml" ContentType="application/vnd.openxmlformats-officedocument.presentationml.slideLayout+xml"/>
  <Override PartName="/ppt/slideLayouts/slideLayout6335.xml" ContentType="application/vnd.openxmlformats-officedocument.presentationml.slideLayout+xml"/>
  <Override PartName="/ppt/slideLayouts/slideLayout6336.xml" ContentType="application/vnd.openxmlformats-officedocument.presentationml.slideLayout+xml"/>
  <Override PartName="/ppt/slideLayouts/slideLayout6337.xml" ContentType="application/vnd.openxmlformats-officedocument.presentationml.slideLayout+xml"/>
  <Override PartName="/ppt/slideLayouts/slideLayout6338.xml" ContentType="application/vnd.openxmlformats-officedocument.presentationml.slideLayout+xml"/>
  <Override PartName="/ppt/slideLayouts/slideLayout6339.xml" ContentType="application/vnd.openxmlformats-officedocument.presentationml.slideLayout+xml"/>
  <Override PartName="/ppt/slideLayouts/slideLayout6340.xml" ContentType="application/vnd.openxmlformats-officedocument.presentationml.slideLayout+xml"/>
  <Override PartName="/ppt/slideLayouts/slideLayout6341.xml" ContentType="application/vnd.openxmlformats-officedocument.presentationml.slideLayout+xml"/>
  <Override PartName="/ppt/slideLayouts/slideLayout6342.xml" ContentType="application/vnd.openxmlformats-officedocument.presentationml.slideLayout+xml"/>
  <Override PartName="/ppt/slideLayouts/slideLayout6343.xml" ContentType="application/vnd.openxmlformats-officedocument.presentationml.slideLayout+xml"/>
  <Override PartName="/ppt/slideLayouts/slideLayout6344.xml" ContentType="application/vnd.openxmlformats-officedocument.presentationml.slideLayout+xml"/>
  <Override PartName="/ppt/slideLayouts/slideLayout6345.xml" ContentType="application/vnd.openxmlformats-officedocument.presentationml.slideLayout+xml"/>
  <Override PartName="/ppt/slideLayouts/slideLayout6346.xml" ContentType="application/vnd.openxmlformats-officedocument.presentationml.slideLayout+xml"/>
  <Override PartName="/ppt/slideLayouts/slideLayout6347.xml" ContentType="application/vnd.openxmlformats-officedocument.presentationml.slideLayout+xml"/>
  <Override PartName="/ppt/slideLayouts/slideLayout6348.xml" ContentType="application/vnd.openxmlformats-officedocument.presentationml.slideLayout+xml"/>
  <Override PartName="/ppt/slideLayouts/slideLayout6349.xml" ContentType="application/vnd.openxmlformats-officedocument.presentationml.slideLayout+xml"/>
  <Override PartName="/ppt/slideLayouts/slideLayout6350.xml" ContentType="application/vnd.openxmlformats-officedocument.presentationml.slideLayout+xml"/>
  <Override PartName="/ppt/slideLayouts/slideLayout6351.xml" ContentType="application/vnd.openxmlformats-officedocument.presentationml.slideLayout+xml"/>
  <Override PartName="/ppt/slideLayouts/slideLayout6352.xml" ContentType="application/vnd.openxmlformats-officedocument.presentationml.slideLayout+xml"/>
  <Override PartName="/ppt/slideLayouts/slideLayout6353.xml" ContentType="application/vnd.openxmlformats-officedocument.presentationml.slideLayout+xml"/>
  <Override PartName="/ppt/slideLayouts/slideLayout6354.xml" ContentType="application/vnd.openxmlformats-officedocument.presentationml.slideLayout+xml"/>
  <Override PartName="/ppt/slideLayouts/slideLayout6355.xml" ContentType="application/vnd.openxmlformats-officedocument.presentationml.slideLayout+xml"/>
  <Override PartName="/ppt/slideLayouts/slideLayout6356.xml" ContentType="application/vnd.openxmlformats-officedocument.presentationml.slideLayout+xml"/>
  <Override PartName="/ppt/slideLayouts/slideLayout6357.xml" ContentType="application/vnd.openxmlformats-officedocument.presentationml.slideLayout+xml"/>
  <Override PartName="/ppt/slideLayouts/slideLayout6358.xml" ContentType="application/vnd.openxmlformats-officedocument.presentationml.slideLayout+xml"/>
  <Override PartName="/ppt/slideLayouts/slideLayout6359.xml" ContentType="application/vnd.openxmlformats-officedocument.presentationml.slideLayout+xml"/>
  <Override PartName="/ppt/slideLayouts/slideLayout6360.xml" ContentType="application/vnd.openxmlformats-officedocument.presentationml.slideLayout+xml"/>
  <Override PartName="/ppt/slideLayouts/slideLayout6361.xml" ContentType="application/vnd.openxmlformats-officedocument.presentationml.slideLayout+xml"/>
  <Override PartName="/ppt/slideLayouts/slideLayout6362.xml" ContentType="application/vnd.openxmlformats-officedocument.presentationml.slideLayout+xml"/>
  <Override PartName="/ppt/slideLayouts/slideLayout6363.xml" ContentType="application/vnd.openxmlformats-officedocument.presentationml.slideLayout+xml"/>
  <Override PartName="/ppt/slideLayouts/slideLayout6364.xml" ContentType="application/vnd.openxmlformats-officedocument.presentationml.slideLayout+xml"/>
  <Override PartName="/ppt/slideLayouts/slideLayout6365.xml" ContentType="application/vnd.openxmlformats-officedocument.presentationml.slideLayout+xml"/>
  <Override PartName="/ppt/slideLayouts/slideLayout6366.xml" ContentType="application/vnd.openxmlformats-officedocument.presentationml.slideLayout+xml"/>
  <Override PartName="/ppt/slideLayouts/slideLayout6367.xml" ContentType="application/vnd.openxmlformats-officedocument.presentationml.slideLayout+xml"/>
  <Override PartName="/ppt/slideLayouts/slideLayout6368.xml" ContentType="application/vnd.openxmlformats-officedocument.presentationml.slideLayout+xml"/>
  <Override PartName="/ppt/slideLayouts/slideLayout6369.xml" ContentType="application/vnd.openxmlformats-officedocument.presentationml.slideLayout+xml"/>
  <Override PartName="/ppt/slideLayouts/slideLayout6370.xml" ContentType="application/vnd.openxmlformats-officedocument.presentationml.slideLayout+xml"/>
  <Override PartName="/ppt/slideLayouts/slideLayout6371.xml" ContentType="application/vnd.openxmlformats-officedocument.presentationml.slideLayout+xml"/>
  <Override PartName="/ppt/slideLayouts/slideLayout6372.xml" ContentType="application/vnd.openxmlformats-officedocument.presentationml.slideLayout+xml"/>
  <Override PartName="/ppt/slideLayouts/slideLayout6373.xml" ContentType="application/vnd.openxmlformats-officedocument.presentationml.slideLayout+xml"/>
  <Override PartName="/ppt/slideLayouts/slideLayout6374.xml" ContentType="application/vnd.openxmlformats-officedocument.presentationml.slideLayout+xml"/>
  <Override PartName="/ppt/slideLayouts/slideLayout6375.xml" ContentType="application/vnd.openxmlformats-officedocument.presentationml.slideLayout+xml"/>
  <Override PartName="/ppt/slideLayouts/slideLayout6376.xml" ContentType="application/vnd.openxmlformats-officedocument.presentationml.slideLayout+xml"/>
  <Override PartName="/ppt/slideLayouts/slideLayout6377.xml" ContentType="application/vnd.openxmlformats-officedocument.presentationml.slideLayout+xml"/>
  <Override PartName="/ppt/slideLayouts/slideLayout6378.xml" ContentType="application/vnd.openxmlformats-officedocument.presentationml.slideLayout+xml"/>
  <Override PartName="/ppt/slideLayouts/slideLayout6379.xml" ContentType="application/vnd.openxmlformats-officedocument.presentationml.slideLayout+xml"/>
  <Override PartName="/ppt/slideLayouts/slideLayout6380.xml" ContentType="application/vnd.openxmlformats-officedocument.presentationml.slideLayout+xml"/>
  <Override PartName="/ppt/slideLayouts/slideLayout6381.xml" ContentType="application/vnd.openxmlformats-officedocument.presentationml.slideLayout+xml"/>
  <Override PartName="/ppt/slideLayouts/slideLayout6382.xml" ContentType="application/vnd.openxmlformats-officedocument.presentationml.slideLayout+xml"/>
  <Override PartName="/ppt/slideLayouts/slideLayout6383.xml" ContentType="application/vnd.openxmlformats-officedocument.presentationml.slideLayout+xml"/>
  <Override PartName="/ppt/slideLayouts/slideLayout6384.xml" ContentType="application/vnd.openxmlformats-officedocument.presentationml.slideLayout+xml"/>
  <Override PartName="/ppt/slideLayouts/slideLayout6385.xml" ContentType="application/vnd.openxmlformats-officedocument.presentationml.slideLayout+xml"/>
  <Override PartName="/ppt/slideLayouts/slideLayout6386.xml" ContentType="application/vnd.openxmlformats-officedocument.presentationml.slideLayout+xml"/>
  <Override PartName="/ppt/slideLayouts/slideLayout6387.xml" ContentType="application/vnd.openxmlformats-officedocument.presentationml.slideLayout+xml"/>
  <Override PartName="/ppt/slideLayouts/slideLayout6388.xml" ContentType="application/vnd.openxmlformats-officedocument.presentationml.slideLayout+xml"/>
  <Override PartName="/ppt/slideLayouts/slideLayout6389.xml" ContentType="application/vnd.openxmlformats-officedocument.presentationml.slideLayout+xml"/>
  <Override PartName="/ppt/slideLayouts/slideLayout6390.xml" ContentType="application/vnd.openxmlformats-officedocument.presentationml.slideLayout+xml"/>
  <Override PartName="/ppt/slideLayouts/slideLayout6391.xml" ContentType="application/vnd.openxmlformats-officedocument.presentationml.slideLayout+xml"/>
  <Override PartName="/ppt/slideLayouts/slideLayout6392.xml" ContentType="application/vnd.openxmlformats-officedocument.presentationml.slideLayout+xml"/>
  <Override PartName="/ppt/slideLayouts/slideLayout6393.xml" ContentType="application/vnd.openxmlformats-officedocument.presentationml.slideLayout+xml"/>
  <Override PartName="/ppt/slideLayouts/slideLayout6394.xml" ContentType="application/vnd.openxmlformats-officedocument.presentationml.slideLayout+xml"/>
  <Override PartName="/ppt/slideLayouts/slideLayout6395.xml" ContentType="application/vnd.openxmlformats-officedocument.presentationml.slideLayout+xml"/>
  <Override PartName="/ppt/slideLayouts/slideLayout6396.xml" ContentType="application/vnd.openxmlformats-officedocument.presentationml.slideLayout+xml"/>
  <Override PartName="/ppt/slideLayouts/slideLayout6397.xml" ContentType="application/vnd.openxmlformats-officedocument.presentationml.slideLayout+xml"/>
  <Override PartName="/ppt/slideLayouts/slideLayout6398.xml" ContentType="application/vnd.openxmlformats-officedocument.presentationml.slideLayout+xml"/>
  <Override PartName="/ppt/slideLayouts/slideLayout6399.xml" ContentType="application/vnd.openxmlformats-officedocument.presentationml.slideLayout+xml"/>
  <Override PartName="/ppt/slideLayouts/slideLayout6400.xml" ContentType="application/vnd.openxmlformats-officedocument.presentationml.slideLayout+xml"/>
  <Override PartName="/ppt/slideLayouts/slideLayout6401.xml" ContentType="application/vnd.openxmlformats-officedocument.presentationml.slideLayout+xml"/>
  <Override PartName="/ppt/slideLayouts/slideLayout6402.xml" ContentType="application/vnd.openxmlformats-officedocument.presentationml.slideLayout+xml"/>
  <Override PartName="/ppt/slideLayouts/slideLayout6403.xml" ContentType="application/vnd.openxmlformats-officedocument.presentationml.slideLayout+xml"/>
  <Override PartName="/ppt/slideLayouts/slideLayout6404.xml" ContentType="application/vnd.openxmlformats-officedocument.presentationml.slideLayout+xml"/>
  <Override PartName="/ppt/slideLayouts/slideLayout6405.xml" ContentType="application/vnd.openxmlformats-officedocument.presentationml.slideLayout+xml"/>
  <Override PartName="/ppt/slideLayouts/slideLayout6406.xml" ContentType="application/vnd.openxmlformats-officedocument.presentationml.slideLayout+xml"/>
  <Override PartName="/ppt/slideLayouts/slideLayout6407.xml" ContentType="application/vnd.openxmlformats-officedocument.presentationml.slideLayout+xml"/>
  <Override PartName="/ppt/slideLayouts/slideLayout6408.xml" ContentType="application/vnd.openxmlformats-officedocument.presentationml.slideLayout+xml"/>
  <Override PartName="/ppt/slideLayouts/slideLayout6409.xml" ContentType="application/vnd.openxmlformats-officedocument.presentationml.slideLayout+xml"/>
  <Override PartName="/ppt/slideLayouts/slideLayout6410.xml" ContentType="application/vnd.openxmlformats-officedocument.presentationml.slideLayout+xml"/>
  <Override PartName="/ppt/slideLayouts/slideLayout6411.xml" ContentType="application/vnd.openxmlformats-officedocument.presentationml.slideLayout+xml"/>
  <Override PartName="/ppt/slideLayouts/slideLayout6412.xml" ContentType="application/vnd.openxmlformats-officedocument.presentationml.slideLayout+xml"/>
  <Override PartName="/ppt/slideLayouts/slideLayout6413.xml" ContentType="application/vnd.openxmlformats-officedocument.presentationml.slideLayout+xml"/>
  <Override PartName="/ppt/slideLayouts/slideLayout6414.xml" ContentType="application/vnd.openxmlformats-officedocument.presentationml.slideLayout+xml"/>
  <Override PartName="/ppt/slideLayouts/slideLayout6415.xml" ContentType="application/vnd.openxmlformats-officedocument.presentationml.slideLayout+xml"/>
  <Override PartName="/ppt/slideLayouts/slideLayout6416.xml" ContentType="application/vnd.openxmlformats-officedocument.presentationml.slideLayout+xml"/>
  <Override PartName="/ppt/slideLayouts/slideLayout6417.xml" ContentType="application/vnd.openxmlformats-officedocument.presentationml.slideLayout+xml"/>
  <Override PartName="/ppt/slideLayouts/slideLayout6418.xml" ContentType="application/vnd.openxmlformats-officedocument.presentationml.slideLayout+xml"/>
  <Override PartName="/ppt/slideLayouts/slideLayout6419.xml" ContentType="application/vnd.openxmlformats-officedocument.presentationml.slideLayout+xml"/>
  <Override PartName="/ppt/slideLayouts/slideLayout6420.xml" ContentType="application/vnd.openxmlformats-officedocument.presentationml.slideLayout+xml"/>
  <Override PartName="/ppt/slideLayouts/slideLayout6421.xml" ContentType="application/vnd.openxmlformats-officedocument.presentationml.slideLayout+xml"/>
  <Override PartName="/ppt/slideLayouts/slideLayout6422.xml" ContentType="application/vnd.openxmlformats-officedocument.presentationml.slideLayout+xml"/>
  <Override PartName="/ppt/slideLayouts/slideLayout6423.xml" ContentType="application/vnd.openxmlformats-officedocument.presentationml.slideLayout+xml"/>
  <Override PartName="/ppt/slideLayouts/slideLayout6424.xml" ContentType="application/vnd.openxmlformats-officedocument.presentationml.slideLayout+xml"/>
  <Override PartName="/ppt/slideLayouts/slideLayout6425.xml" ContentType="application/vnd.openxmlformats-officedocument.presentationml.slideLayout+xml"/>
  <Override PartName="/ppt/slideLayouts/slideLayout6426.xml" ContentType="application/vnd.openxmlformats-officedocument.presentationml.slideLayout+xml"/>
  <Override PartName="/ppt/slideLayouts/slideLayout6427.xml" ContentType="application/vnd.openxmlformats-officedocument.presentationml.slideLayout+xml"/>
  <Override PartName="/ppt/slideLayouts/slideLayout6428.xml" ContentType="application/vnd.openxmlformats-officedocument.presentationml.slideLayout+xml"/>
  <Override PartName="/ppt/slideLayouts/slideLayout6429.xml" ContentType="application/vnd.openxmlformats-officedocument.presentationml.slideLayout+xml"/>
  <Override PartName="/ppt/slideLayouts/slideLayout6430.xml" ContentType="application/vnd.openxmlformats-officedocument.presentationml.slideLayout+xml"/>
  <Override PartName="/ppt/slideLayouts/slideLayout6431.xml" ContentType="application/vnd.openxmlformats-officedocument.presentationml.slideLayout+xml"/>
  <Override PartName="/ppt/slideLayouts/slideLayout6432.xml" ContentType="application/vnd.openxmlformats-officedocument.presentationml.slideLayout+xml"/>
  <Override PartName="/ppt/slideLayouts/slideLayout6433.xml" ContentType="application/vnd.openxmlformats-officedocument.presentationml.slideLayout+xml"/>
  <Override PartName="/ppt/slideLayouts/slideLayout6434.xml" ContentType="application/vnd.openxmlformats-officedocument.presentationml.slideLayout+xml"/>
  <Override PartName="/ppt/slideLayouts/slideLayout6435.xml" ContentType="application/vnd.openxmlformats-officedocument.presentationml.slideLayout+xml"/>
  <Override PartName="/ppt/slideLayouts/slideLayout6436.xml" ContentType="application/vnd.openxmlformats-officedocument.presentationml.slideLayout+xml"/>
  <Override PartName="/ppt/slideLayouts/slideLayout6437.xml" ContentType="application/vnd.openxmlformats-officedocument.presentationml.slideLayout+xml"/>
  <Override PartName="/ppt/slideLayouts/slideLayout6438.xml" ContentType="application/vnd.openxmlformats-officedocument.presentationml.slideLayout+xml"/>
  <Override PartName="/ppt/slideLayouts/slideLayout6439.xml" ContentType="application/vnd.openxmlformats-officedocument.presentationml.slideLayout+xml"/>
  <Override PartName="/ppt/slideLayouts/slideLayout6440.xml" ContentType="application/vnd.openxmlformats-officedocument.presentationml.slideLayout+xml"/>
  <Override PartName="/ppt/slideLayouts/slideLayout6441.xml" ContentType="application/vnd.openxmlformats-officedocument.presentationml.slideLayout+xml"/>
  <Override PartName="/ppt/slideLayouts/slideLayout6442.xml" ContentType="application/vnd.openxmlformats-officedocument.presentationml.slideLayout+xml"/>
  <Override PartName="/ppt/slideLayouts/slideLayout6443.xml" ContentType="application/vnd.openxmlformats-officedocument.presentationml.slideLayout+xml"/>
  <Override PartName="/ppt/slideLayouts/slideLayout6444.xml" ContentType="application/vnd.openxmlformats-officedocument.presentationml.slideLayout+xml"/>
  <Override PartName="/ppt/slideLayouts/slideLayout6445.xml" ContentType="application/vnd.openxmlformats-officedocument.presentationml.slideLayout+xml"/>
  <Override PartName="/ppt/slideLayouts/slideLayout6446.xml" ContentType="application/vnd.openxmlformats-officedocument.presentationml.slideLayout+xml"/>
  <Override PartName="/ppt/slideLayouts/slideLayout6447.xml" ContentType="application/vnd.openxmlformats-officedocument.presentationml.slideLayout+xml"/>
  <Override PartName="/ppt/slideLayouts/slideLayout6448.xml" ContentType="application/vnd.openxmlformats-officedocument.presentationml.slideLayout+xml"/>
  <Override PartName="/ppt/slideLayouts/slideLayout6449.xml" ContentType="application/vnd.openxmlformats-officedocument.presentationml.slideLayout+xml"/>
  <Override PartName="/ppt/slideLayouts/slideLayout6450.xml" ContentType="application/vnd.openxmlformats-officedocument.presentationml.slideLayout+xml"/>
  <Override PartName="/ppt/slideLayouts/slideLayout6451.xml" ContentType="application/vnd.openxmlformats-officedocument.presentationml.slideLayout+xml"/>
  <Override PartName="/ppt/slideLayouts/slideLayout6452.xml" ContentType="application/vnd.openxmlformats-officedocument.presentationml.slideLayout+xml"/>
  <Override PartName="/ppt/slideLayouts/slideLayout6453.xml" ContentType="application/vnd.openxmlformats-officedocument.presentationml.slideLayout+xml"/>
  <Override PartName="/ppt/slideLayouts/slideLayout6454.xml" ContentType="application/vnd.openxmlformats-officedocument.presentationml.slideLayout+xml"/>
  <Override PartName="/ppt/slideLayouts/slideLayout6455.xml" ContentType="application/vnd.openxmlformats-officedocument.presentationml.slideLayout+xml"/>
  <Override PartName="/ppt/slideLayouts/slideLayout6456.xml" ContentType="application/vnd.openxmlformats-officedocument.presentationml.slideLayout+xml"/>
  <Override PartName="/ppt/slideLayouts/slideLayout6457.xml" ContentType="application/vnd.openxmlformats-officedocument.presentationml.slideLayout+xml"/>
  <Override PartName="/ppt/slideLayouts/slideLayout6458.xml" ContentType="application/vnd.openxmlformats-officedocument.presentationml.slideLayout+xml"/>
  <Override PartName="/ppt/slideLayouts/slideLayout6459.xml" ContentType="application/vnd.openxmlformats-officedocument.presentationml.slideLayout+xml"/>
  <Override PartName="/ppt/slideLayouts/slideLayout6460.xml" ContentType="application/vnd.openxmlformats-officedocument.presentationml.slideLayout+xml"/>
  <Override PartName="/ppt/slideLayouts/slideLayout6461.xml" ContentType="application/vnd.openxmlformats-officedocument.presentationml.slideLayout+xml"/>
  <Override PartName="/ppt/slideLayouts/slideLayout6462.xml" ContentType="application/vnd.openxmlformats-officedocument.presentationml.slideLayout+xml"/>
  <Override PartName="/ppt/slideLayouts/slideLayout6463.xml" ContentType="application/vnd.openxmlformats-officedocument.presentationml.slideLayout+xml"/>
  <Override PartName="/ppt/slideLayouts/slideLayout6464.xml" ContentType="application/vnd.openxmlformats-officedocument.presentationml.slideLayout+xml"/>
  <Override PartName="/ppt/slideLayouts/slideLayout6465.xml" ContentType="application/vnd.openxmlformats-officedocument.presentationml.slideLayout+xml"/>
  <Override PartName="/ppt/slideLayouts/slideLayout6466.xml" ContentType="application/vnd.openxmlformats-officedocument.presentationml.slideLayout+xml"/>
  <Override PartName="/ppt/slideLayouts/slideLayout6467.xml" ContentType="application/vnd.openxmlformats-officedocument.presentationml.slideLayout+xml"/>
  <Override PartName="/ppt/slideLayouts/slideLayout6468.xml" ContentType="application/vnd.openxmlformats-officedocument.presentationml.slideLayout+xml"/>
  <Override PartName="/ppt/slideLayouts/slideLayout6469.xml" ContentType="application/vnd.openxmlformats-officedocument.presentationml.slideLayout+xml"/>
  <Override PartName="/ppt/slideLayouts/slideLayout6470.xml" ContentType="application/vnd.openxmlformats-officedocument.presentationml.slideLayout+xml"/>
  <Override PartName="/ppt/slideLayouts/slideLayout6471.xml" ContentType="application/vnd.openxmlformats-officedocument.presentationml.slideLayout+xml"/>
  <Override PartName="/ppt/slideLayouts/slideLayout6472.xml" ContentType="application/vnd.openxmlformats-officedocument.presentationml.slideLayout+xml"/>
  <Override PartName="/ppt/slideLayouts/slideLayout6473.xml" ContentType="application/vnd.openxmlformats-officedocument.presentationml.slideLayout+xml"/>
  <Override PartName="/ppt/slideLayouts/slideLayout6474.xml" ContentType="application/vnd.openxmlformats-officedocument.presentationml.slideLayout+xml"/>
  <Override PartName="/ppt/slideLayouts/slideLayout6475.xml" ContentType="application/vnd.openxmlformats-officedocument.presentationml.slideLayout+xml"/>
  <Override PartName="/ppt/slideLayouts/slideLayout6476.xml" ContentType="application/vnd.openxmlformats-officedocument.presentationml.slideLayout+xml"/>
  <Override PartName="/ppt/slideLayouts/slideLayout6477.xml" ContentType="application/vnd.openxmlformats-officedocument.presentationml.slideLayout+xml"/>
  <Override PartName="/ppt/slideLayouts/slideLayout6478.xml" ContentType="application/vnd.openxmlformats-officedocument.presentationml.slideLayout+xml"/>
  <Override PartName="/ppt/slideLayouts/slideLayout6479.xml" ContentType="application/vnd.openxmlformats-officedocument.presentationml.slideLayout+xml"/>
  <Override PartName="/ppt/slideLayouts/slideLayout6480.xml" ContentType="application/vnd.openxmlformats-officedocument.presentationml.slideLayout+xml"/>
  <Override PartName="/ppt/slideLayouts/slideLayout6481.xml" ContentType="application/vnd.openxmlformats-officedocument.presentationml.slideLayout+xml"/>
  <Override PartName="/ppt/slideLayouts/slideLayout6482.xml" ContentType="application/vnd.openxmlformats-officedocument.presentationml.slideLayout+xml"/>
  <Override PartName="/ppt/slideLayouts/slideLayout6483.xml" ContentType="application/vnd.openxmlformats-officedocument.presentationml.slideLayout+xml"/>
  <Override PartName="/ppt/slideLayouts/slideLayout6484.xml" ContentType="application/vnd.openxmlformats-officedocument.presentationml.slideLayout+xml"/>
  <Override PartName="/ppt/slideLayouts/slideLayout6485.xml" ContentType="application/vnd.openxmlformats-officedocument.presentationml.slideLayout+xml"/>
  <Override PartName="/ppt/slideLayouts/slideLayout6486.xml" ContentType="application/vnd.openxmlformats-officedocument.presentationml.slideLayout+xml"/>
  <Override PartName="/ppt/slideLayouts/slideLayout6487.xml" ContentType="application/vnd.openxmlformats-officedocument.presentationml.slideLayout+xml"/>
  <Override PartName="/ppt/slideLayouts/slideLayout6488.xml" ContentType="application/vnd.openxmlformats-officedocument.presentationml.slideLayout+xml"/>
  <Override PartName="/ppt/slideLayouts/slideLayout6489.xml" ContentType="application/vnd.openxmlformats-officedocument.presentationml.slideLayout+xml"/>
  <Override PartName="/ppt/slideLayouts/slideLayout6490.xml" ContentType="application/vnd.openxmlformats-officedocument.presentationml.slideLayout+xml"/>
  <Override PartName="/ppt/slideLayouts/slideLayout6491.xml" ContentType="application/vnd.openxmlformats-officedocument.presentationml.slideLayout+xml"/>
  <Override PartName="/ppt/slideLayouts/slideLayout6492.xml" ContentType="application/vnd.openxmlformats-officedocument.presentationml.slideLayout+xml"/>
  <Override PartName="/ppt/slideLayouts/slideLayout6493.xml" ContentType="application/vnd.openxmlformats-officedocument.presentationml.slideLayout+xml"/>
  <Override PartName="/ppt/slideLayouts/slideLayout6494.xml" ContentType="application/vnd.openxmlformats-officedocument.presentationml.slideLayout+xml"/>
  <Override PartName="/ppt/slideLayouts/slideLayout6495.xml" ContentType="application/vnd.openxmlformats-officedocument.presentationml.slideLayout+xml"/>
  <Override PartName="/ppt/slideLayouts/slideLayout6496.xml" ContentType="application/vnd.openxmlformats-officedocument.presentationml.slideLayout+xml"/>
  <Override PartName="/ppt/slideLayouts/slideLayout6497.xml" ContentType="application/vnd.openxmlformats-officedocument.presentationml.slideLayout+xml"/>
  <Override PartName="/ppt/slideLayouts/slideLayout6498.xml" ContentType="application/vnd.openxmlformats-officedocument.presentationml.slideLayout+xml"/>
  <Override PartName="/ppt/slideLayouts/slideLayout6499.xml" ContentType="application/vnd.openxmlformats-officedocument.presentationml.slideLayout+xml"/>
  <Override PartName="/ppt/slideLayouts/slideLayout6500.xml" ContentType="application/vnd.openxmlformats-officedocument.presentationml.slideLayout+xml"/>
  <Override PartName="/ppt/slideLayouts/slideLayout6501.xml" ContentType="application/vnd.openxmlformats-officedocument.presentationml.slideLayout+xml"/>
  <Override PartName="/ppt/slideLayouts/slideLayout6502.xml" ContentType="application/vnd.openxmlformats-officedocument.presentationml.slideLayout+xml"/>
  <Override PartName="/ppt/slideLayouts/slideLayout6503.xml" ContentType="application/vnd.openxmlformats-officedocument.presentationml.slideLayout+xml"/>
  <Override PartName="/ppt/slideLayouts/slideLayout6504.xml" ContentType="application/vnd.openxmlformats-officedocument.presentationml.slideLayout+xml"/>
  <Override PartName="/ppt/slideLayouts/slideLayout6505.xml" ContentType="application/vnd.openxmlformats-officedocument.presentationml.slideLayout+xml"/>
  <Override PartName="/ppt/slideLayouts/slideLayout6506.xml" ContentType="application/vnd.openxmlformats-officedocument.presentationml.slideLayout+xml"/>
  <Override PartName="/ppt/slideLayouts/slideLayout6507.xml" ContentType="application/vnd.openxmlformats-officedocument.presentationml.slideLayout+xml"/>
  <Override PartName="/ppt/slideLayouts/slideLayout6508.xml" ContentType="application/vnd.openxmlformats-officedocument.presentationml.slideLayout+xml"/>
  <Override PartName="/ppt/slideLayouts/slideLayout6509.xml" ContentType="application/vnd.openxmlformats-officedocument.presentationml.slideLayout+xml"/>
  <Override PartName="/ppt/slideLayouts/slideLayout6510.xml" ContentType="application/vnd.openxmlformats-officedocument.presentationml.slideLayout+xml"/>
  <Override PartName="/ppt/slideLayouts/slideLayout6511.xml" ContentType="application/vnd.openxmlformats-officedocument.presentationml.slideLayout+xml"/>
  <Override PartName="/ppt/slideLayouts/slideLayout6512.xml" ContentType="application/vnd.openxmlformats-officedocument.presentationml.slideLayout+xml"/>
  <Override PartName="/ppt/slideLayouts/slideLayout6513.xml" ContentType="application/vnd.openxmlformats-officedocument.presentationml.slideLayout+xml"/>
  <Override PartName="/ppt/slideLayouts/slideLayout6514.xml" ContentType="application/vnd.openxmlformats-officedocument.presentationml.slideLayout+xml"/>
  <Override PartName="/ppt/slideLayouts/slideLayout6515.xml" ContentType="application/vnd.openxmlformats-officedocument.presentationml.slideLayout+xml"/>
  <Override PartName="/ppt/slideLayouts/slideLayout6516.xml" ContentType="application/vnd.openxmlformats-officedocument.presentationml.slideLayout+xml"/>
  <Override PartName="/ppt/slideLayouts/slideLayout6517.xml" ContentType="application/vnd.openxmlformats-officedocument.presentationml.slideLayout+xml"/>
  <Override PartName="/ppt/slideLayouts/slideLayout6518.xml" ContentType="application/vnd.openxmlformats-officedocument.presentationml.slideLayout+xml"/>
  <Override PartName="/ppt/slideLayouts/slideLayout6519.xml" ContentType="application/vnd.openxmlformats-officedocument.presentationml.slideLayout+xml"/>
  <Override PartName="/ppt/slideLayouts/slideLayout6520.xml" ContentType="application/vnd.openxmlformats-officedocument.presentationml.slideLayout+xml"/>
  <Override PartName="/ppt/slideLayouts/slideLayout6521.xml" ContentType="application/vnd.openxmlformats-officedocument.presentationml.slideLayout+xml"/>
  <Override PartName="/ppt/slideLayouts/slideLayout6522.xml" ContentType="application/vnd.openxmlformats-officedocument.presentationml.slideLayout+xml"/>
  <Override PartName="/ppt/slideLayouts/slideLayout6523.xml" ContentType="application/vnd.openxmlformats-officedocument.presentationml.slideLayout+xml"/>
  <Override PartName="/ppt/slideLayouts/slideLayout6524.xml" ContentType="application/vnd.openxmlformats-officedocument.presentationml.slideLayout+xml"/>
  <Override PartName="/ppt/slideLayouts/slideLayout6525.xml" ContentType="application/vnd.openxmlformats-officedocument.presentationml.slideLayout+xml"/>
  <Override PartName="/ppt/slideLayouts/slideLayout6526.xml" ContentType="application/vnd.openxmlformats-officedocument.presentationml.slideLayout+xml"/>
  <Override PartName="/ppt/slideLayouts/slideLayout6527.xml" ContentType="application/vnd.openxmlformats-officedocument.presentationml.slideLayout+xml"/>
  <Override PartName="/ppt/slideLayouts/slideLayout6528.xml" ContentType="application/vnd.openxmlformats-officedocument.presentationml.slideLayout+xml"/>
  <Override PartName="/ppt/slideLayouts/slideLayout6529.xml" ContentType="application/vnd.openxmlformats-officedocument.presentationml.slideLayout+xml"/>
  <Override PartName="/ppt/slideLayouts/slideLayout6530.xml" ContentType="application/vnd.openxmlformats-officedocument.presentationml.slideLayout+xml"/>
  <Override PartName="/ppt/slideLayouts/slideLayout6531.xml" ContentType="application/vnd.openxmlformats-officedocument.presentationml.slideLayout+xml"/>
  <Override PartName="/ppt/slideLayouts/slideLayout6532.xml" ContentType="application/vnd.openxmlformats-officedocument.presentationml.slideLayout+xml"/>
  <Override PartName="/ppt/slideLayouts/slideLayout6533.xml" ContentType="application/vnd.openxmlformats-officedocument.presentationml.slideLayout+xml"/>
  <Override PartName="/ppt/slideLayouts/slideLayout6534.xml" ContentType="application/vnd.openxmlformats-officedocument.presentationml.slideLayout+xml"/>
  <Override PartName="/ppt/slideLayouts/slideLayout6535.xml" ContentType="application/vnd.openxmlformats-officedocument.presentationml.slideLayout+xml"/>
  <Override PartName="/ppt/slideLayouts/slideLayout6536.xml" ContentType="application/vnd.openxmlformats-officedocument.presentationml.slideLayout+xml"/>
  <Override PartName="/ppt/slideLayouts/slideLayout6537.xml" ContentType="application/vnd.openxmlformats-officedocument.presentationml.slideLayout+xml"/>
  <Override PartName="/ppt/slideLayouts/slideLayout6538.xml" ContentType="application/vnd.openxmlformats-officedocument.presentationml.slideLayout+xml"/>
  <Override PartName="/ppt/slideLayouts/slideLayout6539.xml" ContentType="application/vnd.openxmlformats-officedocument.presentationml.slideLayout+xml"/>
  <Override PartName="/ppt/slideLayouts/slideLayout6540.xml" ContentType="application/vnd.openxmlformats-officedocument.presentationml.slideLayout+xml"/>
  <Override PartName="/ppt/slideLayouts/slideLayout6541.xml" ContentType="application/vnd.openxmlformats-officedocument.presentationml.slideLayout+xml"/>
  <Override PartName="/ppt/slideLayouts/slideLayout6542.xml" ContentType="application/vnd.openxmlformats-officedocument.presentationml.slideLayout+xml"/>
  <Override PartName="/ppt/slideLayouts/slideLayout6543.xml" ContentType="application/vnd.openxmlformats-officedocument.presentationml.slideLayout+xml"/>
  <Override PartName="/ppt/slideLayouts/slideLayout6544.xml" ContentType="application/vnd.openxmlformats-officedocument.presentationml.slideLayout+xml"/>
  <Override PartName="/ppt/slideLayouts/slideLayout6545.xml" ContentType="application/vnd.openxmlformats-officedocument.presentationml.slideLayout+xml"/>
  <Override PartName="/ppt/slideLayouts/slideLayout6546.xml" ContentType="application/vnd.openxmlformats-officedocument.presentationml.slideLayout+xml"/>
  <Override PartName="/ppt/slideLayouts/slideLayout6547.xml" ContentType="application/vnd.openxmlformats-officedocument.presentationml.slideLayout+xml"/>
  <Override PartName="/ppt/slideLayouts/slideLayout6548.xml" ContentType="application/vnd.openxmlformats-officedocument.presentationml.slideLayout+xml"/>
  <Override PartName="/ppt/slideLayouts/slideLayout6549.xml" ContentType="application/vnd.openxmlformats-officedocument.presentationml.slideLayout+xml"/>
  <Override PartName="/ppt/slideLayouts/slideLayout6550.xml" ContentType="application/vnd.openxmlformats-officedocument.presentationml.slideLayout+xml"/>
  <Override PartName="/ppt/slideLayouts/slideLayout6551.xml" ContentType="application/vnd.openxmlformats-officedocument.presentationml.slideLayout+xml"/>
  <Override PartName="/ppt/slideLayouts/slideLayout6552.xml" ContentType="application/vnd.openxmlformats-officedocument.presentationml.slideLayout+xml"/>
  <Override PartName="/ppt/slideLayouts/slideLayout6553.xml" ContentType="application/vnd.openxmlformats-officedocument.presentationml.slideLayout+xml"/>
  <Override PartName="/ppt/slideLayouts/slideLayout6554.xml" ContentType="application/vnd.openxmlformats-officedocument.presentationml.slideLayout+xml"/>
  <Override PartName="/ppt/slideLayouts/slideLayout6555.xml" ContentType="application/vnd.openxmlformats-officedocument.presentationml.slideLayout+xml"/>
  <Override PartName="/ppt/slideLayouts/slideLayout6556.xml" ContentType="application/vnd.openxmlformats-officedocument.presentationml.slideLayout+xml"/>
  <Override PartName="/ppt/slideLayouts/slideLayout6557.xml" ContentType="application/vnd.openxmlformats-officedocument.presentationml.slideLayout+xml"/>
  <Override PartName="/ppt/slideLayouts/slideLayout6558.xml" ContentType="application/vnd.openxmlformats-officedocument.presentationml.slideLayout+xml"/>
  <Override PartName="/ppt/slideLayouts/slideLayout6559.xml" ContentType="application/vnd.openxmlformats-officedocument.presentationml.slideLayout+xml"/>
  <Override PartName="/ppt/slideLayouts/slideLayout6560.xml" ContentType="application/vnd.openxmlformats-officedocument.presentationml.slideLayout+xml"/>
  <Override PartName="/ppt/slideLayouts/slideLayout6561.xml" ContentType="application/vnd.openxmlformats-officedocument.presentationml.slideLayout+xml"/>
  <Override PartName="/ppt/slideLayouts/slideLayout6562.xml" ContentType="application/vnd.openxmlformats-officedocument.presentationml.slideLayout+xml"/>
  <Override PartName="/ppt/slideLayouts/slideLayout6563.xml" ContentType="application/vnd.openxmlformats-officedocument.presentationml.slideLayout+xml"/>
  <Override PartName="/ppt/slideLayouts/slideLayout6564.xml" ContentType="application/vnd.openxmlformats-officedocument.presentationml.slideLayout+xml"/>
  <Override PartName="/ppt/slideLayouts/slideLayout6565.xml" ContentType="application/vnd.openxmlformats-officedocument.presentationml.slideLayout+xml"/>
  <Override PartName="/ppt/slideLayouts/slideLayout6566.xml" ContentType="application/vnd.openxmlformats-officedocument.presentationml.slideLayout+xml"/>
  <Override PartName="/ppt/slideLayouts/slideLayout6567.xml" ContentType="application/vnd.openxmlformats-officedocument.presentationml.slideLayout+xml"/>
  <Override PartName="/ppt/slideLayouts/slideLayout6568.xml" ContentType="application/vnd.openxmlformats-officedocument.presentationml.slideLayout+xml"/>
  <Override PartName="/ppt/slideLayouts/slideLayout6569.xml" ContentType="application/vnd.openxmlformats-officedocument.presentationml.slideLayout+xml"/>
  <Override PartName="/ppt/slideLayouts/slideLayout6570.xml" ContentType="application/vnd.openxmlformats-officedocument.presentationml.slideLayout+xml"/>
  <Override PartName="/ppt/slideLayouts/slideLayout6571.xml" ContentType="application/vnd.openxmlformats-officedocument.presentationml.slideLayout+xml"/>
  <Override PartName="/ppt/slideLayouts/slideLayout6572.xml" ContentType="application/vnd.openxmlformats-officedocument.presentationml.slideLayout+xml"/>
  <Override PartName="/ppt/slideLayouts/slideLayout6573.xml" ContentType="application/vnd.openxmlformats-officedocument.presentationml.slideLayout+xml"/>
  <Override PartName="/ppt/slideLayouts/slideLayout6574.xml" ContentType="application/vnd.openxmlformats-officedocument.presentationml.slideLayout+xml"/>
  <Override PartName="/ppt/slideLayouts/slideLayout6575.xml" ContentType="application/vnd.openxmlformats-officedocument.presentationml.slideLayout+xml"/>
  <Override PartName="/ppt/slideLayouts/slideLayout6576.xml" ContentType="application/vnd.openxmlformats-officedocument.presentationml.slideLayout+xml"/>
  <Override PartName="/ppt/slideLayouts/slideLayout6577.xml" ContentType="application/vnd.openxmlformats-officedocument.presentationml.slideLayout+xml"/>
  <Override PartName="/ppt/slideLayouts/slideLayout6578.xml" ContentType="application/vnd.openxmlformats-officedocument.presentationml.slideLayout+xml"/>
  <Override PartName="/ppt/slideLayouts/slideLayout6579.xml" ContentType="application/vnd.openxmlformats-officedocument.presentationml.slideLayout+xml"/>
  <Override PartName="/ppt/slideLayouts/slideLayout6580.xml" ContentType="application/vnd.openxmlformats-officedocument.presentationml.slideLayout+xml"/>
  <Override PartName="/ppt/slideLayouts/slideLayout6581.xml" ContentType="application/vnd.openxmlformats-officedocument.presentationml.slideLayout+xml"/>
  <Override PartName="/ppt/slideLayouts/slideLayout6582.xml" ContentType="application/vnd.openxmlformats-officedocument.presentationml.slideLayout+xml"/>
  <Override PartName="/ppt/slideLayouts/slideLayout6583.xml" ContentType="application/vnd.openxmlformats-officedocument.presentationml.slideLayout+xml"/>
  <Override PartName="/ppt/slideLayouts/slideLayout6584.xml" ContentType="application/vnd.openxmlformats-officedocument.presentationml.slideLayout+xml"/>
  <Override PartName="/ppt/slideLayouts/slideLayout6585.xml" ContentType="application/vnd.openxmlformats-officedocument.presentationml.slideLayout+xml"/>
  <Override PartName="/ppt/slideLayouts/slideLayout6586.xml" ContentType="application/vnd.openxmlformats-officedocument.presentationml.slideLayout+xml"/>
  <Override PartName="/ppt/slideLayouts/slideLayout6587.xml" ContentType="application/vnd.openxmlformats-officedocument.presentationml.slideLayout+xml"/>
  <Override PartName="/ppt/slideLayouts/slideLayout6588.xml" ContentType="application/vnd.openxmlformats-officedocument.presentationml.slideLayout+xml"/>
  <Override PartName="/ppt/slideLayouts/slideLayout6589.xml" ContentType="application/vnd.openxmlformats-officedocument.presentationml.slideLayout+xml"/>
  <Override PartName="/ppt/slideLayouts/slideLayout6590.xml" ContentType="application/vnd.openxmlformats-officedocument.presentationml.slideLayout+xml"/>
  <Override PartName="/ppt/slideLayouts/slideLayout6591.xml" ContentType="application/vnd.openxmlformats-officedocument.presentationml.slideLayout+xml"/>
  <Override PartName="/ppt/slideLayouts/slideLayout6592.xml" ContentType="application/vnd.openxmlformats-officedocument.presentationml.slideLayout+xml"/>
  <Override PartName="/ppt/slideLayouts/slideLayout6593.xml" ContentType="application/vnd.openxmlformats-officedocument.presentationml.slideLayout+xml"/>
  <Override PartName="/ppt/slideLayouts/slideLayout6594.xml" ContentType="application/vnd.openxmlformats-officedocument.presentationml.slideLayout+xml"/>
  <Override PartName="/ppt/slideLayouts/slideLayout6595.xml" ContentType="application/vnd.openxmlformats-officedocument.presentationml.slideLayout+xml"/>
  <Override PartName="/ppt/slideLayouts/slideLayout6596.xml" ContentType="application/vnd.openxmlformats-officedocument.presentationml.slideLayout+xml"/>
  <Override PartName="/ppt/slideLayouts/slideLayout6597.xml" ContentType="application/vnd.openxmlformats-officedocument.presentationml.slideLayout+xml"/>
  <Override PartName="/ppt/slideLayouts/slideLayout6598.xml" ContentType="application/vnd.openxmlformats-officedocument.presentationml.slideLayout+xml"/>
  <Override PartName="/ppt/slideLayouts/slideLayout6599.xml" ContentType="application/vnd.openxmlformats-officedocument.presentationml.slideLayout+xml"/>
  <Override PartName="/ppt/slideLayouts/slideLayout6600.xml" ContentType="application/vnd.openxmlformats-officedocument.presentationml.slideLayout+xml"/>
  <Override PartName="/ppt/slideLayouts/slideLayout6601.xml" ContentType="application/vnd.openxmlformats-officedocument.presentationml.slideLayout+xml"/>
  <Override PartName="/ppt/slideLayouts/slideLayout6602.xml" ContentType="application/vnd.openxmlformats-officedocument.presentationml.slideLayout+xml"/>
  <Override PartName="/ppt/slideLayouts/slideLayout6603.xml" ContentType="application/vnd.openxmlformats-officedocument.presentationml.slideLayout+xml"/>
  <Override PartName="/ppt/slideLayouts/slideLayout6604.xml" ContentType="application/vnd.openxmlformats-officedocument.presentationml.slideLayout+xml"/>
  <Override PartName="/ppt/slideLayouts/slideLayout6605.xml" ContentType="application/vnd.openxmlformats-officedocument.presentationml.slideLayout+xml"/>
  <Override PartName="/ppt/slideLayouts/slideLayout6606.xml" ContentType="application/vnd.openxmlformats-officedocument.presentationml.slideLayout+xml"/>
  <Override PartName="/ppt/slideLayouts/slideLayout6607.xml" ContentType="application/vnd.openxmlformats-officedocument.presentationml.slideLayout+xml"/>
  <Override PartName="/ppt/slideLayouts/slideLayout6608.xml" ContentType="application/vnd.openxmlformats-officedocument.presentationml.slideLayout+xml"/>
  <Override PartName="/ppt/slideLayouts/slideLayout6609.xml" ContentType="application/vnd.openxmlformats-officedocument.presentationml.slideLayout+xml"/>
  <Override PartName="/ppt/slideLayouts/slideLayout6610.xml" ContentType="application/vnd.openxmlformats-officedocument.presentationml.slideLayout+xml"/>
  <Override PartName="/ppt/slideLayouts/slideLayout6611.xml" ContentType="application/vnd.openxmlformats-officedocument.presentationml.slideLayout+xml"/>
  <Override PartName="/ppt/slideLayouts/slideLayout6612.xml" ContentType="application/vnd.openxmlformats-officedocument.presentationml.slideLayout+xml"/>
  <Override PartName="/ppt/slideLayouts/slideLayout6613.xml" ContentType="application/vnd.openxmlformats-officedocument.presentationml.slideLayout+xml"/>
  <Override PartName="/ppt/slideLayouts/slideLayout6614.xml" ContentType="application/vnd.openxmlformats-officedocument.presentationml.slideLayout+xml"/>
  <Override PartName="/ppt/slideLayouts/slideLayout6615.xml" ContentType="application/vnd.openxmlformats-officedocument.presentationml.slideLayout+xml"/>
  <Override PartName="/ppt/slideLayouts/slideLayout6616.xml" ContentType="application/vnd.openxmlformats-officedocument.presentationml.slideLayout+xml"/>
  <Override PartName="/ppt/slideLayouts/slideLayout6617.xml" ContentType="application/vnd.openxmlformats-officedocument.presentationml.slideLayout+xml"/>
  <Override PartName="/ppt/slideLayouts/slideLayout6618.xml" ContentType="application/vnd.openxmlformats-officedocument.presentationml.slideLayout+xml"/>
  <Override PartName="/ppt/slideLayouts/slideLayout6619.xml" ContentType="application/vnd.openxmlformats-officedocument.presentationml.slideLayout+xml"/>
  <Override PartName="/ppt/slideLayouts/slideLayout6620.xml" ContentType="application/vnd.openxmlformats-officedocument.presentationml.slideLayout+xml"/>
  <Override PartName="/ppt/slideLayouts/slideLayout6621.xml" ContentType="application/vnd.openxmlformats-officedocument.presentationml.slideLayout+xml"/>
  <Override PartName="/ppt/slideLayouts/slideLayout6622.xml" ContentType="application/vnd.openxmlformats-officedocument.presentationml.slideLayout+xml"/>
  <Override PartName="/ppt/slideLayouts/slideLayout6623.xml" ContentType="application/vnd.openxmlformats-officedocument.presentationml.slideLayout+xml"/>
  <Override PartName="/ppt/slideLayouts/slideLayout6624.xml" ContentType="application/vnd.openxmlformats-officedocument.presentationml.slideLayout+xml"/>
  <Override PartName="/ppt/slideLayouts/slideLayout6625.xml" ContentType="application/vnd.openxmlformats-officedocument.presentationml.slideLayout+xml"/>
  <Override PartName="/ppt/slideLayouts/slideLayout6626.xml" ContentType="application/vnd.openxmlformats-officedocument.presentationml.slideLayout+xml"/>
  <Override PartName="/ppt/slideLayouts/slideLayout6627.xml" ContentType="application/vnd.openxmlformats-officedocument.presentationml.slideLayout+xml"/>
  <Override PartName="/ppt/slideLayouts/slideLayout6628.xml" ContentType="application/vnd.openxmlformats-officedocument.presentationml.slideLayout+xml"/>
  <Override PartName="/ppt/slideLayouts/slideLayout6629.xml" ContentType="application/vnd.openxmlformats-officedocument.presentationml.slideLayout+xml"/>
  <Override PartName="/ppt/slideLayouts/slideLayout6630.xml" ContentType="application/vnd.openxmlformats-officedocument.presentationml.slideLayout+xml"/>
  <Override PartName="/ppt/slideLayouts/slideLayout6631.xml" ContentType="application/vnd.openxmlformats-officedocument.presentationml.slideLayout+xml"/>
  <Override PartName="/ppt/slideLayouts/slideLayout6632.xml" ContentType="application/vnd.openxmlformats-officedocument.presentationml.slideLayout+xml"/>
  <Override PartName="/ppt/slideLayouts/slideLayout6633.xml" ContentType="application/vnd.openxmlformats-officedocument.presentationml.slideLayout+xml"/>
  <Override PartName="/ppt/slideLayouts/slideLayout6634.xml" ContentType="application/vnd.openxmlformats-officedocument.presentationml.slideLayout+xml"/>
  <Override PartName="/ppt/slideLayouts/slideLayout6635.xml" ContentType="application/vnd.openxmlformats-officedocument.presentationml.slideLayout+xml"/>
  <Override PartName="/ppt/slideLayouts/slideLayout6636.xml" ContentType="application/vnd.openxmlformats-officedocument.presentationml.slideLayout+xml"/>
  <Override PartName="/ppt/slideLayouts/slideLayout6637.xml" ContentType="application/vnd.openxmlformats-officedocument.presentationml.slideLayout+xml"/>
  <Override PartName="/ppt/slideLayouts/slideLayout6638.xml" ContentType="application/vnd.openxmlformats-officedocument.presentationml.slideLayout+xml"/>
  <Override PartName="/ppt/slideLayouts/slideLayout6639.xml" ContentType="application/vnd.openxmlformats-officedocument.presentationml.slideLayout+xml"/>
  <Override PartName="/ppt/slideLayouts/slideLayout6640.xml" ContentType="application/vnd.openxmlformats-officedocument.presentationml.slideLayout+xml"/>
  <Override PartName="/ppt/slideLayouts/slideLayout6641.xml" ContentType="application/vnd.openxmlformats-officedocument.presentationml.slideLayout+xml"/>
  <Override PartName="/ppt/slideLayouts/slideLayout6642.xml" ContentType="application/vnd.openxmlformats-officedocument.presentationml.slideLayout+xml"/>
  <Override PartName="/ppt/slideLayouts/slideLayout6643.xml" ContentType="application/vnd.openxmlformats-officedocument.presentationml.slideLayout+xml"/>
  <Override PartName="/ppt/slideLayouts/slideLayout6644.xml" ContentType="application/vnd.openxmlformats-officedocument.presentationml.slideLayout+xml"/>
  <Override PartName="/ppt/slideLayouts/slideLayout6645.xml" ContentType="application/vnd.openxmlformats-officedocument.presentationml.slideLayout+xml"/>
  <Override PartName="/ppt/slideLayouts/slideLayout6646.xml" ContentType="application/vnd.openxmlformats-officedocument.presentationml.slideLayout+xml"/>
  <Override PartName="/ppt/slideLayouts/slideLayout6647.xml" ContentType="application/vnd.openxmlformats-officedocument.presentationml.slideLayout+xml"/>
  <Override PartName="/ppt/slideLayouts/slideLayout6648.xml" ContentType="application/vnd.openxmlformats-officedocument.presentationml.slideLayout+xml"/>
  <Override PartName="/ppt/slideLayouts/slideLayout6649.xml" ContentType="application/vnd.openxmlformats-officedocument.presentationml.slideLayout+xml"/>
  <Override PartName="/ppt/slideLayouts/slideLayout6650.xml" ContentType="application/vnd.openxmlformats-officedocument.presentationml.slideLayout+xml"/>
  <Override PartName="/ppt/slideLayouts/slideLayout6651.xml" ContentType="application/vnd.openxmlformats-officedocument.presentationml.slideLayout+xml"/>
  <Override PartName="/ppt/slideLayouts/slideLayout6652.xml" ContentType="application/vnd.openxmlformats-officedocument.presentationml.slideLayout+xml"/>
  <Override PartName="/ppt/slideLayouts/slideLayout6653.xml" ContentType="application/vnd.openxmlformats-officedocument.presentationml.slideLayout+xml"/>
  <Override PartName="/ppt/slideLayouts/slideLayout6654.xml" ContentType="application/vnd.openxmlformats-officedocument.presentationml.slideLayout+xml"/>
  <Override PartName="/ppt/slideLayouts/slideLayout6655.xml" ContentType="application/vnd.openxmlformats-officedocument.presentationml.slideLayout+xml"/>
  <Override PartName="/ppt/slideLayouts/slideLayout6656.xml" ContentType="application/vnd.openxmlformats-officedocument.presentationml.slideLayout+xml"/>
  <Override PartName="/ppt/slideLayouts/slideLayout6657.xml" ContentType="application/vnd.openxmlformats-officedocument.presentationml.slideLayout+xml"/>
  <Override PartName="/ppt/slideLayouts/slideLayout6658.xml" ContentType="application/vnd.openxmlformats-officedocument.presentationml.slideLayout+xml"/>
  <Override PartName="/ppt/slideLayouts/slideLayout6659.xml" ContentType="application/vnd.openxmlformats-officedocument.presentationml.slideLayout+xml"/>
  <Override PartName="/ppt/slideLayouts/slideLayout6660.xml" ContentType="application/vnd.openxmlformats-officedocument.presentationml.slideLayout+xml"/>
  <Override PartName="/ppt/slideLayouts/slideLayout6661.xml" ContentType="application/vnd.openxmlformats-officedocument.presentationml.slideLayout+xml"/>
  <Override PartName="/ppt/slideLayouts/slideLayout6662.xml" ContentType="application/vnd.openxmlformats-officedocument.presentationml.slideLayout+xml"/>
  <Override PartName="/ppt/slideLayouts/slideLayout6663.xml" ContentType="application/vnd.openxmlformats-officedocument.presentationml.slideLayout+xml"/>
  <Override PartName="/ppt/slideLayouts/slideLayout6664.xml" ContentType="application/vnd.openxmlformats-officedocument.presentationml.slideLayout+xml"/>
  <Override PartName="/ppt/slideLayouts/slideLayout6665.xml" ContentType="application/vnd.openxmlformats-officedocument.presentationml.slideLayout+xml"/>
  <Override PartName="/ppt/slideLayouts/slideLayout6666.xml" ContentType="application/vnd.openxmlformats-officedocument.presentationml.slideLayout+xml"/>
  <Override PartName="/ppt/slideLayouts/slideLayout6667.xml" ContentType="application/vnd.openxmlformats-officedocument.presentationml.slideLayout+xml"/>
  <Override PartName="/ppt/slideLayouts/slideLayout6668.xml" ContentType="application/vnd.openxmlformats-officedocument.presentationml.slideLayout+xml"/>
  <Override PartName="/ppt/slideLayouts/slideLayout6669.xml" ContentType="application/vnd.openxmlformats-officedocument.presentationml.slideLayout+xml"/>
  <Override PartName="/ppt/slideLayouts/slideLayout6670.xml" ContentType="application/vnd.openxmlformats-officedocument.presentationml.slideLayout+xml"/>
  <Override PartName="/ppt/slideLayouts/slideLayout6671.xml" ContentType="application/vnd.openxmlformats-officedocument.presentationml.slideLayout+xml"/>
  <Override PartName="/ppt/slideLayouts/slideLayout6672.xml" ContentType="application/vnd.openxmlformats-officedocument.presentationml.slideLayout+xml"/>
  <Override PartName="/ppt/slideLayouts/slideLayout6673.xml" ContentType="application/vnd.openxmlformats-officedocument.presentationml.slideLayout+xml"/>
  <Override PartName="/ppt/slideLayouts/slideLayout6674.xml" ContentType="application/vnd.openxmlformats-officedocument.presentationml.slideLayout+xml"/>
  <Override PartName="/ppt/slideLayouts/slideLayout6675.xml" ContentType="application/vnd.openxmlformats-officedocument.presentationml.slideLayout+xml"/>
  <Override PartName="/ppt/slideLayouts/slideLayout6676.xml" ContentType="application/vnd.openxmlformats-officedocument.presentationml.slideLayout+xml"/>
  <Override PartName="/ppt/slideLayouts/slideLayout6677.xml" ContentType="application/vnd.openxmlformats-officedocument.presentationml.slideLayout+xml"/>
  <Override PartName="/ppt/slideLayouts/slideLayout6678.xml" ContentType="application/vnd.openxmlformats-officedocument.presentationml.slideLayout+xml"/>
  <Override PartName="/ppt/slideLayouts/slideLayout6679.xml" ContentType="application/vnd.openxmlformats-officedocument.presentationml.slideLayout+xml"/>
  <Override PartName="/ppt/slideLayouts/slideLayout6680.xml" ContentType="application/vnd.openxmlformats-officedocument.presentationml.slideLayout+xml"/>
  <Override PartName="/ppt/slideLayouts/slideLayout6681.xml" ContentType="application/vnd.openxmlformats-officedocument.presentationml.slideLayout+xml"/>
  <Override PartName="/ppt/slideLayouts/slideLayout6682.xml" ContentType="application/vnd.openxmlformats-officedocument.presentationml.slideLayout+xml"/>
  <Override PartName="/ppt/slideLayouts/slideLayout6683.xml" ContentType="application/vnd.openxmlformats-officedocument.presentationml.slideLayout+xml"/>
  <Override PartName="/ppt/slideLayouts/slideLayout6684.xml" ContentType="application/vnd.openxmlformats-officedocument.presentationml.slideLayout+xml"/>
  <Override PartName="/ppt/slideLayouts/slideLayout6685.xml" ContentType="application/vnd.openxmlformats-officedocument.presentationml.slideLayout+xml"/>
  <Override PartName="/ppt/slideLayouts/slideLayout6686.xml" ContentType="application/vnd.openxmlformats-officedocument.presentationml.slideLayout+xml"/>
  <Override PartName="/ppt/slideLayouts/slideLayout6687.xml" ContentType="application/vnd.openxmlformats-officedocument.presentationml.slideLayout+xml"/>
  <Override PartName="/ppt/slideLayouts/slideLayout6688.xml" ContentType="application/vnd.openxmlformats-officedocument.presentationml.slideLayout+xml"/>
  <Override PartName="/ppt/slideLayouts/slideLayout6689.xml" ContentType="application/vnd.openxmlformats-officedocument.presentationml.slideLayout+xml"/>
  <Override PartName="/ppt/slideLayouts/slideLayout6690.xml" ContentType="application/vnd.openxmlformats-officedocument.presentationml.slideLayout+xml"/>
  <Override PartName="/ppt/slideLayouts/slideLayout6691.xml" ContentType="application/vnd.openxmlformats-officedocument.presentationml.slideLayout+xml"/>
  <Override PartName="/ppt/slideLayouts/slideLayout6692.xml" ContentType="application/vnd.openxmlformats-officedocument.presentationml.slideLayout+xml"/>
  <Override PartName="/ppt/slideLayouts/slideLayout6693.xml" ContentType="application/vnd.openxmlformats-officedocument.presentationml.slideLayout+xml"/>
  <Override PartName="/ppt/slideLayouts/slideLayout6694.xml" ContentType="application/vnd.openxmlformats-officedocument.presentationml.slideLayout+xml"/>
  <Override PartName="/ppt/slideLayouts/slideLayout6695.xml" ContentType="application/vnd.openxmlformats-officedocument.presentationml.slideLayout+xml"/>
  <Override PartName="/ppt/slideLayouts/slideLayout6696.xml" ContentType="application/vnd.openxmlformats-officedocument.presentationml.slideLayout+xml"/>
  <Override PartName="/ppt/slideLayouts/slideLayout6697.xml" ContentType="application/vnd.openxmlformats-officedocument.presentationml.slideLayout+xml"/>
  <Override PartName="/ppt/slideLayouts/slideLayout6698.xml" ContentType="application/vnd.openxmlformats-officedocument.presentationml.slideLayout+xml"/>
  <Override PartName="/ppt/slideLayouts/slideLayout6699.xml" ContentType="application/vnd.openxmlformats-officedocument.presentationml.slideLayout+xml"/>
  <Override PartName="/ppt/slideLayouts/slideLayout6700.xml" ContentType="application/vnd.openxmlformats-officedocument.presentationml.slideLayout+xml"/>
  <Override PartName="/ppt/slideLayouts/slideLayout6701.xml" ContentType="application/vnd.openxmlformats-officedocument.presentationml.slideLayout+xml"/>
  <Override PartName="/ppt/slideLayouts/slideLayout6702.xml" ContentType="application/vnd.openxmlformats-officedocument.presentationml.slideLayout+xml"/>
  <Override PartName="/ppt/slideLayouts/slideLayout6703.xml" ContentType="application/vnd.openxmlformats-officedocument.presentationml.slideLayout+xml"/>
  <Override PartName="/ppt/slideLayouts/slideLayout6704.xml" ContentType="application/vnd.openxmlformats-officedocument.presentationml.slideLayout+xml"/>
  <Override PartName="/ppt/slideLayouts/slideLayout6705.xml" ContentType="application/vnd.openxmlformats-officedocument.presentationml.slideLayout+xml"/>
  <Override PartName="/ppt/slideLayouts/slideLayout6706.xml" ContentType="application/vnd.openxmlformats-officedocument.presentationml.slideLayout+xml"/>
  <Override PartName="/ppt/slideLayouts/slideLayout6707.xml" ContentType="application/vnd.openxmlformats-officedocument.presentationml.slideLayout+xml"/>
  <Override PartName="/ppt/slideLayouts/slideLayout6708.xml" ContentType="application/vnd.openxmlformats-officedocument.presentationml.slideLayout+xml"/>
  <Override PartName="/ppt/slideLayouts/slideLayout6709.xml" ContentType="application/vnd.openxmlformats-officedocument.presentationml.slideLayout+xml"/>
  <Override PartName="/ppt/slideLayouts/slideLayout6710.xml" ContentType="application/vnd.openxmlformats-officedocument.presentationml.slideLayout+xml"/>
  <Override PartName="/ppt/slideLayouts/slideLayout6711.xml" ContentType="application/vnd.openxmlformats-officedocument.presentationml.slideLayout+xml"/>
  <Override PartName="/ppt/slideLayouts/slideLayout6712.xml" ContentType="application/vnd.openxmlformats-officedocument.presentationml.slideLayout+xml"/>
  <Override PartName="/ppt/slideLayouts/slideLayout6713.xml" ContentType="application/vnd.openxmlformats-officedocument.presentationml.slideLayout+xml"/>
  <Override PartName="/ppt/slideLayouts/slideLayout6714.xml" ContentType="application/vnd.openxmlformats-officedocument.presentationml.slideLayout+xml"/>
  <Override PartName="/ppt/slideLayouts/slideLayout6715.xml" ContentType="application/vnd.openxmlformats-officedocument.presentationml.slideLayout+xml"/>
  <Override PartName="/ppt/slideLayouts/slideLayout6716.xml" ContentType="application/vnd.openxmlformats-officedocument.presentationml.slideLayout+xml"/>
  <Override PartName="/ppt/slideLayouts/slideLayout6717.xml" ContentType="application/vnd.openxmlformats-officedocument.presentationml.slideLayout+xml"/>
  <Override PartName="/ppt/slideLayouts/slideLayout6718.xml" ContentType="application/vnd.openxmlformats-officedocument.presentationml.slideLayout+xml"/>
  <Override PartName="/ppt/slideLayouts/slideLayout6719.xml" ContentType="application/vnd.openxmlformats-officedocument.presentationml.slideLayout+xml"/>
  <Override PartName="/ppt/slideLayouts/slideLayout6720.xml" ContentType="application/vnd.openxmlformats-officedocument.presentationml.slideLayout+xml"/>
  <Override PartName="/ppt/slideLayouts/slideLayout6721.xml" ContentType="application/vnd.openxmlformats-officedocument.presentationml.slideLayout+xml"/>
  <Override PartName="/ppt/slideLayouts/slideLayout6722.xml" ContentType="application/vnd.openxmlformats-officedocument.presentationml.slideLayout+xml"/>
  <Override PartName="/ppt/slideLayouts/slideLayout6723.xml" ContentType="application/vnd.openxmlformats-officedocument.presentationml.slideLayout+xml"/>
  <Override PartName="/ppt/slideLayouts/slideLayout6724.xml" ContentType="application/vnd.openxmlformats-officedocument.presentationml.slideLayout+xml"/>
  <Override PartName="/ppt/slideLayouts/slideLayout6725.xml" ContentType="application/vnd.openxmlformats-officedocument.presentationml.slideLayout+xml"/>
  <Override PartName="/ppt/slideLayouts/slideLayout6726.xml" ContentType="application/vnd.openxmlformats-officedocument.presentationml.slideLayout+xml"/>
  <Override PartName="/ppt/slideLayouts/slideLayout6727.xml" ContentType="application/vnd.openxmlformats-officedocument.presentationml.slideLayout+xml"/>
  <Override PartName="/ppt/slideLayouts/slideLayout6728.xml" ContentType="application/vnd.openxmlformats-officedocument.presentationml.slideLayout+xml"/>
  <Override PartName="/ppt/slideLayouts/slideLayout6729.xml" ContentType="application/vnd.openxmlformats-officedocument.presentationml.slideLayout+xml"/>
  <Override PartName="/ppt/slideLayouts/slideLayout6730.xml" ContentType="application/vnd.openxmlformats-officedocument.presentationml.slideLayout+xml"/>
  <Override PartName="/ppt/slideLayouts/slideLayout6731.xml" ContentType="application/vnd.openxmlformats-officedocument.presentationml.slideLayout+xml"/>
  <Override PartName="/ppt/slideLayouts/slideLayout6732.xml" ContentType="application/vnd.openxmlformats-officedocument.presentationml.slideLayout+xml"/>
  <Override PartName="/ppt/slideLayouts/slideLayout6733.xml" ContentType="application/vnd.openxmlformats-officedocument.presentationml.slideLayout+xml"/>
  <Override PartName="/ppt/slideLayouts/slideLayout6734.xml" ContentType="application/vnd.openxmlformats-officedocument.presentationml.slideLayout+xml"/>
  <Override PartName="/ppt/slideLayouts/slideLayout6735.xml" ContentType="application/vnd.openxmlformats-officedocument.presentationml.slideLayout+xml"/>
  <Override PartName="/ppt/slideLayouts/slideLayout6736.xml" ContentType="application/vnd.openxmlformats-officedocument.presentationml.slideLayout+xml"/>
  <Override PartName="/ppt/slideLayouts/slideLayout6737.xml" ContentType="application/vnd.openxmlformats-officedocument.presentationml.slideLayout+xml"/>
  <Override PartName="/ppt/slideLayouts/slideLayout6738.xml" ContentType="application/vnd.openxmlformats-officedocument.presentationml.slideLayout+xml"/>
  <Override PartName="/ppt/slideLayouts/slideLayout6739.xml" ContentType="application/vnd.openxmlformats-officedocument.presentationml.slideLayout+xml"/>
  <Override PartName="/ppt/slideLayouts/slideLayout6740.xml" ContentType="application/vnd.openxmlformats-officedocument.presentationml.slideLayout+xml"/>
  <Override PartName="/ppt/slideLayouts/slideLayout6741.xml" ContentType="application/vnd.openxmlformats-officedocument.presentationml.slideLayout+xml"/>
  <Override PartName="/ppt/slideLayouts/slideLayout6742.xml" ContentType="application/vnd.openxmlformats-officedocument.presentationml.slideLayout+xml"/>
  <Override PartName="/ppt/slideLayouts/slideLayout6743.xml" ContentType="application/vnd.openxmlformats-officedocument.presentationml.slideLayout+xml"/>
  <Override PartName="/ppt/slideLayouts/slideLayout6744.xml" ContentType="application/vnd.openxmlformats-officedocument.presentationml.slideLayout+xml"/>
  <Override PartName="/ppt/slideLayouts/slideLayout6745.xml" ContentType="application/vnd.openxmlformats-officedocument.presentationml.slideLayout+xml"/>
  <Override PartName="/ppt/slideLayouts/slideLayout6746.xml" ContentType="application/vnd.openxmlformats-officedocument.presentationml.slideLayout+xml"/>
  <Override PartName="/ppt/slideLayouts/slideLayout6747.xml" ContentType="application/vnd.openxmlformats-officedocument.presentationml.slideLayout+xml"/>
  <Override PartName="/ppt/slideLayouts/slideLayout6748.xml" ContentType="application/vnd.openxmlformats-officedocument.presentationml.slideLayout+xml"/>
  <Override PartName="/ppt/slideLayouts/slideLayout6749.xml" ContentType="application/vnd.openxmlformats-officedocument.presentationml.slideLayout+xml"/>
  <Override PartName="/ppt/slideLayouts/slideLayout6750.xml" ContentType="application/vnd.openxmlformats-officedocument.presentationml.slideLayout+xml"/>
  <Override PartName="/ppt/slideLayouts/slideLayout6751.xml" ContentType="application/vnd.openxmlformats-officedocument.presentationml.slideLayout+xml"/>
  <Override PartName="/ppt/slideLayouts/slideLayout6752.xml" ContentType="application/vnd.openxmlformats-officedocument.presentationml.slideLayout+xml"/>
  <Override PartName="/ppt/slideLayouts/slideLayout6753.xml" ContentType="application/vnd.openxmlformats-officedocument.presentationml.slideLayout+xml"/>
  <Override PartName="/ppt/slideLayouts/slideLayout6754.xml" ContentType="application/vnd.openxmlformats-officedocument.presentationml.slideLayout+xml"/>
  <Override PartName="/ppt/slideLayouts/slideLayout6755.xml" ContentType="application/vnd.openxmlformats-officedocument.presentationml.slideLayout+xml"/>
  <Override PartName="/ppt/slideLayouts/slideLayout6756.xml" ContentType="application/vnd.openxmlformats-officedocument.presentationml.slideLayout+xml"/>
  <Override PartName="/ppt/slideLayouts/slideLayout6757.xml" ContentType="application/vnd.openxmlformats-officedocument.presentationml.slideLayout+xml"/>
  <Override PartName="/ppt/slideLayouts/slideLayout6758.xml" ContentType="application/vnd.openxmlformats-officedocument.presentationml.slideLayout+xml"/>
  <Override PartName="/ppt/slideLayouts/slideLayout6759.xml" ContentType="application/vnd.openxmlformats-officedocument.presentationml.slideLayout+xml"/>
  <Override PartName="/ppt/slideLayouts/slideLayout6760.xml" ContentType="application/vnd.openxmlformats-officedocument.presentationml.slideLayout+xml"/>
  <Override PartName="/ppt/slideLayouts/slideLayout6761.xml" ContentType="application/vnd.openxmlformats-officedocument.presentationml.slideLayout+xml"/>
  <Override PartName="/ppt/slideLayouts/slideLayout6762.xml" ContentType="application/vnd.openxmlformats-officedocument.presentationml.slideLayout+xml"/>
  <Override PartName="/ppt/slideLayouts/slideLayout6763.xml" ContentType="application/vnd.openxmlformats-officedocument.presentationml.slideLayout+xml"/>
  <Override PartName="/ppt/slideLayouts/slideLayout6764.xml" ContentType="application/vnd.openxmlformats-officedocument.presentationml.slideLayout+xml"/>
  <Override PartName="/ppt/slideLayouts/slideLayout6765.xml" ContentType="application/vnd.openxmlformats-officedocument.presentationml.slideLayout+xml"/>
  <Override PartName="/ppt/slideLayouts/slideLayout6766.xml" ContentType="application/vnd.openxmlformats-officedocument.presentationml.slideLayout+xml"/>
  <Override PartName="/ppt/slideLayouts/slideLayout6767.xml" ContentType="application/vnd.openxmlformats-officedocument.presentationml.slideLayout+xml"/>
  <Override PartName="/ppt/slideLayouts/slideLayout6768.xml" ContentType="application/vnd.openxmlformats-officedocument.presentationml.slideLayout+xml"/>
  <Override PartName="/ppt/slideLayouts/slideLayout6769.xml" ContentType="application/vnd.openxmlformats-officedocument.presentationml.slideLayout+xml"/>
  <Override PartName="/ppt/slideLayouts/slideLayout6770.xml" ContentType="application/vnd.openxmlformats-officedocument.presentationml.slideLayout+xml"/>
  <Override PartName="/ppt/slideLayouts/slideLayout6771.xml" ContentType="application/vnd.openxmlformats-officedocument.presentationml.slideLayout+xml"/>
  <Override PartName="/ppt/slideLayouts/slideLayout6772.xml" ContentType="application/vnd.openxmlformats-officedocument.presentationml.slideLayout+xml"/>
  <Override PartName="/ppt/slideLayouts/slideLayout6773.xml" ContentType="application/vnd.openxmlformats-officedocument.presentationml.slideLayout+xml"/>
  <Override PartName="/ppt/slideLayouts/slideLayout6774.xml" ContentType="application/vnd.openxmlformats-officedocument.presentationml.slideLayout+xml"/>
  <Override PartName="/ppt/slideLayouts/slideLayout6775.xml" ContentType="application/vnd.openxmlformats-officedocument.presentationml.slideLayout+xml"/>
  <Override PartName="/ppt/slideLayouts/slideLayout6776.xml" ContentType="application/vnd.openxmlformats-officedocument.presentationml.slideLayout+xml"/>
  <Override PartName="/ppt/slideLayouts/slideLayout6777.xml" ContentType="application/vnd.openxmlformats-officedocument.presentationml.slideLayout+xml"/>
  <Override PartName="/ppt/slideLayouts/slideLayout6778.xml" ContentType="application/vnd.openxmlformats-officedocument.presentationml.slideLayout+xml"/>
  <Override PartName="/ppt/slideLayouts/slideLayout6779.xml" ContentType="application/vnd.openxmlformats-officedocument.presentationml.slideLayout+xml"/>
  <Override PartName="/ppt/slideLayouts/slideLayout6780.xml" ContentType="application/vnd.openxmlformats-officedocument.presentationml.slideLayout+xml"/>
  <Override PartName="/ppt/slideLayouts/slideLayout6781.xml" ContentType="application/vnd.openxmlformats-officedocument.presentationml.slideLayout+xml"/>
  <Override PartName="/ppt/slideLayouts/slideLayout6782.xml" ContentType="application/vnd.openxmlformats-officedocument.presentationml.slideLayout+xml"/>
  <Override PartName="/ppt/slideLayouts/slideLayout6783.xml" ContentType="application/vnd.openxmlformats-officedocument.presentationml.slideLayout+xml"/>
  <Override PartName="/ppt/slideLayouts/slideLayout6784.xml" ContentType="application/vnd.openxmlformats-officedocument.presentationml.slideLayout+xml"/>
  <Override PartName="/ppt/slideLayouts/slideLayout6785.xml" ContentType="application/vnd.openxmlformats-officedocument.presentationml.slideLayout+xml"/>
  <Override PartName="/ppt/slideLayouts/slideLayout6786.xml" ContentType="application/vnd.openxmlformats-officedocument.presentationml.slideLayout+xml"/>
  <Override PartName="/ppt/slideLayouts/slideLayout6787.xml" ContentType="application/vnd.openxmlformats-officedocument.presentationml.slideLayout+xml"/>
  <Override PartName="/ppt/slideLayouts/slideLayout6788.xml" ContentType="application/vnd.openxmlformats-officedocument.presentationml.slideLayout+xml"/>
  <Override PartName="/ppt/slideLayouts/slideLayout6789.xml" ContentType="application/vnd.openxmlformats-officedocument.presentationml.slideLayout+xml"/>
  <Override PartName="/ppt/slideLayouts/slideLayout6790.xml" ContentType="application/vnd.openxmlformats-officedocument.presentationml.slideLayout+xml"/>
  <Override PartName="/ppt/slideLayouts/slideLayout6791.xml" ContentType="application/vnd.openxmlformats-officedocument.presentationml.slideLayout+xml"/>
  <Override PartName="/ppt/slideLayouts/slideLayout6792.xml" ContentType="application/vnd.openxmlformats-officedocument.presentationml.slideLayout+xml"/>
  <Override PartName="/ppt/slideLayouts/slideLayout6793.xml" ContentType="application/vnd.openxmlformats-officedocument.presentationml.slideLayout+xml"/>
  <Override PartName="/ppt/slideLayouts/slideLayout6794.xml" ContentType="application/vnd.openxmlformats-officedocument.presentationml.slideLayout+xml"/>
  <Override PartName="/ppt/slideLayouts/slideLayout6795.xml" ContentType="application/vnd.openxmlformats-officedocument.presentationml.slideLayout+xml"/>
  <Override PartName="/ppt/slideLayouts/slideLayout6796.xml" ContentType="application/vnd.openxmlformats-officedocument.presentationml.slideLayout+xml"/>
  <Override PartName="/ppt/slideLayouts/slideLayout6797.xml" ContentType="application/vnd.openxmlformats-officedocument.presentationml.slideLayout+xml"/>
  <Override PartName="/ppt/slideLayouts/slideLayout6798.xml" ContentType="application/vnd.openxmlformats-officedocument.presentationml.slideLayout+xml"/>
  <Override PartName="/ppt/slideLayouts/slideLayout6799.xml" ContentType="application/vnd.openxmlformats-officedocument.presentationml.slideLayout+xml"/>
  <Override PartName="/ppt/slideLayouts/slideLayout6800.xml" ContentType="application/vnd.openxmlformats-officedocument.presentationml.slideLayout+xml"/>
  <Override PartName="/ppt/slideLayouts/slideLayout6801.xml" ContentType="application/vnd.openxmlformats-officedocument.presentationml.slideLayout+xml"/>
  <Override PartName="/ppt/slideLayouts/slideLayout6802.xml" ContentType="application/vnd.openxmlformats-officedocument.presentationml.slideLayout+xml"/>
  <Override PartName="/ppt/slideLayouts/slideLayout6803.xml" ContentType="application/vnd.openxmlformats-officedocument.presentationml.slideLayout+xml"/>
  <Override PartName="/ppt/slideLayouts/slideLayout6804.xml" ContentType="application/vnd.openxmlformats-officedocument.presentationml.slideLayout+xml"/>
  <Override PartName="/ppt/slideLayouts/slideLayout6805.xml" ContentType="application/vnd.openxmlformats-officedocument.presentationml.slideLayout+xml"/>
  <Override PartName="/ppt/slideLayouts/slideLayout6806.xml" ContentType="application/vnd.openxmlformats-officedocument.presentationml.slideLayout+xml"/>
  <Override PartName="/ppt/slideLayouts/slideLayout6807.xml" ContentType="application/vnd.openxmlformats-officedocument.presentationml.slideLayout+xml"/>
  <Override PartName="/ppt/slideLayouts/slideLayout6808.xml" ContentType="application/vnd.openxmlformats-officedocument.presentationml.slideLayout+xml"/>
  <Override PartName="/ppt/slideLayouts/slideLayout6809.xml" ContentType="application/vnd.openxmlformats-officedocument.presentationml.slideLayout+xml"/>
  <Override PartName="/ppt/slideLayouts/slideLayout6810.xml" ContentType="application/vnd.openxmlformats-officedocument.presentationml.slideLayout+xml"/>
  <Override PartName="/ppt/slideLayouts/slideLayout6811.xml" ContentType="application/vnd.openxmlformats-officedocument.presentationml.slideLayout+xml"/>
  <Override PartName="/ppt/slideLayouts/slideLayout6812.xml" ContentType="application/vnd.openxmlformats-officedocument.presentationml.slideLayout+xml"/>
  <Override PartName="/ppt/slideLayouts/slideLayout6813.xml" ContentType="application/vnd.openxmlformats-officedocument.presentationml.slideLayout+xml"/>
  <Override PartName="/ppt/slideLayouts/slideLayout6814.xml" ContentType="application/vnd.openxmlformats-officedocument.presentationml.slideLayout+xml"/>
  <Override PartName="/ppt/slideLayouts/slideLayout6815.xml" ContentType="application/vnd.openxmlformats-officedocument.presentationml.slideLayout+xml"/>
  <Override PartName="/ppt/slideLayouts/slideLayout6816.xml" ContentType="application/vnd.openxmlformats-officedocument.presentationml.slideLayout+xml"/>
  <Override PartName="/ppt/slideLayouts/slideLayout6817.xml" ContentType="application/vnd.openxmlformats-officedocument.presentationml.slideLayout+xml"/>
  <Override PartName="/ppt/slideLayouts/slideLayout6818.xml" ContentType="application/vnd.openxmlformats-officedocument.presentationml.slideLayout+xml"/>
  <Override PartName="/ppt/slideLayouts/slideLayout6819.xml" ContentType="application/vnd.openxmlformats-officedocument.presentationml.slideLayout+xml"/>
  <Override PartName="/ppt/slideLayouts/slideLayout6820.xml" ContentType="application/vnd.openxmlformats-officedocument.presentationml.slideLayout+xml"/>
  <Override PartName="/ppt/slideLayouts/slideLayout6821.xml" ContentType="application/vnd.openxmlformats-officedocument.presentationml.slideLayout+xml"/>
  <Override PartName="/ppt/slideLayouts/slideLayout6822.xml" ContentType="application/vnd.openxmlformats-officedocument.presentationml.slideLayout+xml"/>
  <Override PartName="/ppt/slideLayouts/slideLayout6823.xml" ContentType="application/vnd.openxmlformats-officedocument.presentationml.slideLayout+xml"/>
  <Override PartName="/ppt/slideLayouts/slideLayout6824.xml" ContentType="application/vnd.openxmlformats-officedocument.presentationml.slideLayout+xml"/>
  <Override PartName="/ppt/slideLayouts/slideLayout6825.xml" ContentType="application/vnd.openxmlformats-officedocument.presentationml.slideLayout+xml"/>
  <Override PartName="/ppt/slideLayouts/slideLayout6826.xml" ContentType="application/vnd.openxmlformats-officedocument.presentationml.slideLayout+xml"/>
  <Override PartName="/ppt/slideLayouts/slideLayout6827.xml" ContentType="application/vnd.openxmlformats-officedocument.presentationml.slideLayout+xml"/>
  <Override PartName="/ppt/slideLayouts/slideLayout6828.xml" ContentType="application/vnd.openxmlformats-officedocument.presentationml.slideLayout+xml"/>
  <Override PartName="/ppt/slideLayouts/slideLayout6829.xml" ContentType="application/vnd.openxmlformats-officedocument.presentationml.slideLayout+xml"/>
  <Override PartName="/ppt/slideLayouts/slideLayout6830.xml" ContentType="application/vnd.openxmlformats-officedocument.presentationml.slideLayout+xml"/>
  <Override PartName="/ppt/slideLayouts/slideLayout6831.xml" ContentType="application/vnd.openxmlformats-officedocument.presentationml.slideLayout+xml"/>
  <Override PartName="/ppt/slideLayouts/slideLayout6832.xml" ContentType="application/vnd.openxmlformats-officedocument.presentationml.slideLayout+xml"/>
  <Override PartName="/ppt/slideLayouts/slideLayout6833.xml" ContentType="application/vnd.openxmlformats-officedocument.presentationml.slideLayout+xml"/>
  <Override PartName="/ppt/slideLayouts/slideLayout6834.xml" ContentType="application/vnd.openxmlformats-officedocument.presentationml.slideLayout+xml"/>
  <Override PartName="/ppt/slideLayouts/slideLayout6835.xml" ContentType="application/vnd.openxmlformats-officedocument.presentationml.slideLayout+xml"/>
  <Override PartName="/ppt/slideLayouts/slideLayout6836.xml" ContentType="application/vnd.openxmlformats-officedocument.presentationml.slideLayout+xml"/>
  <Override PartName="/ppt/slideLayouts/slideLayout6837.xml" ContentType="application/vnd.openxmlformats-officedocument.presentationml.slideLayout+xml"/>
  <Override PartName="/ppt/slideLayouts/slideLayout6838.xml" ContentType="application/vnd.openxmlformats-officedocument.presentationml.slideLayout+xml"/>
  <Override PartName="/ppt/slideLayouts/slideLayout6839.xml" ContentType="application/vnd.openxmlformats-officedocument.presentationml.slideLayout+xml"/>
  <Override PartName="/ppt/slideLayouts/slideLayout6840.xml" ContentType="application/vnd.openxmlformats-officedocument.presentationml.slideLayout+xml"/>
  <Override PartName="/ppt/slideLayouts/slideLayout6841.xml" ContentType="application/vnd.openxmlformats-officedocument.presentationml.slideLayout+xml"/>
  <Override PartName="/ppt/slideLayouts/slideLayout6842.xml" ContentType="application/vnd.openxmlformats-officedocument.presentationml.slideLayout+xml"/>
  <Override PartName="/ppt/slideLayouts/slideLayout6843.xml" ContentType="application/vnd.openxmlformats-officedocument.presentationml.slideLayout+xml"/>
  <Override PartName="/ppt/slideLayouts/slideLayout6844.xml" ContentType="application/vnd.openxmlformats-officedocument.presentationml.slideLayout+xml"/>
  <Override PartName="/ppt/slideLayouts/slideLayout6845.xml" ContentType="application/vnd.openxmlformats-officedocument.presentationml.slideLayout+xml"/>
  <Override PartName="/ppt/slideLayouts/slideLayout6846.xml" ContentType="application/vnd.openxmlformats-officedocument.presentationml.slideLayout+xml"/>
  <Override PartName="/ppt/slideLayouts/slideLayout6847.xml" ContentType="application/vnd.openxmlformats-officedocument.presentationml.slideLayout+xml"/>
  <Override PartName="/ppt/slideLayouts/slideLayout6848.xml" ContentType="application/vnd.openxmlformats-officedocument.presentationml.slideLayout+xml"/>
  <Override PartName="/ppt/slideLayouts/slideLayout6849.xml" ContentType="application/vnd.openxmlformats-officedocument.presentationml.slideLayout+xml"/>
  <Override PartName="/ppt/slideLayouts/slideLayout6850.xml" ContentType="application/vnd.openxmlformats-officedocument.presentationml.slideLayout+xml"/>
  <Override PartName="/ppt/slideLayouts/slideLayout6851.xml" ContentType="application/vnd.openxmlformats-officedocument.presentationml.slideLayout+xml"/>
  <Override PartName="/ppt/slideLayouts/slideLayout6852.xml" ContentType="application/vnd.openxmlformats-officedocument.presentationml.slideLayout+xml"/>
  <Override PartName="/ppt/slideLayouts/slideLayout6853.xml" ContentType="application/vnd.openxmlformats-officedocument.presentationml.slideLayout+xml"/>
  <Override PartName="/ppt/slideLayouts/slideLayout6854.xml" ContentType="application/vnd.openxmlformats-officedocument.presentationml.slideLayout+xml"/>
  <Override PartName="/ppt/slideLayouts/slideLayout6855.xml" ContentType="application/vnd.openxmlformats-officedocument.presentationml.slideLayout+xml"/>
  <Override PartName="/ppt/slideLayouts/slideLayout6856.xml" ContentType="application/vnd.openxmlformats-officedocument.presentationml.slideLayout+xml"/>
  <Override PartName="/ppt/slideLayouts/slideLayout6857.xml" ContentType="application/vnd.openxmlformats-officedocument.presentationml.slideLayout+xml"/>
  <Override PartName="/ppt/slideLayouts/slideLayout6858.xml" ContentType="application/vnd.openxmlformats-officedocument.presentationml.slideLayout+xml"/>
  <Override PartName="/ppt/slideLayouts/slideLayout6859.xml" ContentType="application/vnd.openxmlformats-officedocument.presentationml.slideLayout+xml"/>
  <Override PartName="/ppt/slideLayouts/slideLayout6860.xml" ContentType="application/vnd.openxmlformats-officedocument.presentationml.slideLayout+xml"/>
  <Override PartName="/ppt/slideLayouts/slideLayout6861.xml" ContentType="application/vnd.openxmlformats-officedocument.presentationml.slideLayout+xml"/>
  <Override PartName="/ppt/slideLayouts/slideLayout6862.xml" ContentType="application/vnd.openxmlformats-officedocument.presentationml.slideLayout+xml"/>
  <Override PartName="/ppt/slideLayouts/slideLayout6863.xml" ContentType="application/vnd.openxmlformats-officedocument.presentationml.slideLayout+xml"/>
  <Override PartName="/ppt/slideLayouts/slideLayout6864.xml" ContentType="application/vnd.openxmlformats-officedocument.presentationml.slideLayout+xml"/>
  <Override PartName="/ppt/slideLayouts/slideLayout6865.xml" ContentType="application/vnd.openxmlformats-officedocument.presentationml.slideLayout+xml"/>
  <Override PartName="/ppt/slideLayouts/slideLayout6866.xml" ContentType="application/vnd.openxmlformats-officedocument.presentationml.slideLayout+xml"/>
  <Override PartName="/ppt/slideLayouts/slideLayout6867.xml" ContentType="application/vnd.openxmlformats-officedocument.presentationml.slideLayout+xml"/>
  <Override PartName="/ppt/slideLayouts/slideLayout6868.xml" ContentType="application/vnd.openxmlformats-officedocument.presentationml.slideLayout+xml"/>
  <Override PartName="/ppt/slideLayouts/slideLayout6869.xml" ContentType="application/vnd.openxmlformats-officedocument.presentationml.slideLayout+xml"/>
  <Override PartName="/ppt/slideLayouts/slideLayout6870.xml" ContentType="application/vnd.openxmlformats-officedocument.presentationml.slideLayout+xml"/>
  <Override PartName="/ppt/slideLayouts/slideLayout6871.xml" ContentType="application/vnd.openxmlformats-officedocument.presentationml.slideLayout+xml"/>
  <Override PartName="/ppt/slideLayouts/slideLayout6872.xml" ContentType="application/vnd.openxmlformats-officedocument.presentationml.slideLayout+xml"/>
  <Override PartName="/ppt/slideLayouts/slideLayout6873.xml" ContentType="application/vnd.openxmlformats-officedocument.presentationml.slideLayout+xml"/>
  <Override PartName="/ppt/slideLayouts/slideLayout6874.xml" ContentType="application/vnd.openxmlformats-officedocument.presentationml.slideLayout+xml"/>
  <Override PartName="/ppt/slideLayouts/slideLayout6875.xml" ContentType="application/vnd.openxmlformats-officedocument.presentationml.slideLayout+xml"/>
  <Override PartName="/ppt/slideLayouts/slideLayout6876.xml" ContentType="application/vnd.openxmlformats-officedocument.presentationml.slideLayout+xml"/>
  <Override PartName="/ppt/slideLayouts/slideLayout6877.xml" ContentType="application/vnd.openxmlformats-officedocument.presentationml.slideLayout+xml"/>
  <Override PartName="/ppt/slideLayouts/slideLayout6878.xml" ContentType="application/vnd.openxmlformats-officedocument.presentationml.slideLayout+xml"/>
  <Override PartName="/ppt/slideLayouts/slideLayout6879.xml" ContentType="application/vnd.openxmlformats-officedocument.presentationml.slideLayout+xml"/>
  <Override PartName="/ppt/slideLayouts/slideLayout6880.xml" ContentType="application/vnd.openxmlformats-officedocument.presentationml.slideLayout+xml"/>
  <Override PartName="/ppt/slideLayouts/slideLayout6881.xml" ContentType="application/vnd.openxmlformats-officedocument.presentationml.slideLayout+xml"/>
  <Override PartName="/ppt/slideLayouts/slideLayout6882.xml" ContentType="application/vnd.openxmlformats-officedocument.presentationml.slideLayout+xml"/>
  <Override PartName="/ppt/slideLayouts/slideLayout6883.xml" ContentType="application/vnd.openxmlformats-officedocument.presentationml.slideLayout+xml"/>
  <Override PartName="/ppt/slideLayouts/slideLayout6884.xml" ContentType="application/vnd.openxmlformats-officedocument.presentationml.slideLayout+xml"/>
  <Override PartName="/ppt/slideLayouts/slideLayout6885.xml" ContentType="application/vnd.openxmlformats-officedocument.presentationml.slideLayout+xml"/>
  <Override PartName="/ppt/slideLayouts/slideLayout6886.xml" ContentType="application/vnd.openxmlformats-officedocument.presentationml.slideLayout+xml"/>
  <Override PartName="/ppt/slideLayouts/slideLayout6887.xml" ContentType="application/vnd.openxmlformats-officedocument.presentationml.slideLayout+xml"/>
  <Override PartName="/ppt/slideLayouts/slideLayout6888.xml" ContentType="application/vnd.openxmlformats-officedocument.presentationml.slideLayout+xml"/>
  <Override PartName="/ppt/slideLayouts/slideLayout6889.xml" ContentType="application/vnd.openxmlformats-officedocument.presentationml.slideLayout+xml"/>
  <Override PartName="/ppt/slideLayouts/slideLayout6890.xml" ContentType="application/vnd.openxmlformats-officedocument.presentationml.slideLayout+xml"/>
  <Override PartName="/ppt/slideLayouts/slideLayout6891.xml" ContentType="application/vnd.openxmlformats-officedocument.presentationml.slideLayout+xml"/>
  <Override PartName="/ppt/slideLayouts/slideLayout6892.xml" ContentType="application/vnd.openxmlformats-officedocument.presentationml.slideLayout+xml"/>
  <Override PartName="/ppt/slideLayouts/slideLayout6893.xml" ContentType="application/vnd.openxmlformats-officedocument.presentationml.slideLayout+xml"/>
  <Override PartName="/ppt/slideLayouts/slideLayout6894.xml" ContentType="application/vnd.openxmlformats-officedocument.presentationml.slideLayout+xml"/>
  <Override PartName="/ppt/slideLayouts/slideLayout6895.xml" ContentType="application/vnd.openxmlformats-officedocument.presentationml.slideLayout+xml"/>
  <Override PartName="/ppt/slideLayouts/slideLayout6896.xml" ContentType="application/vnd.openxmlformats-officedocument.presentationml.slideLayout+xml"/>
  <Override PartName="/ppt/slideLayouts/slideLayout6897.xml" ContentType="application/vnd.openxmlformats-officedocument.presentationml.slideLayout+xml"/>
  <Override PartName="/ppt/slideLayouts/slideLayout6898.xml" ContentType="application/vnd.openxmlformats-officedocument.presentationml.slideLayout+xml"/>
  <Override PartName="/ppt/slideLayouts/slideLayout6899.xml" ContentType="application/vnd.openxmlformats-officedocument.presentationml.slideLayout+xml"/>
  <Override PartName="/ppt/slideLayouts/slideLayout6900.xml" ContentType="application/vnd.openxmlformats-officedocument.presentationml.slideLayout+xml"/>
  <Override PartName="/ppt/slideLayouts/slideLayout6901.xml" ContentType="application/vnd.openxmlformats-officedocument.presentationml.slideLayout+xml"/>
  <Override PartName="/ppt/slideLayouts/slideLayout6902.xml" ContentType="application/vnd.openxmlformats-officedocument.presentationml.slideLayout+xml"/>
  <Override PartName="/ppt/slideLayouts/slideLayout6903.xml" ContentType="application/vnd.openxmlformats-officedocument.presentationml.slideLayout+xml"/>
  <Override PartName="/ppt/slideLayouts/slideLayout6904.xml" ContentType="application/vnd.openxmlformats-officedocument.presentationml.slideLayout+xml"/>
  <Override PartName="/ppt/slideLayouts/slideLayout6905.xml" ContentType="application/vnd.openxmlformats-officedocument.presentationml.slideLayout+xml"/>
  <Override PartName="/ppt/slideLayouts/slideLayout6906.xml" ContentType="application/vnd.openxmlformats-officedocument.presentationml.slideLayout+xml"/>
  <Override PartName="/ppt/slideLayouts/slideLayout6907.xml" ContentType="application/vnd.openxmlformats-officedocument.presentationml.slideLayout+xml"/>
  <Override PartName="/ppt/slideLayouts/slideLayout6908.xml" ContentType="application/vnd.openxmlformats-officedocument.presentationml.slideLayout+xml"/>
  <Override PartName="/ppt/slideLayouts/slideLayout6909.xml" ContentType="application/vnd.openxmlformats-officedocument.presentationml.slideLayout+xml"/>
  <Override PartName="/ppt/slideLayouts/slideLayout6910.xml" ContentType="application/vnd.openxmlformats-officedocument.presentationml.slideLayout+xml"/>
  <Override PartName="/ppt/slideLayouts/slideLayout6911.xml" ContentType="application/vnd.openxmlformats-officedocument.presentationml.slideLayout+xml"/>
  <Override PartName="/ppt/slideLayouts/slideLayout6912.xml" ContentType="application/vnd.openxmlformats-officedocument.presentationml.slideLayout+xml"/>
  <Override PartName="/ppt/slideLayouts/slideLayout6913.xml" ContentType="application/vnd.openxmlformats-officedocument.presentationml.slideLayout+xml"/>
  <Override PartName="/ppt/slideLayouts/slideLayout6914.xml" ContentType="application/vnd.openxmlformats-officedocument.presentationml.slideLayout+xml"/>
  <Override PartName="/ppt/slideLayouts/slideLayout6915.xml" ContentType="application/vnd.openxmlformats-officedocument.presentationml.slideLayout+xml"/>
  <Override PartName="/ppt/slideLayouts/slideLayout6916.xml" ContentType="application/vnd.openxmlformats-officedocument.presentationml.slideLayout+xml"/>
  <Override PartName="/ppt/slideLayouts/slideLayout6917.xml" ContentType="application/vnd.openxmlformats-officedocument.presentationml.slideLayout+xml"/>
  <Override PartName="/ppt/slideLayouts/slideLayout6918.xml" ContentType="application/vnd.openxmlformats-officedocument.presentationml.slideLayout+xml"/>
  <Override PartName="/ppt/slideLayouts/slideLayout6919.xml" ContentType="application/vnd.openxmlformats-officedocument.presentationml.slideLayout+xml"/>
  <Override PartName="/ppt/slideLayouts/slideLayout6920.xml" ContentType="application/vnd.openxmlformats-officedocument.presentationml.slideLayout+xml"/>
  <Override PartName="/ppt/slideLayouts/slideLayout6921.xml" ContentType="application/vnd.openxmlformats-officedocument.presentationml.slideLayout+xml"/>
  <Override PartName="/ppt/slideLayouts/slideLayout6922.xml" ContentType="application/vnd.openxmlformats-officedocument.presentationml.slideLayout+xml"/>
  <Override PartName="/ppt/slideLayouts/slideLayout6923.xml" ContentType="application/vnd.openxmlformats-officedocument.presentationml.slideLayout+xml"/>
  <Override PartName="/ppt/slideLayouts/slideLayout6924.xml" ContentType="application/vnd.openxmlformats-officedocument.presentationml.slideLayout+xml"/>
  <Override PartName="/ppt/slideLayouts/slideLayout6925.xml" ContentType="application/vnd.openxmlformats-officedocument.presentationml.slideLayout+xml"/>
  <Override PartName="/ppt/slideLayouts/slideLayout6926.xml" ContentType="application/vnd.openxmlformats-officedocument.presentationml.slideLayout+xml"/>
  <Override PartName="/ppt/slideLayouts/slideLayout6927.xml" ContentType="application/vnd.openxmlformats-officedocument.presentationml.slideLayout+xml"/>
  <Override PartName="/ppt/slideLayouts/slideLayout6928.xml" ContentType="application/vnd.openxmlformats-officedocument.presentationml.slideLayout+xml"/>
  <Override PartName="/ppt/slideLayouts/slideLayout6929.xml" ContentType="application/vnd.openxmlformats-officedocument.presentationml.slideLayout+xml"/>
  <Override PartName="/ppt/slideLayouts/slideLayout6930.xml" ContentType="application/vnd.openxmlformats-officedocument.presentationml.slideLayout+xml"/>
  <Override PartName="/ppt/slideLayouts/slideLayout6931.xml" ContentType="application/vnd.openxmlformats-officedocument.presentationml.slideLayout+xml"/>
  <Override PartName="/ppt/slideLayouts/slideLayout6932.xml" ContentType="application/vnd.openxmlformats-officedocument.presentationml.slideLayout+xml"/>
  <Override PartName="/ppt/slideLayouts/slideLayout6933.xml" ContentType="application/vnd.openxmlformats-officedocument.presentationml.slideLayout+xml"/>
  <Override PartName="/ppt/slideLayouts/slideLayout6934.xml" ContentType="application/vnd.openxmlformats-officedocument.presentationml.slideLayout+xml"/>
  <Override PartName="/ppt/slideLayouts/slideLayout6935.xml" ContentType="application/vnd.openxmlformats-officedocument.presentationml.slideLayout+xml"/>
  <Override PartName="/ppt/slideLayouts/slideLayout6936.xml" ContentType="application/vnd.openxmlformats-officedocument.presentationml.slideLayout+xml"/>
  <Override PartName="/ppt/slideLayouts/slideLayout6937.xml" ContentType="application/vnd.openxmlformats-officedocument.presentationml.slideLayout+xml"/>
  <Override PartName="/ppt/slideLayouts/slideLayout6938.xml" ContentType="application/vnd.openxmlformats-officedocument.presentationml.slideLayout+xml"/>
  <Override PartName="/ppt/slideLayouts/slideLayout6939.xml" ContentType="application/vnd.openxmlformats-officedocument.presentationml.slideLayout+xml"/>
  <Override PartName="/ppt/slideLayouts/slideLayout6940.xml" ContentType="application/vnd.openxmlformats-officedocument.presentationml.slideLayout+xml"/>
  <Override PartName="/ppt/slideLayouts/slideLayout6941.xml" ContentType="application/vnd.openxmlformats-officedocument.presentationml.slideLayout+xml"/>
  <Override PartName="/ppt/slideLayouts/slideLayout6942.xml" ContentType="application/vnd.openxmlformats-officedocument.presentationml.slideLayout+xml"/>
  <Override PartName="/ppt/slideLayouts/slideLayout6943.xml" ContentType="application/vnd.openxmlformats-officedocument.presentationml.slideLayout+xml"/>
  <Override PartName="/ppt/slideLayouts/slideLayout6944.xml" ContentType="application/vnd.openxmlformats-officedocument.presentationml.slideLayout+xml"/>
  <Override PartName="/ppt/slideLayouts/slideLayout6945.xml" ContentType="application/vnd.openxmlformats-officedocument.presentationml.slideLayout+xml"/>
  <Override PartName="/ppt/slideLayouts/slideLayout6946.xml" ContentType="application/vnd.openxmlformats-officedocument.presentationml.slideLayout+xml"/>
  <Override PartName="/ppt/slideLayouts/slideLayout6947.xml" ContentType="application/vnd.openxmlformats-officedocument.presentationml.slideLayout+xml"/>
  <Override PartName="/ppt/slideLayouts/slideLayout6948.xml" ContentType="application/vnd.openxmlformats-officedocument.presentationml.slideLayout+xml"/>
  <Override PartName="/ppt/slideLayouts/slideLayout6949.xml" ContentType="application/vnd.openxmlformats-officedocument.presentationml.slideLayout+xml"/>
  <Override PartName="/ppt/slideLayouts/slideLayout6950.xml" ContentType="application/vnd.openxmlformats-officedocument.presentationml.slideLayout+xml"/>
  <Override PartName="/ppt/slideLayouts/slideLayout6951.xml" ContentType="application/vnd.openxmlformats-officedocument.presentationml.slideLayout+xml"/>
  <Override PartName="/ppt/slideLayouts/slideLayout6952.xml" ContentType="application/vnd.openxmlformats-officedocument.presentationml.slideLayout+xml"/>
  <Override PartName="/ppt/slideLayouts/slideLayout6953.xml" ContentType="application/vnd.openxmlformats-officedocument.presentationml.slideLayout+xml"/>
  <Override PartName="/ppt/slideLayouts/slideLayout6954.xml" ContentType="application/vnd.openxmlformats-officedocument.presentationml.slideLayout+xml"/>
  <Override PartName="/ppt/slideLayouts/slideLayout6955.xml" ContentType="application/vnd.openxmlformats-officedocument.presentationml.slideLayout+xml"/>
  <Override PartName="/ppt/slideLayouts/slideLayout6956.xml" ContentType="application/vnd.openxmlformats-officedocument.presentationml.slideLayout+xml"/>
  <Override PartName="/ppt/slideLayouts/slideLayout6957.xml" ContentType="application/vnd.openxmlformats-officedocument.presentationml.slideLayout+xml"/>
  <Override PartName="/ppt/slideLayouts/slideLayout6958.xml" ContentType="application/vnd.openxmlformats-officedocument.presentationml.slideLayout+xml"/>
  <Override PartName="/ppt/slideLayouts/slideLayout6959.xml" ContentType="application/vnd.openxmlformats-officedocument.presentationml.slideLayout+xml"/>
  <Override PartName="/ppt/slideLayouts/slideLayout6960.xml" ContentType="application/vnd.openxmlformats-officedocument.presentationml.slideLayout+xml"/>
  <Override PartName="/ppt/slideLayouts/slideLayout6961.xml" ContentType="application/vnd.openxmlformats-officedocument.presentationml.slideLayout+xml"/>
  <Override PartName="/ppt/slideLayouts/slideLayout6962.xml" ContentType="application/vnd.openxmlformats-officedocument.presentationml.slideLayout+xml"/>
  <Override PartName="/ppt/slideLayouts/slideLayout6963.xml" ContentType="application/vnd.openxmlformats-officedocument.presentationml.slideLayout+xml"/>
  <Override PartName="/ppt/slideLayouts/slideLayout6964.xml" ContentType="application/vnd.openxmlformats-officedocument.presentationml.slideLayout+xml"/>
  <Override PartName="/ppt/slideLayouts/slideLayout6965.xml" ContentType="application/vnd.openxmlformats-officedocument.presentationml.slideLayout+xml"/>
  <Override PartName="/ppt/slideLayouts/slideLayout6966.xml" ContentType="application/vnd.openxmlformats-officedocument.presentationml.slideLayout+xml"/>
  <Override PartName="/ppt/slideLayouts/slideLayout6967.xml" ContentType="application/vnd.openxmlformats-officedocument.presentationml.slideLayout+xml"/>
  <Override PartName="/ppt/slideLayouts/slideLayout6968.xml" ContentType="application/vnd.openxmlformats-officedocument.presentationml.slideLayout+xml"/>
  <Override PartName="/ppt/slideLayouts/slideLayout6969.xml" ContentType="application/vnd.openxmlformats-officedocument.presentationml.slideLayout+xml"/>
  <Override PartName="/ppt/slideLayouts/slideLayout6970.xml" ContentType="application/vnd.openxmlformats-officedocument.presentationml.slideLayout+xml"/>
  <Override PartName="/ppt/slideLayouts/slideLayout6971.xml" ContentType="application/vnd.openxmlformats-officedocument.presentationml.slideLayout+xml"/>
  <Override PartName="/ppt/slideLayouts/slideLayout6972.xml" ContentType="application/vnd.openxmlformats-officedocument.presentationml.slideLayout+xml"/>
  <Override PartName="/ppt/slideLayouts/slideLayout6973.xml" ContentType="application/vnd.openxmlformats-officedocument.presentationml.slideLayout+xml"/>
  <Override PartName="/ppt/slideLayouts/slideLayout6974.xml" ContentType="application/vnd.openxmlformats-officedocument.presentationml.slideLayout+xml"/>
  <Override PartName="/ppt/slideLayouts/slideLayout6975.xml" ContentType="application/vnd.openxmlformats-officedocument.presentationml.slideLayout+xml"/>
  <Override PartName="/ppt/slideLayouts/slideLayout6976.xml" ContentType="application/vnd.openxmlformats-officedocument.presentationml.slideLayout+xml"/>
  <Override PartName="/ppt/slideLayouts/slideLayout6977.xml" ContentType="application/vnd.openxmlformats-officedocument.presentationml.slideLayout+xml"/>
  <Override PartName="/ppt/slideLayouts/slideLayout6978.xml" ContentType="application/vnd.openxmlformats-officedocument.presentationml.slideLayout+xml"/>
  <Override PartName="/ppt/slideLayouts/slideLayout6979.xml" ContentType="application/vnd.openxmlformats-officedocument.presentationml.slideLayout+xml"/>
  <Override PartName="/ppt/slideLayouts/slideLayout6980.xml" ContentType="application/vnd.openxmlformats-officedocument.presentationml.slideLayout+xml"/>
  <Override PartName="/ppt/slideLayouts/slideLayout6981.xml" ContentType="application/vnd.openxmlformats-officedocument.presentationml.slideLayout+xml"/>
  <Override PartName="/ppt/slideLayouts/slideLayout6982.xml" ContentType="application/vnd.openxmlformats-officedocument.presentationml.slideLayout+xml"/>
  <Override PartName="/ppt/slideLayouts/slideLayout6983.xml" ContentType="application/vnd.openxmlformats-officedocument.presentationml.slideLayout+xml"/>
  <Override PartName="/ppt/slideLayouts/slideLayout6984.xml" ContentType="application/vnd.openxmlformats-officedocument.presentationml.slideLayout+xml"/>
  <Override PartName="/ppt/slideLayouts/slideLayout6985.xml" ContentType="application/vnd.openxmlformats-officedocument.presentationml.slideLayout+xml"/>
  <Override PartName="/ppt/slideLayouts/slideLayout6986.xml" ContentType="application/vnd.openxmlformats-officedocument.presentationml.slideLayout+xml"/>
  <Override PartName="/ppt/slideLayouts/slideLayout6987.xml" ContentType="application/vnd.openxmlformats-officedocument.presentationml.slideLayout+xml"/>
  <Override PartName="/ppt/slideLayouts/slideLayout6988.xml" ContentType="application/vnd.openxmlformats-officedocument.presentationml.slideLayout+xml"/>
  <Override PartName="/ppt/slideLayouts/slideLayout6989.xml" ContentType="application/vnd.openxmlformats-officedocument.presentationml.slideLayout+xml"/>
  <Override PartName="/ppt/slideLayouts/slideLayout6990.xml" ContentType="application/vnd.openxmlformats-officedocument.presentationml.slideLayout+xml"/>
  <Override PartName="/ppt/slideLayouts/slideLayout6991.xml" ContentType="application/vnd.openxmlformats-officedocument.presentationml.slideLayout+xml"/>
  <Override PartName="/ppt/slideLayouts/slideLayout6992.xml" ContentType="application/vnd.openxmlformats-officedocument.presentationml.slideLayout+xml"/>
  <Override PartName="/ppt/slideLayouts/slideLayout6993.xml" ContentType="application/vnd.openxmlformats-officedocument.presentationml.slideLayout+xml"/>
  <Override PartName="/ppt/slideLayouts/slideLayout6994.xml" ContentType="application/vnd.openxmlformats-officedocument.presentationml.slideLayout+xml"/>
  <Override PartName="/ppt/slideLayouts/slideLayout6995.xml" ContentType="application/vnd.openxmlformats-officedocument.presentationml.slideLayout+xml"/>
  <Override PartName="/ppt/slideLayouts/slideLayout6996.xml" ContentType="application/vnd.openxmlformats-officedocument.presentationml.slideLayout+xml"/>
  <Override PartName="/ppt/slideLayouts/slideLayout6997.xml" ContentType="application/vnd.openxmlformats-officedocument.presentationml.slideLayout+xml"/>
  <Override PartName="/ppt/slideLayouts/slideLayout6998.xml" ContentType="application/vnd.openxmlformats-officedocument.presentationml.slideLayout+xml"/>
  <Override PartName="/ppt/slideLayouts/slideLayout6999.xml" ContentType="application/vnd.openxmlformats-officedocument.presentationml.slideLayout+xml"/>
  <Override PartName="/ppt/slideLayouts/slideLayout7000.xml" ContentType="application/vnd.openxmlformats-officedocument.presentationml.slideLayout+xml"/>
  <Override PartName="/ppt/slideLayouts/slideLayout7001.xml" ContentType="application/vnd.openxmlformats-officedocument.presentationml.slideLayout+xml"/>
  <Override PartName="/ppt/slideLayouts/slideLayout7002.xml" ContentType="application/vnd.openxmlformats-officedocument.presentationml.slideLayout+xml"/>
  <Override PartName="/ppt/slideLayouts/slideLayout7003.xml" ContentType="application/vnd.openxmlformats-officedocument.presentationml.slideLayout+xml"/>
  <Override PartName="/ppt/slideLayouts/slideLayout7004.xml" ContentType="application/vnd.openxmlformats-officedocument.presentationml.slideLayout+xml"/>
  <Override PartName="/ppt/slideLayouts/slideLayout7005.xml" ContentType="application/vnd.openxmlformats-officedocument.presentationml.slideLayout+xml"/>
  <Override PartName="/ppt/slideLayouts/slideLayout7006.xml" ContentType="application/vnd.openxmlformats-officedocument.presentationml.slideLayout+xml"/>
  <Override PartName="/ppt/slideLayouts/slideLayout7007.xml" ContentType="application/vnd.openxmlformats-officedocument.presentationml.slideLayout+xml"/>
  <Override PartName="/ppt/slideLayouts/slideLayout7008.xml" ContentType="application/vnd.openxmlformats-officedocument.presentationml.slideLayout+xml"/>
  <Override PartName="/ppt/slideLayouts/slideLayout7009.xml" ContentType="application/vnd.openxmlformats-officedocument.presentationml.slideLayout+xml"/>
  <Override PartName="/ppt/slideLayouts/slideLayout7010.xml" ContentType="application/vnd.openxmlformats-officedocument.presentationml.slideLayout+xml"/>
  <Override PartName="/ppt/slideLayouts/slideLayout7011.xml" ContentType="application/vnd.openxmlformats-officedocument.presentationml.slideLayout+xml"/>
  <Override PartName="/ppt/slideLayouts/slideLayout7012.xml" ContentType="application/vnd.openxmlformats-officedocument.presentationml.slideLayout+xml"/>
  <Override PartName="/ppt/slideLayouts/slideLayout7013.xml" ContentType="application/vnd.openxmlformats-officedocument.presentationml.slideLayout+xml"/>
  <Override PartName="/ppt/slideLayouts/slideLayout7014.xml" ContentType="application/vnd.openxmlformats-officedocument.presentationml.slideLayout+xml"/>
  <Override PartName="/ppt/slideLayouts/slideLayout7015.xml" ContentType="application/vnd.openxmlformats-officedocument.presentationml.slideLayout+xml"/>
  <Override PartName="/ppt/slideLayouts/slideLayout7016.xml" ContentType="application/vnd.openxmlformats-officedocument.presentationml.slideLayout+xml"/>
  <Override PartName="/ppt/slideLayouts/slideLayout7017.xml" ContentType="application/vnd.openxmlformats-officedocument.presentationml.slideLayout+xml"/>
  <Override PartName="/ppt/slideLayouts/slideLayout7018.xml" ContentType="application/vnd.openxmlformats-officedocument.presentationml.slideLayout+xml"/>
  <Override PartName="/ppt/slideLayouts/slideLayout7019.xml" ContentType="application/vnd.openxmlformats-officedocument.presentationml.slideLayout+xml"/>
  <Override PartName="/ppt/slideLayouts/slideLayout7020.xml" ContentType="application/vnd.openxmlformats-officedocument.presentationml.slideLayout+xml"/>
  <Override PartName="/ppt/slideLayouts/slideLayout7021.xml" ContentType="application/vnd.openxmlformats-officedocument.presentationml.slideLayout+xml"/>
  <Override PartName="/ppt/slideLayouts/slideLayout7022.xml" ContentType="application/vnd.openxmlformats-officedocument.presentationml.slideLayout+xml"/>
  <Override PartName="/ppt/slideLayouts/slideLayout7023.xml" ContentType="application/vnd.openxmlformats-officedocument.presentationml.slideLayout+xml"/>
  <Override PartName="/ppt/slideLayouts/slideLayout7024.xml" ContentType="application/vnd.openxmlformats-officedocument.presentationml.slideLayout+xml"/>
  <Override PartName="/ppt/slideLayouts/slideLayout7025.xml" ContentType="application/vnd.openxmlformats-officedocument.presentationml.slideLayout+xml"/>
  <Override PartName="/ppt/slideLayouts/slideLayout7026.xml" ContentType="application/vnd.openxmlformats-officedocument.presentationml.slideLayout+xml"/>
  <Override PartName="/ppt/slideLayouts/slideLayout7027.xml" ContentType="application/vnd.openxmlformats-officedocument.presentationml.slideLayout+xml"/>
  <Override PartName="/ppt/slideLayouts/slideLayout7028.xml" ContentType="application/vnd.openxmlformats-officedocument.presentationml.slideLayout+xml"/>
  <Override PartName="/ppt/slideLayouts/slideLayout7029.xml" ContentType="application/vnd.openxmlformats-officedocument.presentationml.slideLayout+xml"/>
  <Override PartName="/ppt/slideLayouts/slideLayout7030.xml" ContentType="application/vnd.openxmlformats-officedocument.presentationml.slideLayout+xml"/>
  <Override PartName="/ppt/slideLayouts/slideLayout7031.xml" ContentType="application/vnd.openxmlformats-officedocument.presentationml.slideLayout+xml"/>
  <Override PartName="/ppt/slideLayouts/slideLayout7032.xml" ContentType="application/vnd.openxmlformats-officedocument.presentationml.slideLayout+xml"/>
  <Override PartName="/ppt/slideLayouts/slideLayout7033.xml" ContentType="application/vnd.openxmlformats-officedocument.presentationml.slideLayout+xml"/>
  <Override PartName="/ppt/slideLayouts/slideLayout7034.xml" ContentType="application/vnd.openxmlformats-officedocument.presentationml.slideLayout+xml"/>
  <Override PartName="/ppt/slideLayouts/slideLayout7035.xml" ContentType="application/vnd.openxmlformats-officedocument.presentationml.slideLayout+xml"/>
  <Override PartName="/ppt/slideLayouts/slideLayout7036.xml" ContentType="application/vnd.openxmlformats-officedocument.presentationml.slideLayout+xml"/>
  <Override PartName="/ppt/slideLayouts/slideLayout7037.xml" ContentType="application/vnd.openxmlformats-officedocument.presentationml.slideLayout+xml"/>
  <Override PartName="/ppt/slideLayouts/slideLayout7038.xml" ContentType="application/vnd.openxmlformats-officedocument.presentationml.slideLayout+xml"/>
  <Override PartName="/ppt/slideLayouts/slideLayout7039.xml" ContentType="application/vnd.openxmlformats-officedocument.presentationml.slideLayout+xml"/>
  <Override PartName="/ppt/slideLayouts/slideLayout7040.xml" ContentType="application/vnd.openxmlformats-officedocument.presentationml.slideLayout+xml"/>
  <Override PartName="/ppt/slideLayouts/slideLayout7041.xml" ContentType="application/vnd.openxmlformats-officedocument.presentationml.slideLayout+xml"/>
  <Override PartName="/ppt/slideLayouts/slideLayout7042.xml" ContentType="application/vnd.openxmlformats-officedocument.presentationml.slideLayout+xml"/>
  <Override PartName="/ppt/slideLayouts/slideLayout7043.xml" ContentType="application/vnd.openxmlformats-officedocument.presentationml.slideLayout+xml"/>
  <Override PartName="/ppt/slideLayouts/slideLayout7044.xml" ContentType="application/vnd.openxmlformats-officedocument.presentationml.slideLayout+xml"/>
  <Override PartName="/ppt/slideLayouts/slideLayout7045.xml" ContentType="application/vnd.openxmlformats-officedocument.presentationml.slideLayout+xml"/>
  <Override PartName="/ppt/slideLayouts/slideLayout7046.xml" ContentType="application/vnd.openxmlformats-officedocument.presentationml.slideLayout+xml"/>
  <Override PartName="/ppt/slideLayouts/slideLayout7047.xml" ContentType="application/vnd.openxmlformats-officedocument.presentationml.slideLayout+xml"/>
  <Override PartName="/ppt/slideLayouts/slideLayout7048.xml" ContentType="application/vnd.openxmlformats-officedocument.presentationml.slideLayout+xml"/>
  <Override PartName="/ppt/slideLayouts/slideLayout7049.xml" ContentType="application/vnd.openxmlformats-officedocument.presentationml.slideLayout+xml"/>
  <Override PartName="/ppt/slideLayouts/slideLayout7050.xml" ContentType="application/vnd.openxmlformats-officedocument.presentationml.slideLayout+xml"/>
  <Override PartName="/ppt/slideLayouts/slideLayout7051.xml" ContentType="application/vnd.openxmlformats-officedocument.presentationml.slideLayout+xml"/>
  <Override PartName="/ppt/slideLayouts/slideLayout7052.xml" ContentType="application/vnd.openxmlformats-officedocument.presentationml.slideLayout+xml"/>
  <Override PartName="/ppt/slideLayouts/slideLayout7053.xml" ContentType="application/vnd.openxmlformats-officedocument.presentationml.slideLayout+xml"/>
  <Override PartName="/ppt/slideLayouts/slideLayout7054.xml" ContentType="application/vnd.openxmlformats-officedocument.presentationml.slideLayout+xml"/>
  <Override PartName="/ppt/slideLayouts/slideLayout7055.xml" ContentType="application/vnd.openxmlformats-officedocument.presentationml.slideLayout+xml"/>
  <Override PartName="/ppt/slideLayouts/slideLayout7056.xml" ContentType="application/vnd.openxmlformats-officedocument.presentationml.slideLayout+xml"/>
  <Override PartName="/ppt/slideLayouts/slideLayout7057.xml" ContentType="application/vnd.openxmlformats-officedocument.presentationml.slideLayout+xml"/>
  <Override PartName="/ppt/slideLayouts/slideLayout7058.xml" ContentType="application/vnd.openxmlformats-officedocument.presentationml.slideLayout+xml"/>
  <Override PartName="/ppt/slideLayouts/slideLayout7059.xml" ContentType="application/vnd.openxmlformats-officedocument.presentationml.slideLayout+xml"/>
  <Override PartName="/ppt/slideLayouts/slideLayout7060.xml" ContentType="application/vnd.openxmlformats-officedocument.presentationml.slideLayout+xml"/>
  <Override PartName="/ppt/slideLayouts/slideLayout7061.xml" ContentType="application/vnd.openxmlformats-officedocument.presentationml.slideLayout+xml"/>
  <Override PartName="/ppt/slideLayouts/slideLayout7062.xml" ContentType="application/vnd.openxmlformats-officedocument.presentationml.slideLayout+xml"/>
  <Override PartName="/ppt/slideLayouts/slideLayout7063.xml" ContentType="application/vnd.openxmlformats-officedocument.presentationml.slideLayout+xml"/>
  <Override PartName="/ppt/slideLayouts/slideLayout7064.xml" ContentType="application/vnd.openxmlformats-officedocument.presentationml.slideLayout+xml"/>
  <Override PartName="/ppt/slideLayouts/slideLayout7065.xml" ContentType="application/vnd.openxmlformats-officedocument.presentationml.slideLayout+xml"/>
  <Override PartName="/ppt/slideLayouts/slideLayout7066.xml" ContentType="application/vnd.openxmlformats-officedocument.presentationml.slideLayout+xml"/>
  <Override PartName="/ppt/slideLayouts/slideLayout7067.xml" ContentType="application/vnd.openxmlformats-officedocument.presentationml.slideLayout+xml"/>
  <Override PartName="/ppt/slideLayouts/slideLayout7068.xml" ContentType="application/vnd.openxmlformats-officedocument.presentationml.slideLayout+xml"/>
  <Override PartName="/ppt/slideLayouts/slideLayout7069.xml" ContentType="application/vnd.openxmlformats-officedocument.presentationml.slideLayout+xml"/>
  <Override PartName="/ppt/slideLayouts/slideLayout7070.xml" ContentType="application/vnd.openxmlformats-officedocument.presentationml.slideLayout+xml"/>
  <Override PartName="/ppt/slideLayouts/slideLayout7071.xml" ContentType="application/vnd.openxmlformats-officedocument.presentationml.slideLayout+xml"/>
  <Override PartName="/ppt/slideLayouts/slideLayout7072.xml" ContentType="application/vnd.openxmlformats-officedocument.presentationml.slideLayout+xml"/>
  <Override PartName="/ppt/slideLayouts/slideLayout7073.xml" ContentType="application/vnd.openxmlformats-officedocument.presentationml.slideLayout+xml"/>
  <Override PartName="/ppt/slideLayouts/slideLayout7074.xml" ContentType="application/vnd.openxmlformats-officedocument.presentationml.slideLayout+xml"/>
  <Override PartName="/ppt/slideLayouts/slideLayout7075.xml" ContentType="application/vnd.openxmlformats-officedocument.presentationml.slideLayout+xml"/>
  <Override PartName="/ppt/slideLayouts/slideLayout7076.xml" ContentType="application/vnd.openxmlformats-officedocument.presentationml.slideLayout+xml"/>
  <Override PartName="/ppt/slideLayouts/slideLayout7077.xml" ContentType="application/vnd.openxmlformats-officedocument.presentationml.slideLayout+xml"/>
  <Override PartName="/ppt/slideLayouts/slideLayout7078.xml" ContentType="application/vnd.openxmlformats-officedocument.presentationml.slideLayout+xml"/>
  <Override PartName="/ppt/slideLayouts/slideLayout7079.xml" ContentType="application/vnd.openxmlformats-officedocument.presentationml.slideLayout+xml"/>
  <Override PartName="/ppt/slideLayouts/slideLayout7080.xml" ContentType="application/vnd.openxmlformats-officedocument.presentationml.slideLayout+xml"/>
  <Override PartName="/ppt/slideLayouts/slideLayout7081.xml" ContentType="application/vnd.openxmlformats-officedocument.presentationml.slideLayout+xml"/>
  <Override PartName="/ppt/slideLayouts/slideLayout7082.xml" ContentType="application/vnd.openxmlformats-officedocument.presentationml.slideLayout+xml"/>
  <Override PartName="/ppt/slideLayouts/slideLayout7083.xml" ContentType="application/vnd.openxmlformats-officedocument.presentationml.slideLayout+xml"/>
  <Override PartName="/ppt/slideLayouts/slideLayout7084.xml" ContentType="application/vnd.openxmlformats-officedocument.presentationml.slideLayout+xml"/>
  <Override PartName="/ppt/slideLayouts/slideLayout7085.xml" ContentType="application/vnd.openxmlformats-officedocument.presentationml.slideLayout+xml"/>
  <Override PartName="/ppt/slideLayouts/slideLayout7086.xml" ContentType="application/vnd.openxmlformats-officedocument.presentationml.slideLayout+xml"/>
  <Override PartName="/ppt/slideLayouts/slideLayout7087.xml" ContentType="application/vnd.openxmlformats-officedocument.presentationml.slideLayout+xml"/>
  <Override PartName="/ppt/slideLayouts/slideLayout7088.xml" ContentType="application/vnd.openxmlformats-officedocument.presentationml.slideLayout+xml"/>
  <Override PartName="/ppt/slideLayouts/slideLayout7089.xml" ContentType="application/vnd.openxmlformats-officedocument.presentationml.slideLayout+xml"/>
  <Override PartName="/ppt/slideLayouts/slideLayout7090.xml" ContentType="application/vnd.openxmlformats-officedocument.presentationml.slideLayout+xml"/>
  <Override PartName="/ppt/slideLayouts/slideLayout7091.xml" ContentType="application/vnd.openxmlformats-officedocument.presentationml.slideLayout+xml"/>
  <Override PartName="/ppt/slideLayouts/slideLayout7092.xml" ContentType="application/vnd.openxmlformats-officedocument.presentationml.slideLayout+xml"/>
  <Override PartName="/ppt/slideLayouts/slideLayout7093.xml" ContentType="application/vnd.openxmlformats-officedocument.presentationml.slideLayout+xml"/>
  <Override PartName="/ppt/slideLayouts/slideLayout7094.xml" ContentType="application/vnd.openxmlformats-officedocument.presentationml.slideLayout+xml"/>
  <Override PartName="/ppt/slideLayouts/slideLayout7095.xml" ContentType="application/vnd.openxmlformats-officedocument.presentationml.slideLayout+xml"/>
  <Override PartName="/ppt/slideLayouts/slideLayout7096.xml" ContentType="application/vnd.openxmlformats-officedocument.presentationml.slideLayout+xml"/>
  <Override PartName="/ppt/slideLayouts/slideLayout7097.xml" ContentType="application/vnd.openxmlformats-officedocument.presentationml.slideLayout+xml"/>
  <Override PartName="/ppt/slideLayouts/slideLayout7098.xml" ContentType="application/vnd.openxmlformats-officedocument.presentationml.slideLayout+xml"/>
  <Override PartName="/ppt/slideLayouts/slideLayout7099.xml" ContentType="application/vnd.openxmlformats-officedocument.presentationml.slideLayout+xml"/>
  <Override PartName="/ppt/slideLayouts/slideLayout7100.xml" ContentType="application/vnd.openxmlformats-officedocument.presentationml.slideLayout+xml"/>
  <Override PartName="/ppt/slideLayouts/slideLayout7101.xml" ContentType="application/vnd.openxmlformats-officedocument.presentationml.slideLayout+xml"/>
  <Override PartName="/ppt/slideLayouts/slideLayout7102.xml" ContentType="application/vnd.openxmlformats-officedocument.presentationml.slideLayout+xml"/>
  <Override PartName="/ppt/slideLayouts/slideLayout7103.xml" ContentType="application/vnd.openxmlformats-officedocument.presentationml.slideLayout+xml"/>
  <Override PartName="/ppt/slideLayouts/slideLayout7104.xml" ContentType="application/vnd.openxmlformats-officedocument.presentationml.slideLayout+xml"/>
  <Override PartName="/ppt/slideLayouts/slideLayout7105.xml" ContentType="application/vnd.openxmlformats-officedocument.presentationml.slideLayout+xml"/>
  <Override PartName="/ppt/slideLayouts/slideLayout7106.xml" ContentType="application/vnd.openxmlformats-officedocument.presentationml.slideLayout+xml"/>
  <Override PartName="/ppt/slideLayouts/slideLayout7107.xml" ContentType="application/vnd.openxmlformats-officedocument.presentationml.slideLayout+xml"/>
  <Override PartName="/ppt/slideLayouts/slideLayout7108.xml" ContentType="application/vnd.openxmlformats-officedocument.presentationml.slideLayout+xml"/>
  <Override PartName="/ppt/slideLayouts/slideLayout7109.xml" ContentType="application/vnd.openxmlformats-officedocument.presentationml.slideLayout+xml"/>
  <Override PartName="/ppt/slideLayouts/slideLayout7110.xml" ContentType="application/vnd.openxmlformats-officedocument.presentationml.slideLayout+xml"/>
  <Override PartName="/ppt/slideLayouts/slideLayout7111.xml" ContentType="application/vnd.openxmlformats-officedocument.presentationml.slideLayout+xml"/>
  <Override PartName="/ppt/slideLayouts/slideLayout7112.xml" ContentType="application/vnd.openxmlformats-officedocument.presentationml.slideLayout+xml"/>
  <Override PartName="/ppt/slideLayouts/slideLayout7113.xml" ContentType="application/vnd.openxmlformats-officedocument.presentationml.slideLayout+xml"/>
  <Override PartName="/ppt/slideLayouts/slideLayout7114.xml" ContentType="application/vnd.openxmlformats-officedocument.presentationml.slideLayout+xml"/>
  <Override PartName="/ppt/slideLayouts/slideLayout7115.xml" ContentType="application/vnd.openxmlformats-officedocument.presentationml.slideLayout+xml"/>
  <Override PartName="/ppt/slideLayouts/slideLayout7116.xml" ContentType="application/vnd.openxmlformats-officedocument.presentationml.slideLayout+xml"/>
  <Override PartName="/ppt/slideLayouts/slideLayout7117.xml" ContentType="application/vnd.openxmlformats-officedocument.presentationml.slideLayout+xml"/>
  <Override PartName="/ppt/slideLayouts/slideLayout7118.xml" ContentType="application/vnd.openxmlformats-officedocument.presentationml.slideLayout+xml"/>
  <Override PartName="/ppt/slideLayouts/slideLayout7119.xml" ContentType="application/vnd.openxmlformats-officedocument.presentationml.slideLayout+xml"/>
  <Override PartName="/ppt/slideLayouts/slideLayout7120.xml" ContentType="application/vnd.openxmlformats-officedocument.presentationml.slideLayout+xml"/>
  <Override PartName="/ppt/slideLayouts/slideLayout7121.xml" ContentType="application/vnd.openxmlformats-officedocument.presentationml.slideLayout+xml"/>
  <Override PartName="/ppt/slideLayouts/slideLayout7122.xml" ContentType="application/vnd.openxmlformats-officedocument.presentationml.slideLayout+xml"/>
  <Override PartName="/ppt/slideLayouts/slideLayout7123.xml" ContentType="application/vnd.openxmlformats-officedocument.presentationml.slideLayout+xml"/>
  <Override PartName="/ppt/slideLayouts/slideLayout7124.xml" ContentType="application/vnd.openxmlformats-officedocument.presentationml.slideLayout+xml"/>
  <Override PartName="/ppt/slideLayouts/slideLayout7125.xml" ContentType="application/vnd.openxmlformats-officedocument.presentationml.slideLayout+xml"/>
  <Override PartName="/ppt/slideLayouts/slideLayout7126.xml" ContentType="application/vnd.openxmlformats-officedocument.presentationml.slideLayout+xml"/>
  <Override PartName="/ppt/slideLayouts/slideLayout7127.xml" ContentType="application/vnd.openxmlformats-officedocument.presentationml.slideLayout+xml"/>
  <Override PartName="/ppt/slideLayouts/slideLayout7128.xml" ContentType="application/vnd.openxmlformats-officedocument.presentationml.slideLayout+xml"/>
  <Override PartName="/ppt/slideLayouts/slideLayout7129.xml" ContentType="application/vnd.openxmlformats-officedocument.presentationml.slideLayout+xml"/>
  <Override PartName="/ppt/slideLayouts/slideLayout7130.xml" ContentType="application/vnd.openxmlformats-officedocument.presentationml.slideLayout+xml"/>
  <Override PartName="/ppt/slideLayouts/slideLayout7131.xml" ContentType="application/vnd.openxmlformats-officedocument.presentationml.slideLayout+xml"/>
  <Override PartName="/ppt/slideLayouts/slideLayout7132.xml" ContentType="application/vnd.openxmlformats-officedocument.presentationml.slideLayout+xml"/>
  <Override PartName="/ppt/slideLayouts/slideLayout7133.xml" ContentType="application/vnd.openxmlformats-officedocument.presentationml.slideLayout+xml"/>
  <Override PartName="/ppt/slideLayouts/slideLayout7134.xml" ContentType="application/vnd.openxmlformats-officedocument.presentationml.slideLayout+xml"/>
  <Override PartName="/ppt/slideLayouts/slideLayout7135.xml" ContentType="application/vnd.openxmlformats-officedocument.presentationml.slideLayout+xml"/>
  <Override PartName="/ppt/slideLayouts/slideLayout7136.xml" ContentType="application/vnd.openxmlformats-officedocument.presentationml.slideLayout+xml"/>
  <Override PartName="/ppt/slideLayouts/slideLayout7137.xml" ContentType="application/vnd.openxmlformats-officedocument.presentationml.slideLayout+xml"/>
  <Override PartName="/ppt/slideLayouts/slideLayout7138.xml" ContentType="application/vnd.openxmlformats-officedocument.presentationml.slideLayout+xml"/>
  <Override PartName="/ppt/slideLayouts/slideLayout7139.xml" ContentType="application/vnd.openxmlformats-officedocument.presentationml.slideLayout+xml"/>
  <Override PartName="/ppt/slideLayouts/slideLayout7140.xml" ContentType="application/vnd.openxmlformats-officedocument.presentationml.slideLayout+xml"/>
  <Override PartName="/ppt/slideLayouts/slideLayout7141.xml" ContentType="application/vnd.openxmlformats-officedocument.presentationml.slideLayout+xml"/>
  <Override PartName="/ppt/slideLayouts/slideLayout7142.xml" ContentType="application/vnd.openxmlformats-officedocument.presentationml.slideLayout+xml"/>
  <Override PartName="/ppt/slideLayouts/slideLayout7143.xml" ContentType="application/vnd.openxmlformats-officedocument.presentationml.slideLayout+xml"/>
  <Override PartName="/ppt/slideLayouts/slideLayout7144.xml" ContentType="application/vnd.openxmlformats-officedocument.presentationml.slideLayout+xml"/>
  <Override PartName="/ppt/slideLayouts/slideLayout7145.xml" ContentType="application/vnd.openxmlformats-officedocument.presentationml.slideLayout+xml"/>
  <Override PartName="/ppt/slideLayouts/slideLayout7146.xml" ContentType="application/vnd.openxmlformats-officedocument.presentationml.slideLayout+xml"/>
  <Override PartName="/ppt/slideLayouts/slideLayout7147.xml" ContentType="application/vnd.openxmlformats-officedocument.presentationml.slideLayout+xml"/>
  <Override PartName="/ppt/slideLayouts/slideLayout7148.xml" ContentType="application/vnd.openxmlformats-officedocument.presentationml.slideLayout+xml"/>
  <Override PartName="/ppt/slideLayouts/slideLayout7149.xml" ContentType="application/vnd.openxmlformats-officedocument.presentationml.slideLayout+xml"/>
  <Override PartName="/ppt/slideLayouts/slideLayout7150.xml" ContentType="application/vnd.openxmlformats-officedocument.presentationml.slideLayout+xml"/>
  <Override PartName="/ppt/slideLayouts/slideLayout7151.xml" ContentType="application/vnd.openxmlformats-officedocument.presentationml.slideLayout+xml"/>
  <Override PartName="/ppt/slideLayouts/slideLayout7152.xml" ContentType="application/vnd.openxmlformats-officedocument.presentationml.slideLayout+xml"/>
  <Override PartName="/ppt/slideLayouts/slideLayout7153.xml" ContentType="application/vnd.openxmlformats-officedocument.presentationml.slideLayout+xml"/>
  <Override PartName="/ppt/slideLayouts/slideLayout7154.xml" ContentType="application/vnd.openxmlformats-officedocument.presentationml.slideLayout+xml"/>
  <Override PartName="/ppt/slideLayouts/slideLayout7155.xml" ContentType="application/vnd.openxmlformats-officedocument.presentationml.slideLayout+xml"/>
  <Override PartName="/ppt/slideLayouts/slideLayout7156.xml" ContentType="application/vnd.openxmlformats-officedocument.presentationml.slideLayout+xml"/>
  <Override PartName="/ppt/slideLayouts/slideLayout7157.xml" ContentType="application/vnd.openxmlformats-officedocument.presentationml.slideLayout+xml"/>
  <Override PartName="/ppt/slideLayouts/slideLayout7158.xml" ContentType="application/vnd.openxmlformats-officedocument.presentationml.slideLayout+xml"/>
  <Override PartName="/ppt/slideLayouts/slideLayout7159.xml" ContentType="application/vnd.openxmlformats-officedocument.presentationml.slideLayout+xml"/>
  <Override PartName="/ppt/slideLayouts/slideLayout7160.xml" ContentType="application/vnd.openxmlformats-officedocument.presentationml.slideLayout+xml"/>
  <Override PartName="/ppt/slideLayouts/slideLayout7161.xml" ContentType="application/vnd.openxmlformats-officedocument.presentationml.slideLayout+xml"/>
  <Override PartName="/ppt/slideLayouts/slideLayout7162.xml" ContentType="application/vnd.openxmlformats-officedocument.presentationml.slideLayout+xml"/>
  <Override PartName="/ppt/slideLayouts/slideLayout7163.xml" ContentType="application/vnd.openxmlformats-officedocument.presentationml.slideLayout+xml"/>
  <Override PartName="/ppt/slideLayouts/slideLayout7164.xml" ContentType="application/vnd.openxmlformats-officedocument.presentationml.slideLayout+xml"/>
  <Override PartName="/ppt/slideLayouts/slideLayout7165.xml" ContentType="application/vnd.openxmlformats-officedocument.presentationml.slideLayout+xml"/>
  <Override PartName="/ppt/slideLayouts/slideLayout7166.xml" ContentType="application/vnd.openxmlformats-officedocument.presentationml.slideLayout+xml"/>
  <Override PartName="/ppt/slideLayouts/slideLayout7167.xml" ContentType="application/vnd.openxmlformats-officedocument.presentationml.slideLayout+xml"/>
  <Override PartName="/ppt/slideLayouts/slideLayout7168.xml" ContentType="application/vnd.openxmlformats-officedocument.presentationml.slideLayout+xml"/>
  <Override PartName="/ppt/slideLayouts/slideLayout7169.xml" ContentType="application/vnd.openxmlformats-officedocument.presentationml.slideLayout+xml"/>
  <Override PartName="/ppt/slideLayouts/slideLayout7170.xml" ContentType="application/vnd.openxmlformats-officedocument.presentationml.slideLayout+xml"/>
  <Override PartName="/ppt/slideLayouts/slideLayout7171.xml" ContentType="application/vnd.openxmlformats-officedocument.presentationml.slideLayout+xml"/>
  <Override PartName="/ppt/slideLayouts/slideLayout7172.xml" ContentType="application/vnd.openxmlformats-officedocument.presentationml.slideLayout+xml"/>
  <Override PartName="/ppt/slideLayouts/slideLayout7173.xml" ContentType="application/vnd.openxmlformats-officedocument.presentationml.slideLayout+xml"/>
  <Override PartName="/ppt/slideLayouts/slideLayout7174.xml" ContentType="application/vnd.openxmlformats-officedocument.presentationml.slideLayout+xml"/>
  <Override PartName="/ppt/slideLayouts/slideLayout7175.xml" ContentType="application/vnd.openxmlformats-officedocument.presentationml.slideLayout+xml"/>
  <Override PartName="/ppt/slideLayouts/slideLayout7176.xml" ContentType="application/vnd.openxmlformats-officedocument.presentationml.slideLayout+xml"/>
  <Override PartName="/ppt/slideLayouts/slideLayout7177.xml" ContentType="application/vnd.openxmlformats-officedocument.presentationml.slideLayout+xml"/>
  <Override PartName="/ppt/slideLayouts/slideLayout7178.xml" ContentType="application/vnd.openxmlformats-officedocument.presentationml.slideLayout+xml"/>
  <Override PartName="/ppt/slideLayouts/slideLayout7179.xml" ContentType="application/vnd.openxmlformats-officedocument.presentationml.slideLayout+xml"/>
  <Override PartName="/ppt/slideLayouts/slideLayout7180.xml" ContentType="application/vnd.openxmlformats-officedocument.presentationml.slideLayout+xml"/>
  <Override PartName="/ppt/slideLayouts/slideLayout7181.xml" ContentType="application/vnd.openxmlformats-officedocument.presentationml.slideLayout+xml"/>
  <Override PartName="/ppt/slideLayouts/slideLayout7182.xml" ContentType="application/vnd.openxmlformats-officedocument.presentationml.slideLayout+xml"/>
  <Override PartName="/ppt/slideLayouts/slideLayout7183.xml" ContentType="application/vnd.openxmlformats-officedocument.presentationml.slideLayout+xml"/>
  <Override PartName="/ppt/slideLayouts/slideLayout7184.xml" ContentType="application/vnd.openxmlformats-officedocument.presentationml.slideLayout+xml"/>
  <Override PartName="/ppt/slideLayouts/slideLayout7185.xml" ContentType="application/vnd.openxmlformats-officedocument.presentationml.slideLayout+xml"/>
  <Override PartName="/ppt/slideLayouts/slideLayout7186.xml" ContentType="application/vnd.openxmlformats-officedocument.presentationml.slideLayout+xml"/>
  <Override PartName="/ppt/slideLayouts/slideLayout7187.xml" ContentType="application/vnd.openxmlformats-officedocument.presentationml.slideLayout+xml"/>
  <Override PartName="/ppt/slideLayouts/slideLayout7188.xml" ContentType="application/vnd.openxmlformats-officedocument.presentationml.slideLayout+xml"/>
  <Override PartName="/ppt/slideLayouts/slideLayout7189.xml" ContentType="application/vnd.openxmlformats-officedocument.presentationml.slideLayout+xml"/>
  <Override PartName="/ppt/slideLayouts/slideLayout7190.xml" ContentType="application/vnd.openxmlformats-officedocument.presentationml.slideLayout+xml"/>
  <Override PartName="/ppt/slideLayouts/slideLayout7191.xml" ContentType="application/vnd.openxmlformats-officedocument.presentationml.slideLayout+xml"/>
  <Override PartName="/ppt/slideLayouts/slideLayout7192.xml" ContentType="application/vnd.openxmlformats-officedocument.presentationml.slideLayout+xml"/>
  <Override PartName="/ppt/slideLayouts/slideLayout7193.xml" ContentType="application/vnd.openxmlformats-officedocument.presentationml.slideLayout+xml"/>
  <Override PartName="/ppt/slideLayouts/slideLayout7194.xml" ContentType="application/vnd.openxmlformats-officedocument.presentationml.slideLayout+xml"/>
  <Override PartName="/ppt/slideLayouts/slideLayout7195.xml" ContentType="application/vnd.openxmlformats-officedocument.presentationml.slideLayout+xml"/>
  <Override PartName="/ppt/slideLayouts/slideLayout7196.xml" ContentType="application/vnd.openxmlformats-officedocument.presentationml.slideLayout+xml"/>
  <Override PartName="/ppt/slideLayouts/slideLayout7197.xml" ContentType="application/vnd.openxmlformats-officedocument.presentationml.slideLayout+xml"/>
  <Override PartName="/ppt/slideLayouts/slideLayout7198.xml" ContentType="application/vnd.openxmlformats-officedocument.presentationml.slideLayout+xml"/>
  <Override PartName="/ppt/slideLayouts/slideLayout7199.xml" ContentType="application/vnd.openxmlformats-officedocument.presentationml.slideLayout+xml"/>
  <Override PartName="/ppt/slideLayouts/slideLayout7200.xml" ContentType="application/vnd.openxmlformats-officedocument.presentationml.slideLayout+xml"/>
  <Override PartName="/ppt/slideLayouts/slideLayout7201.xml" ContentType="application/vnd.openxmlformats-officedocument.presentationml.slideLayout+xml"/>
  <Override PartName="/ppt/slideLayouts/slideLayout7202.xml" ContentType="application/vnd.openxmlformats-officedocument.presentationml.slideLayout+xml"/>
  <Override PartName="/ppt/slideLayouts/slideLayout7203.xml" ContentType="application/vnd.openxmlformats-officedocument.presentationml.slideLayout+xml"/>
  <Override PartName="/ppt/slideLayouts/slideLayout7204.xml" ContentType="application/vnd.openxmlformats-officedocument.presentationml.slideLayout+xml"/>
  <Override PartName="/ppt/slideLayouts/slideLayout7205.xml" ContentType="application/vnd.openxmlformats-officedocument.presentationml.slideLayout+xml"/>
  <Override PartName="/ppt/slideLayouts/slideLayout7206.xml" ContentType="application/vnd.openxmlformats-officedocument.presentationml.slideLayout+xml"/>
  <Override PartName="/ppt/slideLayouts/slideLayout7207.xml" ContentType="application/vnd.openxmlformats-officedocument.presentationml.slideLayout+xml"/>
  <Override PartName="/ppt/slideLayouts/slideLayout7208.xml" ContentType="application/vnd.openxmlformats-officedocument.presentationml.slideLayout+xml"/>
  <Override PartName="/ppt/slideLayouts/slideLayout7209.xml" ContentType="application/vnd.openxmlformats-officedocument.presentationml.slideLayout+xml"/>
  <Override PartName="/ppt/slideLayouts/slideLayout7210.xml" ContentType="application/vnd.openxmlformats-officedocument.presentationml.slideLayout+xml"/>
  <Override PartName="/ppt/slideLayouts/slideLayout7211.xml" ContentType="application/vnd.openxmlformats-officedocument.presentationml.slideLayout+xml"/>
  <Override PartName="/ppt/slideLayouts/slideLayout7212.xml" ContentType="application/vnd.openxmlformats-officedocument.presentationml.slideLayout+xml"/>
  <Override PartName="/ppt/slideLayouts/slideLayout7213.xml" ContentType="application/vnd.openxmlformats-officedocument.presentationml.slideLayout+xml"/>
  <Override PartName="/ppt/slideLayouts/slideLayout7214.xml" ContentType="application/vnd.openxmlformats-officedocument.presentationml.slideLayout+xml"/>
  <Override PartName="/ppt/slideLayouts/slideLayout7215.xml" ContentType="application/vnd.openxmlformats-officedocument.presentationml.slideLayout+xml"/>
  <Override PartName="/ppt/slideLayouts/slideLayout7216.xml" ContentType="application/vnd.openxmlformats-officedocument.presentationml.slideLayout+xml"/>
  <Override PartName="/ppt/slideLayouts/slideLayout7217.xml" ContentType="application/vnd.openxmlformats-officedocument.presentationml.slideLayout+xml"/>
  <Override PartName="/ppt/slideLayouts/slideLayout7218.xml" ContentType="application/vnd.openxmlformats-officedocument.presentationml.slideLayout+xml"/>
  <Override PartName="/ppt/slideLayouts/slideLayout7219.xml" ContentType="application/vnd.openxmlformats-officedocument.presentationml.slideLayout+xml"/>
  <Override PartName="/ppt/slideLayouts/slideLayout7220.xml" ContentType="application/vnd.openxmlformats-officedocument.presentationml.slideLayout+xml"/>
  <Override PartName="/ppt/slideLayouts/slideLayout7221.xml" ContentType="application/vnd.openxmlformats-officedocument.presentationml.slideLayout+xml"/>
  <Override PartName="/ppt/slideLayouts/slideLayout7222.xml" ContentType="application/vnd.openxmlformats-officedocument.presentationml.slideLayout+xml"/>
  <Override PartName="/ppt/slideLayouts/slideLayout7223.xml" ContentType="application/vnd.openxmlformats-officedocument.presentationml.slideLayout+xml"/>
  <Override PartName="/ppt/slideLayouts/slideLayout7224.xml" ContentType="application/vnd.openxmlformats-officedocument.presentationml.slideLayout+xml"/>
  <Override PartName="/ppt/slideLayouts/slideLayout7225.xml" ContentType="application/vnd.openxmlformats-officedocument.presentationml.slideLayout+xml"/>
  <Override PartName="/ppt/slideLayouts/slideLayout7226.xml" ContentType="application/vnd.openxmlformats-officedocument.presentationml.slideLayout+xml"/>
  <Override PartName="/ppt/slideLayouts/slideLayout7227.xml" ContentType="application/vnd.openxmlformats-officedocument.presentationml.slideLayout+xml"/>
  <Override PartName="/ppt/slideLayouts/slideLayout7228.xml" ContentType="application/vnd.openxmlformats-officedocument.presentationml.slideLayout+xml"/>
  <Override PartName="/ppt/slideLayouts/slideLayout7229.xml" ContentType="application/vnd.openxmlformats-officedocument.presentationml.slideLayout+xml"/>
  <Override PartName="/ppt/slideLayouts/slideLayout7230.xml" ContentType="application/vnd.openxmlformats-officedocument.presentationml.slideLayout+xml"/>
  <Override PartName="/ppt/slideLayouts/slideLayout7231.xml" ContentType="application/vnd.openxmlformats-officedocument.presentationml.slideLayout+xml"/>
  <Override PartName="/ppt/slideLayouts/slideLayout7232.xml" ContentType="application/vnd.openxmlformats-officedocument.presentationml.slideLayout+xml"/>
  <Override PartName="/ppt/slideLayouts/slideLayout7233.xml" ContentType="application/vnd.openxmlformats-officedocument.presentationml.slideLayout+xml"/>
  <Override PartName="/ppt/slideLayouts/slideLayout7234.xml" ContentType="application/vnd.openxmlformats-officedocument.presentationml.slideLayout+xml"/>
  <Override PartName="/ppt/slideLayouts/slideLayout7235.xml" ContentType="application/vnd.openxmlformats-officedocument.presentationml.slideLayout+xml"/>
  <Override PartName="/ppt/slideLayouts/slideLayout7236.xml" ContentType="application/vnd.openxmlformats-officedocument.presentationml.slideLayout+xml"/>
  <Override PartName="/ppt/slideLayouts/slideLayout7237.xml" ContentType="application/vnd.openxmlformats-officedocument.presentationml.slideLayout+xml"/>
  <Override PartName="/ppt/slideLayouts/slideLayout7238.xml" ContentType="application/vnd.openxmlformats-officedocument.presentationml.slideLayout+xml"/>
  <Override PartName="/ppt/slideLayouts/slideLayout7239.xml" ContentType="application/vnd.openxmlformats-officedocument.presentationml.slideLayout+xml"/>
  <Override PartName="/ppt/slideLayouts/slideLayout7240.xml" ContentType="application/vnd.openxmlformats-officedocument.presentationml.slideLayout+xml"/>
  <Override PartName="/ppt/slideLayouts/slideLayout7241.xml" ContentType="application/vnd.openxmlformats-officedocument.presentationml.slideLayout+xml"/>
  <Override PartName="/ppt/slideLayouts/slideLayout7242.xml" ContentType="application/vnd.openxmlformats-officedocument.presentationml.slideLayout+xml"/>
  <Override PartName="/ppt/slideLayouts/slideLayout7243.xml" ContentType="application/vnd.openxmlformats-officedocument.presentationml.slideLayout+xml"/>
  <Override PartName="/ppt/slideLayouts/slideLayout7244.xml" ContentType="application/vnd.openxmlformats-officedocument.presentationml.slideLayout+xml"/>
  <Override PartName="/ppt/slideLayouts/slideLayout7245.xml" ContentType="application/vnd.openxmlformats-officedocument.presentationml.slideLayout+xml"/>
  <Override PartName="/ppt/slideLayouts/slideLayout7246.xml" ContentType="application/vnd.openxmlformats-officedocument.presentationml.slideLayout+xml"/>
  <Override PartName="/ppt/slideLayouts/slideLayout7247.xml" ContentType="application/vnd.openxmlformats-officedocument.presentationml.slideLayout+xml"/>
  <Override PartName="/ppt/slideLayouts/slideLayout7248.xml" ContentType="application/vnd.openxmlformats-officedocument.presentationml.slideLayout+xml"/>
  <Override PartName="/ppt/slideLayouts/slideLayout7249.xml" ContentType="application/vnd.openxmlformats-officedocument.presentationml.slideLayout+xml"/>
  <Override PartName="/ppt/slideLayouts/slideLayout7250.xml" ContentType="application/vnd.openxmlformats-officedocument.presentationml.slideLayout+xml"/>
  <Override PartName="/ppt/slideLayouts/slideLayout7251.xml" ContentType="application/vnd.openxmlformats-officedocument.presentationml.slideLayout+xml"/>
  <Override PartName="/ppt/slideLayouts/slideLayout7252.xml" ContentType="application/vnd.openxmlformats-officedocument.presentationml.slideLayout+xml"/>
  <Override PartName="/ppt/slideLayouts/slideLayout7253.xml" ContentType="application/vnd.openxmlformats-officedocument.presentationml.slideLayout+xml"/>
  <Override PartName="/ppt/slideLayouts/slideLayout7254.xml" ContentType="application/vnd.openxmlformats-officedocument.presentationml.slideLayout+xml"/>
  <Override PartName="/ppt/slideLayouts/slideLayout7255.xml" ContentType="application/vnd.openxmlformats-officedocument.presentationml.slideLayout+xml"/>
  <Override PartName="/ppt/slideLayouts/slideLayout7256.xml" ContentType="application/vnd.openxmlformats-officedocument.presentationml.slideLayout+xml"/>
  <Override PartName="/ppt/slideLayouts/slideLayout7257.xml" ContentType="application/vnd.openxmlformats-officedocument.presentationml.slideLayout+xml"/>
  <Override PartName="/ppt/slideLayouts/slideLayout7258.xml" ContentType="application/vnd.openxmlformats-officedocument.presentationml.slideLayout+xml"/>
  <Override PartName="/ppt/slideLayouts/slideLayout7259.xml" ContentType="application/vnd.openxmlformats-officedocument.presentationml.slideLayout+xml"/>
  <Override PartName="/ppt/slideLayouts/slideLayout7260.xml" ContentType="application/vnd.openxmlformats-officedocument.presentationml.slideLayout+xml"/>
  <Override PartName="/ppt/slideLayouts/slideLayout7261.xml" ContentType="application/vnd.openxmlformats-officedocument.presentationml.slideLayout+xml"/>
  <Override PartName="/ppt/slideLayouts/slideLayout7262.xml" ContentType="application/vnd.openxmlformats-officedocument.presentationml.slideLayout+xml"/>
  <Override PartName="/ppt/slideLayouts/slideLayout7263.xml" ContentType="application/vnd.openxmlformats-officedocument.presentationml.slideLayout+xml"/>
  <Override PartName="/ppt/slideLayouts/slideLayout7264.xml" ContentType="application/vnd.openxmlformats-officedocument.presentationml.slideLayout+xml"/>
  <Override PartName="/ppt/slideLayouts/slideLayout7265.xml" ContentType="application/vnd.openxmlformats-officedocument.presentationml.slideLayout+xml"/>
  <Override PartName="/ppt/slideLayouts/slideLayout7266.xml" ContentType="application/vnd.openxmlformats-officedocument.presentationml.slideLayout+xml"/>
  <Override PartName="/ppt/slideLayouts/slideLayout7267.xml" ContentType="application/vnd.openxmlformats-officedocument.presentationml.slideLayout+xml"/>
  <Override PartName="/ppt/slideLayouts/slideLayout7268.xml" ContentType="application/vnd.openxmlformats-officedocument.presentationml.slideLayout+xml"/>
  <Override PartName="/ppt/slideLayouts/slideLayout7269.xml" ContentType="application/vnd.openxmlformats-officedocument.presentationml.slideLayout+xml"/>
  <Override PartName="/ppt/slideLayouts/slideLayout7270.xml" ContentType="application/vnd.openxmlformats-officedocument.presentationml.slideLayout+xml"/>
  <Override PartName="/ppt/slideLayouts/slideLayout7271.xml" ContentType="application/vnd.openxmlformats-officedocument.presentationml.slideLayout+xml"/>
  <Override PartName="/ppt/slideLayouts/slideLayout7272.xml" ContentType="application/vnd.openxmlformats-officedocument.presentationml.slideLayout+xml"/>
  <Override PartName="/ppt/slideLayouts/slideLayout7273.xml" ContentType="application/vnd.openxmlformats-officedocument.presentationml.slideLayout+xml"/>
  <Override PartName="/ppt/slideLayouts/slideLayout7274.xml" ContentType="application/vnd.openxmlformats-officedocument.presentationml.slideLayout+xml"/>
  <Override PartName="/ppt/slideLayouts/slideLayout7275.xml" ContentType="application/vnd.openxmlformats-officedocument.presentationml.slideLayout+xml"/>
  <Override PartName="/ppt/slideLayouts/slideLayout7276.xml" ContentType="application/vnd.openxmlformats-officedocument.presentationml.slideLayout+xml"/>
  <Override PartName="/ppt/slideLayouts/slideLayout7277.xml" ContentType="application/vnd.openxmlformats-officedocument.presentationml.slideLayout+xml"/>
  <Override PartName="/ppt/slideLayouts/slideLayout7278.xml" ContentType="application/vnd.openxmlformats-officedocument.presentationml.slideLayout+xml"/>
  <Override PartName="/ppt/slideLayouts/slideLayout7279.xml" ContentType="application/vnd.openxmlformats-officedocument.presentationml.slideLayout+xml"/>
  <Override PartName="/ppt/slideLayouts/slideLayout7280.xml" ContentType="application/vnd.openxmlformats-officedocument.presentationml.slideLayout+xml"/>
  <Override PartName="/ppt/slideLayouts/slideLayout7281.xml" ContentType="application/vnd.openxmlformats-officedocument.presentationml.slideLayout+xml"/>
  <Override PartName="/ppt/slideLayouts/slideLayout7282.xml" ContentType="application/vnd.openxmlformats-officedocument.presentationml.slideLayout+xml"/>
  <Override PartName="/ppt/slideLayouts/slideLayout7283.xml" ContentType="application/vnd.openxmlformats-officedocument.presentationml.slideLayout+xml"/>
  <Override PartName="/ppt/slideLayouts/slideLayout7284.xml" ContentType="application/vnd.openxmlformats-officedocument.presentationml.slideLayout+xml"/>
  <Override PartName="/ppt/slideLayouts/slideLayout7285.xml" ContentType="application/vnd.openxmlformats-officedocument.presentationml.slideLayout+xml"/>
  <Override PartName="/ppt/slideLayouts/slideLayout7286.xml" ContentType="application/vnd.openxmlformats-officedocument.presentationml.slideLayout+xml"/>
  <Override PartName="/ppt/slideLayouts/slideLayout7287.xml" ContentType="application/vnd.openxmlformats-officedocument.presentationml.slideLayout+xml"/>
  <Override PartName="/ppt/slideLayouts/slideLayout7288.xml" ContentType="application/vnd.openxmlformats-officedocument.presentationml.slideLayout+xml"/>
  <Override PartName="/ppt/slideLayouts/slideLayout7289.xml" ContentType="application/vnd.openxmlformats-officedocument.presentationml.slideLayout+xml"/>
  <Override PartName="/ppt/slideLayouts/slideLayout7290.xml" ContentType="application/vnd.openxmlformats-officedocument.presentationml.slideLayout+xml"/>
  <Override PartName="/ppt/slideLayouts/slideLayout7291.xml" ContentType="application/vnd.openxmlformats-officedocument.presentationml.slideLayout+xml"/>
  <Override PartName="/ppt/slideLayouts/slideLayout7292.xml" ContentType="application/vnd.openxmlformats-officedocument.presentationml.slideLayout+xml"/>
  <Override PartName="/ppt/slideLayouts/slideLayout7293.xml" ContentType="application/vnd.openxmlformats-officedocument.presentationml.slideLayout+xml"/>
  <Override PartName="/ppt/slideLayouts/slideLayout7294.xml" ContentType="application/vnd.openxmlformats-officedocument.presentationml.slideLayout+xml"/>
  <Override PartName="/ppt/slideLayouts/slideLayout7295.xml" ContentType="application/vnd.openxmlformats-officedocument.presentationml.slideLayout+xml"/>
  <Override PartName="/ppt/slideLayouts/slideLayout7296.xml" ContentType="application/vnd.openxmlformats-officedocument.presentationml.slideLayout+xml"/>
  <Override PartName="/ppt/slideLayouts/slideLayout7297.xml" ContentType="application/vnd.openxmlformats-officedocument.presentationml.slideLayout+xml"/>
  <Override PartName="/ppt/slideLayouts/slideLayout7298.xml" ContentType="application/vnd.openxmlformats-officedocument.presentationml.slideLayout+xml"/>
  <Override PartName="/ppt/slideLayouts/slideLayout7299.xml" ContentType="application/vnd.openxmlformats-officedocument.presentationml.slideLayout+xml"/>
  <Override PartName="/ppt/slideLayouts/slideLayout7300.xml" ContentType="application/vnd.openxmlformats-officedocument.presentationml.slideLayout+xml"/>
  <Override PartName="/ppt/slideLayouts/slideLayout7301.xml" ContentType="application/vnd.openxmlformats-officedocument.presentationml.slideLayout+xml"/>
  <Override PartName="/ppt/slideLayouts/slideLayout7302.xml" ContentType="application/vnd.openxmlformats-officedocument.presentationml.slideLayout+xml"/>
  <Override PartName="/ppt/slideLayouts/slideLayout7303.xml" ContentType="application/vnd.openxmlformats-officedocument.presentationml.slideLayout+xml"/>
  <Override PartName="/ppt/slideLayouts/slideLayout7304.xml" ContentType="application/vnd.openxmlformats-officedocument.presentationml.slideLayout+xml"/>
  <Override PartName="/ppt/slideLayouts/slideLayout7305.xml" ContentType="application/vnd.openxmlformats-officedocument.presentationml.slideLayout+xml"/>
  <Override PartName="/ppt/slideLayouts/slideLayout7306.xml" ContentType="application/vnd.openxmlformats-officedocument.presentationml.slideLayout+xml"/>
  <Override PartName="/ppt/slideLayouts/slideLayout7307.xml" ContentType="application/vnd.openxmlformats-officedocument.presentationml.slideLayout+xml"/>
  <Override PartName="/ppt/slideLayouts/slideLayout7308.xml" ContentType="application/vnd.openxmlformats-officedocument.presentationml.slideLayout+xml"/>
  <Override PartName="/ppt/slideLayouts/slideLayout7309.xml" ContentType="application/vnd.openxmlformats-officedocument.presentationml.slideLayout+xml"/>
  <Override PartName="/ppt/slideLayouts/slideLayout7310.xml" ContentType="application/vnd.openxmlformats-officedocument.presentationml.slideLayout+xml"/>
  <Override PartName="/ppt/slideLayouts/slideLayout7311.xml" ContentType="application/vnd.openxmlformats-officedocument.presentationml.slideLayout+xml"/>
  <Override PartName="/ppt/slideLayouts/slideLayout7312.xml" ContentType="application/vnd.openxmlformats-officedocument.presentationml.slideLayout+xml"/>
  <Override PartName="/ppt/slideLayouts/slideLayout7313.xml" ContentType="application/vnd.openxmlformats-officedocument.presentationml.slideLayout+xml"/>
  <Override PartName="/ppt/slideLayouts/slideLayout7314.xml" ContentType="application/vnd.openxmlformats-officedocument.presentationml.slideLayout+xml"/>
  <Override PartName="/ppt/slideLayouts/slideLayout7315.xml" ContentType="application/vnd.openxmlformats-officedocument.presentationml.slideLayout+xml"/>
  <Override PartName="/ppt/slideLayouts/slideLayout7316.xml" ContentType="application/vnd.openxmlformats-officedocument.presentationml.slideLayout+xml"/>
  <Override PartName="/ppt/slideLayouts/slideLayout7317.xml" ContentType="application/vnd.openxmlformats-officedocument.presentationml.slideLayout+xml"/>
  <Override PartName="/ppt/slideLayouts/slideLayout7318.xml" ContentType="application/vnd.openxmlformats-officedocument.presentationml.slideLayout+xml"/>
  <Override PartName="/ppt/slideLayouts/slideLayout7319.xml" ContentType="application/vnd.openxmlformats-officedocument.presentationml.slideLayout+xml"/>
  <Override PartName="/ppt/slideLayouts/slideLayout7320.xml" ContentType="application/vnd.openxmlformats-officedocument.presentationml.slideLayout+xml"/>
  <Override PartName="/ppt/slideLayouts/slideLayout7321.xml" ContentType="application/vnd.openxmlformats-officedocument.presentationml.slideLayout+xml"/>
  <Override PartName="/ppt/slideLayouts/slideLayout7322.xml" ContentType="application/vnd.openxmlformats-officedocument.presentationml.slideLayout+xml"/>
  <Override PartName="/ppt/slideLayouts/slideLayout7323.xml" ContentType="application/vnd.openxmlformats-officedocument.presentationml.slideLayout+xml"/>
  <Override PartName="/ppt/slideLayouts/slideLayout7324.xml" ContentType="application/vnd.openxmlformats-officedocument.presentationml.slideLayout+xml"/>
  <Override PartName="/ppt/slideLayouts/slideLayout7325.xml" ContentType="application/vnd.openxmlformats-officedocument.presentationml.slideLayout+xml"/>
  <Override PartName="/ppt/slideLayouts/slideLayout7326.xml" ContentType="application/vnd.openxmlformats-officedocument.presentationml.slideLayout+xml"/>
  <Override PartName="/ppt/slideLayouts/slideLayout7327.xml" ContentType="application/vnd.openxmlformats-officedocument.presentationml.slideLayout+xml"/>
  <Override PartName="/ppt/slideLayouts/slideLayout7328.xml" ContentType="application/vnd.openxmlformats-officedocument.presentationml.slideLayout+xml"/>
  <Override PartName="/ppt/slideLayouts/slideLayout7329.xml" ContentType="application/vnd.openxmlformats-officedocument.presentationml.slideLayout+xml"/>
  <Override PartName="/ppt/slideLayouts/slideLayout7330.xml" ContentType="application/vnd.openxmlformats-officedocument.presentationml.slideLayout+xml"/>
  <Override PartName="/ppt/slideLayouts/slideLayout7331.xml" ContentType="application/vnd.openxmlformats-officedocument.presentationml.slideLayout+xml"/>
  <Override PartName="/ppt/slideLayouts/slideLayout7332.xml" ContentType="application/vnd.openxmlformats-officedocument.presentationml.slideLayout+xml"/>
  <Override PartName="/ppt/slideLayouts/slideLayout7333.xml" ContentType="application/vnd.openxmlformats-officedocument.presentationml.slideLayout+xml"/>
  <Override PartName="/ppt/slideLayouts/slideLayout7334.xml" ContentType="application/vnd.openxmlformats-officedocument.presentationml.slideLayout+xml"/>
  <Override PartName="/ppt/slideLayouts/slideLayout7335.xml" ContentType="application/vnd.openxmlformats-officedocument.presentationml.slideLayout+xml"/>
  <Override PartName="/ppt/slideLayouts/slideLayout7336.xml" ContentType="application/vnd.openxmlformats-officedocument.presentationml.slideLayout+xml"/>
  <Override PartName="/ppt/slideLayouts/slideLayout7337.xml" ContentType="application/vnd.openxmlformats-officedocument.presentationml.slideLayout+xml"/>
  <Override PartName="/ppt/slideLayouts/slideLayout7338.xml" ContentType="application/vnd.openxmlformats-officedocument.presentationml.slideLayout+xml"/>
  <Override PartName="/ppt/slideLayouts/slideLayout7339.xml" ContentType="application/vnd.openxmlformats-officedocument.presentationml.slideLayout+xml"/>
  <Override PartName="/ppt/slideLayouts/slideLayout7340.xml" ContentType="application/vnd.openxmlformats-officedocument.presentationml.slideLayout+xml"/>
  <Override PartName="/ppt/slideLayouts/slideLayout7341.xml" ContentType="application/vnd.openxmlformats-officedocument.presentationml.slideLayout+xml"/>
  <Override PartName="/ppt/slideLayouts/slideLayout7342.xml" ContentType="application/vnd.openxmlformats-officedocument.presentationml.slideLayout+xml"/>
  <Override PartName="/ppt/slideLayouts/slideLayout7343.xml" ContentType="application/vnd.openxmlformats-officedocument.presentationml.slideLayout+xml"/>
  <Override PartName="/ppt/slideLayouts/slideLayout7344.xml" ContentType="application/vnd.openxmlformats-officedocument.presentationml.slideLayout+xml"/>
  <Override PartName="/ppt/slideLayouts/slideLayout7345.xml" ContentType="application/vnd.openxmlformats-officedocument.presentationml.slideLayout+xml"/>
  <Override PartName="/ppt/slideLayouts/slideLayout7346.xml" ContentType="application/vnd.openxmlformats-officedocument.presentationml.slideLayout+xml"/>
  <Override PartName="/ppt/slideLayouts/slideLayout7347.xml" ContentType="application/vnd.openxmlformats-officedocument.presentationml.slideLayout+xml"/>
  <Override PartName="/ppt/slideLayouts/slideLayout7348.xml" ContentType="application/vnd.openxmlformats-officedocument.presentationml.slideLayout+xml"/>
  <Override PartName="/ppt/slideLayouts/slideLayout7349.xml" ContentType="application/vnd.openxmlformats-officedocument.presentationml.slideLayout+xml"/>
  <Override PartName="/ppt/slideLayouts/slideLayout7350.xml" ContentType="application/vnd.openxmlformats-officedocument.presentationml.slideLayout+xml"/>
  <Override PartName="/ppt/slideLayouts/slideLayout7351.xml" ContentType="application/vnd.openxmlformats-officedocument.presentationml.slideLayout+xml"/>
  <Override PartName="/ppt/slideLayouts/slideLayout7352.xml" ContentType="application/vnd.openxmlformats-officedocument.presentationml.slideLayout+xml"/>
  <Override PartName="/ppt/slideLayouts/slideLayout7353.xml" ContentType="application/vnd.openxmlformats-officedocument.presentationml.slideLayout+xml"/>
  <Override PartName="/ppt/slideLayouts/slideLayout7354.xml" ContentType="application/vnd.openxmlformats-officedocument.presentationml.slideLayout+xml"/>
  <Override PartName="/ppt/slideLayouts/slideLayout7355.xml" ContentType="application/vnd.openxmlformats-officedocument.presentationml.slideLayout+xml"/>
  <Override PartName="/ppt/slideLayouts/slideLayout7356.xml" ContentType="application/vnd.openxmlformats-officedocument.presentationml.slideLayout+xml"/>
  <Override PartName="/ppt/slideLayouts/slideLayout7357.xml" ContentType="application/vnd.openxmlformats-officedocument.presentationml.slideLayout+xml"/>
  <Override PartName="/ppt/slideLayouts/slideLayout7358.xml" ContentType="application/vnd.openxmlformats-officedocument.presentationml.slideLayout+xml"/>
  <Override PartName="/ppt/slideLayouts/slideLayout7359.xml" ContentType="application/vnd.openxmlformats-officedocument.presentationml.slideLayout+xml"/>
  <Override PartName="/ppt/slideLayouts/slideLayout7360.xml" ContentType="application/vnd.openxmlformats-officedocument.presentationml.slideLayout+xml"/>
  <Override PartName="/ppt/slideLayouts/slideLayout7361.xml" ContentType="application/vnd.openxmlformats-officedocument.presentationml.slideLayout+xml"/>
  <Override PartName="/ppt/slideLayouts/slideLayout7362.xml" ContentType="application/vnd.openxmlformats-officedocument.presentationml.slideLayout+xml"/>
  <Override PartName="/ppt/slideLayouts/slideLayout7363.xml" ContentType="application/vnd.openxmlformats-officedocument.presentationml.slideLayout+xml"/>
  <Override PartName="/ppt/slideLayouts/slideLayout7364.xml" ContentType="application/vnd.openxmlformats-officedocument.presentationml.slideLayout+xml"/>
  <Override PartName="/ppt/slideLayouts/slideLayout7365.xml" ContentType="application/vnd.openxmlformats-officedocument.presentationml.slideLayout+xml"/>
  <Override PartName="/ppt/slideLayouts/slideLayout7366.xml" ContentType="application/vnd.openxmlformats-officedocument.presentationml.slideLayout+xml"/>
  <Override PartName="/ppt/slideLayouts/slideLayout7367.xml" ContentType="application/vnd.openxmlformats-officedocument.presentationml.slideLayout+xml"/>
  <Override PartName="/ppt/slideLayouts/slideLayout7368.xml" ContentType="application/vnd.openxmlformats-officedocument.presentationml.slideLayout+xml"/>
  <Override PartName="/ppt/slideLayouts/slideLayout7369.xml" ContentType="application/vnd.openxmlformats-officedocument.presentationml.slideLayout+xml"/>
  <Override PartName="/ppt/slideLayouts/slideLayout7370.xml" ContentType="application/vnd.openxmlformats-officedocument.presentationml.slideLayout+xml"/>
  <Override PartName="/ppt/slideLayouts/slideLayout7371.xml" ContentType="application/vnd.openxmlformats-officedocument.presentationml.slideLayout+xml"/>
  <Override PartName="/ppt/slideLayouts/slideLayout7372.xml" ContentType="application/vnd.openxmlformats-officedocument.presentationml.slideLayout+xml"/>
  <Override PartName="/ppt/slideLayouts/slideLayout7373.xml" ContentType="application/vnd.openxmlformats-officedocument.presentationml.slideLayout+xml"/>
  <Override PartName="/ppt/slideLayouts/slideLayout7374.xml" ContentType="application/vnd.openxmlformats-officedocument.presentationml.slideLayout+xml"/>
  <Override PartName="/ppt/slideLayouts/slideLayout7375.xml" ContentType="application/vnd.openxmlformats-officedocument.presentationml.slideLayout+xml"/>
  <Override PartName="/ppt/slideLayouts/slideLayout7376.xml" ContentType="application/vnd.openxmlformats-officedocument.presentationml.slideLayout+xml"/>
  <Override PartName="/ppt/slideLayouts/slideLayout7377.xml" ContentType="application/vnd.openxmlformats-officedocument.presentationml.slideLayout+xml"/>
  <Override PartName="/ppt/slideLayouts/slideLayout7378.xml" ContentType="application/vnd.openxmlformats-officedocument.presentationml.slideLayout+xml"/>
  <Override PartName="/ppt/slideLayouts/slideLayout7379.xml" ContentType="application/vnd.openxmlformats-officedocument.presentationml.slideLayout+xml"/>
  <Override PartName="/ppt/slideLayouts/slideLayout7380.xml" ContentType="application/vnd.openxmlformats-officedocument.presentationml.slideLayout+xml"/>
  <Override PartName="/ppt/slideLayouts/slideLayout7381.xml" ContentType="application/vnd.openxmlformats-officedocument.presentationml.slideLayout+xml"/>
  <Override PartName="/ppt/slideLayouts/slideLayout7382.xml" ContentType="application/vnd.openxmlformats-officedocument.presentationml.slideLayout+xml"/>
  <Override PartName="/ppt/slideLayouts/slideLayout7383.xml" ContentType="application/vnd.openxmlformats-officedocument.presentationml.slideLayout+xml"/>
  <Override PartName="/ppt/slideLayouts/slideLayout7384.xml" ContentType="application/vnd.openxmlformats-officedocument.presentationml.slideLayout+xml"/>
  <Override PartName="/ppt/slideLayouts/slideLayout7385.xml" ContentType="application/vnd.openxmlformats-officedocument.presentationml.slideLayout+xml"/>
  <Override PartName="/ppt/slideLayouts/slideLayout7386.xml" ContentType="application/vnd.openxmlformats-officedocument.presentationml.slideLayout+xml"/>
  <Override PartName="/ppt/slideLayouts/slideLayout7387.xml" ContentType="application/vnd.openxmlformats-officedocument.presentationml.slideLayout+xml"/>
  <Override PartName="/ppt/slideLayouts/slideLayout7388.xml" ContentType="application/vnd.openxmlformats-officedocument.presentationml.slideLayout+xml"/>
  <Override PartName="/ppt/slideLayouts/slideLayout7389.xml" ContentType="application/vnd.openxmlformats-officedocument.presentationml.slideLayout+xml"/>
  <Override PartName="/ppt/slideLayouts/slideLayout7390.xml" ContentType="application/vnd.openxmlformats-officedocument.presentationml.slideLayout+xml"/>
  <Override PartName="/ppt/slideLayouts/slideLayout7391.xml" ContentType="application/vnd.openxmlformats-officedocument.presentationml.slideLayout+xml"/>
  <Override PartName="/ppt/slideLayouts/slideLayout7392.xml" ContentType="application/vnd.openxmlformats-officedocument.presentationml.slideLayout+xml"/>
  <Override PartName="/ppt/slideLayouts/slideLayout7393.xml" ContentType="application/vnd.openxmlformats-officedocument.presentationml.slideLayout+xml"/>
  <Override PartName="/ppt/slideLayouts/slideLayout7394.xml" ContentType="application/vnd.openxmlformats-officedocument.presentationml.slideLayout+xml"/>
  <Override PartName="/ppt/slideLayouts/slideLayout7395.xml" ContentType="application/vnd.openxmlformats-officedocument.presentationml.slideLayout+xml"/>
  <Override PartName="/ppt/slideLayouts/slideLayout7396.xml" ContentType="application/vnd.openxmlformats-officedocument.presentationml.slideLayout+xml"/>
  <Override PartName="/ppt/slideLayouts/slideLayout7397.xml" ContentType="application/vnd.openxmlformats-officedocument.presentationml.slideLayout+xml"/>
  <Override PartName="/ppt/slideLayouts/slideLayout7398.xml" ContentType="application/vnd.openxmlformats-officedocument.presentationml.slideLayout+xml"/>
  <Override PartName="/ppt/slideLayouts/slideLayout7399.xml" ContentType="application/vnd.openxmlformats-officedocument.presentationml.slideLayout+xml"/>
  <Override PartName="/ppt/slideLayouts/slideLayout7400.xml" ContentType="application/vnd.openxmlformats-officedocument.presentationml.slideLayout+xml"/>
  <Override PartName="/ppt/slideLayouts/slideLayout7401.xml" ContentType="application/vnd.openxmlformats-officedocument.presentationml.slideLayout+xml"/>
  <Override PartName="/ppt/slideLayouts/slideLayout7402.xml" ContentType="application/vnd.openxmlformats-officedocument.presentationml.slideLayout+xml"/>
  <Override PartName="/ppt/slideLayouts/slideLayout7403.xml" ContentType="application/vnd.openxmlformats-officedocument.presentationml.slideLayout+xml"/>
  <Override PartName="/ppt/slideLayouts/slideLayout7404.xml" ContentType="application/vnd.openxmlformats-officedocument.presentationml.slideLayout+xml"/>
  <Override PartName="/ppt/slideLayouts/slideLayout7405.xml" ContentType="application/vnd.openxmlformats-officedocument.presentationml.slideLayout+xml"/>
  <Override PartName="/ppt/slideLayouts/slideLayout7406.xml" ContentType="application/vnd.openxmlformats-officedocument.presentationml.slideLayout+xml"/>
  <Override PartName="/ppt/slideLayouts/slideLayout7407.xml" ContentType="application/vnd.openxmlformats-officedocument.presentationml.slideLayout+xml"/>
  <Override PartName="/ppt/slideLayouts/slideLayout7408.xml" ContentType="application/vnd.openxmlformats-officedocument.presentationml.slideLayout+xml"/>
  <Override PartName="/ppt/slideLayouts/slideLayout7409.xml" ContentType="application/vnd.openxmlformats-officedocument.presentationml.slideLayout+xml"/>
  <Override PartName="/ppt/slideLayouts/slideLayout7410.xml" ContentType="application/vnd.openxmlformats-officedocument.presentationml.slideLayout+xml"/>
  <Override PartName="/ppt/slideLayouts/slideLayout7411.xml" ContentType="application/vnd.openxmlformats-officedocument.presentationml.slideLayout+xml"/>
  <Override PartName="/ppt/slideLayouts/slideLayout7412.xml" ContentType="application/vnd.openxmlformats-officedocument.presentationml.slideLayout+xml"/>
  <Override PartName="/ppt/slideLayouts/slideLayout7413.xml" ContentType="application/vnd.openxmlformats-officedocument.presentationml.slideLayout+xml"/>
  <Override PartName="/ppt/slideLayouts/slideLayout7414.xml" ContentType="application/vnd.openxmlformats-officedocument.presentationml.slideLayout+xml"/>
  <Override PartName="/ppt/slideLayouts/slideLayout7415.xml" ContentType="application/vnd.openxmlformats-officedocument.presentationml.slideLayout+xml"/>
  <Override PartName="/ppt/slideLayouts/slideLayout7416.xml" ContentType="application/vnd.openxmlformats-officedocument.presentationml.slideLayout+xml"/>
  <Override PartName="/ppt/slideLayouts/slideLayout7417.xml" ContentType="application/vnd.openxmlformats-officedocument.presentationml.slideLayout+xml"/>
  <Override PartName="/ppt/slideLayouts/slideLayout7418.xml" ContentType="application/vnd.openxmlformats-officedocument.presentationml.slideLayout+xml"/>
  <Override PartName="/ppt/slideLayouts/slideLayout7419.xml" ContentType="application/vnd.openxmlformats-officedocument.presentationml.slideLayout+xml"/>
  <Override PartName="/ppt/slideLayouts/slideLayout7420.xml" ContentType="application/vnd.openxmlformats-officedocument.presentationml.slideLayout+xml"/>
  <Override PartName="/ppt/slideLayouts/slideLayout7421.xml" ContentType="application/vnd.openxmlformats-officedocument.presentationml.slideLayout+xml"/>
  <Override PartName="/ppt/slideLayouts/slideLayout7422.xml" ContentType="application/vnd.openxmlformats-officedocument.presentationml.slideLayout+xml"/>
  <Override PartName="/ppt/slideLayouts/slideLayout7423.xml" ContentType="application/vnd.openxmlformats-officedocument.presentationml.slideLayout+xml"/>
  <Override PartName="/ppt/slideLayouts/slideLayout7424.xml" ContentType="application/vnd.openxmlformats-officedocument.presentationml.slideLayout+xml"/>
  <Override PartName="/ppt/slideLayouts/slideLayout7425.xml" ContentType="application/vnd.openxmlformats-officedocument.presentationml.slideLayout+xml"/>
  <Override PartName="/ppt/slideLayouts/slideLayout7426.xml" ContentType="application/vnd.openxmlformats-officedocument.presentationml.slideLayout+xml"/>
  <Override PartName="/ppt/slideLayouts/slideLayout7427.xml" ContentType="application/vnd.openxmlformats-officedocument.presentationml.slideLayout+xml"/>
  <Override PartName="/ppt/slideLayouts/slideLayout7428.xml" ContentType="application/vnd.openxmlformats-officedocument.presentationml.slideLayout+xml"/>
  <Override PartName="/ppt/slideLayouts/slideLayout7429.xml" ContentType="application/vnd.openxmlformats-officedocument.presentationml.slideLayout+xml"/>
  <Override PartName="/ppt/slideLayouts/slideLayout7430.xml" ContentType="application/vnd.openxmlformats-officedocument.presentationml.slideLayout+xml"/>
  <Override PartName="/ppt/slideLayouts/slideLayout7431.xml" ContentType="application/vnd.openxmlformats-officedocument.presentationml.slideLayout+xml"/>
  <Override PartName="/ppt/slideLayouts/slideLayout7432.xml" ContentType="application/vnd.openxmlformats-officedocument.presentationml.slideLayout+xml"/>
  <Override PartName="/ppt/slideLayouts/slideLayout7433.xml" ContentType="application/vnd.openxmlformats-officedocument.presentationml.slideLayout+xml"/>
  <Override PartName="/ppt/slideLayouts/slideLayout7434.xml" ContentType="application/vnd.openxmlformats-officedocument.presentationml.slideLayout+xml"/>
  <Override PartName="/ppt/slideLayouts/slideLayout7435.xml" ContentType="application/vnd.openxmlformats-officedocument.presentationml.slideLayout+xml"/>
  <Override PartName="/ppt/slideLayouts/slideLayout7436.xml" ContentType="application/vnd.openxmlformats-officedocument.presentationml.slideLayout+xml"/>
  <Override PartName="/ppt/slideLayouts/slideLayout7437.xml" ContentType="application/vnd.openxmlformats-officedocument.presentationml.slideLayout+xml"/>
  <Override PartName="/ppt/slideLayouts/slideLayout7438.xml" ContentType="application/vnd.openxmlformats-officedocument.presentationml.slideLayout+xml"/>
  <Override PartName="/ppt/slideLayouts/slideLayout7439.xml" ContentType="application/vnd.openxmlformats-officedocument.presentationml.slideLayout+xml"/>
  <Override PartName="/ppt/slideLayouts/slideLayout7440.xml" ContentType="application/vnd.openxmlformats-officedocument.presentationml.slideLayout+xml"/>
  <Override PartName="/ppt/slideLayouts/slideLayout7441.xml" ContentType="application/vnd.openxmlformats-officedocument.presentationml.slideLayout+xml"/>
  <Override PartName="/ppt/slideLayouts/slideLayout7442.xml" ContentType="application/vnd.openxmlformats-officedocument.presentationml.slideLayout+xml"/>
  <Override PartName="/ppt/slideLayouts/slideLayout7443.xml" ContentType="application/vnd.openxmlformats-officedocument.presentationml.slideLayout+xml"/>
  <Override PartName="/ppt/slideLayouts/slideLayout7444.xml" ContentType="application/vnd.openxmlformats-officedocument.presentationml.slideLayout+xml"/>
  <Override PartName="/ppt/slideLayouts/slideLayout7445.xml" ContentType="application/vnd.openxmlformats-officedocument.presentationml.slideLayout+xml"/>
  <Override PartName="/ppt/slideLayouts/slideLayout7446.xml" ContentType="application/vnd.openxmlformats-officedocument.presentationml.slideLayout+xml"/>
  <Override PartName="/ppt/slideLayouts/slideLayout7447.xml" ContentType="application/vnd.openxmlformats-officedocument.presentationml.slideLayout+xml"/>
  <Override PartName="/ppt/slideLayouts/slideLayout7448.xml" ContentType="application/vnd.openxmlformats-officedocument.presentationml.slideLayout+xml"/>
  <Override PartName="/ppt/slideLayouts/slideLayout7449.xml" ContentType="application/vnd.openxmlformats-officedocument.presentationml.slideLayout+xml"/>
  <Override PartName="/ppt/slideLayouts/slideLayout7450.xml" ContentType="application/vnd.openxmlformats-officedocument.presentationml.slideLayout+xml"/>
  <Override PartName="/ppt/slideLayouts/slideLayout7451.xml" ContentType="application/vnd.openxmlformats-officedocument.presentationml.slideLayout+xml"/>
  <Override PartName="/ppt/slideLayouts/slideLayout7452.xml" ContentType="application/vnd.openxmlformats-officedocument.presentationml.slideLayout+xml"/>
  <Override PartName="/ppt/slideLayouts/slideLayout7453.xml" ContentType="application/vnd.openxmlformats-officedocument.presentationml.slideLayout+xml"/>
  <Override PartName="/ppt/slideLayouts/slideLayout7454.xml" ContentType="application/vnd.openxmlformats-officedocument.presentationml.slideLayout+xml"/>
  <Override PartName="/ppt/slideLayouts/slideLayout7455.xml" ContentType="application/vnd.openxmlformats-officedocument.presentationml.slideLayout+xml"/>
  <Override PartName="/ppt/slideLayouts/slideLayout7456.xml" ContentType="application/vnd.openxmlformats-officedocument.presentationml.slideLayout+xml"/>
  <Override PartName="/ppt/slideLayouts/slideLayout7457.xml" ContentType="application/vnd.openxmlformats-officedocument.presentationml.slideLayout+xml"/>
  <Override PartName="/ppt/slideLayouts/slideLayout7458.xml" ContentType="application/vnd.openxmlformats-officedocument.presentationml.slideLayout+xml"/>
  <Override PartName="/ppt/slideLayouts/slideLayout7459.xml" ContentType="application/vnd.openxmlformats-officedocument.presentationml.slideLayout+xml"/>
  <Override PartName="/ppt/slideLayouts/slideLayout7460.xml" ContentType="application/vnd.openxmlformats-officedocument.presentationml.slideLayout+xml"/>
  <Override PartName="/ppt/slideLayouts/slideLayout7461.xml" ContentType="application/vnd.openxmlformats-officedocument.presentationml.slideLayout+xml"/>
  <Override PartName="/ppt/slideLayouts/slideLayout7462.xml" ContentType="application/vnd.openxmlformats-officedocument.presentationml.slideLayout+xml"/>
  <Override PartName="/ppt/slideLayouts/slideLayout7463.xml" ContentType="application/vnd.openxmlformats-officedocument.presentationml.slideLayout+xml"/>
  <Override PartName="/ppt/slideLayouts/slideLayout7464.xml" ContentType="application/vnd.openxmlformats-officedocument.presentationml.slideLayout+xml"/>
  <Override PartName="/ppt/slideLayouts/slideLayout7465.xml" ContentType="application/vnd.openxmlformats-officedocument.presentationml.slideLayout+xml"/>
  <Override PartName="/ppt/slideLayouts/slideLayout7466.xml" ContentType="application/vnd.openxmlformats-officedocument.presentationml.slideLayout+xml"/>
  <Override PartName="/ppt/slideLayouts/slideLayout7467.xml" ContentType="application/vnd.openxmlformats-officedocument.presentationml.slideLayout+xml"/>
  <Override PartName="/ppt/slideLayouts/slideLayout7468.xml" ContentType="application/vnd.openxmlformats-officedocument.presentationml.slideLayout+xml"/>
  <Override PartName="/ppt/slideLayouts/slideLayout7469.xml" ContentType="application/vnd.openxmlformats-officedocument.presentationml.slideLayout+xml"/>
  <Override PartName="/ppt/slideLayouts/slideLayout7470.xml" ContentType="application/vnd.openxmlformats-officedocument.presentationml.slideLayout+xml"/>
  <Override PartName="/ppt/slideLayouts/slideLayout7471.xml" ContentType="application/vnd.openxmlformats-officedocument.presentationml.slideLayout+xml"/>
  <Override PartName="/ppt/slideLayouts/slideLayout7472.xml" ContentType="application/vnd.openxmlformats-officedocument.presentationml.slideLayout+xml"/>
  <Override PartName="/ppt/slideLayouts/slideLayout7473.xml" ContentType="application/vnd.openxmlformats-officedocument.presentationml.slideLayout+xml"/>
  <Override PartName="/ppt/slideLayouts/slideLayout7474.xml" ContentType="application/vnd.openxmlformats-officedocument.presentationml.slideLayout+xml"/>
  <Override PartName="/ppt/slideLayouts/slideLayout7475.xml" ContentType="application/vnd.openxmlformats-officedocument.presentationml.slideLayout+xml"/>
  <Override PartName="/ppt/slideLayouts/slideLayout7476.xml" ContentType="application/vnd.openxmlformats-officedocument.presentationml.slideLayout+xml"/>
  <Override PartName="/ppt/slideLayouts/slideLayout7477.xml" ContentType="application/vnd.openxmlformats-officedocument.presentationml.slideLayout+xml"/>
  <Override PartName="/ppt/slideLayouts/slideLayout7478.xml" ContentType="application/vnd.openxmlformats-officedocument.presentationml.slideLayout+xml"/>
  <Override PartName="/ppt/slideLayouts/slideLayout7479.xml" ContentType="application/vnd.openxmlformats-officedocument.presentationml.slideLayout+xml"/>
  <Override PartName="/ppt/slideLayouts/slideLayout7480.xml" ContentType="application/vnd.openxmlformats-officedocument.presentationml.slideLayout+xml"/>
  <Override PartName="/ppt/slideLayouts/slideLayout7481.xml" ContentType="application/vnd.openxmlformats-officedocument.presentationml.slideLayout+xml"/>
  <Override PartName="/ppt/slideLayouts/slideLayout7482.xml" ContentType="application/vnd.openxmlformats-officedocument.presentationml.slideLayout+xml"/>
  <Override PartName="/ppt/slideLayouts/slideLayout7483.xml" ContentType="application/vnd.openxmlformats-officedocument.presentationml.slideLayout+xml"/>
  <Override PartName="/ppt/slideLayouts/slideLayout7484.xml" ContentType="application/vnd.openxmlformats-officedocument.presentationml.slideLayout+xml"/>
  <Override PartName="/ppt/slideLayouts/slideLayout7485.xml" ContentType="application/vnd.openxmlformats-officedocument.presentationml.slideLayout+xml"/>
  <Override PartName="/ppt/slideLayouts/slideLayout7486.xml" ContentType="application/vnd.openxmlformats-officedocument.presentationml.slideLayout+xml"/>
  <Override PartName="/ppt/slideLayouts/slideLayout7487.xml" ContentType="application/vnd.openxmlformats-officedocument.presentationml.slideLayout+xml"/>
  <Override PartName="/ppt/slideLayouts/slideLayout7488.xml" ContentType="application/vnd.openxmlformats-officedocument.presentationml.slideLayout+xml"/>
  <Override PartName="/ppt/slideLayouts/slideLayout7489.xml" ContentType="application/vnd.openxmlformats-officedocument.presentationml.slideLayout+xml"/>
  <Override PartName="/ppt/slideLayouts/slideLayout7490.xml" ContentType="application/vnd.openxmlformats-officedocument.presentationml.slideLayout+xml"/>
  <Override PartName="/ppt/slideLayouts/slideLayout7491.xml" ContentType="application/vnd.openxmlformats-officedocument.presentationml.slideLayout+xml"/>
  <Override PartName="/ppt/slideLayouts/slideLayout7492.xml" ContentType="application/vnd.openxmlformats-officedocument.presentationml.slideLayout+xml"/>
  <Override PartName="/ppt/slideLayouts/slideLayout7493.xml" ContentType="application/vnd.openxmlformats-officedocument.presentationml.slideLayout+xml"/>
  <Override PartName="/ppt/slideLayouts/slideLayout7494.xml" ContentType="application/vnd.openxmlformats-officedocument.presentationml.slideLayout+xml"/>
  <Override PartName="/ppt/slideLayouts/slideLayout7495.xml" ContentType="application/vnd.openxmlformats-officedocument.presentationml.slideLayout+xml"/>
  <Override PartName="/ppt/slideLayouts/slideLayout7496.xml" ContentType="application/vnd.openxmlformats-officedocument.presentationml.slideLayout+xml"/>
  <Override PartName="/ppt/slideLayouts/slideLayout7497.xml" ContentType="application/vnd.openxmlformats-officedocument.presentationml.slideLayout+xml"/>
  <Override PartName="/ppt/slideLayouts/slideLayout7498.xml" ContentType="application/vnd.openxmlformats-officedocument.presentationml.slideLayout+xml"/>
  <Override PartName="/ppt/slideLayouts/slideLayout7499.xml" ContentType="application/vnd.openxmlformats-officedocument.presentationml.slideLayout+xml"/>
  <Override PartName="/ppt/slideLayouts/slideLayout7500.xml" ContentType="application/vnd.openxmlformats-officedocument.presentationml.slideLayout+xml"/>
  <Override PartName="/ppt/slideLayouts/slideLayout7501.xml" ContentType="application/vnd.openxmlformats-officedocument.presentationml.slideLayout+xml"/>
  <Override PartName="/ppt/slideLayouts/slideLayout7502.xml" ContentType="application/vnd.openxmlformats-officedocument.presentationml.slideLayout+xml"/>
  <Override PartName="/ppt/slideLayouts/slideLayout7503.xml" ContentType="application/vnd.openxmlformats-officedocument.presentationml.slideLayout+xml"/>
  <Override PartName="/ppt/slideLayouts/slideLayout7504.xml" ContentType="application/vnd.openxmlformats-officedocument.presentationml.slideLayout+xml"/>
  <Override PartName="/ppt/slideLayouts/slideLayout7505.xml" ContentType="application/vnd.openxmlformats-officedocument.presentationml.slideLayout+xml"/>
  <Override PartName="/ppt/slideLayouts/slideLayout7506.xml" ContentType="application/vnd.openxmlformats-officedocument.presentationml.slideLayout+xml"/>
  <Override PartName="/ppt/slideLayouts/slideLayout7507.xml" ContentType="application/vnd.openxmlformats-officedocument.presentationml.slideLayout+xml"/>
  <Override PartName="/ppt/slideLayouts/slideLayout7508.xml" ContentType="application/vnd.openxmlformats-officedocument.presentationml.slideLayout+xml"/>
  <Override PartName="/ppt/slideLayouts/slideLayout7509.xml" ContentType="application/vnd.openxmlformats-officedocument.presentationml.slideLayout+xml"/>
  <Override PartName="/ppt/slideLayouts/slideLayout7510.xml" ContentType="application/vnd.openxmlformats-officedocument.presentationml.slideLayout+xml"/>
  <Override PartName="/ppt/slideLayouts/slideLayout7511.xml" ContentType="application/vnd.openxmlformats-officedocument.presentationml.slideLayout+xml"/>
  <Override PartName="/ppt/slideLayouts/slideLayout7512.xml" ContentType="application/vnd.openxmlformats-officedocument.presentationml.slideLayout+xml"/>
  <Override PartName="/ppt/slideLayouts/slideLayout7513.xml" ContentType="application/vnd.openxmlformats-officedocument.presentationml.slideLayout+xml"/>
  <Override PartName="/ppt/slideLayouts/slideLayout7514.xml" ContentType="application/vnd.openxmlformats-officedocument.presentationml.slideLayout+xml"/>
  <Override PartName="/ppt/slideLayouts/slideLayout7515.xml" ContentType="application/vnd.openxmlformats-officedocument.presentationml.slideLayout+xml"/>
  <Override PartName="/ppt/slideLayouts/slideLayout7516.xml" ContentType="application/vnd.openxmlformats-officedocument.presentationml.slideLayout+xml"/>
  <Override PartName="/ppt/slideLayouts/slideLayout7517.xml" ContentType="application/vnd.openxmlformats-officedocument.presentationml.slideLayout+xml"/>
  <Override PartName="/ppt/slideLayouts/slideLayout7518.xml" ContentType="application/vnd.openxmlformats-officedocument.presentationml.slideLayout+xml"/>
  <Override PartName="/ppt/slideLayouts/slideLayout7519.xml" ContentType="application/vnd.openxmlformats-officedocument.presentationml.slideLayout+xml"/>
  <Override PartName="/ppt/slideLayouts/slideLayout7520.xml" ContentType="application/vnd.openxmlformats-officedocument.presentationml.slideLayout+xml"/>
  <Override PartName="/ppt/slideLayouts/slideLayout7521.xml" ContentType="application/vnd.openxmlformats-officedocument.presentationml.slideLayout+xml"/>
  <Override PartName="/ppt/slideLayouts/slideLayout7522.xml" ContentType="application/vnd.openxmlformats-officedocument.presentationml.slideLayout+xml"/>
  <Override PartName="/ppt/slideLayouts/slideLayout7523.xml" ContentType="application/vnd.openxmlformats-officedocument.presentationml.slideLayout+xml"/>
  <Override PartName="/ppt/slideLayouts/slideLayout7524.xml" ContentType="application/vnd.openxmlformats-officedocument.presentationml.slideLayout+xml"/>
  <Override PartName="/ppt/slideLayouts/slideLayout7525.xml" ContentType="application/vnd.openxmlformats-officedocument.presentationml.slideLayout+xml"/>
  <Override PartName="/ppt/slideLayouts/slideLayout7526.xml" ContentType="application/vnd.openxmlformats-officedocument.presentationml.slideLayout+xml"/>
  <Override PartName="/ppt/slideLayouts/slideLayout7527.xml" ContentType="application/vnd.openxmlformats-officedocument.presentationml.slideLayout+xml"/>
  <Override PartName="/ppt/slideLayouts/slideLayout7528.xml" ContentType="application/vnd.openxmlformats-officedocument.presentationml.slideLayout+xml"/>
  <Override PartName="/ppt/slideLayouts/slideLayout7529.xml" ContentType="application/vnd.openxmlformats-officedocument.presentationml.slideLayout+xml"/>
  <Override PartName="/ppt/slideLayouts/slideLayout7530.xml" ContentType="application/vnd.openxmlformats-officedocument.presentationml.slideLayout+xml"/>
  <Override PartName="/ppt/slideLayouts/slideLayout7531.xml" ContentType="application/vnd.openxmlformats-officedocument.presentationml.slideLayout+xml"/>
  <Override PartName="/ppt/slideLayouts/slideLayout7532.xml" ContentType="application/vnd.openxmlformats-officedocument.presentationml.slideLayout+xml"/>
  <Override PartName="/ppt/slideLayouts/slideLayout7533.xml" ContentType="application/vnd.openxmlformats-officedocument.presentationml.slideLayout+xml"/>
  <Override PartName="/ppt/slideLayouts/slideLayout7534.xml" ContentType="application/vnd.openxmlformats-officedocument.presentationml.slideLayout+xml"/>
  <Override PartName="/ppt/slideLayouts/slideLayout7535.xml" ContentType="application/vnd.openxmlformats-officedocument.presentationml.slideLayout+xml"/>
  <Override PartName="/ppt/slideLayouts/slideLayout7536.xml" ContentType="application/vnd.openxmlformats-officedocument.presentationml.slideLayout+xml"/>
  <Override PartName="/ppt/slideLayouts/slideLayout7537.xml" ContentType="application/vnd.openxmlformats-officedocument.presentationml.slideLayout+xml"/>
  <Override PartName="/ppt/slideLayouts/slideLayout7538.xml" ContentType="application/vnd.openxmlformats-officedocument.presentationml.slideLayout+xml"/>
  <Override PartName="/ppt/slideLayouts/slideLayout7539.xml" ContentType="application/vnd.openxmlformats-officedocument.presentationml.slideLayout+xml"/>
  <Override PartName="/ppt/slideLayouts/slideLayout7540.xml" ContentType="application/vnd.openxmlformats-officedocument.presentationml.slideLayout+xml"/>
  <Override PartName="/ppt/slideLayouts/slideLayout7541.xml" ContentType="application/vnd.openxmlformats-officedocument.presentationml.slideLayout+xml"/>
  <Override PartName="/ppt/slideLayouts/slideLayout7542.xml" ContentType="application/vnd.openxmlformats-officedocument.presentationml.slideLayout+xml"/>
  <Override PartName="/ppt/slideLayouts/slideLayout7543.xml" ContentType="application/vnd.openxmlformats-officedocument.presentationml.slideLayout+xml"/>
  <Override PartName="/ppt/slideLayouts/slideLayout7544.xml" ContentType="application/vnd.openxmlformats-officedocument.presentationml.slideLayout+xml"/>
  <Override PartName="/ppt/slideLayouts/slideLayout7545.xml" ContentType="application/vnd.openxmlformats-officedocument.presentationml.slideLayout+xml"/>
  <Override PartName="/ppt/slideLayouts/slideLayout7546.xml" ContentType="application/vnd.openxmlformats-officedocument.presentationml.slideLayout+xml"/>
  <Override PartName="/ppt/slideLayouts/slideLayout7547.xml" ContentType="application/vnd.openxmlformats-officedocument.presentationml.slideLayout+xml"/>
  <Override PartName="/ppt/slideLayouts/slideLayout7548.xml" ContentType="application/vnd.openxmlformats-officedocument.presentationml.slideLayout+xml"/>
  <Override PartName="/ppt/slideLayouts/slideLayout7549.xml" ContentType="application/vnd.openxmlformats-officedocument.presentationml.slideLayout+xml"/>
  <Override PartName="/ppt/slideLayouts/slideLayout7550.xml" ContentType="application/vnd.openxmlformats-officedocument.presentationml.slideLayout+xml"/>
  <Override PartName="/ppt/slideLayouts/slideLayout7551.xml" ContentType="application/vnd.openxmlformats-officedocument.presentationml.slideLayout+xml"/>
  <Override PartName="/ppt/slideLayouts/slideLayout7552.xml" ContentType="application/vnd.openxmlformats-officedocument.presentationml.slideLayout+xml"/>
  <Override PartName="/ppt/slideLayouts/slideLayout7553.xml" ContentType="application/vnd.openxmlformats-officedocument.presentationml.slideLayout+xml"/>
  <Override PartName="/ppt/slideLayouts/slideLayout7554.xml" ContentType="application/vnd.openxmlformats-officedocument.presentationml.slideLayout+xml"/>
  <Override PartName="/ppt/slideLayouts/slideLayout7555.xml" ContentType="application/vnd.openxmlformats-officedocument.presentationml.slideLayout+xml"/>
  <Override PartName="/ppt/slideLayouts/slideLayout7556.xml" ContentType="application/vnd.openxmlformats-officedocument.presentationml.slideLayout+xml"/>
  <Override PartName="/ppt/slideLayouts/slideLayout7557.xml" ContentType="application/vnd.openxmlformats-officedocument.presentationml.slideLayout+xml"/>
  <Override PartName="/ppt/slideLayouts/slideLayout7558.xml" ContentType="application/vnd.openxmlformats-officedocument.presentationml.slideLayout+xml"/>
  <Override PartName="/ppt/slideLayouts/slideLayout7559.xml" ContentType="application/vnd.openxmlformats-officedocument.presentationml.slideLayout+xml"/>
  <Override PartName="/ppt/slideLayouts/slideLayout7560.xml" ContentType="application/vnd.openxmlformats-officedocument.presentationml.slideLayout+xml"/>
  <Override PartName="/ppt/slideLayouts/slideLayout7561.xml" ContentType="application/vnd.openxmlformats-officedocument.presentationml.slideLayout+xml"/>
  <Override PartName="/ppt/slideLayouts/slideLayout7562.xml" ContentType="application/vnd.openxmlformats-officedocument.presentationml.slideLayout+xml"/>
  <Override PartName="/ppt/slideLayouts/slideLayout7563.xml" ContentType="application/vnd.openxmlformats-officedocument.presentationml.slideLayout+xml"/>
  <Override PartName="/ppt/slideLayouts/slideLayout7564.xml" ContentType="application/vnd.openxmlformats-officedocument.presentationml.slideLayout+xml"/>
  <Override PartName="/ppt/slideLayouts/slideLayout7565.xml" ContentType="application/vnd.openxmlformats-officedocument.presentationml.slideLayout+xml"/>
  <Override PartName="/ppt/slideLayouts/slideLayout7566.xml" ContentType="application/vnd.openxmlformats-officedocument.presentationml.slideLayout+xml"/>
  <Override PartName="/ppt/slideLayouts/slideLayout7567.xml" ContentType="application/vnd.openxmlformats-officedocument.presentationml.slideLayout+xml"/>
  <Override PartName="/ppt/slideLayouts/slideLayout7568.xml" ContentType="application/vnd.openxmlformats-officedocument.presentationml.slideLayout+xml"/>
  <Override PartName="/ppt/slideLayouts/slideLayout7569.xml" ContentType="application/vnd.openxmlformats-officedocument.presentationml.slideLayout+xml"/>
  <Override PartName="/ppt/slideLayouts/slideLayout7570.xml" ContentType="application/vnd.openxmlformats-officedocument.presentationml.slideLayout+xml"/>
  <Override PartName="/ppt/slideLayouts/slideLayout7571.xml" ContentType="application/vnd.openxmlformats-officedocument.presentationml.slideLayout+xml"/>
  <Override PartName="/ppt/slideLayouts/slideLayout7572.xml" ContentType="application/vnd.openxmlformats-officedocument.presentationml.slideLayout+xml"/>
  <Override PartName="/ppt/slideLayouts/slideLayout7573.xml" ContentType="application/vnd.openxmlformats-officedocument.presentationml.slideLayout+xml"/>
  <Override PartName="/ppt/slideLayouts/slideLayout7574.xml" ContentType="application/vnd.openxmlformats-officedocument.presentationml.slideLayout+xml"/>
  <Override PartName="/ppt/slideLayouts/slideLayout7575.xml" ContentType="application/vnd.openxmlformats-officedocument.presentationml.slideLayout+xml"/>
  <Override PartName="/ppt/slideLayouts/slideLayout7576.xml" ContentType="application/vnd.openxmlformats-officedocument.presentationml.slideLayout+xml"/>
  <Override PartName="/ppt/slideLayouts/slideLayout7577.xml" ContentType="application/vnd.openxmlformats-officedocument.presentationml.slideLayout+xml"/>
  <Override PartName="/ppt/slideLayouts/slideLayout7578.xml" ContentType="application/vnd.openxmlformats-officedocument.presentationml.slideLayout+xml"/>
  <Override PartName="/ppt/slideLayouts/slideLayout7579.xml" ContentType="application/vnd.openxmlformats-officedocument.presentationml.slideLayout+xml"/>
  <Override PartName="/ppt/slideLayouts/slideLayout7580.xml" ContentType="application/vnd.openxmlformats-officedocument.presentationml.slideLayout+xml"/>
  <Override PartName="/ppt/slideLayouts/slideLayout7581.xml" ContentType="application/vnd.openxmlformats-officedocument.presentationml.slideLayout+xml"/>
  <Override PartName="/ppt/slideLayouts/slideLayout7582.xml" ContentType="application/vnd.openxmlformats-officedocument.presentationml.slideLayout+xml"/>
  <Override PartName="/ppt/slideLayouts/slideLayout7583.xml" ContentType="application/vnd.openxmlformats-officedocument.presentationml.slideLayout+xml"/>
  <Override PartName="/ppt/slideLayouts/slideLayout7584.xml" ContentType="application/vnd.openxmlformats-officedocument.presentationml.slideLayout+xml"/>
  <Override PartName="/ppt/slideLayouts/slideLayout7585.xml" ContentType="application/vnd.openxmlformats-officedocument.presentationml.slideLayout+xml"/>
  <Override PartName="/ppt/slideLayouts/slideLayout7586.xml" ContentType="application/vnd.openxmlformats-officedocument.presentationml.slideLayout+xml"/>
  <Override PartName="/ppt/slideLayouts/slideLayout7587.xml" ContentType="application/vnd.openxmlformats-officedocument.presentationml.slideLayout+xml"/>
  <Override PartName="/ppt/slideLayouts/slideLayout7588.xml" ContentType="application/vnd.openxmlformats-officedocument.presentationml.slideLayout+xml"/>
  <Override PartName="/ppt/slideLayouts/slideLayout7589.xml" ContentType="application/vnd.openxmlformats-officedocument.presentationml.slideLayout+xml"/>
  <Override PartName="/ppt/slideLayouts/slideLayout7590.xml" ContentType="application/vnd.openxmlformats-officedocument.presentationml.slideLayout+xml"/>
  <Override PartName="/ppt/slideLayouts/slideLayout7591.xml" ContentType="application/vnd.openxmlformats-officedocument.presentationml.slideLayout+xml"/>
  <Override PartName="/ppt/slideLayouts/slideLayout7592.xml" ContentType="application/vnd.openxmlformats-officedocument.presentationml.slideLayout+xml"/>
  <Override PartName="/ppt/slideLayouts/slideLayout7593.xml" ContentType="application/vnd.openxmlformats-officedocument.presentationml.slideLayout+xml"/>
  <Override PartName="/ppt/slideLayouts/slideLayout7594.xml" ContentType="application/vnd.openxmlformats-officedocument.presentationml.slideLayout+xml"/>
  <Override PartName="/ppt/slideLayouts/slideLayout7595.xml" ContentType="application/vnd.openxmlformats-officedocument.presentationml.slideLayout+xml"/>
  <Override PartName="/ppt/slideLayouts/slideLayout7596.xml" ContentType="application/vnd.openxmlformats-officedocument.presentationml.slideLayout+xml"/>
  <Override PartName="/ppt/slideLayouts/slideLayout7597.xml" ContentType="application/vnd.openxmlformats-officedocument.presentationml.slideLayout+xml"/>
  <Override PartName="/ppt/slideLayouts/slideLayout7598.xml" ContentType="application/vnd.openxmlformats-officedocument.presentationml.slideLayout+xml"/>
  <Override PartName="/ppt/slideLayouts/slideLayout7599.xml" ContentType="application/vnd.openxmlformats-officedocument.presentationml.slideLayout+xml"/>
  <Override PartName="/ppt/slideLayouts/slideLayout7600.xml" ContentType="application/vnd.openxmlformats-officedocument.presentationml.slideLayout+xml"/>
  <Override PartName="/ppt/slideLayouts/slideLayout7601.xml" ContentType="application/vnd.openxmlformats-officedocument.presentationml.slideLayout+xml"/>
  <Override PartName="/ppt/slideLayouts/slideLayout7602.xml" ContentType="application/vnd.openxmlformats-officedocument.presentationml.slideLayout+xml"/>
  <Override PartName="/ppt/slideLayouts/slideLayout7603.xml" ContentType="application/vnd.openxmlformats-officedocument.presentationml.slideLayout+xml"/>
  <Override PartName="/ppt/slideLayouts/slideLayout7604.xml" ContentType="application/vnd.openxmlformats-officedocument.presentationml.slideLayout+xml"/>
  <Override PartName="/ppt/slideLayouts/slideLayout7605.xml" ContentType="application/vnd.openxmlformats-officedocument.presentationml.slideLayout+xml"/>
  <Override PartName="/ppt/slideLayouts/slideLayout7606.xml" ContentType="application/vnd.openxmlformats-officedocument.presentationml.slideLayout+xml"/>
  <Override PartName="/ppt/slideLayouts/slideLayout7607.xml" ContentType="application/vnd.openxmlformats-officedocument.presentationml.slideLayout+xml"/>
  <Override PartName="/ppt/slideLayouts/slideLayout7608.xml" ContentType="application/vnd.openxmlformats-officedocument.presentationml.slideLayout+xml"/>
  <Override PartName="/ppt/slideLayouts/slideLayout7609.xml" ContentType="application/vnd.openxmlformats-officedocument.presentationml.slideLayout+xml"/>
  <Override PartName="/ppt/slideLayouts/slideLayout7610.xml" ContentType="application/vnd.openxmlformats-officedocument.presentationml.slideLayout+xml"/>
  <Override PartName="/ppt/slideLayouts/slideLayout7611.xml" ContentType="application/vnd.openxmlformats-officedocument.presentationml.slideLayout+xml"/>
  <Override PartName="/ppt/slideLayouts/slideLayout7612.xml" ContentType="application/vnd.openxmlformats-officedocument.presentationml.slideLayout+xml"/>
  <Override PartName="/ppt/slideLayouts/slideLayout7613.xml" ContentType="application/vnd.openxmlformats-officedocument.presentationml.slideLayout+xml"/>
  <Override PartName="/ppt/slideLayouts/slideLayout7614.xml" ContentType="application/vnd.openxmlformats-officedocument.presentationml.slideLayout+xml"/>
  <Override PartName="/ppt/slideLayouts/slideLayout7615.xml" ContentType="application/vnd.openxmlformats-officedocument.presentationml.slideLayout+xml"/>
  <Override PartName="/ppt/slideLayouts/slideLayout7616.xml" ContentType="application/vnd.openxmlformats-officedocument.presentationml.slideLayout+xml"/>
  <Override PartName="/ppt/slideLayouts/slideLayout7617.xml" ContentType="application/vnd.openxmlformats-officedocument.presentationml.slideLayout+xml"/>
  <Override PartName="/ppt/slideLayouts/slideLayout7618.xml" ContentType="application/vnd.openxmlformats-officedocument.presentationml.slideLayout+xml"/>
  <Override PartName="/ppt/slideLayouts/slideLayout7619.xml" ContentType="application/vnd.openxmlformats-officedocument.presentationml.slideLayout+xml"/>
  <Override PartName="/ppt/slideLayouts/slideLayout7620.xml" ContentType="application/vnd.openxmlformats-officedocument.presentationml.slideLayout+xml"/>
  <Override PartName="/ppt/slideLayouts/slideLayout7621.xml" ContentType="application/vnd.openxmlformats-officedocument.presentationml.slideLayout+xml"/>
  <Override PartName="/ppt/slideLayouts/slideLayout7622.xml" ContentType="application/vnd.openxmlformats-officedocument.presentationml.slideLayout+xml"/>
  <Override PartName="/ppt/slideLayouts/slideLayout7623.xml" ContentType="application/vnd.openxmlformats-officedocument.presentationml.slideLayout+xml"/>
  <Override PartName="/ppt/slideLayouts/slideLayout7624.xml" ContentType="application/vnd.openxmlformats-officedocument.presentationml.slideLayout+xml"/>
  <Override PartName="/ppt/slideLayouts/slideLayout7625.xml" ContentType="application/vnd.openxmlformats-officedocument.presentationml.slideLayout+xml"/>
  <Override PartName="/ppt/slideLayouts/slideLayout7626.xml" ContentType="application/vnd.openxmlformats-officedocument.presentationml.slideLayout+xml"/>
  <Override PartName="/ppt/slideLayouts/slideLayout7627.xml" ContentType="application/vnd.openxmlformats-officedocument.presentationml.slideLayout+xml"/>
  <Override PartName="/ppt/slideLayouts/slideLayout7628.xml" ContentType="application/vnd.openxmlformats-officedocument.presentationml.slideLayout+xml"/>
  <Override PartName="/ppt/slideLayouts/slideLayout7629.xml" ContentType="application/vnd.openxmlformats-officedocument.presentationml.slideLayout+xml"/>
  <Override PartName="/ppt/slideLayouts/slideLayout7630.xml" ContentType="application/vnd.openxmlformats-officedocument.presentationml.slideLayout+xml"/>
  <Override PartName="/ppt/slideLayouts/slideLayout7631.xml" ContentType="application/vnd.openxmlformats-officedocument.presentationml.slideLayout+xml"/>
  <Override PartName="/ppt/slideLayouts/slideLayout7632.xml" ContentType="application/vnd.openxmlformats-officedocument.presentationml.slideLayout+xml"/>
  <Override PartName="/ppt/slideLayouts/slideLayout7633.xml" ContentType="application/vnd.openxmlformats-officedocument.presentationml.slideLayout+xml"/>
  <Override PartName="/ppt/slideLayouts/slideLayout7634.xml" ContentType="application/vnd.openxmlformats-officedocument.presentationml.slideLayout+xml"/>
  <Override PartName="/ppt/slideLayouts/slideLayout7635.xml" ContentType="application/vnd.openxmlformats-officedocument.presentationml.slideLayout+xml"/>
  <Override PartName="/ppt/slideLayouts/slideLayout7636.xml" ContentType="application/vnd.openxmlformats-officedocument.presentationml.slideLayout+xml"/>
  <Override PartName="/ppt/slideLayouts/slideLayout7637.xml" ContentType="application/vnd.openxmlformats-officedocument.presentationml.slideLayout+xml"/>
  <Override PartName="/ppt/slideLayouts/slideLayout7638.xml" ContentType="application/vnd.openxmlformats-officedocument.presentationml.slideLayout+xml"/>
  <Override PartName="/ppt/slideLayouts/slideLayout7639.xml" ContentType="application/vnd.openxmlformats-officedocument.presentationml.slideLayout+xml"/>
  <Override PartName="/ppt/slideLayouts/slideLayout7640.xml" ContentType="application/vnd.openxmlformats-officedocument.presentationml.slideLayout+xml"/>
  <Override PartName="/ppt/slideLayouts/slideLayout7641.xml" ContentType="application/vnd.openxmlformats-officedocument.presentationml.slideLayout+xml"/>
  <Override PartName="/ppt/slideLayouts/slideLayout7642.xml" ContentType="application/vnd.openxmlformats-officedocument.presentationml.slideLayout+xml"/>
  <Override PartName="/ppt/slideLayouts/slideLayout7643.xml" ContentType="application/vnd.openxmlformats-officedocument.presentationml.slideLayout+xml"/>
  <Override PartName="/ppt/slideLayouts/slideLayout7644.xml" ContentType="application/vnd.openxmlformats-officedocument.presentationml.slideLayout+xml"/>
  <Override PartName="/ppt/slideLayouts/slideLayout7645.xml" ContentType="application/vnd.openxmlformats-officedocument.presentationml.slideLayout+xml"/>
  <Override PartName="/ppt/slideLayouts/slideLayout7646.xml" ContentType="application/vnd.openxmlformats-officedocument.presentationml.slideLayout+xml"/>
  <Override PartName="/ppt/slideLayouts/slideLayout7647.xml" ContentType="application/vnd.openxmlformats-officedocument.presentationml.slideLayout+xml"/>
  <Override PartName="/ppt/slideLayouts/slideLayout7648.xml" ContentType="application/vnd.openxmlformats-officedocument.presentationml.slideLayout+xml"/>
  <Override PartName="/ppt/slideLayouts/slideLayout7649.xml" ContentType="application/vnd.openxmlformats-officedocument.presentationml.slideLayout+xml"/>
  <Override PartName="/ppt/slideLayouts/slideLayout7650.xml" ContentType="application/vnd.openxmlformats-officedocument.presentationml.slideLayout+xml"/>
  <Override PartName="/ppt/slideLayouts/slideLayout7651.xml" ContentType="application/vnd.openxmlformats-officedocument.presentationml.slideLayout+xml"/>
  <Override PartName="/ppt/slideLayouts/slideLayout7652.xml" ContentType="application/vnd.openxmlformats-officedocument.presentationml.slideLayout+xml"/>
  <Override PartName="/ppt/slideLayouts/slideLayout7653.xml" ContentType="application/vnd.openxmlformats-officedocument.presentationml.slideLayout+xml"/>
  <Override PartName="/ppt/slideLayouts/slideLayout7654.xml" ContentType="application/vnd.openxmlformats-officedocument.presentationml.slideLayout+xml"/>
  <Override PartName="/ppt/slideLayouts/slideLayout7655.xml" ContentType="application/vnd.openxmlformats-officedocument.presentationml.slideLayout+xml"/>
  <Override PartName="/ppt/slideLayouts/slideLayout7656.xml" ContentType="application/vnd.openxmlformats-officedocument.presentationml.slideLayout+xml"/>
  <Override PartName="/ppt/slideLayouts/slideLayout7657.xml" ContentType="application/vnd.openxmlformats-officedocument.presentationml.slideLayout+xml"/>
  <Override PartName="/ppt/slideLayouts/slideLayout7658.xml" ContentType="application/vnd.openxmlformats-officedocument.presentationml.slideLayout+xml"/>
  <Override PartName="/ppt/slideLayouts/slideLayout7659.xml" ContentType="application/vnd.openxmlformats-officedocument.presentationml.slideLayout+xml"/>
  <Override PartName="/ppt/slideLayouts/slideLayout7660.xml" ContentType="application/vnd.openxmlformats-officedocument.presentationml.slideLayout+xml"/>
  <Override PartName="/ppt/slideLayouts/slideLayout7661.xml" ContentType="application/vnd.openxmlformats-officedocument.presentationml.slideLayout+xml"/>
  <Override PartName="/ppt/slideLayouts/slideLayout7662.xml" ContentType="application/vnd.openxmlformats-officedocument.presentationml.slideLayout+xml"/>
  <Override PartName="/ppt/slideLayouts/slideLayout7663.xml" ContentType="application/vnd.openxmlformats-officedocument.presentationml.slideLayout+xml"/>
  <Override PartName="/ppt/slideLayouts/slideLayout7664.xml" ContentType="application/vnd.openxmlformats-officedocument.presentationml.slideLayout+xml"/>
  <Override PartName="/ppt/slideLayouts/slideLayout7665.xml" ContentType="application/vnd.openxmlformats-officedocument.presentationml.slideLayout+xml"/>
  <Override PartName="/ppt/slideLayouts/slideLayout7666.xml" ContentType="application/vnd.openxmlformats-officedocument.presentationml.slideLayout+xml"/>
  <Override PartName="/ppt/slideLayouts/slideLayout7667.xml" ContentType="application/vnd.openxmlformats-officedocument.presentationml.slideLayout+xml"/>
  <Override PartName="/ppt/slideLayouts/slideLayout7668.xml" ContentType="application/vnd.openxmlformats-officedocument.presentationml.slideLayout+xml"/>
  <Override PartName="/ppt/slideLayouts/slideLayout7669.xml" ContentType="application/vnd.openxmlformats-officedocument.presentationml.slideLayout+xml"/>
  <Override PartName="/ppt/slideLayouts/slideLayout7670.xml" ContentType="application/vnd.openxmlformats-officedocument.presentationml.slideLayout+xml"/>
  <Override PartName="/ppt/slideLayouts/slideLayout7671.xml" ContentType="application/vnd.openxmlformats-officedocument.presentationml.slideLayout+xml"/>
  <Override PartName="/ppt/slideLayouts/slideLayout7672.xml" ContentType="application/vnd.openxmlformats-officedocument.presentationml.slideLayout+xml"/>
  <Override PartName="/ppt/slideLayouts/slideLayout7673.xml" ContentType="application/vnd.openxmlformats-officedocument.presentationml.slideLayout+xml"/>
  <Override PartName="/ppt/slideLayouts/slideLayout7674.xml" ContentType="application/vnd.openxmlformats-officedocument.presentationml.slideLayout+xml"/>
  <Override PartName="/ppt/slideLayouts/slideLayout7675.xml" ContentType="application/vnd.openxmlformats-officedocument.presentationml.slideLayout+xml"/>
  <Override PartName="/ppt/slideLayouts/slideLayout7676.xml" ContentType="application/vnd.openxmlformats-officedocument.presentationml.slideLayout+xml"/>
  <Override PartName="/ppt/slideLayouts/slideLayout7677.xml" ContentType="application/vnd.openxmlformats-officedocument.presentationml.slideLayout+xml"/>
  <Override PartName="/ppt/slideLayouts/slideLayout7678.xml" ContentType="application/vnd.openxmlformats-officedocument.presentationml.slideLayout+xml"/>
  <Override PartName="/ppt/slideLayouts/slideLayout7679.xml" ContentType="application/vnd.openxmlformats-officedocument.presentationml.slideLayout+xml"/>
  <Override PartName="/ppt/slideLayouts/slideLayout7680.xml" ContentType="application/vnd.openxmlformats-officedocument.presentationml.slideLayout+xml"/>
  <Override PartName="/ppt/slideLayouts/slideLayout7681.xml" ContentType="application/vnd.openxmlformats-officedocument.presentationml.slideLayout+xml"/>
  <Override PartName="/ppt/slideLayouts/slideLayout7682.xml" ContentType="application/vnd.openxmlformats-officedocument.presentationml.slideLayout+xml"/>
  <Override PartName="/ppt/slideLayouts/slideLayout7683.xml" ContentType="application/vnd.openxmlformats-officedocument.presentationml.slideLayout+xml"/>
  <Override PartName="/ppt/slideLayouts/slideLayout7684.xml" ContentType="application/vnd.openxmlformats-officedocument.presentationml.slideLayout+xml"/>
  <Override PartName="/ppt/slideLayouts/slideLayout7685.xml" ContentType="application/vnd.openxmlformats-officedocument.presentationml.slideLayout+xml"/>
  <Override PartName="/ppt/slideLayouts/slideLayout7686.xml" ContentType="application/vnd.openxmlformats-officedocument.presentationml.slideLayout+xml"/>
  <Override PartName="/ppt/slideLayouts/slideLayout7687.xml" ContentType="application/vnd.openxmlformats-officedocument.presentationml.slideLayout+xml"/>
  <Override PartName="/ppt/slideLayouts/slideLayout7688.xml" ContentType="application/vnd.openxmlformats-officedocument.presentationml.slideLayout+xml"/>
  <Override PartName="/ppt/slideLayouts/slideLayout7689.xml" ContentType="application/vnd.openxmlformats-officedocument.presentationml.slideLayout+xml"/>
  <Override PartName="/ppt/slideLayouts/slideLayout7690.xml" ContentType="application/vnd.openxmlformats-officedocument.presentationml.slideLayout+xml"/>
  <Override PartName="/ppt/slideLayouts/slideLayout7691.xml" ContentType="application/vnd.openxmlformats-officedocument.presentationml.slideLayout+xml"/>
  <Override PartName="/ppt/slideLayouts/slideLayout7692.xml" ContentType="application/vnd.openxmlformats-officedocument.presentationml.slideLayout+xml"/>
  <Override PartName="/ppt/slideLayouts/slideLayout7693.xml" ContentType="application/vnd.openxmlformats-officedocument.presentationml.slideLayout+xml"/>
  <Override PartName="/ppt/slideLayouts/slideLayout7694.xml" ContentType="application/vnd.openxmlformats-officedocument.presentationml.slideLayout+xml"/>
  <Override PartName="/ppt/slideLayouts/slideLayout7695.xml" ContentType="application/vnd.openxmlformats-officedocument.presentationml.slideLayout+xml"/>
  <Override PartName="/ppt/slideLayouts/slideLayout7696.xml" ContentType="application/vnd.openxmlformats-officedocument.presentationml.slideLayout+xml"/>
  <Override PartName="/ppt/slideLayouts/slideLayout7697.xml" ContentType="application/vnd.openxmlformats-officedocument.presentationml.slideLayout+xml"/>
  <Override PartName="/ppt/slideLayouts/slideLayout7698.xml" ContentType="application/vnd.openxmlformats-officedocument.presentationml.slideLayout+xml"/>
  <Override PartName="/ppt/slideLayouts/slideLayout7699.xml" ContentType="application/vnd.openxmlformats-officedocument.presentationml.slideLayout+xml"/>
  <Override PartName="/ppt/slideLayouts/slideLayout7700.xml" ContentType="application/vnd.openxmlformats-officedocument.presentationml.slideLayout+xml"/>
  <Override PartName="/ppt/slideLayouts/slideLayout7701.xml" ContentType="application/vnd.openxmlformats-officedocument.presentationml.slideLayout+xml"/>
  <Override PartName="/ppt/slideLayouts/slideLayout7702.xml" ContentType="application/vnd.openxmlformats-officedocument.presentationml.slideLayout+xml"/>
  <Override PartName="/ppt/slideLayouts/slideLayout7703.xml" ContentType="application/vnd.openxmlformats-officedocument.presentationml.slideLayout+xml"/>
  <Override PartName="/ppt/slideLayouts/slideLayout7704.xml" ContentType="application/vnd.openxmlformats-officedocument.presentationml.slideLayout+xml"/>
  <Override PartName="/ppt/slideLayouts/slideLayout7705.xml" ContentType="application/vnd.openxmlformats-officedocument.presentationml.slideLayout+xml"/>
  <Override PartName="/ppt/slideLayouts/slideLayout7706.xml" ContentType="application/vnd.openxmlformats-officedocument.presentationml.slideLayout+xml"/>
  <Override PartName="/ppt/slideLayouts/slideLayout7707.xml" ContentType="application/vnd.openxmlformats-officedocument.presentationml.slideLayout+xml"/>
  <Override PartName="/ppt/slideLayouts/slideLayout7708.xml" ContentType="application/vnd.openxmlformats-officedocument.presentationml.slideLayout+xml"/>
  <Override PartName="/ppt/slideLayouts/slideLayout7709.xml" ContentType="application/vnd.openxmlformats-officedocument.presentationml.slideLayout+xml"/>
  <Override PartName="/ppt/slideLayouts/slideLayout7710.xml" ContentType="application/vnd.openxmlformats-officedocument.presentationml.slideLayout+xml"/>
  <Override PartName="/ppt/slideLayouts/slideLayout7711.xml" ContentType="application/vnd.openxmlformats-officedocument.presentationml.slideLayout+xml"/>
  <Override PartName="/ppt/slideLayouts/slideLayout7712.xml" ContentType="application/vnd.openxmlformats-officedocument.presentationml.slideLayout+xml"/>
  <Override PartName="/ppt/slideLayouts/slideLayout7713.xml" ContentType="application/vnd.openxmlformats-officedocument.presentationml.slideLayout+xml"/>
  <Override PartName="/ppt/slideLayouts/slideLayout7714.xml" ContentType="application/vnd.openxmlformats-officedocument.presentationml.slideLayout+xml"/>
  <Override PartName="/ppt/slideLayouts/slideLayout7715.xml" ContentType="application/vnd.openxmlformats-officedocument.presentationml.slideLayout+xml"/>
  <Override PartName="/ppt/slideLayouts/slideLayout7716.xml" ContentType="application/vnd.openxmlformats-officedocument.presentationml.slideLayout+xml"/>
  <Override PartName="/ppt/slideLayouts/slideLayout7717.xml" ContentType="application/vnd.openxmlformats-officedocument.presentationml.slideLayout+xml"/>
  <Override PartName="/ppt/slideLayouts/slideLayout7718.xml" ContentType="application/vnd.openxmlformats-officedocument.presentationml.slideLayout+xml"/>
  <Override PartName="/ppt/slideLayouts/slideLayout7719.xml" ContentType="application/vnd.openxmlformats-officedocument.presentationml.slideLayout+xml"/>
  <Override PartName="/ppt/slideLayouts/slideLayout7720.xml" ContentType="application/vnd.openxmlformats-officedocument.presentationml.slideLayout+xml"/>
  <Override PartName="/ppt/slideLayouts/slideLayout7721.xml" ContentType="application/vnd.openxmlformats-officedocument.presentationml.slideLayout+xml"/>
  <Override PartName="/ppt/slideLayouts/slideLayout7722.xml" ContentType="application/vnd.openxmlformats-officedocument.presentationml.slideLayout+xml"/>
  <Override PartName="/ppt/slideLayouts/slideLayout7723.xml" ContentType="application/vnd.openxmlformats-officedocument.presentationml.slideLayout+xml"/>
  <Override PartName="/ppt/slideLayouts/slideLayout7724.xml" ContentType="application/vnd.openxmlformats-officedocument.presentationml.slideLayout+xml"/>
  <Override PartName="/ppt/slideLayouts/slideLayout7725.xml" ContentType="application/vnd.openxmlformats-officedocument.presentationml.slideLayout+xml"/>
  <Override PartName="/ppt/slideLayouts/slideLayout7726.xml" ContentType="application/vnd.openxmlformats-officedocument.presentationml.slideLayout+xml"/>
  <Override PartName="/ppt/slideLayouts/slideLayout7727.xml" ContentType="application/vnd.openxmlformats-officedocument.presentationml.slideLayout+xml"/>
  <Override PartName="/ppt/slideLayouts/slideLayout7728.xml" ContentType="application/vnd.openxmlformats-officedocument.presentationml.slideLayout+xml"/>
  <Override PartName="/ppt/slideLayouts/slideLayout7729.xml" ContentType="application/vnd.openxmlformats-officedocument.presentationml.slideLayout+xml"/>
  <Override PartName="/ppt/slideLayouts/slideLayout7730.xml" ContentType="application/vnd.openxmlformats-officedocument.presentationml.slideLayout+xml"/>
  <Override PartName="/ppt/slideLayouts/slideLayout7731.xml" ContentType="application/vnd.openxmlformats-officedocument.presentationml.slideLayout+xml"/>
  <Override PartName="/ppt/slideLayouts/slideLayout7732.xml" ContentType="application/vnd.openxmlformats-officedocument.presentationml.slideLayout+xml"/>
  <Override PartName="/ppt/slideLayouts/slideLayout7733.xml" ContentType="application/vnd.openxmlformats-officedocument.presentationml.slideLayout+xml"/>
  <Override PartName="/ppt/slideLayouts/slideLayout7734.xml" ContentType="application/vnd.openxmlformats-officedocument.presentationml.slideLayout+xml"/>
  <Override PartName="/ppt/slideLayouts/slideLayout7735.xml" ContentType="application/vnd.openxmlformats-officedocument.presentationml.slideLayout+xml"/>
  <Override PartName="/ppt/slideLayouts/slideLayout7736.xml" ContentType="application/vnd.openxmlformats-officedocument.presentationml.slideLayout+xml"/>
  <Override PartName="/ppt/slideLayouts/slideLayout7737.xml" ContentType="application/vnd.openxmlformats-officedocument.presentationml.slideLayout+xml"/>
  <Override PartName="/ppt/slideLayouts/slideLayout7738.xml" ContentType="application/vnd.openxmlformats-officedocument.presentationml.slideLayout+xml"/>
  <Override PartName="/ppt/slideLayouts/slideLayout7739.xml" ContentType="application/vnd.openxmlformats-officedocument.presentationml.slideLayout+xml"/>
  <Override PartName="/ppt/slideLayouts/slideLayout7740.xml" ContentType="application/vnd.openxmlformats-officedocument.presentationml.slideLayout+xml"/>
  <Override PartName="/ppt/slideLayouts/slideLayout7741.xml" ContentType="application/vnd.openxmlformats-officedocument.presentationml.slideLayout+xml"/>
  <Override PartName="/ppt/slideLayouts/slideLayout7742.xml" ContentType="application/vnd.openxmlformats-officedocument.presentationml.slideLayout+xml"/>
  <Override PartName="/ppt/slideLayouts/slideLayout7743.xml" ContentType="application/vnd.openxmlformats-officedocument.presentationml.slideLayout+xml"/>
  <Override PartName="/ppt/slideLayouts/slideLayout7744.xml" ContentType="application/vnd.openxmlformats-officedocument.presentationml.slideLayout+xml"/>
  <Override PartName="/ppt/slideLayouts/slideLayout7745.xml" ContentType="application/vnd.openxmlformats-officedocument.presentationml.slideLayout+xml"/>
  <Override PartName="/ppt/slideLayouts/slideLayout7746.xml" ContentType="application/vnd.openxmlformats-officedocument.presentationml.slideLayout+xml"/>
  <Override PartName="/ppt/slideLayouts/slideLayout7747.xml" ContentType="application/vnd.openxmlformats-officedocument.presentationml.slideLayout+xml"/>
  <Override PartName="/ppt/slideLayouts/slideLayout7748.xml" ContentType="application/vnd.openxmlformats-officedocument.presentationml.slideLayout+xml"/>
  <Override PartName="/ppt/slideLayouts/slideLayout7749.xml" ContentType="application/vnd.openxmlformats-officedocument.presentationml.slideLayout+xml"/>
  <Override PartName="/ppt/slideLayouts/slideLayout7750.xml" ContentType="application/vnd.openxmlformats-officedocument.presentationml.slideLayout+xml"/>
  <Override PartName="/ppt/slideLayouts/slideLayout7751.xml" ContentType="application/vnd.openxmlformats-officedocument.presentationml.slideLayout+xml"/>
  <Override PartName="/ppt/slideLayouts/slideLayout7752.xml" ContentType="application/vnd.openxmlformats-officedocument.presentationml.slideLayout+xml"/>
  <Override PartName="/ppt/slideLayouts/slideLayout7753.xml" ContentType="application/vnd.openxmlformats-officedocument.presentationml.slideLayout+xml"/>
  <Override PartName="/ppt/slideLayouts/slideLayout7754.xml" ContentType="application/vnd.openxmlformats-officedocument.presentationml.slideLayout+xml"/>
  <Override PartName="/ppt/slideLayouts/slideLayout7755.xml" ContentType="application/vnd.openxmlformats-officedocument.presentationml.slideLayout+xml"/>
  <Override PartName="/ppt/slideLayouts/slideLayout7756.xml" ContentType="application/vnd.openxmlformats-officedocument.presentationml.slideLayout+xml"/>
  <Override PartName="/ppt/slideLayouts/slideLayout7757.xml" ContentType="application/vnd.openxmlformats-officedocument.presentationml.slideLayout+xml"/>
  <Override PartName="/ppt/slideLayouts/slideLayout7758.xml" ContentType="application/vnd.openxmlformats-officedocument.presentationml.slideLayout+xml"/>
  <Override PartName="/ppt/slideLayouts/slideLayout7759.xml" ContentType="application/vnd.openxmlformats-officedocument.presentationml.slideLayout+xml"/>
  <Override PartName="/ppt/slideLayouts/slideLayout7760.xml" ContentType="application/vnd.openxmlformats-officedocument.presentationml.slideLayout+xml"/>
  <Override PartName="/ppt/slideLayouts/slideLayout7761.xml" ContentType="application/vnd.openxmlformats-officedocument.presentationml.slideLayout+xml"/>
  <Override PartName="/ppt/slideLayouts/slideLayout7762.xml" ContentType="application/vnd.openxmlformats-officedocument.presentationml.slideLayout+xml"/>
  <Override PartName="/ppt/slideLayouts/slideLayout7763.xml" ContentType="application/vnd.openxmlformats-officedocument.presentationml.slideLayout+xml"/>
  <Override PartName="/ppt/slideLayouts/slideLayout7764.xml" ContentType="application/vnd.openxmlformats-officedocument.presentationml.slideLayout+xml"/>
  <Override PartName="/ppt/slideLayouts/slideLayout7765.xml" ContentType="application/vnd.openxmlformats-officedocument.presentationml.slideLayout+xml"/>
  <Override PartName="/ppt/slideLayouts/slideLayout7766.xml" ContentType="application/vnd.openxmlformats-officedocument.presentationml.slideLayout+xml"/>
  <Override PartName="/ppt/slideLayouts/slideLayout7767.xml" ContentType="application/vnd.openxmlformats-officedocument.presentationml.slideLayout+xml"/>
  <Override PartName="/ppt/slideLayouts/slideLayout7768.xml" ContentType="application/vnd.openxmlformats-officedocument.presentationml.slideLayout+xml"/>
  <Override PartName="/ppt/slideLayouts/slideLayout7769.xml" ContentType="application/vnd.openxmlformats-officedocument.presentationml.slideLayout+xml"/>
  <Override PartName="/ppt/slideLayouts/slideLayout7770.xml" ContentType="application/vnd.openxmlformats-officedocument.presentationml.slideLayout+xml"/>
  <Override PartName="/ppt/slideLayouts/slideLayout7771.xml" ContentType="application/vnd.openxmlformats-officedocument.presentationml.slideLayout+xml"/>
  <Override PartName="/ppt/slideLayouts/slideLayout7772.xml" ContentType="application/vnd.openxmlformats-officedocument.presentationml.slideLayout+xml"/>
  <Override PartName="/ppt/slideLayouts/slideLayout7773.xml" ContentType="application/vnd.openxmlformats-officedocument.presentationml.slideLayout+xml"/>
  <Override PartName="/ppt/slideLayouts/slideLayout7774.xml" ContentType="application/vnd.openxmlformats-officedocument.presentationml.slideLayout+xml"/>
  <Override PartName="/ppt/slideLayouts/slideLayout7775.xml" ContentType="application/vnd.openxmlformats-officedocument.presentationml.slideLayout+xml"/>
  <Override PartName="/ppt/slideLayouts/slideLayout7776.xml" ContentType="application/vnd.openxmlformats-officedocument.presentationml.slideLayout+xml"/>
  <Override PartName="/ppt/slideLayouts/slideLayout7777.xml" ContentType="application/vnd.openxmlformats-officedocument.presentationml.slideLayout+xml"/>
  <Override PartName="/ppt/slideLayouts/slideLayout7778.xml" ContentType="application/vnd.openxmlformats-officedocument.presentationml.slideLayout+xml"/>
  <Override PartName="/ppt/slideLayouts/slideLayout7779.xml" ContentType="application/vnd.openxmlformats-officedocument.presentationml.slideLayout+xml"/>
  <Override PartName="/ppt/slideLayouts/slideLayout7780.xml" ContentType="application/vnd.openxmlformats-officedocument.presentationml.slideLayout+xml"/>
  <Override PartName="/ppt/slideLayouts/slideLayout7781.xml" ContentType="application/vnd.openxmlformats-officedocument.presentationml.slideLayout+xml"/>
  <Override PartName="/ppt/slideLayouts/slideLayout7782.xml" ContentType="application/vnd.openxmlformats-officedocument.presentationml.slideLayout+xml"/>
  <Override PartName="/ppt/slideLayouts/slideLayout7783.xml" ContentType="application/vnd.openxmlformats-officedocument.presentationml.slideLayout+xml"/>
  <Override PartName="/ppt/slideLayouts/slideLayout7784.xml" ContentType="application/vnd.openxmlformats-officedocument.presentationml.slideLayout+xml"/>
  <Override PartName="/ppt/slideLayouts/slideLayout7785.xml" ContentType="application/vnd.openxmlformats-officedocument.presentationml.slideLayout+xml"/>
  <Override PartName="/ppt/slideLayouts/slideLayout7786.xml" ContentType="application/vnd.openxmlformats-officedocument.presentationml.slideLayout+xml"/>
  <Override PartName="/ppt/slideLayouts/slideLayout7787.xml" ContentType="application/vnd.openxmlformats-officedocument.presentationml.slideLayout+xml"/>
  <Override PartName="/ppt/slideLayouts/slideLayout7788.xml" ContentType="application/vnd.openxmlformats-officedocument.presentationml.slideLayout+xml"/>
  <Override PartName="/ppt/slideLayouts/slideLayout7789.xml" ContentType="application/vnd.openxmlformats-officedocument.presentationml.slideLayout+xml"/>
  <Override PartName="/ppt/slideLayouts/slideLayout7790.xml" ContentType="application/vnd.openxmlformats-officedocument.presentationml.slideLayout+xml"/>
  <Override PartName="/ppt/slideLayouts/slideLayout7791.xml" ContentType="application/vnd.openxmlformats-officedocument.presentationml.slideLayout+xml"/>
  <Override PartName="/ppt/slideLayouts/slideLayout7792.xml" ContentType="application/vnd.openxmlformats-officedocument.presentationml.slideLayout+xml"/>
  <Override PartName="/ppt/slideLayouts/slideLayout7793.xml" ContentType="application/vnd.openxmlformats-officedocument.presentationml.slideLayout+xml"/>
  <Override PartName="/ppt/slideLayouts/slideLayout7794.xml" ContentType="application/vnd.openxmlformats-officedocument.presentationml.slideLayout+xml"/>
  <Override PartName="/ppt/slideLayouts/slideLayout7795.xml" ContentType="application/vnd.openxmlformats-officedocument.presentationml.slideLayout+xml"/>
  <Override PartName="/ppt/slideLayouts/slideLayout7796.xml" ContentType="application/vnd.openxmlformats-officedocument.presentationml.slideLayout+xml"/>
  <Override PartName="/ppt/slideLayouts/slideLayout7797.xml" ContentType="application/vnd.openxmlformats-officedocument.presentationml.slideLayout+xml"/>
  <Override PartName="/ppt/slideLayouts/slideLayout7798.xml" ContentType="application/vnd.openxmlformats-officedocument.presentationml.slideLayout+xml"/>
  <Override PartName="/ppt/slideLayouts/slideLayout7799.xml" ContentType="application/vnd.openxmlformats-officedocument.presentationml.slideLayout+xml"/>
  <Override PartName="/ppt/slideLayouts/slideLayout7800.xml" ContentType="application/vnd.openxmlformats-officedocument.presentationml.slideLayout+xml"/>
  <Override PartName="/ppt/slideLayouts/slideLayout7801.xml" ContentType="application/vnd.openxmlformats-officedocument.presentationml.slideLayout+xml"/>
  <Override PartName="/ppt/slideLayouts/slideLayout7802.xml" ContentType="application/vnd.openxmlformats-officedocument.presentationml.slideLayout+xml"/>
  <Override PartName="/ppt/slideLayouts/slideLayout7803.xml" ContentType="application/vnd.openxmlformats-officedocument.presentationml.slideLayout+xml"/>
  <Override PartName="/ppt/slideLayouts/slideLayout7804.xml" ContentType="application/vnd.openxmlformats-officedocument.presentationml.slideLayout+xml"/>
  <Override PartName="/ppt/slideLayouts/slideLayout7805.xml" ContentType="application/vnd.openxmlformats-officedocument.presentationml.slideLayout+xml"/>
  <Override PartName="/ppt/slideLayouts/slideLayout7806.xml" ContentType="application/vnd.openxmlformats-officedocument.presentationml.slideLayout+xml"/>
  <Override PartName="/ppt/slideLayouts/slideLayout7807.xml" ContentType="application/vnd.openxmlformats-officedocument.presentationml.slideLayout+xml"/>
  <Override PartName="/ppt/slideLayouts/slideLayout7808.xml" ContentType="application/vnd.openxmlformats-officedocument.presentationml.slideLayout+xml"/>
  <Override PartName="/ppt/slideLayouts/slideLayout7809.xml" ContentType="application/vnd.openxmlformats-officedocument.presentationml.slideLayout+xml"/>
  <Override PartName="/ppt/slideLayouts/slideLayout7810.xml" ContentType="application/vnd.openxmlformats-officedocument.presentationml.slideLayout+xml"/>
  <Override PartName="/ppt/slideLayouts/slideLayout7811.xml" ContentType="application/vnd.openxmlformats-officedocument.presentationml.slideLayout+xml"/>
  <Override PartName="/ppt/slideLayouts/slideLayout7812.xml" ContentType="application/vnd.openxmlformats-officedocument.presentationml.slideLayout+xml"/>
  <Override PartName="/ppt/slideLayouts/slideLayout7813.xml" ContentType="application/vnd.openxmlformats-officedocument.presentationml.slideLayout+xml"/>
  <Override PartName="/ppt/slideLayouts/slideLayout7814.xml" ContentType="application/vnd.openxmlformats-officedocument.presentationml.slideLayout+xml"/>
  <Override PartName="/ppt/slideLayouts/slideLayout7815.xml" ContentType="application/vnd.openxmlformats-officedocument.presentationml.slideLayout+xml"/>
  <Override PartName="/ppt/slideLayouts/slideLayout7816.xml" ContentType="application/vnd.openxmlformats-officedocument.presentationml.slideLayout+xml"/>
  <Override PartName="/ppt/slideLayouts/slideLayout7817.xml" ContentType="application/vnd.openxmlformats-officedocument.presentationml.slideLayout+xml"/>
  <Override PartName="/ppt/slideLayouts/slideLayout7818.xml" ContentType="application/vnd.openxmlformats-officedocument.presentationml.slideLayout+xml"/>
  <Override PartName="/ppt/slideLayouts/slideLayout7819.xml" ContentType="application/vnd.openxmlformats-officedocument.presentationml.slideLayout+xml"/>
  <Override PartName="/ppt/slideLayouts/slideLayout7820.xml" ContentType="application/vnd.openxmlformats-officedocument.presentationml.slideLayout+xml"/>
  <Override PartName="/ppt/slideLayouts/slideLayout7821.xml" ContentType="application/vnd.openxmlformats-officedocument.presentationml.slideLayout+xml"/>
  <Override PartName="/ppt/slideLayouts/slideLayout7822.xml" ContentType="application/vnd.openxmlformats-officedocument.presentationml.slideLayout+xml"/>
  <Override PartName="/ppt/slideLayouts/slideLayout7823.xml" ContentType="application/vnd.openxmlformats-officedocument.presentationml.slideLayout+xml"/>
  <Override PartName="/ppt/slideLayouts/slideLayout7824.xml" ContentType="application/vnd.openxmlformats-officedocument.presentationml.slideLayout+xml"/>
  <Override PartName="/ppt/slideLayouts/slideLayout7825.xml" ContentType="application/vnd.openxmlformats-officedocument.presentationml.slideLayout+xml"/>
  <Override PartName="/ppt/slideLayouts/slideLayout7826.xml" ContentType="application/vnd.openxmlformats-officedocument.presentationml.slideLayout+xml"/>
  <Override PartName="/ppt/slideLayouts/slideLayout7827.xml" ContentType="application/vnd.openxmlformats-officedocument.presentationml.slideLayout+xml"/>
  <Override PartName="/ppt/slideLayouts/slideLayout7828.xml" ContentType="application/vnd.openxmlformats-officedocument.presentationml.slideLayout+xml"/>
  <Override PartName="/ppt/slideLayouts/slideLayout7829.xml" ContentType="application/vnd.openxmlformats-officedocument.presentationml.slideLayout+xml"/>
  <Override PartName="/ppt/slideLayouts/slideLayout7830.xml" ContentType="application/vnd.openxmlformats-officedocument.presentationml.slideLayout+xml"/>
  <Override PartName="/ppt/slideLayouts/slideLayout7831.xml" ContentType="application/vnd.openxmlformats-officedocument.presentationml.slideLayout+xml"/>
  <Override PartName="/ppt/slideLayouts/slideLayout7832.xml" ContentType="application/vnd.openxmlformats-officedocument.presentationml.slideLayout+xml"/>
  <Override PartName="/ppt/slideLayouts/slideLayout7833.xml" ContentType="application/vnd.openxmlformats-officedocument.presentationml.slideLayout+xml"/>
  <Override PartName="/ppt/slideLayouts/slideLayout7834.xml" ContentType="application/vnd.openxmlformats-officedocument.presentationml.slideLayout+xml"/>
  <Override PartName="/ppt/slideLayouts/slideLayout7835.xml" ContentType="application/vnd.openxmlformats-officedocument.presentationml.slideLayout+xml"/>
  <Override PartName="/ppt/slideLayouts/slideLayout7836.xml" ContentType="application/vnd.openxmlformats-officedocument.presentationml.slideLayout+xml"/>
  <Override PartName="/ppt/slideLayouts/slideLayout7837.xml" ContentType="application/vnd.openxmlformats-officedocument.presentationml.slideLayout+xml"/>
  <Override PartName="/ppt/slideLayouts/slideLayout7838.xml" ContentType="application/vnd.openxmlformats-officedocument.presentationml.slideLayout+xml"/>
  <Override PartName="/ppt/slideLayouts/slideLayout7839.xml" ContentType="application/vnd.openxmlformats-officedocument.presentationml.slideLayout+xml"/>
  <Override PartName="/ppt/slideLayouts/slideLayout7840.xml" ContentType="application/vnd.openxmlformats-officedocument.presentationml.slideLayout+xml"/>
  <Override PartName="/ppt/slideLayouts/slideLayout7841.xml" ContentType="application/vnd.openxmlformats-officedocument.presentationml.slideLayout+xml"/>
  <Override PartName="/ppt/slideLayouts/slideLayout7842.xml" ContentType="application/vnd.openxmlformats-officedocument.presentationml.slideLayout+xml"/>
  <Override PartName="/ppt/slideLayouts/slideLayout7843.xml" ContentType="application/vnd.openxmlformats-officedocument.presentationml.slideLayout+xml"/>
  <Override PartName="/ppt/slideLayouts/slideLayout7844.xml" ContentType="application/vnd.openxmlformats-officedocument.presentationml.slideLayout+xml"/>
  <Override PartName="/ppt/slideLayouts/slideLayout7845.xml" ContentType="application/vnd.openxmlformats-officedocument.presentationml.slideLayout+xml"/>
  <Override PartName="/ppt/slideLayouts/slideLayout7846.xml" ContentType="application/vnd.openxmlformats-officedocument.presentationml.slideLayout+xml"/>
  <Override PartName="/ppt/slideLayouts/slideLayout7847.xml" ContentType="application/vnd.openxmlformats-officedocument.presentationml.slideLayout+xml"/>
  <Override PartName="/ppt/slideLayouts/slideLayout7848.xml" ContentType="application/vnd.openxmlformats-officedocument.presentationml.slideLayout+xml"/>
  <Override PartName="/ppt/slideLayouts/slideLayout7849.xml" ContentType="application/vnd.openxmlformats-officedocument.presentationml.slideLayout+xml"/>
  <Override PartName="/ppt/slideLayouts/slideLayout7850.xml" ContentType="application/vnd.openxmlformats-officedocument.presentationml.slideLayout+xml"/>
  <Override PartName="/ppt/slideLayouts/slideLayout7851.xml" ContentType="application/vnd.openxmlformats-officedocument.presentationml.slideLayout+xml"/>
  <Override PartName="/ppt/slideLayouts/slideLayout7852.xml" ContentType="application/vnd.openxmlformats-officedocument.presentationml.slideLayout+xml"/>
  <Override PartName="/ppt/slideLayouts/slideLayout7853.xml" ContentType="application/vnd.openxmlformats-officedocument.presentationml.slideLayout+xml"/>
  <Override PartName="/ppt/slideLayouts/slideLayout7854.xml" ContentType="application/vnd.openxmlformats-officedocument.presentationml.slideLayout+xml"/>
  <Override PartName="/ppt/slideLayouts/slideLayout7855.xml" ContentType="application/vnd.openxmlformats-officedocument.presentationml.slideLayout+xml"/>
  <Override PartName="/ppt/slideLayouts/slideLayout7856.xml" ContentType="application/vnd.openxmlformats-officedocument.presentationml.slideLayout+xml"/>
  <Override PartName="/ppt/slideLayouts/slideLayout7857.xml" ContentType="application/vnd.openxmlformats-officedocument.presentationml.slideLayout+xml"/>
  <Override PartName="/ppt/slideLayouts/slideLayout7858.xml" ContentType="application/vnd.openxmlformats-officedocument.presentationml.slideLayout+xml"/>
  <Override PartName="/ppt/slideLayouts/slideLayout7859.xml" ContentType="application/vnd.openxmlformats-officedocument.presentationml.slideLayout+xml"/>
  <Override PartName="/ppt/slideLayouts/slideLayout7860.xml" ContentType="application/vnd.openxmlformats-officedocument.presentationml.slideLayout+xml"/>
  <Override PartName="/ppt/slideLayouts/slideLayout7861.xml" ContentType="application/vnd.openxmlformats-officedocument.presentationml.slideLayout+xml"/>
  <Override PartName="/ppt/slideLayouts/slideLayout7862.xml" ContentType="application/vnd.openxmlformats-officedocument.presentationml.slideLayout+xml"/>
  <Override PartName="/ppt/slideLayouts/slideLayout7863.xml" ContentType="application/vnd.openxmlformats-officedocument.presentationml.slideLayout+xml"/>
  <Override PartName="/ppt/slideLayouts/slideLayout7864.xml" ContentType="application/vnd.openxmlformats-officedocument.presentationml.slideLayout+xml"/>
  <Override PartName="/ppt/slideLayouts/slideLayout7865.xml" ContentType="application/vnd.openxmlformats-officedocument.presentationml.slideLayout+xml"/>
  <Override PartName="/ppt/slideLayouts/slideLayout7866.xml" ContentType="application/vnd.openxmlformats-officedocument.presentationml.slideLayout+xml"/>
  <Override PartName="/ppt/slideLayouts/slideLayout7867.xml" ContentType="application/vnd.openxmlformats-officedocument.presentationml.slideLayout+xml"/>
  <Override PartName="/ppt/slideLayouts/slideLayout7868.xml" ContentType="application/vnd.openxmlformats-officedocument.presentationml.slideLayout+xml"/>
  <Override PartName="/ppt/slideLayouts/slideLayout7869.xml" ContentType="application/vnd.openxmlformats-officedocument.presentationml.slideLayout+xml"/>
  <Override PartName="/ppt/slideLayouts/slideLayout7870.xml" ContentType="application/vnd.openxmlformats-officedocument.presentationml.slideLayout+xml"/>
  <Override PartName="/ppt/slideLayouts/slideLayout7871.xml" ContentType="application/vnd.openxmlformats-officedocument.presentationml.slideLayout+xml"/>
  <Override PartName="/ppt/slideLayouts/slideLayout7872.xml" ContentType="application/vnd.openxmlformats-officedocument.presentationml.slideLayout+xml"/>
  <Override PartName="/ppt/slideLayouts/slideLayout7873.xml" ContentType="application/vnd.openxmlformats-officedocument.presentationml.slideLayout+xml"/>
  <Override PartName="/ppt/slideLayouts/slideLayout7874.xml" ContentType="application/vnd.openxmlformats-officedocument.presentationml.slideLayout+xml"/>
  <Override PartName="/ppt/slideLayouts/slideLayout7875.xml" ContentType="application/vnd.openxmlformats-officedocument.presentationml.slideLayout+xml"/>
  <Override PartName="/ppt/slideLayouts/slideLayout7876.xml" ContentType="application/vnd.openxmlformats-officedocument.presentationml.slideLayout+xml"/>
  <Override PartName="/ppt/slideLayouts/slideLayout7877.xml" ContentType="application/vnd.openxmlformats-officedocument.presentationml.slideLayout+xml"/>
  <Override PartName="/ppt/slideLayouts/slideLayout7878.xml" ContentType="application/vnd.openxmlformats-officedocument.presentationml.slideLayout+xml"/>
  <Override PartName="/ppt/slideLayouts/slideLayout7879.xml" ContentType="application/vnd.openxmlformats-officedocument.presentationml.slideLayout+xml"/>
  <Override PartName="/ppt/slideLayouts/slideLayout7880.xml" ContentType="application/vnd.openxmlformats-officedocument.presentationml.slideLayout+xml"/>
  <Override PartName="/ppt/slideLayouts/slideLayout7881.xml" ContentType="application/vnd.openxmlformats-officedocument.presentationml.slideLayout+xml"/>
  <Override PartName="/ppt/slideLayouts/slideLayout7882.xml" ContentType="application/vnd.openxmlformats-officedocument.presentationml.slideLayout+xml"/>
  <Override PartName="/ppt/slideLayouts/slideLayout7883.xml" ContentType="application/vnd.openxmlformats-officedocument.presentationml.slideLayout+xml"/>
  <Override PartName="/ppt/slideLayouts/slideLayout7884.xml" ContentType="application/vnd.openxmlformats-officedocument.presentationml.slideLayout+xml"/>
  <Override PartName="/ppt/slideLayouts/slideLayout7885.xml" ContentType="application/vnd.openxmlformats-officedocument.presentationml.slideLayout+xml"/>
  <Override PartName="/ppt/slideLayouts/slideLayout7886.xml" ContentType="application/vnd.openxmlformats-officedocument.presentationml.slideLayout+xml"/>
  <Override PartName="/ppt/slideLayouts/slideLayout7887.xml" ContentType="application/vnd.openxmlformats-officedocument.presentationml.slideLayout+xml"/>
  <Override PartName="/ppt/slideLayouts/slideLayout7888.xml" ContentType="application/vnd.openxmlformats-officedocument.presentationml.slideLayout+xml"/>
  <Override PartName="/ppt/slideLayouts/slideLayout7889.xml" ContentType="application/vnd.openxmlformats-officedocument.presentationml.slideLayout+xml"/>
  <Override PartName="/ppt/slideLayouts/slideLayout7890.xml" ContentType="application/vnd.openxmlformats-officedocument.presentationml.slideLayout+xml"/>
  <Override PartName="/ppt/slideLayouts/slideLayout7891.xml" ContentType="application/vnd.openxmlformats-officedocument.presentationml.slideLayout+xml"/>
  <Override PartName="/ppt/slideLayouts/slideLayout7892.xml" ContentType="application/vnd.openxmlformats-officedocument.presentationml.slideLayout+xml"/>
  <Override PartName="/ppt/slideLayouts/slideLayout7893.xml" ContentType="application/vnd.openxmlformats-officedocument.presentationml.slideLayout+xml"/>
  <Override PartName="/ppt/slideLayouts/slideLayout7894.xml" ContentType="application/vnd.openxmlformats-officedocument.presentationml.slideLayout+xml"/>
  <Override PartName="/ppt/slideLayouts/slideLayout7895.xml" ContentType="application/vnd.openxmlformats-officedocument.presentationml.slideLayout+xml"/>
  <Override PartName="/ppt/slideLayouts/slideLayout7896.xml" ContentType="application/vnd.openxmlformats-officedocument.presentationml.slideLayout+xml"/>
  <Override PartName="/ppt/slideLayouts/slideLayout7897.xml" ContentType="application/vnd.openxmlformats-officedocument.presentationml.slideLayout+xml"/>
  <Override PartName="/ppt/slideLayouts/slideLayout7898.xml" ContentType="application/vnd.openxmlformats-officedocument.presentationml.slideLayout+xml"/>
  <Override PartName="/ppt/slideLayouts/slideLayout7899.xml" ContentType="application/vnd.openxmlformats-officedocument.presentationml.slideLayout+xml"/>
  <Override PartName="/ppt/slideLayouts/slideLayout7900.xml" ContentType="application/vnd.openxmlformats-officedocument.presentationml.slideLayout+xml"/>
  <Override PartName="/ppt/slideLayouts/slideLayout7901.xml" ContentType="application/vnd.openxmlformats-officedocument.presentationml.slideLayout+xml"/>
  <Override PartName="/ppt/slideLayouts/slideLayout7902.xml" ContentType="application/vnd.openxmlformats-officedocument.presentationml.slideLayout+xml"/>
  <Override PartName="/ppt/slideLayouts/slideLayout7903.xml" ContentType="application/vnd.openxmlformats-officedocument.presentationml.slideLayout+xml"/>
  <Override PartName="/ppt/slideLayouts/slideLayout7904.xml" ContentType="application/vnd.openxmlformats-officedocument.presentationml.slideLayout+xml"/>
  <Override PartName="/ppt/slideLayouts/slideLayout7905.xml" ContentType="application/vnd.openxmlformats-officedocument.presentationml.slideLayout+xml"/>
  <Override PartName="/ppt/slideLayouts/slideLayout7906.xml" ContentType="application/vnd.openxmlformats-officedocument.presentationml.slideLayout+xml"/>
  <Override PartName="/ppt/slideLayouts/slideLayout7907.xml" ContentType="application/vnd.openxmlformats-officedocument.presentationml.slideLayout+xml"/>
  <Override PartName="/ppt/slideLayouts/slideLayout7908.xml" ContentType="application/vnd.openxmlformats-officedocument.presentationml.slideLayout+xml"/>
  <Override PartName="/ppt/slideLayouts/slideLayout7909.xml" ContentType="application/vnd.openxmlformats-officedocument.presentationml.slideLayout+xml"/>
  <Override PartName="/ppt/slideLayouts/slideLayout7910.xml" ContentType="application/vnd.openxmlformats-officedocument.presentationml.slideLayout+xml"/>
  <Override PartName="/ppt/slideLayouts/slideLayout7911.xml" ContentType="application/vnd.openxmlformats-officedocument.presentationml.slideLayout+xml"/>
  <Override PartName="/ppt/slideLayouts/slideLayout7912.xml" ContentType="application/vnd.openxmlformats-officedocument.presentationml.slideLayout+xml"/>
  <Override PartName="/ppt/slideLayouts/slideLayout7913.xml" ContentType="application/vnd.openxmlformats-officedocument.presentationml.slideLayout+xml"/>
  <Override PartName="/ppt/slideLayouts/slideLayout7914.xml" ContentType="application/vnd.openxmlformats-officedocument.presentationml.slideLayout+xml"/>
  <Override PartName="/ppt/slideLayouts/slideLayout7915.xml" ContentType="application/vnd.openxmlformats-officedocument.presentationml.slideLayout+xml"/>
  <Override PartName="/ppt/slideLayouts/slideLayout7916.xml" ContentType="application/vnd.openxmlformats-officedocument.presentationml.slideLayout+xml"/>
  <Override PartName="/ppt/slideLayouts/slideLayout7917.xml" ContentType="application/vnd.openxmlformats-officedocument.presentationml.slideLayout+xml"/>
  <Override PartName="/ppt/slideLayouts/slideLayout7918.xml" ContentType="application/vnd.openxmlformats-officedocument.presentationml.slideLayout+xml"/>
  <Override PartName="/ppt/slideLayouts/slideLayout7919.xml" ContentType="application/vnd.openxmlformats-officedocument.presentationml.slideLayout+xml"/>
  <Override PartName="/ppt/slideLayouts/slideLayout7920.xml" ContentType="application/vnd.openxmlformats-officedocument.presentationml.slideLayout+xml"/>
  <Override PartName="/ppt/slideLayouts/slideLayout7921.xml" ContentType="application/vnd.openxmlformats-officedocument.presentationml.slideLayout+xml"/>
  <Override PartName="/ppt/slideLayouts/slideLayout7922.xml" ContentType="application/vnd.openxmlformats-officedocument.presentationml.slideLayout+xml"/>
  <Override PartName="/ppt/slideLayouts/slideLayout7923.xml" ContentType="application/vnd.openxmlformats-officedocument.presentationml.slideLayout+xml"/>
  <Override PartName="/ppt/slideLayouts/slideLayout7924.xml" ContentType="application/vnd.openxmlformats-officedocument.presentationml.slideLayout+xml"/>
  <Override PartName="/ppt/slideLayouts/slideLayout7925.xml" ContentType="application/vnd.openxmlformats-officedocument.presentationml.slideLayout+xml"/>
  <Override PartName="/ppt/slideLayouts/slideLayout7926.xml" ContentType="application/vnd.openxmlformats-officedocument.presentationml.slideLayout+xml"/>
  <Override PartName="/ppt/slideLayouts/slideLayout7927.xml" ContentType="application/vnd.openxmlformats-officedocument.presentationml.slideLayout+xml"/>
  <Override PartName="/ppt/slideLayouts/slideLayout7928.xml" ContentType="application/vnd.openxmlformats-officedocument.presentationml.slideLayout+xml"/>
  <Override PartName="/ppt/slideLayouts/slideLayout7929.xml" ContentType="application/vnd.openxmlformats-officedocument.presentationml.slideLayout+xml"/>
  <Override PartName="/ppt/slideLayouts/slideLayout7930.xml" ContentType="application/vnd.openxmlformats-officedocument.presentationml.slideLayout+xml"/>
  <Override PartName="/ppt/slideLayouts/slideLayout7931.xml" ContentType="application/vnd.openxmlformats-officedocument.presentationml.slideLayout+xml"/>
  <Override PartName="/ppt/slideLayouts/slideLayout7932.xml" ContentType="application/vnd.openxmlformats-officedocument.presentationml.slideLayout+xml"/>
  <Override PartName="/ppt/slideLayouts/slideLayout7933.xml" ContentType="application/vnd.openxmlformats-officedocument.presentationml.slideLayout+xml"/>
  <Override PartName="/ppt/slideLayouts/slideLayout7934.xml" ContentType="application/vnd.openxmlformats-officedocument.presentationml.slideLayout+xml"/>
  <Override PartName="/ppt/slideLayouts/slideLayout7935.xml" ContentType="application/vnd.openxmlformats-officedocument.presentationml.slideLayout+xml"/>
  <Override PartName="/ppt/slideLayouts/slideLayout7936.xml" ContentType="application/vnd.openxmlformats-officedocument.presentationml.slideLayout+xml"/>
  <Override PartName="/ppt/slideLayouts/slideLayout7937.xml" ContentType="application/vnd.openxmlformats-officedocument.presentationml.slideLayout+xml"/>
  <Override PartName="/ppt/slideLayouts/slideLayout7938.xml" ContentType="application/vnd.openxmlformats-officedocument.presentationml.slideLayout+xml"/>
  <Override PartName="/ppt/slideLayouts/slideLayout7939.xml" ContentType="application/vnd.openxmlformats-officedocument.presentationml.slideLayout+xml"/>
  <Override PartName="/ppt/slideLayouts/slideLayout7940.xml" ContentType="application/vnd.openxmlformats-officedocument.presentationml.slideLayout+xml"/>
  <Override PartName="/ppt/slideLayouts/slideLayout7941.xml" ContentType="application/vnd.openxmlformats-officedocument.presentationml.slideLayout+xml"/>
  <Override PartName="/ppt/slideLayouts/slideLayout7942.xml" ContentType="application/vnd.openxmlformats-officedocument.presentationml.slideLayout+xml"/>
  <Override PartName="/ppt/slideLayouts/slideLayout7943.xml" ContentType="application/vnd.openxmlformats-officedocument.presentationml.slideLayout+xml"/>
  <Override PartName="/ppt/slideLayouts/slideLayout7944.xml" ContentType="application/vnd.openxmlformats-officedocument.presentationml.slideLayout+xml"/>
  <Override PartName="/ppt/slideLayouts/slideLayout7945.xml" ContentType="application/vnd.openxmlformats-officedocument.presentationml.slideLayout+xml"/>
  <Override PartName="/ppt/slideLayouts/slideLayout7946.xml" ContentType="application/vnd.openxmlformats-officedocument.presentationml.slideLayout+xml"/>
  <Override PartName="/ppt/slideLayouts/slideLayout7947.xml" ContentType="application/vnd.openxmlformats-officedocument.presentationml.slideLayout+xml"/>
  <Override PartName="/ppt/slideLayouts/slideLayout7948.xml" ContentType="application/vnd.openxmlformats-officedocument.presentationml.slideLayout+xml"/>
  <Override PartName="/ppt/slideLayouts/slideLayout7949.xml" ContentType="application/vnd.openxmlformats-officedocument.presentationml.slideLayout+xml"/>
  <Override PartName="/ppt/slideLayouts/slideLayout7950.xml" ContentType="application/vnd.openxmlformats-officedocument.presentationml.slideLayout+xml"/>
  <Override PartName="/ppt/slideLayouts/slideLayout7951.xml" ContentType="application/vnd.openxmlformats-officedocument.presentationml.slideLayout+xml"/>
  <Override PartName="/ppt/slideLayouts/slideLayout7952.xml" ContentType="application/vnd.openxmlformats-officedocument.presentationml.slideLayout+xml"/>
  <Override PartName="/ppt/slideLayouts/slideLayout7953.xml" ContentType="application/vnd.openxmlformats-officedocument.presentationml.slideLayout+xml"/>
  <Override PartName="/ppt/slideLayouts/slideLayout7954.xml" ContentType="application/vnd.openxmlformats-officedocument.presentationml.slideLayout+xml"/>
  <Override PartName="/ppt/slideLayouts/slideLayout7955.xml" ContentType="application/vnd.openxmlformats-officedocument.presentationml.slideLayout+xml"/>
  <Override PartName="/ppt/slideLayouts/slideLayout7956.xml" ContentType="application/vnd.openxmlformats-officedocument.presentationml.slideLayout+xml"/>
  <Override PartName="/ppt/slideLayouts/slideLayout7957.xml" ContentType="application/vnd.openxmlformats-officedocument.presentationml.slideLayout+xml"/>
  <Override PartName="/ppt/slideLayouts/slideLayout7958.xml" ContentType="application/vnd.openxmlformats-officedocument.presentationml.slideLayout+xml"/>
  <Override PartName="/ppt/slideLayouts/slideLayout7959.xml" ContentType="application/vnd.openxmlformats-officedocument.presentationml.slideLayout+xml"/>
  <Override PartName="/ppt/slideLayouts/slideLayout7960.xml" ContentType="application/vnd.openxmlformats-officedocument.presentationml.slideLayout+xml"/>
  <Override PartName="/ppt/slideLayouts/slideLayout7961.xml" ContentType="application/vnd.openxmlformats-officedocument.presentationml.slideLayout+xml"/>
  <Override PartName="/ppt/slideLayouts/slideLayout7962.xml" ContentType="application/vnd.openxmlformats-officedocument.presentationml.slideLayout+xml"/>
  <Override PartName="/ppt/slideLayouts/slideLayout7963.xml" ContentType="application/vnd.openxmlformats-officedocument.presentationml.slideLayout+xml"/>
  <Override PartName="/ppt/slideLayouts/slideLayout7964.xml" ContentType="application/vnd.openxmlformats-officedocument.presentationml.slideLayout+xml"/>
  <Override PartName="/ppt/slideLayouts/slideLayout7965.xml" ContentType="application/vnd.openxmlformats-officedocument.presentationml.slideLayout+xml"/>
  <Override PartName="/ppt/slideLayouts/slideLayout7966.xml" ContentType="application/vnd.openxmlformats-officedocument.presentationml.slideLayout+xml"/>
  <Override PartName="/ppt/slideLayouts/slideLayout7967.xml" ContentType="application/vnd.openxmlformats-officedocument.presentationml.slideLayout+xml"/>
  <Override PartName="/ppt/slideLayouts/slideLayout7968.xml" ContentType="application/vnd.openxmlformats-officedocument.presentationml.slideLayout+xml"/>
  <Override PartName="/ppt/slideLayouts/slideLayout7969.xml" ContentType="application/vnd.openxmlformats-officedocument.presentationml.slideLayout+xml"/>
  <Override PartName="/ppt/slideLayouts/slideLayout7970.xml" ContentType="application/vnd.openxmlformats-officedocument.presentationml.slideLayout+xml"/>
  <Override PartName="/ppt/slideLayouts/slideLayout7971.xml" ContentType="application/vnd.openxmlformats-officedocument.presentationml.slideLayout+xml"/>
  <Override PartName="/ppt/slideLayouts/slideLayout7972.xml" ContentType="application/vnd.openxmlformats-officedocument.presentationml.slideLayout+xml"/>
  <Override PartName="/ppt/slideLayouts/slideLayout7973.xml" ContentType="application/vnd.openxmlformats-officedocument.presentationml.slideLayout+xml"/>
  <Override PartName="/ppt/slideLayouts/slideLayout7974.xml" ContentType="application/vnd.openxmlformats-officedocument.presentationml.slideLayout+xml"/>
  <Override PartName="/ppt/slideLayouts/slideLayout7975.xml" ContentType="application/vnd.openxmlformats-officedocument.presentationml.slideLayout+xml"/>
  <Override PartName="/ppt/slideLayouts/slideLayout7976.xml" ContentType="application/vnd.openxmlformats-officedocument.presentationml.slideLayout+xml"/>
  <Override PartName="/ppt/slideLayouts/slideLayout7977.xml" ContentType="application/vnd.openxmlformats-officedocument.presentationml.slideLayout+xml"/>
  <Override PartName="/ppt/slideLayouts/slideLayout7978.xml" ContentType="application/vnd.openxmlformats-officedocument.presentationml.slideLayout+xml"/>
  <Override PartName="/ppt/slideLayouts/slideLayout7979.xml" ContentType="application/vnd.openxmlformats-officedocument.presentationml.slideLayout+xml"/>
  <Override PartName="/ppt/slideLayouts/slideLayout7980.xml" ContentType="application/vnd.openxmlformats-officedocument.presentationml.slideLayout+xml"/>
  <Override PartName="/ppt/slideLayouts/slideLayout7981.xml" ContentType="application/vnd.openxmlformats-officedocument.presentationml.slideLayout+xml"/>
  <Override PartName="/ppt/slideLayouts/slideLayout7982.xml" ContentType="application/vnd.openxmlformats-officedocument.presentationml.slideLayout+xml"/>
  <Override PartName="/ppt/slideLayouts/slideLayout7983.xml" ContentType="application/vnd.openxmlformats-officedocument.presentationml.slideLayout+xml"/>
  <Override PartName="/ppt/slideLayouts/slideLayout7984.xml" ContentType="application/vnd.openxmlformats-officedocument.presentationml.slideLayout+xml"/>
  <Override PartName="/ppt/slideLayouts/slideLayout7985.xml" ContentType="application/vnd.openxmlformats-officedocument.presentationml.slideLayout+xml"/>
  <Override PartName="/ppt/slideLayouts/slideLayout7986.xml" ContentType="application/vnd.openxmlformats-officedocument.presentationml.slideLayout+xml"/>
  <Override PartName="/ppt/slideLayouts/slideLayout7987.xml" ContentType="application/vnd.openxmlformats-officedocument.presentationml.slideLayout+xml"/>
  <Override PartName="/ppt/slideLayouts/slideLayout7988.xml" ContentType="application/vnd.openxmlformats-officedocument.presentationml.slideLayout+xml"/>
  <Override PartName="/ppt/slideLayouts/slideLayout7989.xml" ContentType="application/vnd.openxmlformats-officedocument.presentationml.slideLayout+xml"/>
  <Override PartName="/ppt/slideLayouts/slideLayout7990.xml" ContentType="application/vnd.openxmlformats-officedocument.presentationml.slideLayout+xml"/>
  <Override PartName="/ppt/slideLayouts/slideLayout7991.xml" ContentType="application/vnd.openxmlformats-officedocument.presentationml.slideLayout+xml"/>
  <Override PartName="/ppt/slideLayouts/slideLayout7992.xml" ContentType="application/vnd.openxmlformats-officedocument.presentationml.slideLayout+xml"/>
  <Override PartName="/ppt/slideLayouts/slideLayout7993.xml" ContentType="application/vnd.openxmlformats-officedocument.presentationml.slideLayout+xml"/>
  <Override PartName="/ppt/slideLayouts/slideLayout7994.xml" ContentType="application/vnd.openxmlformats-officedocument.presentationml.slideLayout+xml"/>
  <Override PartName="/ppt/slideLayouts/slideLayout7995.xml" ContentType="application/vnd.openxmlformats-officedocument.presentationml.slideLayout+xml"/>
  <Override PartName="/ppt/slideLayouts/slideLayout7996.xml" ContentType="application/vnd.openxmlformats-officedocument.presentationml.slideLayout+xml"/>
  <Override PartName="/ppt/slideLayouts/slideLayout7997.xml" ContentType="application/vnd.openxmlformats-officedocument.presentationml.slideLayout+xml"/>
  <Override PartName="/ppt/slideLayouts/slideLayout7998.xml" ContentType="application/vnd.openxmlformats-officedocument.presentationml.slideLayout+xml"/>
  <Override PartName="/ppt/slideLayouts/slideLayout7999.xml" ContentType="application/vnd.openxmlformats-officedocument.presentationml.slideLayout+xml"/>
  <Override PartName="/ppt/slideLayouts/slideLayout8000.xml" ContentType="application/vnd.openxmlformats-officedocument.presentationml.slideLayout+xml"/>
  <Override PartName="/ppt/slideLayouts/slideLayout8001.xml" ContentType="application/vnd.openxmlformats-officedocument.presentationml.slideLayout+xml"/>
  <Override PartName="/ppt/slideLayouts/slideLayout8002.xml" ContentType="application/vnd.openxmlformats-officedocument.presentationml.slideLayout+xml"/>
  <Override PartName="/ppt/slideLayouts/slideLayout8003.xml" ContentType="application/vnd.openxmlformats-officedocument.presentationml.slideLayout+xml"/>
  <Override PartName="/ppt/slideLayouts/slideLayout8004.xml" ContentType="application/vnd.openxmlformats-officedocument.presentationml.slideLayout+xml"/>
  <Override PartName="/ppt/slideLayouts/slideLayout8005.xml" ContentType="application/vnd.openxmlformats-officedocument.presentationml.slideLayout+xml"/>
  <Override PartName="/ppt/slideLayouts/slideLayout8006.xml" ContentType="application/vnd.openxmlformats-officedocument.presentationml.slideLayout+xml"/>
  <Override PartName="/ppt/slideLayouts/slideLayout8007.xml" ContentType="application/vnd.openxmlformats-officedocument.presentationml.slideLayout+xml"/>
  <Override PartName="/ppt/slideLayouts/slideLayout8008.xml" ContentType="application/vnd.openxmlformats-officedocument.presentationml.slideLayout+xml"/>
  <Override PartName="/ppt/slideLayouts/slideLayout8009.xml" ContentType="application/vnd.openxmlformats-officedocument.presentationml.slideLayout+xml"/>
  <Override PartName="/ppt/slideLayouts/slideLayout8010.xml" ContentType="application/vnd.openxmlformats-officedocument.presentationml.slideLayout+xml"/>
  <Override PartName="/ppt/slideLayouts/slideLayout8011.xml" ContentType="application/vnd.openxmlformats-officedocument.presentationml.slideLayout+xml"/>
  <Override PartName="/ppt/slideLayouts/slideLayout8012.xml" ContentType="application/vnd.openxmlformats-officedocument.presentationml.slideLayout+xml"/>
  <Override PartName="/ppt/slideLayouts/slideLayout8013.xml" ContentType="application/vnd.openxmlformats-officedocument.presentationml.slideLayout+xml"/>
  <Override PartName="/ppt/slideLayouts/slideLayout8014.xml" ContentType="application/vnd.openxmlformats-officedocument.presentationml.slideLayout+xml"/>
  <Override PartName="/ppt/slideLayouts/slideLayout8015.xml" ContentType="application/vnd.openxmlformats-officedocument.presentationml.slideLayout+xml"/>
  <Override PartName="/ppt/slideLayouts/slideLayout8016.xml" ContentType="application/vnd.openxmlformats-officedocument.presentationml.slideLayout+xml"/>
  <Override PartName="/ppt/slideLayouts/slideLayout8017.xml" ContentType="application/vnd.openxmlformats-officedocument.presentationml.slideLayout+xml"/>
  <Override PartName="/ppt/slideLayouts/slideLayout8018.xml" ContentType="application/vnd.openxmlformats-officedocument.presentationml.slideLayout+xml"/>
  <Override PartName="/ppt/slideLayouts/slideLayout8019.xml" ContentType="application/vnd.openxmlformats-officedocument.presentationml.slideLayout+xml"/>
  <Override PartName="/ppt/slideLayouts/slideLayout8020.xml" ContentType="application/vnd.openxmlformats-officedocument.presentationml.slideLayout+xml"/>
  <Override PartName="/ppt/slideLayouts/slideLayout8021.xml" ContentType="application/vnd.openxmlformats-officedocument.presentationml.slideLayout+xml"/>
  <Override PartName="/ppt/slideLayouts/slideLayout8022.xml" ContentType="application/vnd.openxmlformats-officedocument.presentationml.slideLayout+xml"/>
  <Override PartName="/ppt/slideLayouts/slideLayout8023.xml" ContentType="application/vnd.openxmlformats-officedocument.presentationml.slideLayout+xml"/>
  <Override PartName="/ppt/slideLayouts/slideLayout8024.xml" ContentType="application/vnd.openxmlformats-officedocument.presentationml.slideLayout+xml"/>
  <Override PartName="/ppt/slideLayouts/slideLayout8025.xml" ContentType="application/vnd.openxmlformats-officedocument.presentationml.slideLayout+xml"/>
  <Override PartName="/ppt/slideLayouts/slideLayout8026.xml" ContentType="application/vnd.openxmlformats-officedocument.presentationml.slideLayout+xml"/>
  <Override PartName="/ppt/slideLayouts/slideLayout8027.xml" ContentType="application/vnd.openxmlformats-officedocument.presentationml.slideLayout+xml"/>
  <Override PartName="/ppt/slideLayouts/slideLayout8028.xml" ContentType="application/vnd.openxmlformats-officedocument.presentationml.slideLayout+xml"/>
  <Override PartName="/ppt/slideLayouts/slideLayout8029.xml" ContentType="application/vnd.openxmlformats-officedocument.presentationml.slideLayout+xml"/>
  <Override PartName="/ppt/slideLayouts/slideLayout8030.xml" ContentType="application/vnd.openxmlformats-officedocument.presentationml.slideLayout+xml"/>
  <Override PartName="/ppt/slideLayouts/slideLayout8031.xml" ContentType="application/vnd.openxmlformats-officedocument.presentationml.slideLayout+xml"/>
  <Override PartName="/ppt/slideLayouts/slideLayout8032.xml" ContentType="application/vnd.openxmlformats-officedocument.presentationml.slideLayout+xml"/>
  <Override PartName="/ppt/slideLayouts/slideLayout8033.xml" ContentType="application/vnd.openxmlformats-officedocument.presentationml.slideLayout+xml"/>
  <Override PartName="/ppt/slideLayouts/slideLayout8034.xml" ContentType="application/vnd.openxmlformats-officedocument.presentationml.slideLayout+xml"/>
  <Override PartName="/ppt/slideLayouts/slideLayout8035.xml" ContentType="application/vnd.openxmlformats-officedocument.presentationml.slideLayout+xml"/>
  <Override PartName="/ppt/slideLayouts/slideLayout8036.xml" ContentType="application/vnd.openxmlformats-officedocument.presentationml.slideLayout+xml"/>
  <Override PartName="/ppt/slideLayouts/slideLayout8037.xml" ContentType="application/vnd.openxmlformats-officedocument.presentationml.slideLayout+xml"/>
  <Override PartName="/ppt/slideLayouts/slideLayout8038.xml" ContentType="application/vnd.openxmlformats-officedocument.presentationml.slideLayout+xml"/>
  <Override PartName="/ppt/slideLayouts/slideLayout8039.xml" ContentType="application/vnd.openxmlformats-officedocument.presentationml.slideLayout+xml"/>
  <Override PartName="/ppt/slideLayouts/slideLayout8040.xml" ContentType="application/vnd.openxmlformats-officedocument.presentationml.slideLayout+xml"/>
  <Override PartName="/ppt/slideLayouts/slideLayout8041.xml" ContentType="application/vnd.openxmlformats-officedocument.presentationml.slideLayout+xml"/>
  <Override PartName="/ppt/slideLayouts/slideLayout8042.xml" ContentType="application/vnd.openxmlformats-officedocument.presentationml.slideLayout+xml"/>
  <Override PartName="/ppt/slideLayouts/slideLayout8043.xml" ContentType="application/vnd.openxmlformats-officedocument.presentationml.slideLayout+xml"/>
  <Override PartName="/ppt/slideLayouts/slideLayout8044.xml" ContentType="application/vnd.openxmlformats-officedocument.presentationml.slideLayout+xml"/>
  <Override PartName="/ppt/slideLayouts/slideLayout8045.xml" ContentType="application/vnd.openxmlformats-officedocument.presentationml.slideLayout+xml"/>
  <Override PartName="/ppt/slideLayouts/slideLayout8046.xml" ContentType="application/vnd.openxmlformats-officedocument.presentationml.slideLayout+xml"/>
  <Override PartName="/ppt/slideLayouts/slideLayout8047.xml" ContentType="application/vnd.openxmlformats-officedocument.presentationml.slideLayout+xml"/>
  <Override PartName="/ppt/slideLayouts/slideLayout8048.xml" ContentType="application/vnd.openxmlformats-officedocument.presentationml.slideLayout+xml"/>
  <Override PartName="/ppt/slideLayouts/slideLayout8049.xml" ContentType="application/vnd.openxmlformats-officedocument.presentationml.slideLayout+xml"/>
  <Override PartName="/ppt/slideLayouts/slideLayout8050.xml" ContentType="application/vnd.openxmlformats-officedocument.presentationml.slideLayout+xml"/>
  <Override PartName="/ppt/slideLayouts/slideLayout8051.xml" ContentType="application/vnd.openxmlformats-officedocument.presentationml.slideLayout+xml"/>
  <Override PartName="/ppt/slideLayouts/slideLayout8052.xml" ContentType="application/vnd.openxmlformats-officedocument.presentationml.slideLayout+xml"/>
  <Override PartName="/ppt/slideLayouts/slideLayout8053.xml" ContentType="application/vnd.openxmlformats-officedocument.presentationml.slideLayout+xml"/>
  <Override PartName="/ppt/slideLayouts/slideLayout8054.xml" ContentType="application/vnd.openxmlformats-officedocument.presentationml.slideLayout+xml"/>
  <Override PartName="/ppt/slideLayouts/slideLayout8055.xml" ContentType="application/vnd.openxmlformats-officedocument.presentationml.slideLayout+xml"/>
  <Override PartName="/ppt/slideLayouts/slideLayout8056.xml" ContentType="application/vnd.openxmlformats-officedocument.presentationml.slideLayout+xml"/>
  <Override PartName="/ppt/slideLayouts/slideLayout8057.xml" ContentType="application/vnd.openxmlformats-officedocument.presentationml.slideLayout+xml"/>
  <Override PartName="/ppt/slideLayouts/slideLayout8058.xml" ContentType="application/vnd.openxmlformats-officedocument.presentationml.slideLayout+xml"/>
  <Override PartName="/ppt/slideLayouts/slideLayout8059.xml" ContentType="application/vnd.openxmlformats-officedocument.presentationml.slideLayout+xml"/>
  <Override PartName="/ppt/slideLayouts/slideLayout8060.xml" ContentType="application/vnd.openxmlformats-officedocument.presentationml.slideLayout+xml"/>
  <Override PartName="/ppt/slideLayouts/slideLayout8061.xml" ContentType="application/vnd.openxmlformats-officedocument.presentationml.slideLayout+xml"/>
  <Override PartName="/ppt/slideLayouts/slideLayout8062.xml" ContentType="application/vnd.openxmlformats-officedocument.presentationml.slideLayout+xml"/>
  <Override PartName="/ppt/slideLayouts/slideLayout8063.xml" ContentType="application/vnd.openxmlformats-officedocument.presentationml.slideLayout+xml"/>
  <Override PartName="/ppt/slideLayouts/slideLayout8064.xml" ContentType="application/vnd.openxmlformats-officedocument.presentationml.slideLayout+xml"/>
  <Override PartName="/ppt/slideLayouts/slideLayout8065.xml" ContentType="application/vnd.openxmlformats-officedocument.presentationml.slideLayout+xml"/>
  <Override PartName="/ppt/slideLayouts/slideLayout8066.xml" ContentType="application/vnd.openxmlformats-officedocument.presentationml.slideLayout+xml"/>
  <Override PartName="/ppt/slideLayouts/slideLayout8067.xml" ContentType="application/vnd.openxmlformats-officedocument.presentationml.slideLayout+xml"/>
  <Override PartName="/ppt/slideLayouts/slideLayout8068.xml" ContentType="application/vnd.openxmlformats-officedocument.presentationml.slideLayout+xml"/>
  <Override PartName="/ppt/slideLayouts/slideLayout8069.xml" ContentType="application/vnd.openxmlformats-officedocument.presentationml.slideLayout+xml"/>
  <Override PartName="/ppt/slideLayouts/slideLayout8070.xml" ContentType="application/vnd.openxmlformats-officedocument.presentationml.slideLayout+xml"/>
  <Override PartName="/ppt/slideLayouts/slideLayout8071.xml" ContentType="application/vnd.openxmlformats-officedocument.presentationml.slideLayout+xml"/>
  <Override PartName="/ppt/slideLayouts/slideLayout8072.xml" ContentType="application/vnd.openxmlformats-officedocument.presentationml.slideLayout+xml"/>
  <Override PartName="/ppt/slideLayouts/slideLayout8073.xml" ContentType="application/vnd.openxmlformats-officedocument.presentationml.slideLayout+xml"/>
  <Override PartName="/ppt/slideLayouts/slideLayout8074.xml" ContentType="application/vnd.openxmlformats-officedocument.presentationml.slideLayout+xml"/>
  <Override PartName="/ppt/slideLayouts/slideLayout8075.xml" ContentType="application/vnd.openxmlformats-officedocument.presentationml.slideLayout+xml"/>
  <Override PartName="/ppt/slideLayouts/slideLayout8076.xml" ContentType="application/vnd.openxmlformats-officedocument.presentationml.slideLayout+xml"/>
  <Override PartName="/ppt/slideLayouts/slideLayout8077.xml" ContentType="application/vnd.openxmlformats-officedocument.presentationml.slideLayout+xml"/>
  <Override PartName="/ppt/slideLayouts/slideLayout8078.xml" ContentType="application/vnd.openxmlformats-officedocument.presentationml.slideLayout+xml"/>
  <Override PartName="/ppt/slideLayouts/slideLayout8079.xml" ContentType="application/vnd.openxmlformats-officedocument.presentationml.slideLayout+xml"/>
  <Override PartName="/ppt/slideLayouts/slideLayout8080.xml" ContentType="application/vnd.openxmlformats-officedocument.presentationml.slideLayout+xml"/>
  <Override PartName="/ppt/slideLayouts/slideLayout8081.xml" ContentType="application/vnd.openxmlformats-officedocument.presentationml.slideLayout+xml"/>
  <Override PartName="/ppt/slideLayouts/slideLayout8082.xml" ContentType="application/vnd.openxmlformats-officedocument.presentationml.slideLayout+xml"/>
  <Override PartName="/ppt/slideLayouts/slideLayout8083.xml" ContentType="application/vnd.openxmlformats-officedocument.presentationml.slideLayout+xml"/>
  <Override PartName="/ppt/slideLayouts/slideLayout8084.xml" ContentType="application/vnd.openxmlformats-officedocument.presentationml.slideLayout+xml"/>
  <Override PartName="/ppt/slideLayouts/slideLayout8085.xml" ContentType="application/vnd.openxmlformats-officedocument.presentationml.slideLayout+xml"/>
  <Override PartName="/ppt/slideLayouts/slideLayout8086.xml" ContentType="application/vnd.openxmlformats-officedocument.presentationml.slideLayout+xml"/>
  <Override PartName="/ppt/slideLayouts/slideLayout8087.xml" ContentType="application/vnd.openxmlformats-officedocument.presentationml.slideLayout+xml"/>
  <Override PartName="/ppt/slideLayouts/slideLayout8088.xml" ContentType="application/vnd.openxmlformats-officedocument.presentationml.slideLayout+xml"/>
  <Override PartName="/ppt/slideLayouts/slideLayout8089.xml" ContentType="application/vnd.openxmlformats-officedocument.presentationml.slideLayout+xml"/>
  <Override PartName="/ppt/slideLayouts/slideLayout8090.xml" ContentType="application/vnd.openxmlformats-officedocument.presentationml.slideLayout+xml"/>
  <Override PartName="/ppt/slideLayouts/slideLayout8091.xml" ContentType="application/vnd.openxmlformats-officedocument.presentationml.slideLayout+xml"/>
  <Override PartName="/ppt/slideLayouts/slideLayout8092.xml" ContentType="application/vnd.openxmlformats-officedocument.presentationml.slideLayout+xml"/>
  <Override PartName="/ppt/slideLayouts/slideLayout8093.xml" ContentType="application/vnd.openxmlformats-officedocument.presentationml.slideLayout+xml"/>
  <Override PartName="/ppt/slideLayouts/slideLayout8094.xml" ContentType="application/vnd.openxmlformats-officedocument.presentationml.slideLayout+xml"/>
  <Override PartName="/ppt/slideLayouts/slideLayout8095.xml" ContentType="application/vnd.openxmlformats-officedocument.presentationml.slideLayout+xml"/>
  <Override PartName="/ppt/slideLayouts/slideLayout8096.xml" ContentType="application/vnd.openxmlformats-officedocument.presentationml.slideLayout+xml"/>
  <Override PartName="/ppt/slideLayouts/slideLayout8097.xml" ContentType="application/vnd.openxmlformats-officedocument.presentationml.slideLayout+xml"/>
  <Override PartName="/ppt/slideLayouts/slideLayout8098.xml" ContentType="application/vnd.openxmlformats-officedocument.presentationml.slideLayout+xml"/>
  <Override PartName="/ppt/slideLayouts/slideLayout8099.xml" ContentType="application/vnd.openxmlformats-officedocument.presentationml.slideLayout+xml"/>
  <Override PartName="/ppt/slideLayouts/slideLayout8100.xml" ContentType="application/vnd.openxmlformats-officedocument.presentationml.slideLayout+xml"/>
  <Override PartName="/ppt/slideLayouts/slideLayout8101.xml" ContentType="application/vnd.openxmlformats-officedocument.presentationml.slideLayout+xml"/>
  <Override PartName="/ppt/slideLayouts/slideLayout8102.xml" ContentType="application/vnd.openxmlformats-officedocument.presentationml.slideLayout+xml"/>
  <Override PartName="/ppt/slideLayouts/slideLayout8103.xml" ContentType="application/vnd.openxmlformats-officedocument.presentationml.slideLayout+xml"/>
  <Override PartName="/ppt/slideLayouts/slideLayout8104.xml" ContentType="application/vnd.openxmlformats-officedocument.presentationml.slideLayout+xml"/>
  <Override PartName="/ppt/slideLayouts/slideLayout8105.xml" ContentType="application/vnd.openxmlformats-officedocument.presentationml.slideLayout+xml"/>
  <Override PartName="/ppt/slideLayouts/slideLayout8106.xml" ContentType="application/vnd.openxmlformats-officedocument.presentationml.slideLayout+xml"/>
  <Override PartName="/ppt/slideLayouts/slideLayout8107.xml" ContentType="application/vnd.openxmlformats-officedocument.presentationml.slideLayout+xml"/>
  <Override PartName="/ppt/slideLayouts/slideLayout8108.xml" ContentType="application/vnd.openxmlformats-officedocument.presentationml.slideLayout+xml"/>
  <Override PartName="/ppt/slideLayouts/slideLayout8109.xml" ContentType="application/vnd.openxmlformats-officedocument.presentationml.slideLayout+xml"/>
  <Override PartName="/ppt/slideLayouts/slideLayout8110.xml" ContentType="application/vnd.openxmlformats-officedocument.presentationml.slideLayout+xml"/>
  <Override PartName="/ppt/slideLayouts/slideLayout8111.xml" ContentType="application/vnd.openxmlformats-officedocument.presentationml.slideLayout+xml"/>
  <Override PartName="/ppt/slideLayouts/slideLayout8112.xml" ContentType="application/vnd.openxmlformats-officedocument.presentationml.slideLayout+xml"/>
  <Override PartName="/ppt/slideLayouts/slideLayout8113.xml" ContentType="application/vnd.openxmlformats-officedocument.presentationml.slideLayout+xml"/>
  <Override PartName="/ppt/slideLayouts/slideLayout8114.xml" ContentType="application/vnd.openxmlformats-officedocument.presentationml.slideLayout+xml"/>
  <Override PartName="/ppt/slideLayouts/slideLayout8115.xml" ContentType="application/vnd.openxmlformats-officedocument.presentationml.slideLayout+xml"/>
  <Override PartName="/ppt/slideLayouts/slideLayout8116.xml" ContentType="application/vnd.openxmlformats-officedocument.presentationml.slideLayout+xml"/>
  <Override PartName="/ppt/slideLayouts/slideLayout8117.xml" ContentType="application/vnd.openxmlformats-officedocument.presentationml.slideLayout+xml"/>
  <Override PartName="/ppt/slideLayouts/slideLayout8118.xml" ContentType="application/vnd.openxmlformats-officedocument.presentationml.slideLayout+xml"/>
  <Override PartName="/ppt/slideLayouts/slideLayout8119.xml" ContentType="application/vnd.openxmlformats-officedocument.presentationml.slideLayout+xml"/>
  <Override PartName="/ppt/slideLayouts/slideLayout8120.xml" ContentType="application/vnd.openxmlformats-officedocument.presentationml.slideLayout+xml"/>
  <Override PartName="/ppt/slideLayouts/slideLayout8121.xml" ContentType="application/vnd.openxmlformats-officedocument.presentationml.slideLayout+xml"/>
  <Override PartName="/ppt/slideLayouts/slideLayout8122.xml" ContentType="application/vnd.openxmlformats-officedocument.presentationml.slideLayout+xml"/>
  <Override PartName="/ppt/slideLayouts/slideLayout8123.xml" ContentType="application/vnd.openxmlformats-officedocument.presentationml.slideLayout+xml"/>
  <Override PartName="/ppt/slideLayouts/slideLayout8124.xml" ContentType="application/vnd.openxmlformats-officedocument.presentationml.slideLayout+xml"/>
  <Override PartName="/ppt/slideLayouts/slideLayout8125.xml" ContentType="application/vnd.openxmlformats-officedocument.presentationml.slideLayout+xml"/>
  <Override PartName="/ppt/slideLayouts/slideLayout8126.xml" ContentType="application/vnd.openxmlformats-officedocument.presentationml.slideLayout+xml"/>
  <Override PartName="/ppt/slideLayouts/slideLayout8127.xml" ContentType="application/vnd.openxmlformats-officedocument.presentationml.slideLayout+xml"/>
  <Override PartName="/ppt/slideLayouts/slideLayout8128.xml" ContentType="application/vnd.openxmlformats-officedocument.presentationml.slideLayout+xml"/>
  <Override PartName="/ppt/slideLayouts/slideLayout8129.xml" ContentType="application/vnd.openxmlformats-officedocument.presentationml.slideLayout+xml"/>
  <Override PartName="/ppt/slideLayouts/slideLayout8130.xml" ContentType="application/vnd.openxmlformats-officedocument.presentationml.slideLayout+xml"/>
  <Override PartName="/ppt/slideLayouts/slideLayout8131.xml" ContentType="application/vnd.openxmlformats-officedocument.presentationml.slideLayout+xml"/>
  <Override PartName="/ppt/slideLayouts/slideLayout8132.xml" ContentType="application/vnd.openxmlformats-officedocument.presentationml.slideLayout+xml"/>
  <Override PartName="/ppt/slideLayouts/slideLayout8133.xml" ContentType="application/vnd.openxmlformats-officedocument.presentationml.slideLayout+xml"/>
  <Override PartName="/ppt/slideLayouts/slideLayout8134.xml" ContentType="application/vnd.openxmlformats-officedocument.presentationml.slideLayout+xml"/>
  <Override PartName="/ppt/slideLayouts/slideLayout8135.xml" ContentType="application/vnd.openxmlformats-officedocument.presentationml.slideLayout+xml"/>
  <Override PartName="/ppt/slideLayouts/slideLayout8136.xml" ContentType="application/vnd.openxmlformats-officedocument.presentationml.slideLayout+xml"/>
  <Override PartName="/ppt/slideLayouts/slideLayout8137.xml" ContentType="application/vnd.openxmlformats-officedocument.presentationml.slideLayout+xml"/>
  <Override PartName="/ppt/slideLayouts/slideLayout8138.xml" ContentType="application/vnd.openxmlformats-officedocument.presentationml.slideLayout+xml"/>
  <Override PartName="/ppt/slideLayouts/slideLayout8139.xml" ContentType="application/vnd.openxmlformats-officedocument.presentationml.slideLayout+xml"/>
  <Override PartName="/ppt/slideLayouts/slideLayout8140.xml" ContentType="application/vnd.openxmlformats-officedocument.presentationml.slideLayout+xml"/>
  <Override PartName="/ppt/slideLayouts/slideLayout8141.xml" ContentType="application/vnd.openxmlformats-officedocument.presentationml.slideLayout+xml"/>
  <Override PartName="/ppt/slideLayouts/slideLayout8142.xml" ContentType="application/vnd.openxmlformats-officedocument.presentationml.slideLayout+xml"/>
  <Override PartName="/ppt/slideLayouts/slideLayout8143.xml" ContentType="application/vnd.openxmlformats-officedocument.presentationml.slideLayout+xml"/>
  <Override PartName="/ppt/slideLayouts/slideLayout8144.xml" ContentType="application/vnd.openxmlformats-officedocument.presentationml.slideLayout+xml"/>
  <Override PartName="/ppt/slideLayouts/slideLayout8145.xml" ContentType="application/vnd.openxmlformats-officedocument.presentationml.slideLayout+xml"/>
  <Override PartName="/ppt/slideLayouts/slideLayout8146.xml" ContentType="application/vnd.openxmlformats-officedocument.presentationml.slideLayout+xml"/>
  <Override PartName="/ppt/slideLayouts/slideLayout8147.xml" ContentType="application/vnd.openxmlformats-officedocument.presentationml.slideLayout+xml"/>
  <Override PartName="/ppt/slideLayouts/slideLayout8148.xml" ContentType="application/vnd.openxmlformats-officedocument.presentationml.slideLayout+xml"/>
  <Override PartName="/ppt/slideLayouts/slideLayout8149.xml" ContentType="application/vnd.openxmlformats-officedocument.presentationml.slideLayout+xml"/>
  <Override PartName="/ppt/slideLayouts/slideLayout8150.xml" ContentType="application/vnd.openxmlformats-officedocument.presentationml.slideLayout+xml"/>
  <Override PartName="/ppt/slideLayouts/slideLayout8151.xml" ContentType="application/vnd.openxmlformats-officedocument.presentationml.slideLayout+xml"/>
  <Override PartName="/ppt/slideLayouts/slideLayout8152.xml" ContentType="application/vnd.openxmlformats-officedocument.presentationml.slideLayout+xml"/>
  <Override PartName="/ppt/slideLayouts/slideLayout8153.xml" ContentType="application/vnd.openxmlformats-officedocument.presentationml.slideLayout+xml"/>
  <Override PartName="/ppt/slideLayouts/slideLayout8154.xml" ContentType="application/vnd.openxmlformats-officedocument.presentationml.slideLayout+xml"/>
  <Override PartName="/ppt/slideLayouts/slideLayout8155.xml" ContentType="application/vnd.openxmlformats-officedocument.presentationml.slideLayout+xml"/>
  <Override PartName="/ppt/slideLayouts/slideLayout8156.xml" ContentType="application/vnd.openxmlformats-officedocument.presentationml.slideLayout+xml"/>
  <Override PartName="/ppt/slideLayouts/slideLayout8157.xml" ContentType="application/vnd.openxmlformats-officedocument.presentationml.slideLayout+xml"/>
  <Override PartName="/ppt/slideLayouts/slideLayout8158.xml" ContentType="application/vnd.openxmlformats-officedocument.presentationml.slideLayout+xml"/>
  <Override PartName="/ppt/slideLayouts/slideLayout8159.xml" ContentType="application/vnd.openxmlformats-officedocument.presentationml.slideLayout+xml"/>
  <Override PartName="/ppt/slideLayouts/slideLayout8160.xml" ContentType="application/vnd.openxmlformats-officedocument.presentationml.slideLayout+xml"/>
  <Override PartName="/ppt/slideLayouts/slideLayout8161.xml" ContentType="application/vnd.openxmlformats-officedocument.presentationml.slideLayout+xml"/>
  <Override PartName="/ppt/slideLayouts/slideLayout8162.xml" ContentType="application/vnd.openxmlformats-officedocument.presentationml.slideLayout+xml"/>
  <Override PartName="/ppt/slideLayouts/slideLayout8163.xml" ContentType="application/vnd.openxmlformats-officedocument.presentationml.slideLayout+xml"/>
  <Override PartName="/ppt/slideLayouts/slideLayout8164.xml" ContentType="application/vnd.openxmlformats-officedocument.presentationml.slideLayout+xml"/>
  <Override PartName="/ppt/slideLayouts/slideLayout8165.xml" ContentType="application/vnd.openxmlformats-officedocument.presentationml.slideLayout+xml"/>
  <Override PartName="/ppt/slideLayouts/slideLayout8166.xml" ContentType="application/vnd.openxmlformats-officedocument.presentationml.slideLayout+xml"/>
  <Override PartName="/ppt/slideLayouts/slideLayout8167.xml" ContentType="application/vnd.openxmlformats-officedocument.presentationml.slideLayout+xml"/>
  <Override PartName="/ppt/slideLayouts/slideLayout8168.xml" ContentType="application/vnd.openxmlformats-officedocument.presentationml.slideLayout+xml"/>
  <Override PartName="/ppt/slideLayouts/slideLayout8169.xml" ContentType="application/vnd.openxmlformats-officedocument.presentationml.slideLayout+xml"/>
  <Override PartName="/ppt/slideLayouts/slideLayout8170.xml" ContentType="application/vnd.openxmlformats-officedocument.presentationml.slideLayout+xml"/>
  <Override PartName="/ppt/slideLayouts/slideLayout8171.xml" ContentType="application/vnd.openxmlformats-officedocument.presentationml.slideLayout+xml"/>
  <Override PartName="/ppt/slideLayouts/slideLayout8172.xml" ContentType="application/vnd.openxmlformats-officedocument.presentationml.slideLayout+xml"/>
  <Override PartName="/ppt/slideLayouts/slideLayout8173.xml" ContentType="application/vnd.openxmlformats-officedocument.presentationml.slideLayout+xml"/>
  <Override PartName="/ppt/slideLayouts/slideLayout8174.xml" ContentType="application/vnd.openxmlformats-officedocument.presentationml.slideLayout+xml"/>
  <Override PartName="/ppt/slideLayouts/slideLayout8175.xml" ContentType="application/vnd.openxmlformats-officedocument.presentationml.slideLayout+xml"/>
  <Override PartName="/ppt/slideLayouts/slideLayout8176.xml" ContentType="application/vnd.openxmlformats-officedocument.presentationml.slideLayout+xml"/>
  <Override PartName="/ppt/slideLayouts/slideLayout8177.xml" ContentType="application/vnd.openxmlformats-officedocument.presentationml.slideLayout+xml"/>
  <Override PartName="/ppt/slideLayouts/slideLayout8178.xml" ContentType="application/vnd.openxmlformats-officedocument.presentationml.slideLayout+xml"/>
  <Override PartName="/ppt/slideLayouts/slideLayout8179.xml" ContentType="application/vnd.openxmlformats-officedocument.presentationml.slideLayout+xml"/>
  <Override PartName="/ppt/slideLayouts/slideLayout8180.xml" ContentType="application/vnd.openxmlformats-officedocument.presentationml.slideLayout+xml"/>
  <Override PartName="/ppt/slideLayouts/slideLayout8181.xml" ContentType="application/vnd.openxmlformats-officedocument.presentationml.slideLayout+xml"/>
  <Override PartName="/ppt/slideLayouts/slideLayout8182.xml" ContentType="application/vnd.openxmlformats-officedocument.presentationml.slideLayout+xml"/>
  <Override PartName="/ppt/slideLayouts/slideLayout8183.xml" ContentType="application/vnd.openxmlformats-officedocument.presentationml.slideLayout+xml"/>
  <Override PartName="/ppt/slideLayouts/slideLayout8184.xml" ContentType="application/vnd.openxmlformats-officedocument.presentationml.slideLayout+xml"/>
  <Override PartName="/ppt/slideLayouts/slideLayout8185.xml" ContentType="application/vnd.openxmlformats-officedocument.presentationml.slideLayout+xml"/>
  <Override PartName="/ppt/slideLayouts/slideLayout8186.xml" ContentType="application/vnd.openxmlformats-officedocument.presentationml.slideLayout+xml"/>
  <Override PartName="/ppt/slideLayouts/slideLayout8187.xml" ContentType="application/vnd.openxmlformats-officedocument.presentationml.slideLayout+xml"/>
  <Override PartName="/ppt/slideLayouts/slideLayout8188.xml" ContentType="application/vnd.openxmlformats-officedocument.presentationml.slideLayout+xml"/>
  <Override PartName="/ppt/slideLayouts/slideLayout8189.xml" ContentType="application/vnd.openxmlformats-officedocument.presentationml.slideLayout+xml"/>
  <Override PartName="/ppt/slideLayouts/slideLayout8190.xml" ContentType="application/vnd.openxmlformats-officedocument.presentationml.slideLayout+xml"/>
  <Override PartName="/ppt/slideLayouts/slideLayout8191.xml" ContentType="application/vnd.openxmlformats-officedocument.presentationml.slideLayout+xml"/>
  <Override PartName="/ppt/slideLayouts/slideLayout8192.xml" ContentType="application/vnd.openxmlformats-officedocument.presentationml.slideLayout+xml"/>
  <Override PartName="/ppt/slideLayouts/slideLayout8193.xml" ContentType="application/vnd.openxmlformats-officedocument.presentationml.slideLayout+xml"/>
  <Override PartName="/ppt/slideLayouts/slideLayout8194.xml" ContentType="application/vnd.openxmlformats-officedocument.presentationml.slideLayout+xml"/>
  <Override PartName="/ppt/slideLayouts/slideLayout8195.xml" ContentType="application/vnd.openxmlformats-officedocument.presentationml.slideLayout+xml"/>
  <Override PartName="/ppt/slideLayouts/slideLayout8196.xml" ContentType="application/vnd.openxmlformats-officedocument.presentationml.slideLayout+xml"/>
  <Override PartName="/ppt/slideLayouts/slideLayout8197.xml" ContentType="application/vnd.openxmlformats-officedocument.presentationml.slideLayout+xml"/>
  <Override PartName="/ppt/slideLayouts/slideLayout8198.xml" ContentType="application/vnd.openxmlformats-officedocument.presentationml.slideLayout+xml"/>
  <Override PartName="/ppt/slideLayouts/slideLayout8199.xml" ContentType="application/vnd.openxmlformats-officedocument.presentationml.slideLayout+xml"/>
  <Override PartName="/ppt/slideLayouts/slideLayout8200.xml" ContentType="application/vnd.openxmlformats-officedocument.presentationml.slideLayout+xml"/>
  <Override PartName="/ppt/slideLayouts/slideLayout8201.xml" ContentType="application/vnd.openxmlformats-officedocument.presentationml.slideLayout+xml"/>
  <Override PartName="/ppt/slideLayouts/slideLayout8202.xml" ContentType="application/vnd.openxmlformats-officedocument.presentationml.slideLayout+xml"/>
  <Override PartName="/ppt/slideLayouts/slideLayout8203.xml" ContentType="application/vnd.openxmlformats-officedocument.presentationml.slideLayout+xml"/>
  <Override PartName="/ppt/slideLayouts/slideLayout8204.xml" ContentType="application/vnd.openxmlformats-officedocument.presentationml.slideLayout+xml"/>
  <Override PartName="/ppt/slideLayouts/slideLayout8205.xml" ContentType="application/vnd.openxmlformats-officedocument.presentationml.slideLayout+xml"/>
  <Override PartName="/ppt/slideLayouts/slideLayout8206.xml" ContentType="application/vnd.openxmlformats-officedocument.presentationml.slideLayout+xml"/>
  <Override PartName="/ppt/slideLayouts/slideLayout8207.xml" ContentType="application/vnd.openxmlformats-officedocument.presentationml.slideLayout+xml"/>
  <Override PartName="/ppt/slideLayouts/slideLayout8208.xml" ContentType="application/vnd.openxmlformats-officedocument.presentationml.slideLayout+xml"/>
  <Override PartName="/ppt/slideLayouts/slideLayout8209.xml" ContentType="application/vnd.openxmlformats-officedocument.presentationml.slideLayout+xml"/>
  <Override PartName="/ppt/slideLayouts/slideLayout8210.xml" ContentType="application/vnd.openxmlformats-officedocument.presentationml.slideLayout+xml"/>
  <Override PartName="/ppt/slideLayouts/slideLayout8211.xml" ContentType="application/vnd.openxmlformats-officedocument.presentationml.slideLayout+xml"/>
  <Override PartName="/ppt/slideLayouts/slideLayout8212.xml" ContentType="application/vnd.openxmlformats-officedocument.presentationml.slideLayout+xml"/>
  <Override PartName="/ppt/slideLayouts/slideLayout8213.xml" ContentType="application/vnd.openxmlformats-officedocument.presentationml.slideLayout+xml"/>
  <Override PartName="/ppt/slideLayouts/slideLayout8214.xml" ContentType="application/vnd.openxmlformats-officedocument.presentationml.slideLayout+xml"/>
  <Override PartName="/ppt/slideLayouts/slideLayout8215.xml" ContentType="application/vnd.openxmlformats-officedocument.presentationml.slideLayout+xml"/>
  <Override PartName="/ppt/slideLayouts/slideLayout8216.xml" ContentType="application/vnd.openxmlformats-officedocument.presentationml.slideLayout+xml"/>
  <Override PartName="/ppt/slideLayouts/slideLayout8217.xml" ContentType="application/vnd.openxmlformats-officedocument.presentationml.slideLayout+xml"/>
  <Override PartName="/ppt/slideLayouts/slideLayout8218.xml" ContentType="application/vnd.openxmlformats-officedocument.presentationml.slideLayout+xml"/>
  <Override PartName="/ppt/slideLayouts/slideLayout8219.xml" ContentType="application/vnd.openxmlformats-officedocument.presentationml.slideLayout+xml"/>
  <Override PartName="/ppt/slideLayouts/slideLayout8220.xml" ContentType="application/vnd.openxmlformats-officedocument.presentationml.slideLayout+xml"/>
  <Override PartName="/ppt/slideLayouts/slideLayout8221.xml" ContentType="application/vnd.openxmlformats-officedocument.presentationml.slideLayout+xml"/>
  <Override PartName="/ppt/slideLayouts/slideLayout8222.xml" ContentType="application/vnd.openxmlformats-officedocument.presentationml.slideLayout+xml"/>
  <Override PartName="/ppt/slideLayouts/slideLayout8223.xml" ContentType="application/vnd.openxmlformats-officedocument.presentationml.slideLayout+xml"/>
  <Override PartName="/ppt/slideLayouts/slideLayout8224.xml" ContentType="application/vnd.openxmlformats-officedocument.presentationml.slideLayout+xml"/>
  <Override PartName="/ppt/slideLayouts/slideLayout8225.xml" ContentType="application/vnd.openxmlformats-officedocument.presentationml.slideLayout+xml"/>
  <Override PartName="/ppt/slideLayouts/slideLayout8226.xml" ContentType="application/vnd.openxmlformats-officedocument.presentationml.slideLayout+xml"/>
  <Override PartName="/ppt/slideLayouts/slideLayout8227.xml" ContentType="application/vnd.openxmlformats-officedocument.presentationml.slideLayout+xml"/>
  <Override PartName="/ppt/slideLayouts/slideLayout8228.xml" ContentType="application/vnd.openxmlformats-officedocument.presentationml.slideLayout+xml"/>
  <Override PartName="/ppt/slideLayouts/slideLayout8229.xml" ContentType="application/vnd.openxmlformats-officedocument.presentationml.slideLayout+xml"/>
  <Override PartName="/ppt/slideLayouts/slideLayout8230.xml" ContentType="application/vnd.openxmlformats-officedocument.presentationml.slideLayout+xml"/>
  <Override PartName="/ppt/slideLayouts/slideLayout8231.xml" ContentType="application/vnd.openxmlformats-officedocument.presentationml.slideLayout+xml"/>
  <Override PartName="/ppt/slideLayouts/slideLayout8232.xml" ContentType="application/vnd.openxmlformats-officedocument.presentationml.slideLayout+xml"/>
  <Override PartName="/ppt/slideLayouts/slideLayout8233.xml" ContentType="application/vnd.openxmlformats-officedocument.presentationml.slideLayout+xml"/>
  <Override PartName="/ppt/slideLayouts/slideLayout8234.xml" ContentType="application/vnd.openxmlformats-officedocument.presentationml.slideLayout+xml"/>
  <Override PartName="/ppt/slideLayouts/slideLayout8235.xml" ContentType="application/vnd.openxmlformats-officedocument.presentationml.slideLayout+xml"/>
  <Override PartName="/ppt/slideLayouts/slideLayout8236.xml" ContentType="application/vnd.openxmlformats-officedocument.presentationml.slideLayout+xml"/>
  <Override PartName="/ppt/slideLayouts/slideLayout8237.xml" ContentType="application/vnd.openxmlformats-officedocument.presentationml.slideLayout+xml"/>
  <Override PartName="/ppt/slideLayouts/slideLayout8238.xml" ContentType="application/vnd.openxmlformats-officedocument.presentationml.slideLayout+xml"/>
  <Override PartName="/ppt/slideLayouts/slideLayout8239.xml" ContentType="application/vnd.openxmlformats-officedocument.presentationml.slideLayout+xml"/>
  <Override PartName="/ppt/slideLayouts/slideLayout8240.xml" ContentType="application/vnd.openxmlformats-officedocument.presentationml.slideLayout+xml"/>
  <Override PartName="/ppt/slideLayouts/slideLayout8241.xml" ContentType="application/vnd.openxmlformats-officedocument.presentationml.slideLayout+xml"/>
  <Override PartName="/ppt/slideLayouts/slideLayout8242.xml" ContentType="application/vnd.openxmlformats-officedocument.presentationml.slideLayout+xml"/>
  <Override PartName="/ppt/slideLayouts/slideLayout8243.xml" ContentType="application/vnd.openxmlformats-officedocument.presentationml.slideLayout+xml"/>
  <Override PartName="/ppt/slideLayouts/slideLayout8244.xml" ContentType="application/vnd.openxmlformats-officedocument.presentationml.slideLayout+xml"/>
  <Override PartName="/ppt/slideLayouts/slideLayout8245.xml" ContentType="application/vnd.openxmlformats-officedocument.presentationml.slideLayout+xml"/>
  <Override PartName="/ppt/slideLayouts/slideLayout8246.xml" ContentType="application/vnd.openxmlformats-officedocument.presentationml.slideLayout+xml"/>
  <Override PartName="/ppt/slideLayouts/slideLayout8247.xml" ContentType="application/vnd.openxmlformats-officedocument.presentationml.slideLayout+xml"/>
  <Override PartName="/ppt/slideLayouts/slideLayout8248.xml" ContentType="application/vnd.openxmlformats-officedocument.presentationml.slideLayout+xml"/>
  <Override PartName="/ppt/slideLayouts/slideLayout8249.xml" ContentType="application/vnd.openxmlformats-officedocument.presentationml.slideLayout+xml"/>
  <Override PartName="/ppt/slideLayouts/slideLayout8250.xml" ContentType="application/vnd.openxmlformats-officedocument.presentationml.slideLayout+xml"/>
  <Override PartName="/ppt/slideLayouts/slideLayout8251.xml" ContentType="application/vnd.openxmlformats-officedocument.presentationml.slideLayout+xml"/>
  <Override PartName="/ppt/slideLayouts/slideLayout8252.xml" ContentType="application/vnd.openxmlformats-officedocument.presentationml.slideLayout+xml"/>
  <Override PartName="/ppt/slideLayouts/slideLayout8253.xml" ContentType="application/vnd.openxmlformats-officedocument.presentationml.slideLayout+xml"/>
  <Override PartName="/ppt/slideLayouts/slideLayout8254.xml" ContentType="application/vnd.openxmlformats-officedocument.presentationml.slideLayout+xml"/>
  <Override PartName="/ppt/slideLayouts/slideLayout8255.xml" ContentType="application/vnd.openxmlformats-officedocument.presentationml.slideLayout+xml"/>
  <Override PartName="/ppt/slideLayouts/slideLayout8256.xml" ContentType="application/vnd.openxmlformats-officedocument.presentationml.slideLayout+xml"/>
  <Override PartName="/ppt/slideLayouts/slideLayout8257.xml" ContentType="application/vnd.openxmlformats-officedocument.presentationml.slideLayout+xml"/>
  <Override PartName="/ppt/slideLayouts/slideLayout8258.xml" ContentType="application/vnd.openxmlformats-officedocument.presentationml.slideLayout+xml"/>
  <Override PartName="/ppt/slideLayouts/slideLayout8259.xml" ContentType="application/vnd.openxmlformats-officedocument.presentationml.slideLayout+xml"/>
  <Override PartName="/ppt/slideLayouts/slideLayout8260.xml" ContentType="application/vnd.openxmlformats-officedocument.presentationml.slideLayout+xml"/>
  <Override PartName="/ppt/slideLayouts/slideLayout8261.xml" ContentType="application/vnd.openxmlformats-officedocument.presentationml.slideLayout+xml"/>
  <Override PartName="/ppt/slideLayouts/slideLayout8262.xml" ContentType="application/vnd.openxmlformats-officedocument.presentationml.slideLayout+xml"/>
  <Override PartName="/ppt/slideLayouts/slideLayout8263.xml" ContentType="application/vnd.openxmlformats-officedocument.presentationml.slideLayout+xml"/>
  <Override PartName="/ppt/slideLayouts/slideLayout8264.xml" ContentType="application/vnd.openxmlformats-officedocument.presentationml.slideLayout+xml"/>
  <Override PartName="/ppt/slideLayouts/slideLayout8265.xml" ContentType="application/vnd.openxmlformats-officedocument.presentationml.slideLayout+xml"/>
  <Override PartName="/ppt/slideLayouts/slideLayout8266.xml" ContentType="application/vnd.openxmlformats-officedocument.presentationml.slideLayout+xml"/>
  <Override PartName="/ppt/slideLayouts/slideLayout8267.xml" ContentType="application/vnd.openxmlformats-officedocument.presentationml.slideLayout+xml"/>
  <Override PartName="/ppt/slideLayouts/slideLayout8268.xml" ContentType="application/vnd.openxmlformats-officedocument.presentationml.slideLayout+xml"/>
  <Override PartName="/ppt/slideLayouts/slideLayout8269.xml" ContentType="application/vnd.openxmlformats-officedocument.presentationml.slideLayout+xml"/>
  <Override PartName="/ppt/slideLayouts/slideLayout8270.xml" ContentType="application/vnd.openxmlformats-officedocument.presentationml.slideLayout+xml"/>
  <Override PartName="/ppt/slideLayouts/slideLayout8271.xml" ContentType="application/vnd.openxmlformats-officedocument.presentationml.slideLayout+xml"/>
  <Override PartName="/ppt/slideLayouts/slideLayout8272.xml" ContentType="application/vnd.openxmlformats-officedocument.presentationml.slideLayout+xml"/>
  <Override PartName="/ppt/slideLayouts/slideLayout8273.xml" ContentType="application/vnd.openxmlformats-officedocument.presentationml.slideLayout+xml"/>
  <Override PartName="/ppt/slideLayouts/slideLayout8274.xml" ContentType="application/vnd.openxmlformats-officedocument.presentationml.slideLayout+xml"/>
  <Override PartName="/ppt/slideLayouts/slideLayout8275.xml" ContentType="application/vnd.openxmlformats-officedocument.presentationml.slideLayout+xml"/>
  <Override PartName="/ppt/slideLayouts/slideLayout8276.xml" ContentType="application/vnd.openxmlformats-officedocument.presentationml.slideLayout+xml"/>
  <Override PartName="/ppt/slideLayouts/slideLayout8277.xml" ContentType="application/vnd.openxmlformats-officedocument.presentationml.slideLayout+xml"/>
  <Override PartName="/ppt/slideLayouts/slideLayout8278.xml" ContentType="application/vnd.openxmlformats-officedocument.presentationml.slideLayout+xml"/>
  <Override PartName="/ppt/slideLayouts/slideLayout8279.xml" ContentType="application/vnd.openxmlformats-officedocument.presentationml.slideLayout+xml"/>
  <Override PartName="/ppt/slideLayouts/slideLayout8280.xml" ContentType="application/vnd.openxmlformats-officedocument.presentationml.slideLayout+xml"/>
  <Override PartName="/ppt/slideLayouts/slideLayout8281.xml" ContentType="application/vnd.openxmlformats-officedocument.presentationml.slideLayout+xml"/>
  <Override PartName="/ppt/slideLayouts/slideLayout8282.xml" ContentType="application/vnd.openxmlformats-officedocument.presentationml.slideLayout+xml"/>
  <Override PartName="/ppt/slideLayouts/slideLayout8283.xml" ContentType="application/vnd.openxmlformats-officedocument.presentationml.slideLayout+xml"/>
  <Override PartName="/ppt/slideLayouts/slideLayout8284.xml" ContentType="application/vnd.openxmlformats-officedocument.presentationml.slideLayout+xml"/>
  <Override PartName="/ppt/slideLayouts/slideLayout8285.xml" ContentType="application/vnd.openxmlformats-officedocument.presentationml.slideLayout+xml"/>
  <Override PartName="/ppt/slideLayouts/slideLayout8286.xml" ContentType="application/vnd.openxmlformats-officedocument.presentationml.slideLayout+xml"/>
  <Override PartName="/ppt/slideLayouts/slideLayout8287.xml" ContentType="application/vnd.openxmlformats-officedocument.presentationml.slideLayout+xml"/>
  <Override PartName="/ppt/slideLayouts/slideLayout8288.xml" ContentType="application/vnd.openxmlformats-officedocument.presentationml.slideLayout+xml"/>
  <Override PartName="/ppt/slideLayouts/slideLayout8289.xml" ContentType="application/vnd.openxmlformats-officedocument.presentationml.slideLayout+xml"/>
  <Override PartName="/ppt/slideLayouts/slideLayout8290.xml" ContentType="application/vnd.openxmlformats-officedocument.presentationml.slideLayout+xml"/>
  <Override PartName="/ppt/slideLayouts/slideLayout8291.xml" ContentType="application/vnd.openxmlformats-officedocument.presentationml.slideLayout+xml"/>
  <Override PartName="/ppt/slideLayouts/slideLayout8292.xml" ContentType="application/vnd.openxmlformats-officedocument.presentationml.slideLayout+xml"/>
  <Override PartName="/ppt/slideLayouts/slideLayout8293.xml" ContentType="application/vnd.openxmlformats-officedocument.presentationml.slideLayout+xml"/>
  <Override PartName="/ppt/slideLayouts/slideLayout8294.xml" ContentType="application/vnd.openxmlformats-officedocument.presentationml.slideLayout+xml"/>
  <Override PartName="/ppt/slideLayouts/slideLayout8295.xml" ContentType="application/vnd.openxmlformats-officedocument.presentationml.slideLayout+xml"/>
  <Override PartName="/ppt/slideLayouts/slideLayout8296.xml" ContentType="application/vnd.openxmlformats-officedocument.presentationml.slideLayout+xml"/>
  <Override PartName="/ppt/slideLayouts/slideLayout8297.xml" ContentType="application/vnd.openxmlformats-officedocument.presentationml.slideLayout+xml"/>
  <Override PartName="/ppt/slideLayouts/slideLayout8298.xml" ContentType="application/vnd.openxmlformats-officedocument.presentationml.slideLayout+xml"/>
  <Override PartName="/ppt/slideLayouts/slideLayout8299.xml" ContentType="application/vnd.openxmlformats-officedocument.presentationml.slideLayout+xml"/>
  <Override PartName="/ppt/slideLayouts/slideLayout8300.xml" ContentType="application/vnd.openxmlformats-officedocument.presentationml.slideLayout+xml"/>
  <Override PartName="/ppt/slideLayouts/slideLayout8301.xml" ContentType="application/vnd.openxmlformats-officedocument.presentationml.slideLayout+xml"/>
  <Override PartName="/ppt/slideLayouts/slideLayout8302.xml" ContentType="application/vnd.openxmlformats-officedocument.presentationml.slideLayout+xml"/>
  <Override PartName="/ppt/slideLayouts/slideLayout8303.xml" ContentType="application/vnd.openxmlformats-officedocument.presentationml.slideLayout+xml"/>
  <Override PartName="/ppt/slideLayouts/slideLayout8304.xml" ContentType="application/vnd.openxmlformats-officedocument.presentationml.slideLayout+xml"/>
  <Override PartName="/ppt/slideLayouts/slideLayout8305.xml" ContentType="application/vnd.openxmlformats-officedocument.presentationml.slideLayout+xml"/>
  <Override PartName="/ppt/slideLayouts/slideLayout8306.xml" ContentType="application/vnd.openxmlformats-officedocument.presentationml.slideLayout+xml"/>
  <Override PartName="/ppt/slideLayouts/slideLayout8307.xml" ContentType="application/vnd.openxmlformats-officedocument.presentationml.slideLayout+xml"/>
  <Override PartName="/ppt/slideLayouts/slideLayout8308.xml" ContentType="application/vnd.openxmlformats-officedocument.presentationml.slideLayout+xml"/>
  <Override PartName="/ppt/slideLayouts/slideLayout8309.xml" ContentType="application/vnd.openxmlformats-officedocument.presentationml.slideLayout+xml"/>
  <Override PartName="/ppt/slideLayouts/slideLayout8310.xml" ContentType="application/vnd.openxmlformats-officedocument.presentationml.slideLayout+xml"/>
  <Override PartName="/ppt/slideLayouts/slideLayout8311.xml" ContentType="application/vnd.openxmlformats-officedocument.presentationml.slideLayout+xml"/>
  <Override PartName="/ppt/slideLayouts/slideLayout8312.xml" ContentType="application/vnd.openxmlformats-officedocument.presentationml.slideLayout+xml"/>
  <Override PartName="/ppt/slideLayouts/slideLayout8313.xml" ContentType="application/vnd.openxmlformats-officedocument.presentationml.slideLayout+xml"/>
  <Override PartName="/ppt/slideLayouts/slideLayout8314.xml" ContentType="application/vnd.openxmlformats-officedocument.presentationml.slideLayout+xml"/>
  <Override PartName="/ppt/slideLayouts/slideLayout8315.xml" ContentType="application/vnd.openxmlformats-officedocument.presentationml.slideLayout+xml"/>
  <Override PartName="/ppt/slideLayouts/slideLayout8316.xml" ContentType="application/vnd.openxmlformats-officedocument.presentationml.slideLayout+xml"/>
  <Override PartName="/ppt/slideLayouts/slideLayout8317.xml" ContentType="application/vnd.openxmlformats-officedocument.presentationml.slideLayout+xml"/>
  <Override PartName="/ppt/slideLayouts/slideLayout8318.xml" ContentType="application/vnd.openxmlformats-officedocument.presentationml.slideLayout+xml"/>
  <Override PartName="/ppt/slideLayouts/slideLayout8319.xml" ContentType="application/vnd.openxmlformats-officedocument.presentationml.slideLayout+xml"/>
  <Override PartName="/ppt/slideLayouts/slideLayout8320.xml" ContentType="application/vnd.openxmlformats-officedocument.presentationml.slideLayout+xml"/>
  <Override PartName="/ppt/slideLayouts/slideLayout8321.xml" ContentType="application/vnd.openxmlformats-officedocument.presentationml.slideLayout+xml"/>
  <Override PartName="/ppt/slideLayouts/slideLayout8322.xml" ContentType="application/vnd.openxmlformats-officedocument.presentationml.slideLayout+xml"/>
  <Override PartName="/ppt/slideLayouts/slideLayout8323.xml" ContentType="application/vnd.openxmlformats-officedocument.presentationml.slideLayout+xml"/>
  <Override PartName="/ppt/slideLayouts/slideLayout8324.xml" ContentType="application/vnd.openxmlformats-officedocument.presentationml.slideLayout+xml"/>
  <Override PartName="/ppt/slideLayouts/slideLayout8325.xml" ContentType="application/vnd.openxmlformats-officedocument.presentationml.slideLayout+xml"/>
  <Override PartName="/ppt/slideLayouts/slideLayout8326.xml" ContentType="application/vnd.openxmlformats-officedocument.presentationml.slideLayout+xml"/>
  <Override PartName="/ppt/slideLayouts/slideLayout8327.xml" ContentType="application/vnd.openxmlformats-officedocument.presentationml.slideLayout+xml"/>
  <Override PartName="/ppt/slideLayouts/slideLayout8328.xml" ContentType="application/vnd.openxmlformats-officedocument.presentationml.slideLayout+xml"/>
  <Override PartName="/ppt/slideLayouts/slideLayout8329.xml" ContentType="application/vnd.openxmlformats-officedocument.presentationml.slideLayout+xml"/>
  <Override PartName="/ppt/slideLayouts/slideLayout8330.xml" ContentType="application/vnd.openxmlformats-officedocument.presentationml.slideLayout+xml"/>
  <Override PartName="/ppt/slideLayouts/slideLayout8331.xml" ContentType="application/vnd.openxmlformats-officedocument.presentationml.slideLayout+xml"/>
  <Override PartName="/ppt/slideLayouts/slideLayout8332.xml" ContentType="application/vnd.openxmlformats-officedocument.presentationml.slideLayout+xml"/>
  <Override PartName="/ppt/slideLayouts/slideLayout8333.xml" ContentType="application/vnd.openxmlformats-officedocument.presentationml.slideLayout+xml"/>
  <Override PartName="/ppt/slideLayouts/slideLayout8334.xml" ContentType="application/vnd.openxmlformats-officedocument.presentationml.slideLayout+xml"/>
  <Override PartName="/ppt/slideLayouts/slideLayout8335.xml" ContentType="application/vnd.openxmlformats-officedocument.presentationml.slideLayout+xml"/>
  <Override PartName="/ppt/slideLayouts/slideLayout8336.xml" ContentType="application/vnd.openxmlformats-officedocument.presentationml.slideLayout+xml"/>
  <Override PartName="/ppt/slideLayouts/slideLayout8337.xml" ContentType="application/vnd.openxmlformats-officedocument.presentationml.slideLayout+xml"/>
  <Override PartName="/ppt/slideLayouts/slideLayout8338.xml" ContentType="application/vnd.openxmlformats-officedocument.presentationml.slideLayout+xml"/>
  <Override PartName="/ppt/slideLayouts/slideLayout8339.xml" ContentType="application/vnd.openxmlformats-officedocument.presentationml.slideLayout+xml"/>
  <Override PartName="/ppt/slideLayouts/slideLayout8340.xml" ContentType="application/vnd.openxmlformats-officedocument.presentationml.slideLayout+xml"/>
  <Override PartName="/ppt/slideLayouts/slideLayout8341.xml" ContentType="application/vnd.openxmlformats-officedocument.presentationml.slideLayout+xml"/>
  <Override PartName="/ppt/slideLayouts/slideLayout8342.xml" ContentType="application/vnd.openxmlformats-officedocument.presentationml.slideLayout+xml"/>
  <Override PartName="/ppt/slideLayouts/slideLayout8343.xml" ContentType="application/vnd.openxmlformats-officedocument.presentationml.slideLayout+xml"/>
  <Override PartName="/ppt/slideLayouts/slideLayout8344.xml" ContentType="application/vnd.openxmlformats-officedocument.presentationml.slideLayout+xml"/>
  <Override PartName="/ppt/slideLayouts/slideLayout8345.xml" ContentType="application/vnd.openxmlformats-officedocument.presentationml.slideLayout+xml"/>
  <Override PartName="/ppt/slideLayouts/slideLayout8346.xml" ContentType="application/vnd.openxmlformats-officedocument.presentationml.slideLayout+xml"/>
  <Override PartName="/ppt/slideLayouts/slideLayout8347.xml" ContentType="application/vnd.openxmlformats-officedocument.presentationml.slideLayout+xml"/>
  <Override PartName="/ppt/slideLayouts/slideLayout8348.xml" ContentType="application/vnd.openxmlformats-officedocument.presentationml.slideLayout+xml"/>
  <Override PartName="/ppt/slideLayouts/slideLayout8349.xml" ContentType="application/vnd.openxmlformats-officedocument.presentationml.slideLayout+xml"/>
  <Override PartName="/ppt/slideLayouts/slideLayout8350.xml" ContentType="application/vnd.openxmlformats-officedocument.presentationml.slideLayout+xml"/>
  <Override PartName="/ppt/slideLayouts/slideLayout8351.xml" ContentType="application/vnd.openxmlformats-officedocument.presentationml.slideLayout+xml"/>
  <Override PartName="/ppt/slideLayouts/slideLayout8352.xml" ContentType="application/vnd.openxmlformats-officedocument.presentationml.slideLayout+xml"/>
  <Override PartName="/ppt/slideLayouts/slideLayout8353.xml" ContentType="application/vnd.openxmlformats-officedocument.presentationml.slideLayout+xml"/>
  <Override PartName="/ppt/slideLayouts/slideLayout8354.xml" ContentType="application/vnd.openxmlformats-officedocument.presentationml.slideLayout+xml"/>
  <Override PartName="/ppt/slideLayouts/slideLayout8355.xml" ContentType="application/vnd.openxmlformats-officedocument.presentationml.slideLayout+xml"/>
  <Override PartName="/ppt/slideLayouts/slideLayout8356.xml" ContentType="application/vnd.openxmlformats-officedocument.presentationml.slideLayout+xml"/>
  <Override PartName="/ppt/slideLayouts/slideLayout8357.xml" ContentType="application/vnd.openxmlformats-officedocument.presentationml.slideLayout+xml"/>
  <Override PartName="/ppt/slideLayouts/slideLayout8358.xml" ContentType="application/vnd.openxmlformats-officedocument.presentationml.slideLayout+xml"/>
  <Override PartName="/ppt/slideLayouts/slideLayout8359.xml" ContentType="application/vnd.openxmlformats-officedocument.presentationml.slideLayout+xml"/>
  <Override PartName="/ppt/slideLayouts/slideLayout8360.xml" ContentType="application/vnd.openxmlformats-officedocument.presentationml.slideLayout+xml"/>
  <Override PartName="/ppt/slideLayouts/slideLayout8361.xml" ContentType="application/vnd.openxmlformats-officedocument.presentationml.slideLayout+xml"/>
  <Override PartName="/ppt/slideLayouts/slideLayout8362.xml" ContentType="application/vnd.openxmlformats-officedocument.presentationml.slideLayout+xml"/>
  <Override PartName="/ppt/slideLayouts/slideLayout8363.xml" ContentType="application/vnd.openxmlformats-officedocument.presentationml.slideLayout+xml"/>
  <Override PartName="/ppt/slideLayouts/slideLayout8364.xml" ContentType="application/vnd.openxmlformats-officedocument.presentationml.slideLayout+xml"/>
  <Override PartName="/ppt/slideLayouts/slideLayout8365.xml" ContentType="application/vnd.openxmlformats-officedocument.presentationml.slideLayout+xml"/>
  <Override PartName="/ppt/slideLayouts/slideLayout8366.xml" ContentType="application/vnd.openxmlformats-officedocument.presentationml.slideLayout+xml"/>
  <Override PartName="/ppt/slideLayouts/slideLayout8367.xml" ContentType="application/vnd.openxmlformats-officedocument.presentationml.slideLayout+xml"/>
  <Override PartName="/ppt/slideLayouts/slideLayout8368.xml" ContentType="application/vnd.openxmlformats-officedocument.presentationml.slideLayout+xml"/>
  <Override PartName="/ppt/slideLayouts/slideLayout8369.xml" ContentType="application/vnd.openxmlformats-officedocument.presentationml.slideLayout+xml"/>
  <Override PartName="/ppt/slideLayouts/slideLayout8370.xml" ContentType="application/vnd.openxmlformats-officedocument.presentationml.slideLayout+xml"/>
  <Override PartName="/ppt/slideLayouts/slideLayout8371.xml" ContentType="application/vnd.openxmlformats-officedocument.presentationml.slideLayout+xml"/>
  <Override PartName="/ppt/slideLayouts/slideLayout8372.xml" ContentType="application/vnd.openxmlformats-officedocument.presentationml.slideLayout+xml"/>
  <Override PartName="/ppt/slideLayouts/slideLayout8373.xml" ContentType="application/vnd.openxmlformats-officedocument.presentationml.slideLayout+xml"/>
  <Override PartName="/ppt/slideLayouts/slideLayout8374.xml" ContentType="application/vnd.openxmlformats-officedocument.presentationml.slideLayout+xml"/>
  <Override PartName="/ppt/slideLayouts/slideLayout8375.xml" ContentType="application/vnd.openxmlformats-officedocument.presentationml.slideLayout+xml"/>
  <Override PartName="/ppt/slideLayouts/slideLayout8376.xml" ContentType="application/vnd.openxmlformats-officedocument.presentationml.slideLayout+xml"/>
  <Override PartName="/ppt/slideLayouts/slideLayout8377.xml" ContentType="application/vnd.openxmlformats-officedocument.presentationml.slideLayout+xml"/>
  <Override PartName="/ppt/slideLayouts/slideLayout8378.xml" ContentType="application/vnd.openxmlformats-officedocument.presentationml.slideLayout+xml"/>
  <Override PartName="/ppt/slideLayouts/slideLayout8379.xml" ContentType="application/vnd.openxmlformats-officedocument.presentationml.slideLayout+xml"/>
  <Override PartName="/ppt/slideLayouts/slideLayout8380.xml" ContentType="application/vnd.openxmlformats-officedocument.presentationml.slideLayout+xml"/>
  <Override PartName="/ppt/slideLayouts/slideLayout8381.xml" ContentType="application/vnd.openxmlformats-officedocument.presentationml.slideLayout+xml"/>
  <Override PartName="/ppt/slideLayouts/slideLayout8382.xml" ContentType="application/vnd.openxmlformats-officedocument.presentationml.slideLayout+xml"/>
  <Override PartName="/ppt/slideLayouts/slideLayout8383.xml" ContentType="application/vnd.openxmlformats-officedocument.presentationml.slideLayout+xml"/>
  <Override PartName="/ppt/slideLayouts/slideLayout8384.xml" ContentType="application/vnd.openxmlformats-officedocument.presentationml.slideLayout+xml"/>
  <Override PartName="/ppt/slideLayouts/slideLayout8385.xml" ContentType="application/vnd.openxmlformats-officedocument.presentationml.slideLayout+xml"/>
  <Override PartName="/ppt/slideLayouts/slideLayout8386.xml" ContentType="application/vnd.openxmlformats-officedocument.presentationml.slideLayout+xml"/>
  <Override PartName="/ppt/slideLayouts/slideLayout8387.xml" ContentType="application/vnd.openxmlformats-officedocument.presentationml.slideLayout+xml"/>
  <Override PartName="/ppt/slideLayouts/slideLayout8388.xml" ContentType="application/vnd.openxmlformats-officedocument.presentationml.slideLayout+xml"/>
  <Override PartName="/ppt/slideLayouts/slideLayout8389.xml" ContentType="application/vnd.openxmlformats-officedocument.presentationml.slideLayout+xml"/>
  <Override PartName="/ppt/slideLayouts/slideLayout8390.xml" ContentType="application/vnd.openxmlformats-officedocument.presentationml.slideLayout+xml"/>
  <Override PartName="/ppt/slideLayouts/slideLayout8391.xml" ContentType="application/vnd.openxmlformats-officedocument.presentationml.slideLayout+xml"/>
  <Override PartName="/ppt/slideLayouts/slideLayout8392.xml" ContentType="application/vnd.openxmlformats-officedocument.presentationml.slideLayout+xml"/>
  <Override PartName="/ppt/slideLayouts/slideLayout8393.xml" ContentType="application/vnd.openxmlformats-officedocument.presentationml.slideLayout+xml"/>
  <Override PartName="/ppt/slideLayouts/slideLayout8394.xml" ContentType="application/vnd.openxmlformats-officedocument.presentationml.slideLayout+xml"/>
  <Override PartName="/ppt/slideLayouts/slideLayout8395.xml" ContentType="application/vnd.openxmlformats-officedocument.presentationml.slideLayout+xml"/>
  <Override PartName="/ppt/slideLayouts/slideLayout8396.xml" ContentType="application/vnd.openxmlformats-officedocument.presentationml.slideLayout+xml"/>
  <Override PartName="/ppt/slideLayouts/slideLayout8397.xml" ContentType="application/vnd.openxmlformats-officedocument.presentationml.slideLayout+xml"/>
  <Override PartName="/ppt/slideLayouts/slideLayout8398.xml" ContentType="application/vnd.openxmlformats-officedocument.presentationml.slideLayout+xml"/>
  <Override PartName="/ppt/slideLayouts/slideLayout8399.xml" ContentType="application/vnd.openxmlformats-officedocument.presentationml.slideLayout+xml"/>
  <Override PartName="/ppt/slideLayouts/slideLayout8400.xml" ContentType="application/vnd.openxmlformats-officedocument.presentationml.slideLayout+xml"/>
  <Override PartName="/ppt/slideLayouts/slideLayout8401.xml" ContentType="application/vnd.openxmlformats-officedocument.presentationml.slideLayout+xml"/>
  <Override PartName="/ppt/slideLayouts/slideLayout8402.xml" ContentType="application/vnd.openxmlformats-officedocument.presentationml.slideLayout+xml"/>
  <Override PartName="/ppt/slideLayouts/slideLayout8403.xml" ContentType="application/vnd.openxmlformats-officedocument.presentationml.slideLayout+xml"/>
  <Override PartName="/ppt/slideLayouts/slideLayout8404.xml" ContentType="application/vnd.openxmlformats-officedocument.presentationml.slideLayout+xml"/>
  <Override PartName="/ppt/slideLayouts/slideLayout8405.xml" ContentType="application/vnd.openxmlformats-officedocument.presentationml.slideLayout+xml"/>
  <Override PartName="/ppt/slideLayouts/slideLayout8406.xml" ContentType="application/vnd.openxmlformats-officedocument.presentationml.slideLayout+xml"/>
  <Override PartName="/ppt/slideLayouts/slideLayout8407.xml" ContentType="application/vnd.openxmlformats-officedocument.presentationml.slideLayout+xml"/>
  <Override PartName="/ppt/slideLayouts/slideLayout8408.xml" ContentType="application/vnd.openxmlformats-officedocument.presentationml.slideLayout+xml"/>
  <Override PartName="/ppt/slideLayouts/slideLayout8409.xml" ContentType="application/vnd.openxmlformats-officedocument.presentationml.slideLayout+xml"/>
  <Override PartName="/ppt/slideLayouts/slideLayout8410.xml" ContentType="application/vnd.openxmlformats-officedocument.presentationml.slideLayout+xml"/>
  <Override PartName="/ppt/slideLayouts/slideLayout8411.xml" ContentType="application/vnd.openxmlformats-officedocument.presentationml.slideLayout+xml"/>
  <Override PartName="/ppt/slideLayouts/slideLayout8412.xml" ContentType="application/vnd.openxmlformats-officedocument.presentationml.slideLayout+xml"/>
  <Override PartName="/ppt/slideLayouts/slideLayout8413.xml" ContentType="application/vnd.openxmlformats-officedocument.presentationml.slideLayout+xml"/>
  <Override PartName="/ppt/slideLayouts/slideLayout8414.xml" ContentType="application/vnd.openxmlformats-officedocument.presentationml.slideLayout+xml"/>
  <Override PartName="/ppt/slideLayouts/slideLayout8415.xml" ContentType="application/vnd.openxmlformats-officedocument.presentationml.slideLayout+xml"/>
  <Override PartName="/ppt/slideLayouts/slideLayout8416.xml" ContentType="application/vnd.openxmlformats-officedocument.presentationml.slideLayout+xml"/>
  <Override PartName="/ppt/slideLayouts/slideLayout8417.xml" ContentType="application/vnd.openxmlformats-officedocument.presentationml.slideLayout+xml"/>
  <Override PartName="/ppt/slideLayouts/slideLayout8418.xml" ContentType="application/vnd.openxmlformats-officedocument.presentationml.slideLayout+xml"/>
  <Override PartName="/ppt/slideLayouts/slideLayout8419.xml" ContentType="application/vnd.openxmlformats-officedocument.presentationml.slideLayout+xml"/>
  <Override PartName="/ppt/slideLayouts/slideLayout8420.xml" ContentType="application/vnd.openxmlformats-officedocument.presentationml.slideLayout+xml"/>
  <Override PartName="/ppt/slideLayouts/slideLayout8421.xml" ContentType="application/vnd.openxmlformats-officedocument.presentationml.slideLayout+xml"/>
  <Override PartName="/ppt/slideLayouts/slideLayout8422.xml" ContentType="application/vnd.openxmlformats-officedocument.presentationml.slideLayout+xml"/>
  <Override PartName="/ppt/slideLayouts/slideLayout8423.xml" ContentType="application/vnd.openxmlformats-officedocument.presentationml.slideLayout+xml"/>
  <Override PartName="/ppt/slideLayouts/slideLayout8424.xml" ContentType="application/vnd.openxmlformats-officedocument.presentationml.slideLayout+xml"/>
  <Override PartName="/ppt/slideLayouts/slideLayout8425.xml" ContentType="application/vnd.openxmlformats-officedocument.presentationml.slideLayout+xml"/>
  <Override PartName="/ppt/slideLayouts/slideLayout8426.xml" ContentType="application/vnd.openxmlformats-officedocument.presentationml.slideLayout+xml"/>
  <Override PartName="/ppt/slideLayouts/slideLayout8427.xml" ContentType="application/vnd.openxmlformats-officedocument.presentationml.slideLayout+xml"/>
  <Override PartName="/ppt/slideLayouts/slideLayout8428.xml" ContentType="application/vnd.openxmlformats-officedocument.presentationml.slideLayout+xml"/>
  <Override PartName="/ppt/slideLayouts/slideLayout8429.xml" ContentType="application/vnd.openxmlformats-officedocument.presentationml.slideLayout+xml"/>
  <Override PartName="/ppt/slideLayouts/slideLayout8430.xml" ContentType="application/vnd.openxmlformats-officedocument.presentationml.slideLayout+xml"/>
  <Override PartName="/ppt/slideLayouts/slideLayout8431.xml" ContentType="application/vnd.openxmlformats-officedocument.presentationml.slideLayout+xml"/>
  <Override PartName="/ppt/slideLayouts/slideLayout8432.xml" ContentType="application/vnd.openxmlformats-officedocument.presentationml.slideLayout+xml"/>
  <Override PartName="/ppt/slideLayouts/slideLayout8433.xml" ContentType="application/vnd.openxmlformats-officedocument.presentationml.slideLayout+xml"/>
  <Override PartName="/ppt/slideLayouts/slideLayout8434.xml" ContentType="application/vnd.openxmlformats-officedocument.presentationml.slideLayout+xml"/>
  <Override PartName="/ppt/slideLayouts/slideLayout8435.xml" ContentType="application/vnd.openxmlformats-officedocument.presentationml.slideLayout+xml"/>
  <Override PartName="/ppt/slideLayouts/slideLayout8436.xml" ContentType="application/vnd.openxmlformats-officedocument.presentationml.slideLayout+xml"/>
  <Override PartName="/ppt/slideLayouts/slideLayout8437.xml" ContentType="application/vnd.openxmlformats-officedocument.presentationml.slideLayout+xml"/>
  <Override PartName="/ppt/slideLayouts/slideLayout8438.xml" ContentType="application/vnd.openxmlformats-officedocument.presentationml.slideLayout+xml"/>
  <Override PartName="/ppt/slideLayouts/slideLayout8439.xml" ContentType="application/vnd.openxmlformats-officedocument.presentationml.slideLayout+xml"/>
  <Override PartName="/ppt/slideLayouts/slideLayout8440.xml" ContentType="application/vnd.openxmlformats-officedocument.presentationml.slideLayout+xml"/>
  <Override PartName="/ppt/slideLayouts/slideLayout8441.xml" ContentType="application/vnd.openxmlformats-officedocument.presentationml.slideLayout+xml"/>
  <Override PartName="/ppt/slideLayouts/slideLayout8442.xml" ContentType="application/vnd.openxmlformats-officedocument.presentationml.slideLayout+xml"/>
  <Override PartName="/ppt/slideLayouts/slideLayout8443.xml" ContentType="application/vnd.openxmlformats-officedocument.presentationml.slideLayout+xml"/>
  <Override PartName="/ppt/slideLayouts/slideLayout8444.xml" ContentType="application/vnd.openxmlformats-officedocument.presentationml.slideLayout+xml"/>
  <Override PartName="/ppt/slideLayouts/slideLayout8445.xml" ContentType="application/vnd.openxmlformats-officedocument.presentationml.slideLayout+xml"/>
  <Override PartName="/ppt/slideLayouts/slideLayout8446.xml" ContentType="application/vnd.openxmlformats-officedocument.presentationml.slideLayout+xml"/>
  <Override PartName="/ppt/slideLayouts/slideLayout8447.xml" ContentType="application/vnd.openxmlformats-officedocument.presentationml.slideLayout+xml"/>
  <Override PartName="/ppt/slideLayouts/slideLayout8448.xml" ContentType="application/vnd.openxmlformats-officedocument.presentationml.slideLayout+xml"/>
  <Override PartName="/ppt/slideLayouts/slideLayout8449.xml" ContentType="application/vnd.openxmlformats-officedocument.presentationml.slideLayout+xml"/>
  <Override PartName="/ppt/slideLayouts/slideLayout8450.xml" ContentType="application/vnd.openxmlformats-officedocument.presentationml.slideLayout+xml"/>
  <Override PartName="/ppt/slideLayouts/slideLayout8451.xml" ContentType="application/vnd.openxmlformats-officedocument.presentationml.slideLayout+xml"/>
  <Override PartName="/ppt/slideLayouts/slideLayout8452.xml" ContentType="application/vnd.openxmlformats-officedocument.presentationml.slideLayout+xml"/>
  <Override PartName="/ppt/slideLayouts/slideLayout8453.xml" ContentType="application/vnd.openxmlformats-officedocument.presentationml.slideLayout+xml"/>
  <Override PartName="/ppt/slideLayouts/slideLayout8454.xml" ContentType="application/vnd.openxmlformats-officedocument.presentationml.slideLayout+xml"/>
  <Override PartName="/ppt/slideLayouts/slideLayout8455.xml" ContentType="application/vnd.openxmlformats-officedocument.presentationml.slideLayout+xml"/>
  <Override PartName="/ppt/slideLayouts/slideLayout8456.xml" ContentType="application/vnd.openxmlformats-officedocument.presentationml.slideLayout+xml"/>
  <Override PartName="/ppt/slideLayouts/slideLayout8457.xml" ContentType="application/vnd.openxmlformats-officedocument.presentationml.slideLayout+xml"/>
  <Override PartName="/ppt/slideLayouts/slideLayout8458.xml" ContentType="application/vnd.openxmlformats-officedocument.presentationml.slideLayout+xml"/>
  <Override PartName="/ppt/slideLayouts/slideLayout8459.xml" ContentType="application/vnd.openxmlformats-officedocument.presentationml.slideLayout+xml"/>
  <Override PartName="/ppt/slideLayouts/slideLayout8460.xml" ContentType="application/vnd.openxmlformats-officedocument.presentationml.slideLayout+xml"/>
  <Override PartName="/ppt/slideLayouts/slideLayout8461.xml" ContentType="application/vnd.openxmlformats-officedocument.presentationml.slideLayout+xml"/>
  <Override PartName="/ppt/slideLayouts/slideLayout8462.xml" ContentType="application/vnd.openxmlformats-officedocument.presentationml.slideLayout+xml"/>
  <Override PartName="/ppt/slideLayouts/slideLayout8463.xml" ContentType="application/vnd.openxmlformats-officedocument.presentationml.slideLayout+xml"/>
  <Override PartName="/ppt/slideLayouts/slideLayout8464.xml" ContentType="application/vnd.openxmlformats-officedocument.presentationml.slideLayout+xml"/>
  <Override PartName="/ppt/slideLayouts/slideLayout8465.xml" ContentType="application/vnd.openxmlformats-officedocument.presentationml.slideLayout+xml"/>
  <Override PartName="/ppt/slideLayouts/slideLayout8466.xml" ContentType="application/vnd.openxmlformats-officedocument.presentationml.slideLayout+xml"/>
  <Override PartName="/ppt/slideLayouts/slideLayout8467.xml" ContentType="application/vnd.openxmlformats-officedocument.presentationml.slideLayout+xml"/>
  <Override PartName="/ppt/slideLayouts/slideLayout8468.xml" ContentType="application/vnd.openxmlformats-officedocument.presentationml.slideLayout+xml"/>
  <Override PartName="/ppt/slideLayouts/slideLayout8469.xml" ContentType="application/vnd.openxmlformats-officedocument.presentationml.slideLayout+xml"/>
  <Override PartName="/ppt/slideLayouts/slideLayout8470.xml" ContentType="application/vnd.openxmlformats-officedocument.presentationml.slideLayout+xml"/>
  <Override PartName="/ppt/slideLayouts/slideLayout8471.xml" ContentType="application/vnd.openxmlformats-officedocument.presentationml.slideLayout+xml"/>
  <Override PartName="/ppt/slideLayouts/slideLayout8472.xml" ContentType="application/vnd.openxmlformats-officedocument.presentationml.slideLayout+xml"/>
  <Override PartName="/ppt/slideLayouts/slideLayout8473.xml" ContentType="application/vnd.openxmlformats-officedocument.presentationml.slideLayout+xml"/>
  <Override PartName="/ppt/slideLayouts/slideLayout8474.xml" ContentType="application/vnd.openxmlformats-officedocument.presentationml.slideLayout+xml"/>
  <Override PartName="/ppt/slideLayouts/slideLayout8475.xml" ContentType="application/vnd.openxmlformats-officedocument.presentationml.slideLayout+xml"/>
  <Override PartName="/ppt/slideLayouts/slideLayout8476.xml" ContentType="application/vnd.openxmlformats-officedocument.presentationml.slideLayout+xml"/>
  <Override PartName="/ppt/slideLayouts/slideLayout8477.xml" ContentType="application/vnd.openxmlformats-officedocument.presentationml.slideLayout+xml"/>
  <Override PartName="/ppt/slideLayouts/slideLayout8478.xml" ContentType="application/vnd.openxmlformats-officedocument.presentationml.slideLayout+xml"/>
  <Override PartName="/ppt/slideLayouts/slideLayout8479.xml" ContentType="application/vnd.openxmlformats-officedocument.presentationml.slideLayout+xml"/>
  <Override PartName="/ppt/slideLayouts/slideLayout8480.xml" ContentType="application/vnd.openxmlformats-officedocument.presentationml.slideLayout+xml"/>
  <Override PartName="/ppt/slideLayouts/slideLayout8481.xml" ContentType="application/vnd.openxmlformats-officedocument.presentationml.slideLayout+xml"/>
  <Override PartName="/ppt/slideLayouts/slideLayout8482.xml" ContentType="application/vnd.openxmlformats-officedocument.presentationml.slideLayout+xml"/>
  <Override PartName="/ppt/slideLayouts/slideLayout8483.xml" ContentType="application/vnd.openxmlformats-officedocument.presentationml.slideLayout+xml"/>
  <Override PartName="/ppt/slideLayouts/slideLayout8484.xml" ContentType="application/vnd.openxmlformats-officedocument.presentationml.slideLayout+xml"/>
  <Override PartName="/ppt/slideLayouts/slideLayout8485.xml" ContentType="application/vnd.openxmlformats-officedocument.presentationml.slideLayout+xml"/>
  <Override PartName="/ppt/slideLayouts/slideLayout8486.xml" ContentType="application/vnd.openxmlformats-officedocument.presentationml.slideLayout+xml"/>
  <Override PartName="/ppt/slideLayouts/slideLayout8487.xml" ContentType="application/vnd.openxmlformats-officedocument.presentationml.slideLayout+xml"/>
  <Override PartName="/ppt/slideLayouts/slideLayout8488.xml" ContentType="application/vnd.openxmlformats-officedocument.presentationml.slideLayout+xml"/>
  <Override PartName="/ppt/slideLayouts/slideLayout8489.xml" ContentType="application/vnd.openxmlformats-officedocument.presentationml.slideLayout+xml"/>
  <Override PartName="/ppt/slideLayouts/slideLayout8490.xml" ContentType="application/vnd.openxmlformats-officedocument.presentationml.slideLayout+xml"/>
  <Override PartName="/ppt/slideLayouts/slideLayout8491.xml" ContentType="application/vnd.openxmlformats-officedocument.presentationml.slideLayout+xml"/>
  <Override PartName="/ppt/slideLayouts/slideLayout8492.xml" ContentType="application/vnd.openxmlformats-officedocument.presentationml.slideLayout+xml"/>
  <Override PartName="/ppt/slideLayouts/slideLayout8493.xml" ContentType="application/vnd.openxmlformats-officedocument.presentationml.slideLayout+xml"/>
  <Override PartName="/ppt/slideLayouts/slideLayout8494.xml" ContentType="application/vnd.openxmlformats-officedocument.presentationml.slideLayout+xml"/>
  <Override PartName="/ppt/slideLayouts/slideLayout8495.xml" ContentType="application/vnd.openxmlformats-officedocument.presentationml.slideLayout+xml"/>
  <Override PartName="/ppt/slideLayouts/slideLayout8496.xml" ContentType="application/vnd.openxmlformats-officedocument.presentationml.slideLayout+xml"/>
  <Override PartName="/ppt/slideLayouts/slideLayout8497.xml" ContentType="application/vnd.openxmlformats-officedocument.presentationml.slideLayout+xml"/>
  <Override PartName="/ppt/slideLayouts/slideLayout8498.xml" ContentType="application/vnd.openxmlformats-officedocument.presentationml.slideLayout+xml"/>
  <Override PartName="/ppt/slideLayouts/slideLayout8499.xml" ContentType="application/vnd.openxmlformats-officedocument.presentationml.slideLayout+xml"/>
  <Override PartName="/ppt/slideLayouts/slideLayout8500.xml" ContentType="application/vnd.openxmlformats-officedocument.presentationml.slideLayout+xml"/>
  <Override PartName="/ppt/slideLayouts/slideLayout8501.xml" ContentType="application/vnd.openxmlformats-officedocument.presentationml.slideLayout+xml"/>
  <Override PartName="/ppt/slideLayouts/slideLayout8502.xml" ContentType="application/vnd.openxmlformats-officedocument.presentationml.slideLayout+xml"/>
  <Override PartName="/ppt/slideLayouts/slideLayout8503.xml" ContentType="application/vnd.openxmlformats-officedocument.presentationml.slideLayout+xml"/>
  <Override PartName="/ppt/slideLayouts/slideLayout8504.xml" ContentType="application/vnd.openxmlformats-officedocument.presentationml.slideLayout+xml"/>
  <Override PartName="/ppt/slideLayouts/slideLayout8505.xml" ContentType="application/vnd.openxmlformats-officedocument.presentationml.slideLayout+xml"/>
  <Override PartName="/ppt/slideLayouts/slideLayout8506.xml" ContentType="application/vnd.openxmlformats-officedocument.presentationml.slideLayout+xml"/>
  <Override PartName="/ppt/slideLayouts/slideLayout8507.xml" ContentType="application/vnd.openxmlformats-officedocument.presentationml.slideLayout+xml"/>
  <Override PartName="/ppt/slideLayouts/slideLayout8508.xml" ContentType="application/vnd.openxmlformats-officedocument.presentationml.slideLayout+xml"/>
  <Override PartName="/ppt/slideLayouts/slideLayout8509.xml" ContentType="application/vnd.openxmlformats-officedocument.presentationml.slideLayout+xml"/>
  <Override PartName="/ppt/slideLayouts/slideLayout8510.xml" ContentType="application/vnd.openxmlformats-officedocument.presentationml.slideLayout+xml"/>
  <Override PartName="/ppt/slideLayouts/slideLayout8511.xml" ContentType="application/vnd.openxmlformats-officedocument.presentationml.slideLayout+xml"/>
  <Override PartName="/ppt/slideLayouts/slideLayout8512.xml" ContentType="application/vnd.openxmlformats-officedocument.presentationml.slideLayout+xml"/>
  <Override PartName="/ppt/slideLayouts/slideLayout8513.xml" ContentType="application/vnd.openxmlformats-officedocument.presentationml.slideLayout+xml"/>
  <Override PartName="/ppt/slideLayouts/slideLayout8514.xml" ContentType="application/vnd.openxmlformats-officedocument.presentationml.slideLayout+xml"/>
  <Override PartName="/ppt/slideLayouts/slideLayout8515.xml" ContentType="application/vnd.openxmlformats-officedocument.presentationml.slideLayout+xml"/>
  <Override PartName="/ppt/slideLayouts/slideLayout8516.xml" ContentType="application/vnd.openxmlformats-officedocument.presentationml.slideLayout+xml"/>
  <Override PartName="/ppt/slideLayouts/slideLayout8517.xml" ContentType="application/vnd.openxmlformats-officedocument.presentationml.slideLayout+xml"/>
  <Override PartName="/ppt/slideLayouts/slideLayout8518.xml" ContentType="application/vnd.openxmlformats-officedocument.presentationml.slideLayout+xml"/>
  <Override PartName="/ppt/slideLayouts/slideLayout8519.xml" ContentType="application/vnd.openxmlformats-officedocument.presentationml.slideLayout+xml"/>
  <Override PartName="/ppt/slideLayouts/slideLayout8520.xml" ContentType="application/vnd.openxmlformats-officedocument.presentationml.slideLayout+xml"/>
  <Override PartName="/ppt/slideLayouts/slideLayout8521.xml" ContentType="application/vnd.openxmlformats-officedocument.presentationml.slideLayout+xml"/>
  <Override PartName="/ppt/slideLayouts/slideLayout8522.xml" ContentType="application/vnd.openxmlformats-officedocument.presentationml.slideLayout+xml"/>
  <Override PartName="/ppt/slideLayouts/slideLayout8523.xml" ContentType="application/vnd.openxmlformats-officedocument.presentationml.slideLayout+xml"/>
  <Override PartName="/ppt/slideLayouts/slideLayout8524.xml" ContentType="application/vnd.openxmlformats-officedocument.presentationml.slideLayout+xml"/>
  <Override PartName="/ppt/slideLayouts/slideLayout8525.xml" ContentType="application/vnd.openxmlformats-officedocument.presentationml.slideLayout+xml"/>
  <Override PartName="/ppt/slideLayouts/slideLayout8526.xml" ContentType="application/vnd.openxmlformats-officedocument.presentationml.slideLayout+xml"/>
  <Override PartName="/ppt/slideLayouts/slideLayout8527.xml" ContentType="application/vnd.openxmlformats-officedocument.presentationml.slideLayout+xml"/>
  <Override PartName="/ppt/slideLayouts/slideLayout8528.xml" ContentType="application/vnd.openxmlformats-officedocument.presentationml.slideLayout+xml"/>
  <Override PartName="/ppt/slideLayouts/slideLayout8529.xml" ContentType="application/vnd.openxmlformats-officedocument.presentationml.slideLayout+xml"/>
  <Override PartName="/ppt/slideLayouts/slideLayout8530.xml" ContentType="application/vnd.openxmlformats-officedocument.presentationml.slideLayout+xml"/>
  <Override PartName="/ppt/slideLayouts/slideLayout8531.xml" ContentType="application/vnd.openxmlformats-officedocument.presentationml.slideLayout+xml"/>
  <Override PartName="/ppt/slideLayouts/slideLayout8532.xml" ContentType="application/vnd.openxmlformats-officedocument.presentationml.slideLayout+xml"/>
  <Override PartName="/ppt/slideLayouts/slideLayout8533.xml" ContentType="application/vnd.openxmlformats-officedocument.presentationml.slideLayout+xml"/>
  <Override PartName="/ppt/slideLayouts/slideLayout8534.xml" ContentType="application/vnd.openxmlformats-officedocument.presentationml.slideLayout+xml"/>
  <Override PartName="/ppt/slideLayouts/slideLayout8535.xml" ContentType="application/vnd.openxmlformats-officedocument.presentationml.slideLayout+xml"/>
  <Override PartName="/ppt/slideLayouts/slideLayout8536.xml" ContentType="application/vnd.openxmlformats-officedocument.presentationml.slideLayout+xml"/>
  <Override PartName="/ppt/slideLayouts/slideLayout8537.xml" ContentType="application/vnd.openxmlformats-officedocument.presentationml.slideLayout+xml"/>
  <Override PartName="/ppt/slideLayouts/slideLayout8538.xml" ContentType="application/vnd.openxmlformats-officedocument.presentationml.slideLayout+xml"/>
  <Override PartName="/ppt/slideLayouts/slideLayout8539.xml" ContentType="application/vnd.openxmlformats-officedocument.presentationml.slideLayout+xml"/>
  <Override PartName="/ppt/slideLayouts/slideLayout8540.xml" ContentType="application/vnd.openxmlformats-officedocument.presentationml.slideLayout+xml"/>
  <Override PartName="/ppt/slideLayouts/slideLayout8541.xml" ContentType="application/vnd.openxmlformats-officedocument.presentationml.slideLayout+xml"/>
  <Override PartName="/ppt/slideLayouts/slideLayout8542.xml" ContentType="application/vnd.openxmlformats-officedocument.presentationml.slideLayout+xml"/>
  <Override PartName="/ppt/slideLayouts/slideLayout8543.xml" ContentType="application/vnd.openxmlformats-officedocument.presentationml.slideLayout+xml"/>
  <Override PartName="/ppt/slideLayouts/slideLayout8544.xml" ContentType="application/vnd.openxmlformats-officedocument.presentationml.slideLayout+xml"/>
  <Override PartName="/ppt/slideLayouts/slideLayout8545.xml" ContentType="application/vnd.openxmlformats-officedocument.presentationml.slideLayout+xml"/>
  <Override PartName="/ppt/slideLayouts/slideLayout8546.xml" ContentType="application/vnd.openxmlformats-officedocument.presentationml.slideLayout+xml"/>
  <Override PartName="/ppt/slideLayouts/slideLayout8547.xml" ContentType="application/vnd.openxmlformats-officedocument.presentationml.slideLayout+xml"/>
  <Override PartName="/ppt/slideLayouts/slideLayout8548.xml" ContentType="application/vnd.openxmlformats-officedocument.presentationml.slideLayout+xml"/>
  <Override PartName="/ppt/slideLayouts/slideLayout8549.xml" ContentType="application/vnd.openxmlformats-officedocument.presentationml.slideLayout+xml"/>
  <Override PartName="/ppt/slideLayouts/slideLayout8550.xml" ContentType="application/vnd.openxmlformats-officedocument.presentationml.slideLayout+xml"/>
  <Override PartName="/ppt/slideLayouts/slideLayout8551.xml" ContentType="application/vnd.openxmlformats-officedocument.presentationml.slideLayout+xml"/>
  <Override PartName="/ppt/slideLayouts/slideLayout8552.xml" ContentType="application/vnd.openxmlformats-officedocument.presentationml.slideLayout+xml"/>
  <Override PartName="/ppt/slideLayouts/slideLayout8553.xml" ContentType="application/vnd.openxmlformats-officedocument.presentationml.slideLayout+xml"/>
  <Override PartName="/ppt/slideLayouts/slideLayout8554.xml" ContentType="application/vnd.openxmlformats-officedocument.presentationml.slideLayout+xml"/>
  <Override PartName="/ppt/slideLayouts/slideLayout8555.xml" ContentType="application/vnd.openxmlformats-officedocument.presentationml.slideLayout+xml"/>
  <Override PartName="/ppt/slideLayouts/slideLayout8556.xml" ContentType="application/vnd.openxmlformats-officedocument.presentationml.slideLayout+xml"/>
  <Override PartName="/ppt/slideLayouts/slideLayout8557.xml" ContentType="application/vnd.openxmlformats-officedocument.presentationml.slideLayout+xml"/>
  <Override PartName="/ppt/slideLayouts/slideLayout8558.xml" ContentType="application/vnd.openxmlformats-officedocument.presentationml.slideLayout+xml"/>
  <Override PartName="/ppt/slideLayouts/slideLayout8559.xml" ContentType="application/vnd.openxmlformats-officedocument.presentationml.slideLayout+xml"/>
  <Override PartName="/ppt/slideLayouts/slideLayout8560.xml" ContentType="application/vnd.openxmlformats-officedocument.presentationml.slideLayout+xml"/>
  <Override PartName="/ppt/slideLayouts/slideLayout8561.xml" ContentType="application/vnd.openxmlformats-officedocument.presentationml.slideLayout+xml"/>
  <Override PartName="/ppt/slideLayouts/slideLayout8562.xml" ContentType="application/vnd.openxmlformats-officedocument.presentationml.slideLayout+xml"/>
  <Override PartName="/ppt/slideLayouts/slideLayout8563.xml" ContentType="application/vnd.openxmlformats-officedocument.presentationml.slideLayout+xml"/>
  <Override PartName="/ppt/slideLayouts/slideLayout8564.xml" ContentType="application/vnd.openxmlformats-officedocument.presentationml.slideLayout+xml"/>
  <Override PartName="/ppt/slideLayouts/slideLayout8565.xml" ContentType="application/vnd.openxmlformats-officedocument.presentationml.slideLayout+xml"/>
  <Override PartName="/ppt/slideLayouts/slideLayout8566.xml" ContentType="application/vnd.openxmlformats-officedocument.presentationml.slideLayout+xml"/>
  <Override PartName="/ppt/slideLayouts/slideLayout8567.xml" ContentType="application/vnd.openxmlformats-officedocument.presentationml.slideLayout+xml"/>
  <Override PartName="/ppt/slideLayouts/slideLayout8568.xml" ContentType="application/vnd.openxmlformats-officedocument.presentationml.slideLayout+xml"/>
  <Override PartName="/ppt/slideLayouts/slideLayout8569.xml" ContentType="application/vnd.openxmlformats-officedocument.presentationml.slideLayout+xml"/>
  <Override PartName="/ppt/slideLayouts/slideLayout8570.xml" ContentType="application/vnd.openxmlformats-officedocument.presentationml.slideLayout+xml"/>
  <Override PartName="/ppt/slideLayouts/slideLayout8571.xml" ContentType="application/vnd.openxmlformats-officedocument.presentationml.slideLayout+xml"/>
  <Override PartName="/ppt/slideLayouts/slideLayout8572.xml" ContentType="application/vnd.openxmlformats-officedocument.presentationml.slideLayout+xml"/>
  <Override PartName="/ppt/slideLayouts/slideLayout8573.xml" ContentType="application/vnd.openxmlformats-officedocument.presentationml.slideLayout+xml"/>
  <Override PartName="/ppt/slideLayouts/slideLayout8574.xml" ContentType="application/vnd.openxmlformats-officedocument.presentationml.slideLayout+xml"/>
  <Override PartName="/ppt/slideLayouts/slideLayout8575.xml" ContentType="application/vnd.openxmlformats-officedocument.presentationml.slideLayout+xml"/>
  <Override PartName="/ppt/slideLayouts/slideLayout8576.xml" ContentType="application/vnd.openxmlformats-officedocument.presentationml.slideLayout+xml"/>
  <Override PartName="/ppt/slideLayouts/slideLayout8577.xml" ContentType="application/vnd.openxmlformats-officedocument.presentationml.slideLayout+xml"/>
  <Override PartName="/ppt/slideLayouts/slideLayout8578.xml" ContentType="application/vnd.openxmlformats-officedocument.presentationml.slideLayout+xml"/>
  <Override PartName="/ppt/slideLayouts/slideLayout8579.xml" ContentType="application/vnd.openxmlformats-officedocument.presentationml.slideLayout+xml"/>
  <Override PartName="/ppt/slideLayouts/slideLayout8580.xml" ContentType="application/vnd.openxmlformats-officedocument.presentationml.slideLayout+xml"/>
  <Override PartName="/ppt/slideLayouts/slideLayout8581.xml" ContentType="application/vnd.openxmlformats-officedocument.presentationml.slideLayout+xml"/>
  <Override PartName="/ppt/slideLayouts/slideLayout8582.xml" ContentType="application/vnd.openxmlformats-officedocument.presentationml.slideLayout+xml"/>
  <Override PartName="/ppt/slideLayouts/slideLayout8583.xml" ContentType="application/vnd.openxmlformats-officedocument.presentationml.slideLayout+xml"/>
  <Override PartName="/ppt/slideLayouts/slideLayout8584.xml" ContentType="application/vnd.openxmlformats-officedocument.presentationml.slideLayout+xml"/>
  <Override PartName="/ppt/slideLayouts/slideLayout8585.xml" ContentType="application/vnd.openxmlformats-officedocument.presentationml.slideLayout+xml"/>
  <Override PartName="/ppt/slideLayouts/slideLayout8586.xml" ContentType="application/vnd.openxmlformats-officedocument.presentationml.slideLayout+xml"/>
  <Override PartName="/ppt/slideLayouts/slideLayout8587.xml" ContentType="application/vnd.openxmlformats-officedocument.presentationml.slideLayout+xml"/>
  <Override PartName="/ppt/slideLayouts/slideLayout8588.xml" ContentType="application/vnd.openxmlformats-officedocument.presentationml.slideLayout+xml"/>
  <Override PartName="/ppt/slideLayouts/slideLayout8589.xml" ContentType="application/vnd.openxmlformats-officedocument.presentationml.slideLayout+xml"/>
  <Override PartName="/ppt/slideLayouts/slideLayout8590.xml" ContentType="application/vnd.openxmlformats-officedocument.presentationml.slideLayout+xml"/>
  <Override PartName="/ppt/slideLayouts/slideLayout8591.xml" ContentType="application/vnd.openxmlformats-officedocument.presentationml.slideLayout+xml"/>
  <Override PartName="/ppt/slideLayouts/slideLayout8592.xml" ContentType="application/vnd.openxmlformats-officedocument.presentationml.slideLayout+xml"/>
  <Override PartName="/ppt/slideLayouts/slideLayout8593.xml" ContentType="application/vnd.openxmlformats-officedocument.presentationml.slideLayout+xml"/>
  <Override PartName="/ppt/slideLayouts/slideLayout8594.xml" ContentType="application/vnd.openxmlformats-officedocument.presentationml.slideLayout+xml"/>
  <Override PartName="/ppt/slideLayouts/slideLayout8595.xml" ContentType="application/vnd.openxmlformats-officedocument.presentationml.slideLayout+xml"/>
  <Override PartName="/ppt/slideLayouts/slideLayout8596.xml" ContentType="application/vnd.openxmlformats-officedocument.presentationml.slideLayout+xml"/>
  <Override PartName="/ppt/slideLayouts/slideLayout8597.xml" ContentType="application/vnd.openxmlformats-officedocument.presentationml.slideLayout+xml"/>
  <Override PartName="/ppt/slideLayouts/slideLayout8598.xml" ContentType="application/vnd.openxmlformats-officedocument.presentationml.slideLayout+xml"/>
  <Override PartName="/ppt/slideLayouts/slideLayout8599.xml" ContentType="application/vnd.openxmlformats-officedocument.presentationml.slideLayout+xml"/>
  <Override PartName="/ppt/slideLayouts/slideLayout8600.xml" ContentType="application/vnd.openxmlformats-officedocument.presentationml.slideLayout+xml"/>
  <Override PartName="/ppt/slideLayouts/slideLayout8601.xml" ContentType="application/vnd.openxmlformats-officedocument.presentationml.slideLayout+xml"/>
  <Override PartName="/ppt/slideLayouts/slideLayout8602.xml" ContentType="application/vnd.openxmlformats-officedocument.presentationml.slideLayout+xml"/>
  <Override PartName="/ppt/slideLayouts/slideLayout8603.xml" ContentType="application/vnd.openxmlformats-officedocument.presentationml.slideLayout+xml"/>
  <Override PartName="/ppt/slideLayouts/slideLayout8604.xml" ContentType="application/vnd.openxmlformats-officedocument.presentationml.slideLayout+xml"/>
  <Override PartName="/ppt/slideLayouts/slideLayout8605.xml" ContentType="application/vnd.openxmlformats-officedocument.presentationml.slideLayout+xml"/>
  <Override PartName="/ppt/slideLayouts/slideLayout8606.xml" ContentType="application/vnd.openxmlformats-officedocument.presentationml.slideLayout+xml"/>
  <Override PartName="/ppt/slideLayouts/slideLayout8607.xml" ContentType="application/vnd.openxmlformats-officedocument.presentationml.slideLayout+xml"/>
  <Override PartName="/ppt/slideLayouts/slideLayout8608.xml" ContentType="application/vnd.openxmlformats-officedocument.presentationml.slideLayout+xml"/>
  <Override PartName="/ppt/slideLayouts/slideLayout8609.xml" ContentType="application/vnd.openxmlformats-officedocument.presentationml.slideLayout+xml"/>
  <Override PartName="/ppt/slideLayouts/slideLayout8610.xml" ContentType="application/vnd.openxmlformats-officedocument.presentationml.slideLayout+xml"/>
  <Override PartName="/ppt/slideLayouts/slideLayout8611.xml" ContentType="application/vnd.openxmlformats-officedocument.presentationml.slideLayout+xml"/>
  <Override PartName="/ppt/slideLayouts/slideLayout8612.xml" ContentType="application/vnd.openxmlformats-officedocument.presentationml.slideLayout+xml"/>
  <Override PartName="/ppt/slideLayouts/slideLayout8613.xml" ContentType="application/vnd.openxmlformats-officedocument.presentationml.slideLayout+xml"/>
  <Override PartName="/ppt/slideLayouts/slideLayout8614.xml" ContentType="application/vnd.openxmlformats-officedocument.presentationml.slideLayout+xml"/>
  <Override PartName="/ppt/slideLayouts/slideLayout8615.xml" ContentType="application/vnd.openxmlformats-officedocument.presentationml.slideLayout+xml"/>
  <Override PartName="/ppt/slideLayouts/slideLayout8616.xml" ContentType="application/vnd.openxmlformats-officedocument.presentationml.slideLayout+xml"/>
  <Override PartName="/ppt/slideLayouts/slideLayout8617.xml" ContentType="application/vnd.openxmlformats-officedocument.presentationml.slideLayout+xml"/>
  <Override PartName="/ppt/slideLayouts/slideLayout8618.xml" ContentType="application/vnd.openxmlformats-officedocument.presentationml.slideLayout+xml"/>
  <Override PartName="/ppt/slideLayouts/slideLayout8619.xml" ContentType="application/vnd.openxmlformats-officedocument.presentationml.slideLayout+xml"/>
  <Override PartName="/ppt/slideLayouts/slideLayout8620.xml" ContentType="application/vnd.openxmlformats-officedocument.presentationml.slideLayout+xml"/>
  <Override PartName="/ppt/slideLayouts/slideLayout8621.xml" ContentType="application/vnd.openxmlformats-officedocument.presentationml.slideLayout+xml"/>
  <Override PartName="/ppt/slideLayouts/slideLayout8622.xml" ContentType="application/vnd.openxmlformats-officedocument.presentationml.slideLayout+xml"/>
  <Override PartName="/ppt/slideLayouts/slideLayout8623.xml" ContentType="application/vnd.openxmlformats-officedocument.presentationml.slideLayout+xml"/>
  <Override PartName="/ppt/slideLayouts/slideLayout8624.xml" ContentType="application/vnd.openxmlformats-officedocument.presentationml.slideLayout+xml"/>
  <Override PartName="/ppt/slideLayouts/slideLayout8625.xml" ContentType="application/vnd.openxmlformats-officedocument.presentationml.slideLayout+xml"/>
  <Override PartName="/ppt/slideLayouts/slideLayout8626.xml" ContentType="application/vnd.openxmlformats-officedocument.presentationml.slideLayout+xml"/>
  <Override PartName="/ppt/slideLayouts/slideLayout8627.xml" ContentType="application/vnd.openxmlformats-officedocument.presentationml.slideLayout+xml"/>
  <Override PartName="/ppt/slideLayouts/slideLayout8628.xml" ContentType="application/vnd.openxmlformats-officedocument.presentationml.slideLayout+xml"/>
  <Override PartName="/ppt/slideLayouts/slideLayout8629.xml" ContentType="application/vnd.openxmlformats-officedocument.presentationml.slideLayout+xml"/>
  <Override PartName="/ppt/slideLayouts/slideLayout8630.xml" ContentType="application/vnd.openxmlformats-officedocument.presentationml.slideLayout+xml"/>
  <Override PartName="/ppt/slideLayouts/slideLayout8631.xml" ContentType="application/vnd.openxmlformats-officedocument.presentationml.slideLayout+xml"/>
  <Override PartName="/ppt/slideLayouts/slideLayout8632.xml" ContentType="application/vnd.openxmlformats-officedocument.presentationml.slideLayout+xml"/>
  <Override PartName="/ppt/slideLayouts/slideLayout8633.xml" ContentType="application/vnd.openxmlformats-officedocument.presentationml.slideLayout+xml"/>
  <Override PartName="/ppt/slideLayouts/slideLayout8634.xml" ContentType="application/vnd.openxmlformats-officedocument.presentationml.slideLayout+xml"/>
  <Override PartName="/ppt/slideLayouts/slideLayout8635.xml" ContentType="application/vnd.openxmlformats-officedocument.presentationml.slideLayout+xml"/>
  <Override PartName="/ppt/slideLayouts/slideLayout8636.xml" ContentType="application/vnd.openxmlformats-officedocument.presentationml.slideLayout+xml"/>
  <Override PartName="/ppt/slideLayouts/slideLayout8637.xml" ContentType="application/vnd.openxmlformats-officedocument.presentationml.slideLayout+xml"/>
  <Override PartName="/ppt/slideLayouts/slideLayout8638.xml" ContentType="application/vnd.openxmlformats-officedocument.presentationml.slideLayout+xml"/>
  <Override PartName="/ppt/slideLayouts/slideLayout8639.xml" ContentType="application/vnd.openxmlformats-officedocument.presentationml.slideLayout+xml"/>
  <Override PartName="/ppt/slideLayouts/slideLayout8640.xml" ContentType="application/vnd.openxmlformats-officedocument.presentationml.slideLayout+xml"/>
  <Override PartName="/ppt/slideLayouts/slideLayout8641.xml" ContentType="application/vnd.openxmlformats-officedocument.presentationml.slideLayout+xml"/>
  <Override PartName="/ppt/slideLayouts/slideLayout8642.xml" ContentType="application/vnd.openxmlformats-officedocument.presentationml.slideLayout+xml"/>
  <Override PartName="/ppt/slideLayouts/slideLayout8643.xml" ContentType="application/vnd.openxmlformats-officedocument.presentationml.slideLayout+xml"/>
  <Override PartName="/ppt/slideLayouts/slideLayout8644.xml" ContentType="application/vnd.openxmlformats-officedocument.presentationml.slideLayout+xml"/>
  <Override PartName="/ppt/slideLayouts/slideLayout8645.xml" ContentType="application/vnd.openxmlformats-officedocument.presentationml.slideLayout+xml"/>
  <Override PartName="/ppt/slideLayouts/slideLayout8646.xml" ContentType="application/vnd.openxmlformats-officedocument.presentationml.slideLayout+xml"/>
  <Override PartName="/ppt/slideLayouts/slideLayout8647.xml" ContentType="application/vnd.openxmlformats-officedocument.presentationml.slideLayout+xml"/>
  <Override PartName="/ppt/slideLayouts/slideLayout8648.xml" ContentType="application/vnd.openxmlformats-officedocument.presentationml.slideLayout+xml"/>
  <Override PartName="/ppt/slideLayouts/slideLayout8649.xml" ContentType="application/vnd.openxmlformats-officedocument.presentationml.slideLayout+xml"/>
  <Override PartName="/ppt/slideLayouts/slideLayout8650.xml" ContentType="application/vnd.openxmlformats-officedocument.presentationml.slideLayout+xml"/>
  <Override PartName="/ppt/slideLayouts/slideLayout8651.xml" ContentType="application/vnd.openxmlformats-officedocument.presentationml.slideLayout+xml"/>
  <Override PartName="/ppt/slideLayouts/slideLayout8652.xml" ContentType="application/vnd.openxmlformats-officedocument.presentationml.slideLayout+xml"/>
  <Override PartName="/ppt/slideLayouts/slideLayout8653.xml" ContentType="application/vnd.openxmlformats-officedocument.presentationml.slideLayout+xml"/>
  <Override PartName="/ppt/slideLayouts/slideLayout8654.xml" ContentType="application/vnd.openxmlformats-officedocument.presentationml.slideLayout+xml"/>
  <Override PartName="/ppt/slideLayouts/slideLayout8655.xml" ContentType="application/vnd.openxmlformats-officedocument.presentationml.slideLayout+xml"/>
  <Override PartName="/ppt/slideLayouts/slideLayout8656.xml" ContentType="application/vnd.openxmlformats-officedocument.presentationml.slideLayout+xml"/>
  <Override PartName="/ppt/slideLayouts/slideLayout8657.xml" ContentType="application/vnd.openxmlformats-officedocument.presentationml.slideLayout+xml"/>
  <Override PartName="/ppt/slideLayouts/slideLayout8658.xml" ContentType="application/vnd.openxmlformats-officedocument.presentationml.slideLayout+xml"/>
  <Override PartName="/ppt/slideLayouts/slideLayout8659.xml" ContentType="application/vnd.openxmlformats-officedocument.presentationml.slideLayout+xml"/>
  <Override PartName="/ppt/slideLayouts/slideLayout8660.xml" ContentType="application/vnd.openxmlformats-officedocument.presentationml.slideLayout+xml"/>
  <Override PartName="/ppt/slideLayouts/slideLayout8661.xml" ContentType="application/vnd.openxmlformats-officedocument.presentationml.slideLayout+xml"/>
  <Override PartName="/ppt/slideLayouts/slideLayout8662.xml" ContentType="application/vnd.openxmlformats-officedocument.presentationml.slideLayout+xml"/>
  <Override PartName="/ppt/slideLayouts/slideLayout8663.xml" ContentType="application/vnd.openxmlformats-officedocument.presentationml.slideLayout+xml"/>
  <Override PartName="/ppt/slideLayouts/slideLayout8664.xml" ContentType="application/vnd.openxmlformats-officedocument.presentationml.slideLayout+xml"/>
  <Override PartName="/ppt/slideLayouts/slideLayout8665.xml" ContentType="application/vnd.openxmlformats-officedocument.presentationml.slideLayout+xml"/>
  <Override PartName="/ppt/slideLayouts/slideLayout8666.xml" ContentType="application/vnd.openxmlformats-officedocument.presentationml.slideLayout+xml"/>
  <Override PartName="/ppt/slideLayouts/slideLayout8667.xml" ContentType="application/vnd.openxmlformats-officedocument.presentationml.slideLayout+xml"/>
  <Override PartName="/ppt/slideLayouts/slideLayout8668.xml" ContentType="application/vnd.openxmlformats-officedocument.presentationml.slideLayout+xml"/>
  <Override PartName="/ppt/slideLayouts/slideLayout8669.xml" ContentType="application/vnd.openxmlformats-officedocument.presentationml.slideLayout+xml"/>
  <Override PartName="/ppt/slideLayouts/slideLayout8670.xml" ContentType="application/vnd.openxmlformats-officedocument.presentationml.slideLayout+xml"/>
  <Override PartName="/ppt/slideLayouts/slideLayout8671.xml" ContentType="application/vnd.openxmlformats-officedocument.presentationml.slideLayout+xml"/>
  <Override PartName="/ppt/slideLayouts/slideLayout8672.xml" ContentType="application/vnd.openxmlformats-officedocument.presentationml.slideLayout+xml"/>
  <Override PartName="/ppt/slideLayouts/slideLayout8673.xml" ContentType="application/vnd.openxmlformats-officedocument.presentationml.slideLayout+xml"/>
  <Override PartName="/ppt/slideLayouts/slideLayout8674.xml" ContentType="application/vnd.openxmlformats-officedocument.presentationml.slideLayout+xml"/>
  <Override PartName="/ppt/slideLayouts/slideLayout8675.xml" ContentType="application/vnd.openxmlformats-officedocument.presentationml.slideLayout+xml"/>
  <Override PartName="/ppt/slideLayouts/slideLayout8676.xml" ContentType="application/vnd.openxmlformats-officedocument.presentationml.slideLayout+xml"/>
  <Override PartName="/ppt/slideLayouts/slideLayout8677.xml" ContentType="application/vnd.openxmlformats-officedocument.presentationml.slideLayout+xml"/>
  <Override PartName="/ppt/slideLayouts/slideLayout8678.xml" ContentType="application/vnd.openxmlformats-officedocument.presentationml.slideLayout+xml"/>
  <Override PartName="/ppt/slideLayouts/slideLayout8679.xml" ContentType="application/vnd.openxmlformats-officedocument.presentationml.slideLayout+xml"/>
  <Override PartName="/ppt/slideLayouts/slideLayout8680.xml" ContentType="application/vnd.openxmlformats-officedocument.presentationml.slideLayout+xml"/>
  <Override PartName="/ppt/slideLayouts/slideLayout8681.xml" ContentType="application/vnd.openxmlformats-officedocument.presentationml.slideLayout+xml"/>
  <Override PartName="/ppt/slideLayouts/slideLayout8682.xml" ContentType="application/vnd.openxmlformats-officedocument.presentationml.slideLayout+xml"/>
  <Override PartName="/ppt/slideLayouts/slideLayout8683.xml" ContentType="application/vnd.openxmlformats-officedocument.presentationml.slideLayout+xml"/>
  <Override PartName="/ppt/slideLayouts/slideLayout8684.xml" ContentType="application/vnd.openxmlformats-officedocument.presentationml.slideLayout+xml"/>
  <Override PartName="/ppt/slideLayouts/slideLayout8685.xml" ContentType="application/vnd.openxmlformats-officedocument.presentationml.slideLayout+xml"/>
  <Override PartName="/ppt/slideLayouts/slideLayout8686.xml" ContentType="application/vnd.openxmlformats-officedocument.presentationml.slideLayout+xml"/>
  <Override PartName="/ppt/slideLayouts/slideLayout8687.xml" ContentType="application/vnd.openxmlformats-officedocument.presentationml.slideLayout+xml"/>
  <Override PartName="/ppt/slideLayouts/slideLayout8688.xml" ContentType="application/vnd.openxmlformats-officedocument.presentationml.slideLayout+xml"/>
  <Override PartName="/ppt/slideLayouts/slideLayout8689.xml" ContentType="application/vnd.openxmlformats-officedocument.presentationml.slideLayout+xml"/>
  <Override PartName="/ppt/slideLayouts/slideLayout8690.xml" ContentType="application/vnd.openxmlformats-officedocument.presentationml.slideLayout+xml"/>
  <Override PartName="/ppt/slideLayouts/slideLayout8691.xml" ContentType="application/vnd.openxmlformats-officedocument.presentationml.slideLayout+xml"/>
  <Override PartName="/ppt/slideLayouts/slideLayout8692.xml" ContentType="application/vnd.openxmlformats-officedocument.presentationml.slideLayout+xml"/>
  <Override PartName="/ppt/slideLayouts/slideLayout8693.xml" ContentType="application/vnd.openxmlformats-officedocument.presentationml.slideLayout+xml"/>
  <Override PartName="/ppt/slideLayouts/slideLayout8694.xml" ContentType="application/vnd.openxmlformats-officedocument.presentationml.slideLayout+xml"/>
  <Override PartName="/ppt/slideLayouts/slideLayout8695.xml" ContentType="application/vnd.openxmlformats-officedocument.presentationml.slideLayout+xml"/>
  <Override PartName="/ppt/slideLayouts/slideLayout8696.xml" ContentType="application/vnd.openxmlformats-officedocument.presentationml.slideLayout+xml"/>
  <Override PartName="/ppt/slideLayouts/slideLayout8697.xml" ContentType="application/vnd.openxmlformats-officedocument.presentationml.slideLayout+xml"/>
  <Override PartName="/ppt/slideLayouts/slideLayout8698.xml" ContentType="application/vnd.openxmlformats-officedocument.presentationml.slideLayout+xml"/>
  <Override PartName="/ppt/slideLayouts/slideLayout8699.xml" ContentType="application/vnd.openxmlformats-officedocument.presentationml.slideLayout+xml"/>
  <Override PartName="/ppt/slideLayouts/slideLayout8700.xml" ContentType="application/vnd.openxmlformats-officedocument.presentationml.slideLayout+xml"/>
  <Override PartName="/ppt/slideLayouts/slideLayout8701.xml" ContentType="application/vnd.openxmlformats-officedocument.presentationml.slideLayout+xml"/>
  <Override PartName="/ppt/slideLayouts/slideLayout8702.xml" ContentType="application/vnd.openxmlformats-officedocument.presentationml.slideLayout+xml"/>
  <Override PartName="/ppt/slideLayouts/slideLayout8703.xml" ContentType="application/vnd.openxmlformats-officedocument.presentationml.slideLayout+xml"/>
  <Override PartName="/ppt/slideLayouts/slideLayout8704.xml" ContentType="application/vnd.openxmlformats-officedocument.presentationml.slideLayout+xml"/>
  <Override PartName="/ppt/slideLayouts/slideLayout8705.xml" ContentType="application/vnd.openxmlformats-officedocument.presentationml.slideLayout+xml"/>
  <Override PartName="/ppt/slideLayouts/slideLayout8706.xml" ContentType="application/vnd.openxmlformats-officedocument.presentationml.slideLayout+xml"/>
  <Override PartName="/ppt/slideLayouts/slideLayout8707.xml" ContentType="application/vnd.openxmlformats-officedocument.presentationml.slideLayout+xml"/>
  <Override PartName="/ppt/slideLayouts/slideLayout8708.xml" ContentType="application/vnd.openxmlformats-officedocument.presentationml.slideLayout+xml"/>
  <Override PartName="/ppt/slideLayouts/slideLayout8709.xml" ContentType="application/vnd.openxmlformats-officedocument.presentationml.slideLayout+xml"/>
  <Override PartName="/ppt/slideLayouts/slideLayout8710.xml" ContentType="application/vnd.openxmlformats-officedocument.presentationml.slideLayout+xml"/>
  <Override PartName="/ppt/slideLayouts/slideLayout8711.xml" ContentType="application/vnd.openxmlformats-officedocument.presentationml.slideLayout+xml"/>
  <Override PartName="/ppt/slideLayouts/slideLayout8712.xml" ContentType="application/vnd.openxmlformats-officedocument.presentationml.slideLayout+xml"/>
  <Override PartName="/ppt/slideLayouts/slideLayout8713.xml" ContentType="application/vnd.openxmlformats-officedocument.presentationml.slideLayout+xml"/>
  <Override PartName="/ppt/slideLayouts/slideLayout8714.xml" ContentType="application/vnd.openxmlformats-officedocument.presentationml.slideLayout+xml"/>
  <Override PartName="/ppt/slideLayouts/slideLayout8715.xml" ContentType="application/vnd.openxmlformats-officedocument.presentationml.slideLayout+xml"/>
  <Override PartName="/ppt/slideLayouts/slideLayout8716.xml" ContentType="application/vnd.openxmlformats-officedocument.presentationml.slideLayout+xml"/>
  <Override PartName="/ppt/slideLayouts/slideLayout8717.xml" ContentType="application/vnd.openxmlformats-officedocument.presentationml.slideLayout+xml"/>
  <Override PartName="/ppt/slideLayouts/slideLayout8718.xml" ContentType="application/vnd.openxmlformats-officedocument.presentationml.slideLayout+xml"/>
  <Override PartName="/ppt/slideLayouts/slideLayout8719.xml" ContentType="application/vnd.openxmlformats-officedocument.presentationml.slideLayout+xml"/>
  <Override PartName="/ppt/slideLayouts/slideLayout8720.xml" ContentType="application/vnd.openxmlformats-officedocument.presentationml.slideLayout+xml"/>
  <Override PartName="/ppt/slideLayouts/slideLayout8721.xml" ContentType="application/vnd.openxmlformats-officedocument.presentationml.slideLayout+xml"/>
  <Override PartName="/ppt/slideLayouts/slideLayout8722.xml" ContentType="application/vnd.openxmlformats-officedocument.presentationml.slideLayout+xml"/>
  <Override PartName="/ppt/slideLayouts/slideLayout8723.xml" ContentType="application/vnd.openxmlformats-officedocument.presentationml.slideLayout+xml"/>
  <Override PartName="/ppt/slideLayouts/slideLayout8724.xml" ContentType="application/vnd.openxmlformats-officedocument.presentationml.slideLayout+xml"/>
  <Override PartName="/ppt/slideLayouts/slideLayout8725.xml" ContentType="application/vnd.openxmlformats-officedocument.presentationml.slideLayout+xml"/>
  <Override PartName="/ppt/slideLayouts/slideLayout8726.xml" ContentType="application/vnd.openxmlformats-officedocument.presentationml.slideLayout+xml"/>
  <Override PartName="/ppt/slideLayouts/slideLayout8727.xml" ContentType="application/vnd.openxmlformats-officedocument.presentationml.slideLayout+xml"/>
  <Override PartName="/ppt/slideLayouts/slideLayout8728.xml" ContentType="application/vnd.openxmlformats-officedocument.presentationml.slideLayout+xml"/>
  <Override PartName="/ppt/slideLayouts/slideLayout8729.xml" ContentType="application/vnd.openxmlformats-officedocument.presentationml.slideLayout+xml"/>
  <Override PartName="/ppt/slideLayouts/slideLayout8730.xml" ContentType="application/vnd.openxmlformats-officedocument.presentationml.slideLayout+xml"/>
  <Override PartName="/ppt/slideLayouts/slideLayout8731.xml" ContentType="application/vnd.openxmlformats-officedocument.presentationml.slideLayout+xml"/>
  <Override PartName="/ppt/slideLayouts/slideLayout8732.xml" ContentType="application/vnd.openxmlformats-officedocument.presentationml.slideLayout+xml"/>
  <Override PartName="/ppt/slideLayouts/slideLayout8733.xml" ContentType="application/vnd.openxmlformats-officedocument.presentationml.slideLayout+xml"/>
  <Override PartName="/ppt/slideLayouts/slideLayout8734.xml" ContentType="application/vnd.openxmlformats-officedocument.presentationml.slideLayout+xml"/>
  <Override PartName="/ppt/slideLayouts/slideLayout8735.xml" ContentType="application/vnd.openxmlformats-officedocument.presentationml.slideLayout+xml"/>
  <Override PartName="/ppt/slideLayouts/slideLayout8736.xml" ContentType="application/vnd.openxmlformats-officedocument.presentationml.slideLayout+xml"/>
  <Override PartName="/ppt/slideLayouts/slideLayout8737.xml" ContentType="application/vnd.openxmlformats-officedocument.presentationml.slideLayout+xml"/>
  <Override PartName="/ppt/slideLayouts/slideLayout8738.xml" ContentType="application/vnd.openxmlformats-officedocument.presentationml.slideLayout+xml"/>
  <Override PartName="/ppt/slideLayouts/slideLayout8739.xml" ContentType="application/vnd.openxmlformats-officedocument.presentationml.slideLayout+xml"/>
  <Override PartName="/ppt/slideLayouts/slideLayout8740.xml" ContentType="application/vnd.openxmlformats-officedocument.presentationml.slideLayout+xml"/>
  <Override PartName="/ppt/slideLayouts/slideLayout8741.xml" ContentType="application/vnd.openxmlformats-officedocument.presentationml.slideLayout+xml"/>
  <Override PartName="/ppt/slideLayouts/slideLayout8742.xml" ContentType="application/vnd.openxmlformats-officedocument.presentationml.slideLayout+xml"/>
  <Override PartName="/ppt/slideLayouts/slideLayout8743.xml" ContentType="application/vnd.openxmlformats-officedocument.presentationml.slideLayout+xml"/>
  <Override PartName="/ppt/slideLayouts/slideLayout8744.xml" ContentType="application/vnd.openxmlformats-officedocument.presentationml.slideLayout+xml"/>
  <Override PartName="/ppt/slideLayouts/slideLayout8745.xml" ContentType="application/vnd.openxmlformats-officedocument.presentationml.slideLayout+xml"/>
  <Override PartName="/ppt/slideLayouts/slideLayout8746.xml" ContentType="application/vnd.openxmlformats-officedocument.presentationml.slideLayout+xml"/>
  <Override PartName="/ppt/slideLayouts/slideLayout8747.xml" ContentType="application/vnd.openxmlformats-officedocument.presentationml.slideLayout+xml"/>
  <Override PartName="/ppt/slideLayouts/slideLayout8748.xml" ContentType="application/vnd.openxmlformats-officedocument.presentationml.slideLayout+xml"/>
  <Override PartName="/ppt/slideLayouts/slideLayout8749.xml" ContentType="application/vnd.openxmlformats-officedocument.presentationml.slideLayout+xml"/>
  <Override PartName="/ppt/slideLayouts/slideLayout8750.xml" ContentType="application/vnd.openxmlformats-officedocument.presentationml.slideLayout+xml"/>
  <Override PartName="/ppt/slideLayouts/slideLayout8751.xml" ContentType="application/vnd.openxmlformats-officedocument.presentationml.slideLayout+xml"/>
  <Override PartName="/ppt/slideLayouts/slideLayout8752.xml" ContentType="application/vnd.openxmlformats-officedocument.presentationml.slideLayout+xml"/>
  <Override PartName="/ppt/slideLayouts/slideLayout8753.xml" ContentType="application/vnd.openxmlformats-officedocument.presentationml.slideLayout+xml"/>
  <Override PartName="/ppt/slideLayouts/slideLayout8754.xml" ContentType="application/vnd.openxmlformats-officedocument.presentationml.slideLayout+xml"/>
  <Override PartName="/ppt/slideLayouts/slideLayout8755.xml" ContentType="application/vnd.openxmlformats-officedocument.presentationml.slideLayout+xml"/>
  <Override PartName="/ppt/slideLayouts/slideLayout8756.xml" ContentType="application/vnd.openxmlformats-officedocument.presentationml.slideLayout+xml"/>
  <Override PartName="/ppt/slideLayouts/slideLayout8757.xml" ContentType="application/vnd.openxmlformats-officedocument.presentationml.slideLayout+xml"/>
  <Override PartName="/ppt/slideLayouts/slideLayout8758.xml" ContentType="application/vnd.openxmlformats-officedocument.presentationml.slideLayout+xml"/>
  <Override PartName="/ppt/slideLayouts/slideLayout8759.xml" ContentType="application/vnd.openxmlformats-officedocument.presentationml.slideLayout+xml"/>
  <Override PartName="/ppt/slideLayouts/slideLayout8760.xml" ContentType="application/vnd.openxmlformats-officedocument.presentationml.slideLayout+xml"/>
  <Override PartName="/ppt/slideLayouts/slideLayout8761.xml" ContentType="application/vnd.openxmlformats-officedocument.presentationml.slideLayout+xml"/>
  <Override PartName="/ppt/slideLayouts/slideLayout8762.xml" ContentType="application/vnd.openxmlformats-officedocument.presentationml.slideLayout+xml"/>
  <Override PartName="/ppt/slideLayouts/slideLayout8763.xml" ContentType="application/vnd.openxmlformats-officedocument.presentationml.slideLayout+xml"/>
  <Override PartName="/ppt/slideLayouts/slideLayout8764.xml" ContentType="application/vnd.openxmlformats-officedocument.presentationml.slideLayout+xml"/>
  <Override PartName="/ppt/slideLayouts/slideLayout8765.xml" ContentType="application/vnd.openxmlformats-officedocument.presentationml.slideLayout+xml"/>
  <Override PartName="/ppt/slideLayouts/slideLayout8766.xml" ContentType="application/vnd.openxmlformats-officedocument.presentationml.slideLayout+xml"/>
  <Override PartName="/ppt/slideLayouts/slideLayout8767.xml" ContentType="application/vnd.openxmlformats-officedocument.presentationml.slideLayout+xml"/>
  <Override PartName="/ppt/slideLayouts/slideLayout8768.xml" ContentType="application/vnd.openxmlformats-officedocument.presentationml.slideLayout+xml"/>
  <Override PartName="/ppt/slideLayouts/slideLayout8769.xml" ContentType="application/vnd.openxmlformats-officedocument.presentationml.slideLayout+xml"/>
  <Override PartName="/ppt/slideLayouts/slideLayout8770.xml" ContentType="application/vnd.openxmlformats-officedocument.presentationml.slideLayout+xml"/>
  <Override PartName="/ppt/slideLayouts/slideLayout8771.xml" ContentType="application/vnd.openxmlformats-officedocument.presentationml.slideLayout+xml"/>
  <Override PartName="/ppt/slideLayouts/slideLayout8772.xml" ContentType="application/vnd.openxmlformats-officedocument.presentationml.slideLayout+xml"/>
  <Override PartName="/ppt/slideLayouts/slideLayout8773.xml" ContentType="application/vnd.openxmlformats-officedocument.presentationml.slideLayout+xml"/>
  <Override PartName="/ppt/slideLayouts/slideLayout8774.xml" ContentType="application/vnd.openxmlformats-officedocument.presentationml.slideLayout+xml"/>
  <Override PartName="/ppt/slideLayouts/slideLayout8775.xml" ContentType="application/vnd.openxmlformats-officedocument.presentationml.slideLayout+xml"/>
  <Override PartName="/ppt/slideLayouts/slideLayout8776.xml" ContentType="application/vnd.openxmlformats-officedocument.presentationml.slideLayout+xml"/>
  <Override PartName="/ppt/slideLayouts/slideLayout8777.xml" ContentType="application/vnd.openxmlformats-officedocument.presentationml.slideLayout+xml"/>
  <Override PartName="/ppt/slideLayouts/slideLayout8778.xml" ContentType="application/vnd.openxmlformats-officedocument.presentationml.slideLayout+xml"/>
  <Override PartName="/ppt/slideLayouts/slideLayout8779.xml" ContentType="application/vnd.openxmlformats-officedocument.presentationml.slideLayout+xml"/>
  <Override PartName="/ppt/slideLayouts/slideLayout8780.xml" ContentType="application/vnd.openxmlformats-officedocument.presentationml.slideLayout+xml"/>
  <Override PartName="/ppt/slideLayouts/slideLayout8781.xml" ContentType="application/vnd.openxmlformats-officedocument.presentationml.slideLayout+xml"/>
  <Override PartName="/ppt/slideLayouts/slideLayout8782.xml" ContentType="application/vnd.openxmlformats-officedocument.presentationml.slideLayout+xml"/>
  <Override PartName="/ppt/slideLayouts/slideLayout8783.xml" ContentType="application/vnd.openxmlformats-officedocument.presentationml.slideLayout+xml"/>
  <Override PartName="/ppt/slideLayouts/slideLayout8784.xml" ContentType="application/vnd.openxmlformats-officedocument.presentationml.slideLayout+xml"/>
  <Override PartName="/ppt/slideLayouts/slideLayout8785.xml" ContentType="application/vnd.openxmlformats-officedocument.presentationml.slideLayout+xml"/>
  <Override PartName="/ppt/slideLayouts/slideLayout8786.xml" ContentType="application/vnd.openxmlformats-officedocument.presentationml.slideLayout+xml"/>
  <Override PartName="/ppt/slideLayouts/slideLayout8787.xml" ContentType="application/vnd.openxmlformats-officedocument.presentationml.slideLayout+xml"/>
  <Override PartName="/ppt/slideLayouts/slideLayout8788.xml" ContentType="application/vnd.openxmlformats-officedocument.presentationml.slideLayout+xml"/>
  <Override PartName="/ppt/slideLayouts/slideLayout8789.xml" ContentType="application/vnd.openxmlformats-officedocument.presentationml.slideLayout+xml"/>
  <Override PartName="/ppt/slideLayouts/slideLayout8790.xml" ContentType="application/vnd.openxmlformats-officedocument.presentationml.slideLayout+xml"/>
  <Override PartName="/ppt/slideLayouts/slideLayout8791.xml" ContentType="application/vnd.openxmlformats-officedocument.presentationml.slideLayout+xml"/>
  <Override PartName="/ppt/slideLayouts/slideLayout8792.xml" ContentType="application/vnd.openxmlformats-officedocument.presentationml.slideLayout+xml"/>
  <Override PartName="/ppt/slideLayouts/slideLayout8793.xml" ContentType="application/vnd.openxmlformats-officedocument.presentationml.slideLayout+xml"/>
  <Override PartName="/ppt/slideLayouts/slideLayout8794.xml" ContentType="application/vnd.openxmlformats-officedocument.presentationml.slideLayout+xml"/>
  <Override PartName="/ppt/slideLayouts/slideLayout8795.xml" ContentType="application/vnd.openxmlformats-officedocument.presentationml.slideLayout+xml"/>
  <Override PartName="/ppt/slideLayouts/slideLayout8796.xml" ContentType="application/vnd.openxmlformats-officedocument.presentationml.slideLayout+xml"/>
  <Override PartName="/ppt/slideLayouts/slideLayout8797.xml" ContentType="application/vnd.openxmlformats-officedocument.presentationml.slideLayout+xml"/>
  <Override PartName="/ppt/slideLayouts/slideLayout8798.xml" ContentType="application/vnd.openxmlformats-officedocument.presentationml.slideLayout+xml"/>
  <Override PartName="/ppt/slideLayouts/slideLayout8799.xml" ContentType="application/vnd.openxmlformats-officedocument.presentationml.slideLayout+xml"/>
  <Override PartName="/ppt/slideLayouts/slideLayout8800.xml" ContentType="application/vnd.openxmlformats-officedocument.presentationml.slideLayout+xml"/>
  <Override PartName="/ppt/slideLayouts/slideLayout8801.xml" ContentType="application/vnd.openxmlformats-officedocument.presentationml.slideLayout+xml"/>
  <Override PartName="/ppt/slideLayouts/slideLayout8802.xml" ContentType="application/vnd.openxmlformats-officedocument.presentationml.slideLayout+xml"/>
  <Override PartName="/ppt/slideLayouts/slideLayout8803.xml" ContentType="application/vnd.openxmlformats-officedocument.presentationml.slideLayout+xml"/>
  <Override PartName="/ppt/slideLayouts/slideLayout8804.xml" ContentType="application/vnd.openxmlformats-officedocument.presentationml.slideLayout+xml"/>
  <Override PartName="/ppt/slideLayouts/slideLayout8805.xml" ContentType="application/vnd.openxmlformats-officedocument.presentationml.slideLayout+xml"/>
  <Override PartName="/ppt/slideLayouts/slideLayout8806.xml" ContentType="application/vnd.openxmlformats-officedocument.presentationml.slideLayout+xml"/>
  <Override PartName="/ppt/slideLayouts/slideLayout8807.xml" ContentType="application/vnd.openxmlformats-officedocument.presentationml.slideLayout+xml"/>
  <Override PartName="/ppt/slideLayouts/slideLayout8808.xml" ContentType="application/vnd.openxmlformats-officedocument.presentationml.slideLayout+xml"/>
  <Override PartName="/ppt/slideLayouts/slideLayout8809.xml" ContentType="application/vnd.openxmlformats-officedocument.presentationml.slideLayout+xml"/>
  <Override PartName="/ppt/slideLayouts/slideLayout8810.xml" ContentType="application/vnd.openxmlformats-officedocument.presentationml.slideLayout+xml"/>
  <Override PartName="/ppt/slideLayouts/slideLayout8811.xml" ContentType="application/vnd.openxmlformats-officedocument.presentationml.slideLayout+xml"/>
  <Override PartName="/ppt/slideLayouts/slideLayout8812.xml" ContentType="application/vnd.openxmlformats-officedocument.presentationml.slideLayout+xml"/>
  <Override PartName="/ppt/slideLayouts/slideLayout8813.xml" ContentType="application/vnd.openxmlformats-officedocument.presentationml.slideLayout+xml"/>
  <Override PartName="/ppt/slideLayouts/slideLayout8814.xml" ContentType="application/vnd.openxmlformats-officedocument.presentationml.slideLayout+xml"/>
  <Override PartName="/ppt/slideLayouts/slideLayout8815.xml" ContentType="application/vnd.openxmlformats-officedocument.presentationml.slideLayout+xml"/>
  <Override PartName="/ppt/slideLayouts/slideLayout8816.xml" ContentType="application/vnd.openxmlformats-officedocument.presentationml.slideLayout+xml"/>
  <Override PartName="/ppt/slideLayouts/slideLayout8817.xml" ContentType="application/vnd.openxmlformats-officedocument.presentationml.slideLayout+xml"/>
  <Override PartName="/ppt/slideLayouts/slideLayout8818.xml" ContentType="application/vnd.openxmlformats-officedocument.presentationml.slideLayout+xml"/>
  <Override PartName="/ppt/slideLayouts/slideLayout8819.xml" ContentType="application/vnd.openxmlformats-officedocument.presentationml.slideLayout+xml"/>
  <Override PartName="/ppt/slideLayouts/slideLayout8820.xml" ContentType="application/vnd.openxmlformats-officedocument.presentationml.slideLayout+xml"/>
  <Override PartName="/ppt/slideLayouts/slideLayout8821.xml" ContentType="application/vnd.openxmlformats-officedocument.presentationml.slideLayout+xml"/>
  <Override PartName="/ppt/slideLayouts/slideLayout8822.xml" ContentType="application/vnd.openxmlformats-officedocument.presentationml.slideLayout+xml"/>
  <Override PartName="/ppt/slideLayouts/slideLayout8823.xml" ContentType="application/vnd.openxmlformats-officedocument.presentationml.slideLayout+xml"/>
  <Override PartName="/ppt/slideLayouts/slideLayout8824.xml" ContentType="application/vnd.openxmlformats-officedocument.presentationml.slideLayout+xml"/>
  <Override PartName="/ppt/slideLayouts/slideLayout8825.xml" ContentType="application/vnd.openxmlformats-officedocument.presentationml.slideLayout+xml"/>
  <Override PartName="/ppt/slideLayouts/slideLayout8826.xml" ContentType="application/vnd.openxmlformats-officedocument.presentationml.slideLayout+xml"/>
  <Override PartName="/ppt/slideLayouts/slideLayout8827.xml" ContentType="application/vnd.openxmlformats-officedocument.presentationml.slideLayout+xml"/>
  <Override PartName="/ppt/slideLayouts/slideLayout8828.xml" ContentType="application/vnd.openxmlformats-officedocument.presentationml.slideLayout+xml"/>
  <Override PartName="/ppt/slideLayouts/slideLayout8829.xml" ContentType="application/vnd.openxmlformats-officedocument.presentationml.slideLayout+xml"/>
  <Override PartName="/ppt/slideLayouts/slideLayout8830.xml" ContentType="application/vnd.openxmlformats-officedocument.presentationml.slideLayout+xml"/>
  <Override PartName="/ppt/slideLayouts/slideLayout8831.xml" ContentType="application/vnd.openxmlformats-officedocument.presentationml.slideLayout+xml"/>
  <Override PartName="/ppt/slideLayouts/slideLayout8832.xml" ContentType="application/vnd.openxmlformats-officedocument.presentationml.slideLayout+xml"/>
  <Override PartName="/ppt/slideLayouts/slideLayout8833.xml" ContentType="application/vnd.openxmlformats-officedocument.presentationml.slideLayout+xml"/>
  <Override PartName="/ppt/slideLayouts/slideLayout8834.xml" ContentType="application/vnd.openxmlformats-officedocument.presentationml.slideLayout+xml"/>
  <Override PartName="/ppt/slideLayouts/slideLayout8835.xml" ContentType="application/vnd.openxmlformats-officedocument.presentationml.slideLayout+xml"/>
  <Override PartName="/ppt/slideLayouts/slideLayout8836.xml" ContentType="application/vnd.openxmlformats-officedocument.presentationml.slideLayout+xml"/>
  <Override PartName="/ppt/slideLayouts/slideLayout8837.xml" ContentType="application/vnd.openxmlformats-officedocument.presentationml.slideLayout+xml"/>
  <Override PartName="/ppt/slideLayouts/slideLayout8838.xml" ContentType="application/vnd.openxmlformats-officedocument.presentationml.slideLayout+xml"/>
  <Override PartName="/ppt/slideLayouts/slideLayout8839.xml" ContentType="application/vnd.openxmlformats-officedocument.presentationml.slideLayout+xml"/>
  <Override PartName="/ppt/slideLayouts/slideLayout8840.xml" ContentType="application/vnd.openxmlformats-officedocument.presentationml.slideLayout+xml"/>
  <Override PartName="/ppt/slideLayouts/slideLayout8841.xml" ContentType="application/vnd.openxmlformats-officedocument.presentationml.slideLayout+xml"/>
  <Override PartName="/ppt/slideLayouts/slideLayout8842.xml" ContentType="application/vnd.openxmlformats-officedocument.presentationml.slideLayout+xml"/>
  <Override PartName="/ppt/slideLayouts/slideLayout8843.xml" ContentType="application/vnd.openxmlformats-officedocument.presentationml.slideLayout+xml"/>
  <Override PartName="/ppt/slideLayouts/slideLayout8844.xml" ContentType="application/vnd.openxmlformats-officedocument.presentationml.slideLayout+xml"/>
  <Override PartName="/ppt/slideLayouts/slideLayout8845.xml" ContentType="application/vnd.openxmlformats-officedocument.presentationml.slideLayout+xml"/>
  <Override PartName="/ppt/slideLayouts/slideLayout8846.xml" ContentType="application/vnd.openxmlformats-officedocument.presentationml.slideLayout+xml"/>
  <Override PartName="/ppt/slideLayouts/slideLayout8847.xml" ContentType="application/vnd.openxmlformats-officedocument.presentationml.slideLayout+xml"/>
  <Override PartName="/ppt/slideLayouts/slideLayout8848.xml" ContentType="application/vnd.openxmlformats-officedocument.presentationml.slideLayout+xml"/>
  <Override PartName="/ppt/slideLayouts/slideLayout8849.xml" ContentType="application/vnd.openxmlformats-officedocument.presentationml.slideLayout+xml"/>
  <Override PartName="/ppt/slideLayouts/slideLayout8850.xml" ContentType="application/vnd.openxmlformats-officedocument.presentationml.slideLayout+xml"/>
  <Override PartName="/ppt/slideLayouts/slideLayout8851.xml" ContentType="application/vnd.openxmlformats-officedocument.presentationml.slideLayout+xml"/>
  <Override PartName="/ppt/slideLayouts/slideLayout8852.xml" ContentType="application/vnd.openxmlformats-officedocument.presentationml.slideLayout+xml"/>
  <Override PartName="/ppt/slideLayouts/slideLayout8853.xml" ContentType="application/vnd.openxmlformats-officedocument.presentationml.slideLayout+xml"/>
  <Override PartName="/ppt/slideLayouts/slideLayout8854.xml" ContentType="application/vnd.openxmlformats-officedocument.presentationml.slideLayout+xml"/>
  <Override PartName="/ppt/slideLayouts/slideLayout8855.xml" ContentType="application/vnd.openxmlformats-officedocument.presentationml.slideLayout+xml"/>
  <Override PartName="/ppt/slideLayouts/slideLayout8856.xml" ContentType="application/vnd.openxmlformats-officedocument.presentationml.slideLayout+xml"/>
  <Override PartName="/ppt/slideLayouts/slideLayout8857.xml" ContentType="application/vnd.openxmlformats-officedocument.presentationml.slideLayout+xml"/>
  <Override PartName="/ppt/slideLayouts/slideLayout8858.xml" ContentType="application/vnd.openxmlformats-officedocument.presentationml.slideLayout+xml"/>
  <Override PartName="/ppt/slideLayouts/slideLayout8859.xml" ContentType="application/vnd.openxmlformats-officedocument.presentationml.slideLayout+xml"/>
  <Override PartName="/ppt/slideLayouts/slideLayout8860.xml" ContentType="application/vnd.openxmlformats-officedocument.presentationml.slideLayout+xml"/>
  <Override PartName="/ppt/slideLayouts/slideLayout8861.xml" ContentType="application/vnd.openxmlformats-officedocument.presentationml.slideLayout+xml"/>
  <Override PartName="/ppt/slideLayouts/slideLayout8862.xml" ContentType="application/vnd.openxmlformats-officedocument.presentationml.slideLayout+xml"/>
  <Override PartName="/ppt/slideLayouts/slideLayout8863.xml" ContentType="application/vnd.openxmlformats-officedocument.presentationml.slideLayout+xml"/>
  <Override PartName="/ppt/slideLayouts/slideLayout8864.xml" ContentType="application/vnd.openxmlformats-officedocument.presentationml.slideLayout+xml"/>
  <Override PartName="/ppt/slideLayouts/slideLayout8865.xml" ContentType="application/vnd.openxmlformats-officedocument.presentationml.slideLayout+xml"/>
  <Override PartName="/ppt/slideLayouts/slideLayout8866.xml" ContentType="application/vnd.openxmlformats-officedocument.presentationml.slideLayout+xml"/>
  <Override PartName="/ppt/slideLayouts/slideLayout8867.xml" ContentType="application/vnd.openxmlformats-officedocument.presentationml.slideLayout+xml"/>
  <Override PartName="/ppt/slideLayouts/slideLayout8868.xml" ContentType="application/vnd.openxmlformats-officedocument.presentationml.slideLayout+xml"/>
  <Override PartName="/ppt/slideLayouts/slideLayout8869.xml" ContentType="application/vnd.openxmlformats-officedocument.presentationml.slideLayout+xml"/>
  <Override PartName="/ppt/slideLayouts/slideLayout8870.xml" ContentType="application/vnd.openxmlformats-officedocument.presentationml.slideLayout+xml"/>
  <Override PartName="/ppt/slideLayouts/slideLayout8871.xml" ContentType="application/vnd.openxmlformats-officedocument.presentationml.slideLayout+xml"/>
  <Override PartName="/ppt/slideLayouts/slideLayout8872.xml" ContentType="application/vnd.openxmlformats-officedocument.presentationml.slideLayout+xml"/>
  <Override PartName="/ppt/slideLayouts/slideLayout8873.xml" ContentType="application/vnd.openxmlformats-officedocument.presentationml.slideLayout+xml"/>
  <Override PartName="/ppt/slideLayouts/slideLayout8874.xml" ContentType="application/vnd.openxmlformats-officedocument.presentationml.slideLayout+xml"/>
  <Override PartName="/ppt/slideLayouts/slideLayout8875.xml" ContentType="application/vnd.openxmlformats-officedocument.presentationml.slideLayout+xml"/>
  <Override PartName="/ppt/slideLayouts/slideLayout8876.xml" ContentType="application/vnd.openxmlformats-officedocument.presentationml.slideLayout+xml"/>
  <Override PartName="/ppt/slideLayouts/slideLayout8877.xml" ContentType="application/vnd.openxmlformats-officedocument.presentationml.slideLayout+xml"/>
  <Override PartName="/ppt/slideLayouts/slideLayout8878.xml" ContentType="application/vnd.openxmlformats-officedocument.presentationml.slideLayout+xml"/>
  <Override PartName="/ppt/slideLayouts/slideLayout8879.xml" ContentType="application/vnd.openxmlformats-officedocument.presentationml.slideLayout+xml"/>
  <Override PartName="/ppt/slideLayouts/slideLayout8880.xml" ContentType="application/vnd.openxmlformats-officedocument.presentationml.slideLayout+xml"/>
  <Override PartName="/ppt/slideLayouts/slideLayout8881.xml" ContentType="application/vnd.openxmlformats-officedocument.presentationml.slideLayout+xml"/>
  <Override PartName="/ppt/slideLayouts/slideLayout8882.xml" ContentType="application/vnd.openxmlformats-officedocument.presentationml.slideLayout+xml"/>
  <Override PartName="/ppt/slideLayouts/slideLayout8883.xml" ContentType="application/vnd.openxmlformats-officedocument.presentationml.slideLayout+xml"/>
  <Override PartName="/ppt/slideLayouts/slideLayout8884.xml" ContentType="application/vnd.openxmlformats-officedocument.presentationml.slideLayout+xml"/>
  <Override PartName="/ppt/slideLayouts/slideLayout8885.xml" ContentType="application/vnd.openxmlformats-officedocument.presentationml.slideLayout+xml"/>
  <Override PartName="/ppt/slideLayouts/slideLayout8886.xml" ContentType="application/vnd.openxmlformats-officedocument.presentationml.slideLayout+xml"/>
  <Override PartName="/ppt/slideLayouts/slideLayout8887.xml" ContentType="application/vnd.openxmlformats-officedocument.presentationml.slideLayout+xml"/>
  <Override PartName="/ppt/slideLayouts/slideLayout8888.xml" ContentType="application/vnd.openxmlformats-officedocument.presentationml.slideLayout+xml"/>
  <Override PartName="/ppt/slideLayouts/slideLayout8889.xml" ContentType="application/vnd.openxmlformats-officedocument.presentationml.slideLayout+xml"/>
  <Override PartName="/ppt/slideLayouts/slideLayout8890.xml" ContentType="application/vnd.openxmlformats-officedocument.presentationml.slideLayout+xml"/>
  <Override PartName="/ppt/slideLayouts/slideLayout8891.xml" ContentType="application/vnd.openxmlformats-officedocument.presentationml.slideLayout+xml"/>
  <Override PartName="/ppt/slideLayouts/slideLayout8892.xml" ContentType="application/vnd.openxmlformats-officedocument.presentationml.slideLayout+xml"/>
  <Override PartName="/ppt/slideLayouts/slideLayout8893.xml" ContentType="application/vnd.openxmlformats-officedocument.presentationml.slideLayout+xml"/>
  <Override PartName="/ppt/slideLayouts/slideLayout8894.xml" ContentType="application/vnd.openxmlformats-officedocument.presentationml.slideLayout+xml"/>
  <Override PartName="/ppt/slideLayouts/slideLayout8895.xml" ContentType="application/vnd.openxmlformats-officedocument.presentationml.slideLayout+xml"/>
  <Override PartName="/ppt/slideLayouts/slideLayout8896.xml" ContentType="application/vnd.openxmlformats-officedocument.presentationml.slideLayout+xml"/>
  <Override PartName="/ppt/slideLayouts/slideLayout8897.xml" ContentType="application/vnd.openxmlformats-officedocument.presentationml.slideLayout+xml"/>
  <Override PartName="/ppt/slideLayouts/slideLayout8898.xml" ContentType="application/vnd.openxmlformats-officedocument.presentationml.slideLayout+xml"/>
  <Override PartName="/ppt/slideLayouts/slideLayout8899.xml" ContentType="application/vnd.openxmlformats-officedocument.presentationml.slideLayout+xml"/>
  <Override PartName="/ppt/slideLayouts/slideLayout8900.xml" ContentType="application/vnd.openxmlformats-officedocument.presentationml.slideLayout+xml"/>
  <Override PartName="/ppt/slideLayouts/slideLayout8901.xml" ContentType="application/vnd.openxmlformats-officedocument.presentationml.slideLayout+xml"/>
  <Override PartName="/ppt/slideLayouts/slideLayout8902.xml" ContentType="application/vnd.openxmlformats-officedocument.presentationml.slideLayout+xml"/>
  <Override PartName="/ppt/slideLayouts/slideLayout8903.xml" ContentType="application/vnd.openxmlformats-officedocument.presentationml.slideLayout+xml"/>
  <Override PartName="/ppt/slideLayouts/slideLayout8904.xml" ContentType="application/vnd.openxmlformats-officedocument.presentationml.slideLayout+xml"/>
  <Override PartName="/ppt/slideLayouts/slideLayout8905.xml" ContentType="application/vnd.openxmlformats-officedocument.presentationml.slideLayout+xml"/>
  <Override PartName="/ppt/slideLayouts/slideLayout8906.xml" ContentType="application/vnd.openxmlformats-officedocument.presentationml.slideLayout+xml"/>
  <Override PartName="/ppt/slideLayouts/slideLayout8907.xml" ContentType="application/vnd.openxmlformats-officedocument.presentationml.slideLayout+xml"/>
  <Override PartName="/ppt/slideLayouts/slideLayout8908.xml" ContentType="application/vnd.openxmlformats-officedocument.presentationml.slideLayout+xml"/>
  <Override PartName="/ppt/slideLayouts/slideLayout8909.xml" ContentType="application/vnd.openxmlformats-officedocument.presentationml.slideLayout+xml"/>
  <Override PartName="/ppt/slideLayouts/slideLayout8910.xml" ContentType="application/vnd.openxmlformats-officedocument.presentationml.slideLayout+xml"/>
  <Override PartName="/ppt/slideLayouts/slideLayout8911.xml" ContentType="application/vnd.openxmlformats-officedocument.presentationml.slideLayout+xml"/>
  <Override PartName="/ppt/slideLayouts/slideLayout8912.xml" ContentType="application/vnd.openxmlformats-officedocument.presentationml.slideLayout+xml"/>
  <Override PartName="/ppt/slideLayouts/slideLayout8913.xml" ContentType="application/vnd.openxmlformats-officedocument.presentationml.slideLayout+xml"/>
  <Override PartName="/ppt/slideLayouts/slideLayout8914.xml" ContentType="application/vnd.openxmlformats-officedocument.presentationml.slideLayout+xml"/>
  <Override PartName="/ppt/slideLayouts/slideLayout8915.xml" ContentType="application/vnd.openxmlformats-officedocument.presentationml.slideLayout+xml"/>
  <Override PartName="/ppt/slideLayouts/slideLayout8916.xml" ContentType="application/vnd.openxmlformats-officedocument.presentationml.slideLayout+xml"/>
  <Override PartName="/ppt/slideLayouts/slideLayout8917.xml" ContentType="application/vnd.openxmlformats-officedocument.presentationml.slideLayout+xml"/>
  <Override PartName="/ppt/slideLayouts/slideLayout8918.xml" ContentType="application/vnd.openxmlformats-officedocument.presentationml.slideLayout+xml"/>
  <Override PartName="/ppt/slideLayouts/slideLayout8919.xml" ContentType="application/vnd.openxmlformats-officedocument.presentationml.slideLayout+xml"/>
  <Override PartName="/ppt/slideLayouts/slideLayout8920.xml" ContentType="application/vnd.openxmlformats-officedocument.presentationml.slideLayout+xml"/>
  <Override PartName="/ppt/slideLayouts/slideLayout8921.xml" ContentType="application/vnd.openxmlformats-officedocument.presentationml.slideLayout+xml"/>
  <Override PartName="/ppt/slideLayouts/slideLayout8922.xml" ContentType="application/vnd.openxmlformats-officedocument.presentationml.slideLayout+xml"/>
  <Override PartName="/ppt/slideLayouts/slideLayout8923.xml" ContentType="application/vnd.openxmlformats-officedocument.presentationml.slideLayout+xml"/>
  <Override PartName="/ppt/slideLayouts/slideLayout8924.xml" ContentType="application/vnd.openxmlformats-officedocument.presentationml.slideLayout+xml"/>
  <Override PartName="/ppt/slideLayouts/slideLayout8925.xml" ContentType="application/vnd.openxmlformats-officedocument.presentationml.slideLayout+xml"/>
  <Override PartName="/ppt/slideLayouts/slideLayout8926.xml" ContentType="application/vnd.openxmlformats-officedocument.presentationml.slideLayout+xml"/>
  <Override PartName="/ppt/slideLayouts/slideLayout8927.xml" ContentType="application/vnd.openxmlformats-officedocument.presentationml.slideLayout+xml"/>
  <Override PartName="/ppt/slideLayouts/slideLayout8928.xml" ContentType="application/vnd.openxmlformats-officedocument.presentationml.slideLayout+xml"/>
  <Override PartName="/ppt/slideLayouts/slideLayout8929.xml" ContentType="application/vnd.openxmlformats-officedocument.presentationml.slideLayout+xml"/>
  <Override PartName="/ppt/slideLayouts/slideLayout8930.xml" ContentType="application/vnd.openxmlformats-officedocument.presentationml.slideLayout+xml"/>
  <Override PartName="/ppt/slideLayouts/slideLayout8931.xml" ContentType="application/vnd.openxmlformats-officedocument.presentationml.slideLayout+xml"/>
  <Override PartName="/ppt/slideLayouts/slideLayout8932.xml" ContentType="application/vnd.openxmlformats-officedocument.presentationml.slideLayout+xml"/>
  <Override PartName="/ppt/slideLayouts/slideLayout8933.xml" ContentType="application/vnd.openxmlformats-officedocument.presentationml.slideLayout+xml"/>
  <Override PartName="/ppt/slideLayouts/slideLayout8934.xml" ContentType="application/vnd.openxmlformats-officedocument.presentationml.slideLayout+xml"/>
  <Override PartName="/ppt/slideLayouts/slideLayout8935.xml" ContentType="application/vnd.openxmlformats-officedocument.presentationml.slideLayout+xml"/>
  <Override PartName="/ppt/slideLayouts/slideLayout8936.xml" ContentType="application/vnd.openxmlformats-officedocument.presentationml.slideLayout+xml"/>
  <Override PartName="/ppt/slideLayouts/slideLayout8937.xml" ContentType="application/vnd.openxmlformats-officedocument.presentationml.slideLayout+xml"/>
  <Override PartName="/ppt/slideLayouts/slideLayout8938.xml" ContentType="application/vnd.openxmlformats-officedocument.presentationml.slideLayout+xml"/>
  <Override PartName="/ppt/slideLayouts/slideLayout8939.xml" ContentType="application/vnd.openxmlformats-officedocument.presentationml.slideLayout+xml"/>
  <Override PartName="/ppt/slideLayouts/slideLayout8940.xml" ContentType="application/vnd.openxmlformats-officedocument.presentationml.slideLayout+xml"/>
  <Override PartName="/ppt/slideLayouts/slideLayout8941.xml" ContentType="application/vnd.openxmlformats-officedocument.presentationml.slideLayout+xml"/>
  <Override PartName="/ppt/slideLayouts/slideLayout8942.xml" ContentType="application/vnd.openxmlformats-officedocument.presentationml.slideLayout+xml"/>
  <Override PartName="/ppt/slideLayouts/slideLayout8943.xml" ContentType="application/vnd.openxmlformats-officedocument.presentationml.slideLayout+xml"/>
  <Override PartName="/ppt/slideLayouts/slideLayout8944.xml" ContentType="application/vnd.openxmlformats-officedocument.presentationml.slideLayout+xml"/>
  <Override PartName="/ppt/slideLayouts/slideLayout8945.xml" ContentType="application/vnd.openxmlformats-officedocument.presentationml.slideLayout+xml"/>
  <Override PartName="/ppt/slideLayouts/slideLayout8946.xml" ContentType="application/vnd.openxmlformats-officedocument.presentationml.slideLayout+xml"/>
  <Override PartName="/ppt/slideLayouts/slideLayout8947.xml" ContentType="application/vnd.openxmlformats-officedocument.presentationml.slideLayout+xml"/>
  <Override PartName="/ppt/slideLayouts/slideLayout8948.xml" ContentType="application/vnd.openxmlformats-officedocument.presentationml.slideLayout+xml"/>
  <Override PartName="/ppt/slideLayouts/slideLayout8949.xml" ContentType="application/vnd.openxmlformats-officedocument.presentationml.slideLayout+xml"/>
  <Override PartName="/ppt/slideLayouts/slideLayout8950.xml" ContentType="application/vnd.openxmlformats-officedocument.presentationml.slideLayout+xml"/>
  <Override PartName="/ppt/slideLayouts/slideLayout8951.xml" ContentType="application/vnd.openxmlformats-officedocument.presentationml.slideLayout+xml"/>
  <Override PartName="/ppt/slideLayouts/slideLayout8952.xml" ContentType="application/vnd.openxmlformats-officedocument.presentationml.slideLayout+xml"/>
  <Override PartName="/ppt/slideLayouts/slideLayout8953.xml" ContentType="application/vnd.openxmlformats-officedocument.presentationml.slideLayout+xml"/>
  <Override PartName="/ppt/slideLayouts/slideLayout8954.xml" ContentType="application/vnd.openxmlformats-officedocument.presentationml.slideLayout+xml"/>
  <Override PartName="/ppt/slideLayouts/slideLayout8955.xml" ContentType="application/vnd.openxmlformats-officedocument.presentationml.slideLayout+xml"/>
  <Override PartName="/ppt/slideLayouts/slideLayout8956.xml" ContentType="application/vnd.openxmlformats-officedocument.presentationml.slideLayout+xml"/>
  <Override PartName="/ppt/slideLayouts/slideLayout8957.xml" ContentType="application/vnd.openxmlformats-officedocument.presentationml.slideLayout+xml"/>
  <Override PartName="/ppt/slideLayouts/slideLayout8958.xml" ContentType="application/vnd.openxmlformats-officedocument.presentationml.slideLayout+xml"/>
  <Override PartName="/ppt/slideLayouts/slideLayout8959.xml" ContentType="application/vnd.openxmlformats-officedocument.presentationml.slideLayout+xml"/>
  <Override PartName="/ppt/slideLayouts/slideLayout8960.xml" ContentType="application/vnd.openxmlformats-officedocument.presentationml.slideLayout+xml"/>
  <Override PartName="/ppt/slideLayouts/slideLayout8961.xml" ContentType="application/vnd.openxmlformats-officedocument.presentationml.slideLayout+xml"/>
  <Override PartName="/ppt/slideLayouts/slideLayout8962.xml" ContentType="application/vnd.openxmlformats-officedocument.presentationml.slideLayout+xml"/>
  <Override PartName="/ppt/slideLayouts/slideLayout8963.xml" ContentType="application/vnd.openxmlformats-officedocument.presentationml.slideLayout+xml"/>
  <Override PartName="/ppt/slideLayouts/slideLayout8964.xml" ContentType="application/vnd.openxmlformats-officedocument.presentationml.slideLayout+xml"/>
  <Override PartName="/ppt/slideLayouts/slideLayout8965.xml" ContentType="application/vnd.openxmlformats-officedocument.presentationml.slideLayout+xml"/>
  <Override PartName="/ppt/slideLayouts/slideLayout8966.xml" ContentType="application/vnd.openxmlformats-officedocument.presentationml.slideLayout+xml"/>
  <Override PartName="/ppt/slideLayouts/slideLayout8967.xml" ContentType="application/vnd.openxmlformats-officedocument.presentationml.slideLayout+xml"/>
  <Override PartName="/ppt/slideLayouts/slideLayout8968.xml" ContentType="application/vnd.openxmlformats-officedocument.presentationml.slideLayout+xml"/>
  <Override PartName="/ppt/slideLayouts/slideLayout8969.xml" ContentType="application/vnd.openxmlformats-officedocument.presentationml.slideLayout+xml"/>
  <Override PartName="/ppt/slideLayouts/slideLayout8970.xml" ContentType="application/vnd.openxmlformats-officedocument.presentationml.slideLayout+xml"/>
  <Override PartName="/ppt/slideLayouts/slideLayout8971.xml" ContentType="application/vnd.openxmlformats-officedocument.presentationml.slideLayout+xml"/>
  <Override PartName="/ppt/slideLayouts/slideLayout8972.xml" ContentType="application/vnd.openxmlformats-officedocument.presentationml.slideLayout+xml"/>
  <Override PartName="/ppt/slideLayouts/slideLayout8973.xml" ContentType="application/vnd.openxmlformats-officedocument.presentationml.slideLayout+xml"/>
  <Override PartName="/ppt/slideLayouts/slideLayout8974.xml" ContentType="application/vnd.openxmlformats-officedocument.presentationml.slideLayout+xml"/>
  <Override PartName="/ppt/slideLayouts/slideLayout8975.xml" ContentType="application/vnd.openxmlformats-officedocument.presentationml.slideLayout+xml"/>
  <Override PartName="/ppt/slideLayouts/slideLayout8976.xml" ContentType="application/vnd.openxmlformats-officedocument.presentationml.slideLayout+xml"/>
  <Override PartName="/ppt/slideLayouts/slideLayout8977.xml" ContentType="application/vnd.openxmlformats-officedocument.presentationml.slideLayout+xml"/>
  <Override PartName="/ppt/slideLayouts/slideLayout8978.xml" ContentType="application/vnd.openxmlformats-officedocument.presentationml.slideLayout+xml"/>
  <Override PartName="/ppt/slideLayouts/slideLayout8979.xml" ContentType="application/vnd.openxmlformats-officedocument.presentationml.slideLayout+xml"/>
  <Override PartName="/ppt/slideLayouts/slideLayout8980.xml" ContentType="application/vnd.openxmlformats-officedocument.presentationml.slideLayout+xml"/>
  <Override PartName="/ppt/slideLayouts/slideLayout8981.xml" ContentType="application/vnd.openxmlformats-officedocument.presentationml.slideLayout+xml"/>
  <Override PartName="/ppt/slideLayouts/slideLayout8982.xml" ContentType="application/vnd.openxmlformats-officedocument.presentationml.slideLayout+xml"/>
  <Override PartName="/ppt/slideLayouts/slideLayout8983.xml" ContentType="application/vnd.openxmlformats-officedocument.presentationml.slideLayout+xml"/>
  <Override PartName="/ppt/slideLayouts/slideLayout8984.xml" ContentType="application/vnd.openxmlformats-officedocument.presentationml.slideLayout+xml"/>
  <Override PartName="/ppt/slideLayouts/slideLayout8985.xml" ContentType="application/vnd.openxmlformats-officedocument.presentationml.slideLayout+xml"/>
  <Override PartName="/ppt/slideLayouts/slideLayout8986.xml" ContentType="application/vnd.openxmlformats-officedocument.presentationml.slideLayout+xml"/>
  <Override PartName="/ppt/slideLayouts/slideLayout8987.xml" ContentType="application/vnd.openxmlformats-officedocument.presentationml.slideLayout+xml"/>
  <Override PartName="/ppt/slideLayouts/slideLayout8988.xml" ContentType="application/vnd.openxmlformats-officedocument.presentationml.slideLayout+xml"/>
  <Override PartName="/ppt/slideLayouts/slideLayout8989.xml" ContentType="application/vnd.openxmlformats-officedocument.presentationml.slideLayout+xml"/>
  <Override PartName="/ppt/slideLayouts/slideLayout8990.xml" ContentType="application/vnd.openxmlformats-officedocument.presentationml.slideLayout+xml"/>
  <Override PartName="/ppt/slideLayouts/slideLayout8991.xml" ContentType="application/vnd.openxmlformats-officedocument.presentationml.slideLayout+xml"/>
  <Override PartName="/ppt/slideLayouts/slideLayout8992.xml" ContentType="application/vnd.openxmlformats-officedocument.presentationml.slideLayout+xml"/>
  <Override PartName="/ppt/slideLayouts/slideLayout8993.xml" ContentType="application/vnd.openxmlformats-officedocument.presentationml.slideLayout+xml"/>
  <Override PartName="/ppt/slideLayouts/slideLayout8994.xml" ContentType="application/vnd.openxmlformats-officedocument.presentationml.slideLayout+xml"/>
  <Override PartName="/ppt/slideLayouts/slideLayout8995.xml" ContentType="application/vnd.openxmlformats-officedocument.presentationml.slideLayout+xml"/>
  <Override PartName="/ppt/slideLayouts/slideLayout8996.xml" ContentType="application/vnd.openxmlformats-officedocument.presentationml.slideLayout+xml"/>
  <Override PartName="/ppt/slideLayouts/slideLayout8997.xml" ContentType="application/vnd.openxmlformats-officedocument.presentationml.slideLayout+xml"/>
  <Override PartName="/ppt/slideLayouts/slideLayout8998.xml" ContentType="application/vnd.openxmlformats-officedocument.presentationml.slideLayout+xml"/>
  <Override PartName="/ppt/slideLayouts/slideLayout8999.xml" ContentType="application/vnd.openxmlformats-officedocument.presentationml.slideLayout+xml"/>
  <Override PartName="/ppt/slideLayouts/slideLayout9000.xml" ContentType="application/vnd.openxmlformats-officedocument.presentationml.slideLayout+xml"/>
  <Override PartName="/ppt/slideLayouts/slideLayout9001.xml" ContentType="application/vnd.openxmlformats-officedocument.presentationml.slideLayout+xml"/>
  <Override PartName="/ppt/slideLayouts/slideLayout9002.xml" ContentType="application/vnd.openxmlformats-officedocument.presentationml.slideLayout+xml"/>
  <Override PartName="/ppt/slideLayouts/slideLayout9003.xml" ContentType="application/vnd.openxmlformats-officedocument.presentationml.slideLayout+xml"/>
  <Override PartName="/ppt/slideLayouts/slideLayout9004.xml" ContentType="application/vnd.openxmlformats-officedocument.presentationml.slideLayout+xml"/>
  <Override PartName="/ppt/slideLayouts/slideLayout9005.xml" ContentType="application/vnd.openxmlformats-officedocument.presentationml.slideLayout+xml"/>
  <Override PartName="/ppt/slideLayouts/slideLayout9006.xml" ContentType="application/vnd.openxmlformats-officedocument.presentationml.slideLayout+xml"/>
  <Override PartName="/ppt/slideLayouts/slideLayout9007.xml" ContentType="application/vnd.openxmlformats-officedocument.presentationml.slideLayout+xml"/>
  <Override PartName="/ppt/slideLayouts/slideLayout9008.xml" ContentType="application/vnd.openxmlformats-officedocument.presentationml.slideLayout+xml"/>
  <Override PartName="/ppt/slideLayouts/slideLayout9009.xml" ContentType="application/vnd.openxmlformats-officedocument.presentationml.slideLayout+xml"/>
  <Override PartName="/ppt/slideLayouts/slideLayout9010.xml" ContentType="application/vnd.openxmlformats-officedocument.presentationml.slideLayout+xml"/>
  <Override PartName="/ppt/slideLayouts/slideLayout9011.xml" ContentType="application/vnd.openxmlformats-officedocument.presentationml.slideLayout+xml"/>
  <Override PartName="/ppt/slideLayouts/slideLayout9012.xml" ContentType="application/vnd.openxmlformats-officedocument.presentationml.slideLayout+xml"/>
  <Override PartName="/ppt/slideLayouts/slideLayout9013.xml" ContentType="application/vnd.openxmlformats-officedocument.presentationml.slideLayout+xml"/>
  <Override PartName="/ppt/slideLayouts/slideLayout9014.xml" ContentType="application/vnd.openxmlformats-officedocument.presentationml.slideLayout+xml"/>
  <Override PartName="/ppt/slideLayouts/slideLayout9015.xml" ContentType="application/vnd.openxmlformats-officedocument.presentationml.slideLayout+xml"/>
  <Override PartName="/ppt/slideLayouts/slideLayout9016.xml" ContentType="application/vnd.openxmlformats-officedocument.presentationml.slideLayout+xml"/>
  <Override PartName="/ppt/slideLayouts/slideLayout9017.xml" ContentType="application/vnd.openxmlformats-officedocument.presentationml.slideLayout+xml"/>
  <Override PartName="/ppt/slideLayouts/slideLayout9018.xml" ContentType="application/vnd.openxmlformats-officedocument.presentationml.slideLayout+xml"/>
  <Override PartName="/ppt/slideLayouts/slideLayout9019.xml" ContentType="application/vnd.openxmlformats-officedocument.presentationml.slideLayout+xml"/>
  <Override PartName="/ppt/slideLayouts/slideLayout9020.xml" ContentType="application/vnd.openxmlformats-officedocument.presentationml.slideLayout+xml"/>
  <Override PartName="/ppt/slideLayouts/slideLayout9021.xml" ContentType="application/vnd.openxmlformats-officedocument.presentationml.slideLayout+xml"/>
  <Override PartName="/ppt/slideLayouts/slideLayout9022.xml" ContentType="application/vnd.openxmlformats-officedocument.presentationml.slideLayout+xml"/>
  <Override PartName="/ppt/slideLayouts/slideLayout9023.xml" ContentType="application/vnd.openxmlformats-officedocument.presentationml.slideLayout+xml"/>
  <Override PartName="/ppt/slideLayouts/slideLayout9024.xml" ContentType="application/vnd.openxmlformats-officedocument.presentationml.slideLayout+xml"/>
  <Override PartName="/ppt/slideLayouts/slideLayout9025.xml" ContentType="application/vnd.openxmlformats-officedocument.presentationml.slideLayout+xml"/>
  <Override PartName="/ppt/slideLayouts/slideLayout9026.xml" ContentType="application/vnd.openxmlformats-officedocument.presentationml.slideLayout+xml"/>
  <Override PartName="/ppt/slideLayouts/slideLayout9027.xml" ContentType="application/vnd.openxmlformats-officedocument.presentationml.slideLayout+xml"/>
  <Override PartName="/ppt/slideLayouts/slideLayout9028.xml" ContentType="application/vnd.openxmlformats-officedocument.presentationml.slideLayout+xml"/>
  <Override PartName="/ppt/slideLayouts/slideLayout9029.xml" ContentType="application/vnd.openxmlformats-officedocument.presentationml.slideLayout+xml"/>
  <Override PartName="/ppt/slideLayouts/slideLayout9030.xml" ContentType="application/vnd.openxmlformats-officedocument.presentationml.slideLayout+xml"/>
  <Override PartName="/ppt/slideLayouts/slideLayout9031.xml" ContentType="application/vnd.openxmlformats-officedocument.presentationml.slideLayout+xml"/>
  <Override PartName="/ppt/slideLayouts/slideLayout9032.xml" ContentType="application/vnd.openxmlformats-officedocument.presentationml.slideLayout+xml"/>
  <Override PartName="/ppt/slideLayouts/slideLayout9033.xml" ContentType="application/vnd.openxmlformats-officedocument.presentationml.slideLayout+xml"/>
  <Override PartName="/ppt/slideLayouts/slideLayout9034.xml" ContentType="application/vnd.openxmlformats-officedocument.presentationml.slideLayout+xml"/>
  <Override PartName="/ppt/slideLayouts/slideLayout9035.xml" ContentType="application/vnd.openxmlformats-officedocument.presentationml.slideLayout+xml"/>
  <Override PartName="/ppt/slideLayouts/slideLayout9036.xml" ContentType="application/vnd.openxmlformats-officedocument.presentationml.slideLayout+xml"/>
  <Override PartName="/ppt/slideLayouts/slideLayout9037.xml" ContentType="application/vnd.openxmlformats-officedocument.presentationml.slideLayout+xml"/>
  <Override PartName="/ppt/slideLayouts/slideLayout9038.xml" ContentType="application/vnd.openxmlformats-officedocument.presentationml.slideLayout+xml"/>
  <Override PartName="/ppt/slideLayouts/slideLayout9039.xml" ContentType="application/vnd.openxmlformats-officedocument.presentationml.slideLayout+xml"/>
  <Override PartName="/ppt/slideLayouts/slideLayout9040.xml" ContentType="application/vnd.openxmlformats-officedocument.presentationml.slideLayout+xml"/>
  <Override PartName="/ppt/slideLayouts/slideLayout9041.xml" ContentType="application/vnd.openxmlformats-officedocument.presentationml.slideLayout+xml"/>
  <Override PartName="/ppt/slideLayouts/slideLayout9042.xml" ContentType="application/vnd.openxmlformats-officedocument.presentationml.slideLayout+xml"/>
  <Override PartName="/ppt/slideLayouts/slideLayout9043.xml" ContentType="application/vnd.openxmlformats-officedocument.presentationml.slideLayout+xml"/>
  <Override PartName="/ppt/slideLayouts/slideLayout9044.xml" ContentType="application/vnd.openxmlformats-officedocument.presentationml.slideLayout+xml"/>
  <Override PartName="/ppt/slideLayouts/slideLayout9045.xml" ContentType="application/vnd.openxmlformats-officedocument.presentationml.slideLayout+xml"/>
  <Override PartName="/ppt/slideLayouts/slideLayout9046.xml" ContentType="application/vnd.openxmlformats-officedocument.presentationml.slideLayout+xml"/>
  <Override PartName="/ppt/slideLayouts/slideLayout9047.xml" ContentType="application/vnd.openxmlformats-officedocument.presentationml.slideLayout+xml"/>
  <Override PartName="/ppt/slideLayouts/slideLayout9048.xml" ContentType="application/vnd.openxmlformats-officedocument.presentationml.slideLayout+xml"/>
  <Override PartName="/ppt/slideLayouts/slideLayout9049.xml" ContentType="application/vnd.openxmlformats-officedocument.presentationml.slideLayout+xml"/>
  <Override PartName="/ppt/slideLayouts/slideLayout9050.xml" ContentType="application/vnd.openxmlformats-officedocument.presentationml.slideLayout+xml"/>
  <Override PartName="/ppt/slideLayouts/slideLayout9051.xml" ContentType="application/vnd.openxmlformats-officedocument.presentationml.slideLayout+xml"/>
  <Override PartName="/ppt/slideLayouts/slideLayout9052.xml" ContentType="application/vnd.openxmlformats-officedocument.presentationml.slideLayout+xml"/>
  <Override PartName="/ppt/slideLayouts/slideLayout9053.xml" ContentType="application/vnd.openxmlformats-officedocument.presentationml.slideLayout+xml"/>
  <Override PartName="/ppt/slideLayouts/slideLayout9054.xml" ContentType="application/vnd.openxmlformats-officedocument.presentationml.slideLayout+xml"/>
  <Override PartName="/ppt/slideLayouts/slideLayout9055.xml" ContentType="application/vnd.openxmlformats-officedocument.presentationml.slideLayout+xml"/>
  <Override PartName="/ppt/slideLayouts/slideLayout9056.xml" ContentType="application/vnd.openxmlformats-officedocument.presentationml.slideLayout+xml"/>
  <Override PartName="/ppt/slideLayouts/slideLayout9057.xml" ContentType="application/vnd.openxmlformats-officedocument.presentationml.slideLayout+xml"/>
  <Override PartName="/ppt/slideLayouts/slideLayout9058.xml" ContentType="application/vnd.openxmlformats-officedocument.presentationml.slideLayout+xml"/>
  <Override PartName="/ppt/slideLayouts/slideLayout9059.xml" ContentType="application/vnd.openxmlformats-officedocument.presentationml.slideLayout+xml"/>
  <Override PartName="/ppt/slideLayouts/slideLayout9060.xml" ContentType="application/vnd.openxmlformats-officedocument.presentationml.slideLayout+xml"/>
  <Override PartName="/ppt/slideLayouts/slideLayout9061.xml" ContentType="application/vnd.openxmlformats-officedocument.presentationml.slideLayout+xml"/>
  <Override PartName="/ppt/slideLayouts/slideLayout9062.xml" ContentType="application/vnd.openxmlformats-officedocument.presentationml.slideLayout+xml"/>
  <Override PartName="/ppt/slideLayouts/slideLayout9063.xml" ContentType="application/vnd.openxmlformats-officedocument.presentationml.slideLayout+xml"/>
  <Override PartName="/ppt/slideLayouts/slideLayout9064.xml" ContentType="application/vnd.openxmlformats-officedocument.presentationml.slideLayout+xml"/>
  <Override PartName="/ppt/slideLayouts/slideLayout9065.xml" ContentType="application/vnd.openxmlformats-officedocument.presentationml.slideLayout+xml"/>
  <Override PartName="/ppt/slideLayouts/slideLayout9066.xml" ContentType="application/vnd.openxmlformats-officedocument.presentationml.slideLayout+xml"/>
  <Override PartName="/ppt/slideLayouts/slideLayout9067.xml" ContentType="application/vnd.openxmlformats-officedocument.presentationml.slideLayout+xml"/>
  <Override PartName="/ppt/slideLayouts/slideLayout9068.xml" ContentType="application/vnd.openxmlformats-officedocument.presentationml.slideLayout+xml"/>
  <Override PartName="/ppt/slideLayouts/slideLayout9069.xml" ContentType="application/vnd.openxmlformats-officedocument.presentationml.slideLayout+xml"/>
  <Override PartName="/ppt/slideLayouts/slideLayout9070.xml" ContentType="application/vnd.openxmlformats-officedocument.presentationml.slideLayout+xml"/>
  <Override PartName="/ppt/slideLayouts/slideLayout9071.xml" ContentType="application/vnd.openxmlformats-officedocument.presentationml.slideLayout+xml"/>
  <Override PartName="/ppt/slideLayouts/slideLayout9072.xml" ContentType="application/vnd.openxmlformats-officedocument.presentationml.slideLayout+xml"/>
  <Override PartName="/ppt/slideLayouts/slideLayout9073.xml" ContentType="application/vnd.openxmlformats-officedocument.presentationml.slideLayout+xml"/>
  <Override PartName="/ppt/slideLayouts/slideLayout9074.xml" ContentType="application/vnd.openxmlformats-officedocument.presentationml.slideLayout+xml"/>
  <Override PartName="/ppt/slideLayouts/slideLayout9075.xml" ContentType="application/vnd.openxmlformats-officedocument.presentationml.slideLayout+xml"/>
  <Override PartName="/ppt/slideLayouts/slideLayout9076.xml" ContentType="application/vnd.openxmlformats-officedocument.presentationml.slideLayout+xml"/>
  <Override PartName="/ppt/slideLayouts/slideLayout9077.xml" ContentType="application/vnd.openxmlformats-officedocument.presentationml.slideLayout+xml"/>
  <Override PartName="/ppt/slideLayouts/slideLayout9078.xml" ContentType="application/vnd.openxmlformats-officedocument.presentationml.slideLayout+xml"/>
  <Override PartName="/ppt/slideLayouts/slideLayout9079.xml" ContentType="application/vnd.openxmlformats-officedocument.presentationml.slideLayout+xml"/>
  <Override PartName="/ppt/slideLayouts/slideLayout9080.xml" ContentType="application/vnd.openxmlformats-officedocument.presentationml.slideLayout+xml"/>
  <Override PartName="/ppt/slideLayouts/slideLayout9081.xml" ContentType="application/vnd.openxmlformats-officedocument.presentationml.slideLayout+xml"/>
  <Override PartName="/ppt/slideLayouts/slideLayout9082.xml" ContentType="application/vnd.openxmlformats-officedocument.presentationml.slideLayout+xml"/>
  <Override PartName="/ppt/slideLayouts/slideLayout9083.xml" ContentType="application/vnd.openxmlformats-officedocument.presentationml.slideLayout+xml"/>
  <Override PartName="/ppt/slideLayouts/slideLayout9084.xml" ContentType="application/vnd.openxmlformats-officedocument.presentationml.slideLayout+xml"/>
  <Override PartName="/ppt/slideLayouts/slideLayout9085.xml" ContentType="application/vnd.openxmlformats-officedocument.presentationml.slideLayout+xml"/>
  <Override PartName="/ppt/slideLayouts/slideLayout9086.xml" ContentType="application/vnd.openxmlformats-officedocument.presentationml.slideLayout+xml"/>
  <Override PartName="/ppt/slideLayouts/slideLayout9087.xml" ContentType="application/vnd.openxmlformats-officedocument.presentationml.slideLayout+xml"/>
  <Override PartName="/ppt/slideLayouts/slideLayout9088.xml" ContentType="application/vnd.openxmlformats-officedocument.presentationml.slideLayout+xml"/>
  <Override PartName="/ppt/slideLayouts/slideLayout9089.xml" ContentType="application/vnd.openxmlformats-officedocument.presentationml.slideLayout+xml"/>
  <Override PartName="/ppt/slideLayouts/slideLayout9090.xml" ContentType="application/vnd.openxmlformats-officedocument.presentationml.slideLayout+xml"/>
  <Override PartName="/ppt/slideLayouts/slideLayout9091.xml" ContentType="application/vnd.openxmlformats-officedocument.presentationml.slideLayout+xml"/>
  <Override PartName="/ppt/slideLayouts/slideLayout9092.xml" ContentType="application/vnd.openxmlformats-officedocument.presentationml.slideLayout+xml"/>
  <Override PartName="/ppt/slideLayouts/slideLayout9093.xml" ContentType="application/vnd.openxmlformats-officedocument.presentationml.slideLayout+xml"/>
  <Override PartName="/ppt/slideLayouts/slideLayout9094.xml" ContentType="application/vnd.openxmlformats-officedocument.presentationml.slideLayout+xml"/>
  <Override PartName="/ppt/slideLayouts/slideLayout9095.xml" ContentType="application/vnd.openxmlformats-officedocument.presentationml.slideLayout+xml"/>
  <Override PartName="/ppt/slideLayouts/slideLayout9096.xml" ContentType="application/vnd.openxmlformats-officedocument.presentationml.slideLayout+xml"/>
  <Override PartName="/ppt/slideLayouts/slideLayout9097.xml" ContentType="application/vnd.openxmlformats-officedocument.presentationml.slideLayout+xml"/>
  <Override PartName="/ppt/slideLayouts/slideLayout9098.xml" ContentType="application/vnd.openxmlformats-officedocument.presentationml.slideLayout+xml"/>
  <Override PartName="/ppt/slideLayouts/slideLayout9099.xml" ContentType="application/vnd.openxmlformats-officedocument.presentationml.slideLayout+xml"/>
  <Override PartName="/ppt/slideLayouts/slideLayout9100.xml" ContentType="application/vnd.openxmlformats-officedocument.presentationml.slideLayout+xml"/>
  <Override PartName="/ppt/slideLayouts/slideLayout9101.xml" ContentType="application/vnd.openxmlformats-officedocument.presentationml.slideLayout+xml"/>
  <Override PartName="/ppt/slideLayouts/slideLayout9102.xml" ContentType="application/vnd.openxmlformats-officedocument.presentationml.slideLayout+xml"/>
  <Override PartName="/ppt/slideLayouts/slideLayout9103.xml" ContentType="application/vnd.openxmlformats-officedocument.presentationml.slideLayout+xml"/>
  <Override PartName="/ppt/slideLayouts/slideLayout9104.xml" ContentType="application/vnd.openxmlformats-officedocument.presentationml.slideLayout+xml"/>
  <Override PartName="/ppt/slideLayouts/slideLayout9105.xml" ContentType="application/vnd.openxmlformats-officedocument.presentationml.slideLayout+xml"/>
  <Override PartName="/ppt/slideLayouts/slideLayout9106.xml" ContentType="application/vnd.openxmlformats-officedocument.presentationml.slideLayout+xml"/>
  <Override PartName="/ppt/slideLayouts/slideLayout9107.xml" ContentType="application/vnd.openxmlformats-officedocument.presentationml.slideLayout+xml"/>
  <Override PartName="/ppt/slideLayouts/slideLayout9108.xml" ContentType="application/vnd.openxmlformats-officedocument.presentationml.slideLayout+xml"/>
  <Override PartName="/ppt/slideLayouts/slideLayout9109.xml" ContentType="application/vnd.openxmlformats-officedocument.presentationml.slideLayout+xml"/>
  <Override PartName="/ppt/slideLayouts/slideLayout9110.xml" ContentType="application/vnd.openxmlformats-officedocument.presentationml.slideLayout+xml"/>
  <Override PartName="/ppt/slideLayouts/slideLayout9111.xml" ContentType="application/vnd.openxmlformats-officedocument.presentationml.slideLayout+xml"/>
  <Override PartName="/ppt/slideLayouts/slideLayout9112.xml" ContentType="application/vnd.openxmlformats-officedocument.presentationml.slideLayout+xml"/>
  <Override PartName="/ppt/slideLayouts/slideLayout9113.xml" ContentType="application/vnd.openxmlformats-officedocument.presentationml.slideLayout+xml"/>
  <Override PartName="/ppt/slideLayouts/slideLayout9114.xml" ContentType="application/vnd.openxmlformats-officedocument.presentationml.slideLayout+xml"/>
  <Override PartName="/ppt/slideLayouts/slideLayout9115.xml" ContentType="application/vnd.openxmlformats-officedocument.presentationml.slideLayout+xml"/>
  <Override PartName="/ppt/slideLayouts/slideLayout9116.xml" ContentType="application/vnd.openxmlformats-officedocument.presentationml.slideLayout+xml"/>
  <Override PartName="/ppt/slideLayouts/slideLayout9117.xml" ContentType="application/vnd.openxmlformats-officedocument.presentationml.slideLayout+xml"/>
  <Override PartName="/ppt/slideLayouts/slideLayout9118.xml" ContentType="application/vnd.openxmlformats-officedocument.presentationml.slideLayout+xml"/>
  <Override PartName="/ppt/slideLayouts/slideLayout9119.xml" ContentType="application/vnd.openxmlformats-officedocument.presentationml.slideLayout+xml"/>
  <Override PartName="/ppt/slideLayouts/slideLayout9120.xml" ContentType="application/vnd.openxmlformats-officedocument.presentationml.slideLayout+xml"/>
  <Override PartName="/ppt/slideLayouts/slideLayout9121.xml" ContentType="application/vnd.openxmlformats-officedocument.presentationml.slideLayout+xml"/>
  <Override PartName="/ppt/slideLayouts/slideLayout9122.xml" ContentType="application/vnd.openxmlformats-officedocument.presentationml.slideLayout+xml"/>
  <Override PartName="/ppt/slideLayouts/slideLayout9123.xml" ContentType="application/vnd.openxmlformats-officedocument.presentationml.slideLayout+xml"/>
  <Override PartName="/ppt/slideLayouts/slideLayout9124.xml" ContentType="application/vnd.openxmlformats-officedocument.presentationml.slideLayout+xml"/>
  <Override PartName="/ppt/slideLayouts/slideLayout9125.xml" ContentType="application/vnd.openxmlformats-officedocument.presentationml.slideLayout+xml"/>
  <Override PartName="/ppt/slideLayouts/slideLayout9126.xml" ContentType="application/vnd.openxmlformats-officedocument.presentationml.slideLayout+xml"/>
  <Override PartName="/ppt/slideLayouts/slideLayout9127.xml" ContentType="application/vnd.openxmlformats-officedocument.presentationml.slideLayout+xml"/>
  <Override PartName="/ppt/slideLayouts/slideLayout9128.xml" ContentType="application/vnd.openxmlformats-officedocument.presentationml.slideLayout+xml"/>
  <Override PartName="/ppt/slideLayouts/slideLayout9129.xml" ContentType="application/vnd.openxmlformats-officedocument.presentationml.slideLayout+xml"/>
  <Override PartName="/ppt/slideLayouts/slideLayout9130.xml" ContentType="application/vnd.openxmlformats-officedocument.presentationml.slideLayout+xml"/>
  <Override PartName="/ppt/slideLayouts/slideLayout9131.xml" ContentType="application/vnd.openxmlformats-officedocument.presentationml.slideLayout+xml"/>
  <Override PartName="/ppt/slideLayouts/slideLayout9132.xml" ContentType="application/vnd.openxmlformats-officedocument.presentationml.slideLayout+xml"/>
  <Override PartName="/ppt/slideLayouts/slideLayout9133.xml" ContentType="application/vnd.openxmlformats-officedocument.presentationml.slideLayout+xml"/>
  <Override PartName="/ppt/slideLayouts/slideLayout9134.xml" ContentType="application/vnd.openxmlformats-officedocument.presentationml.slideLayout+xml"/>
  <Override PartName="/ppt/slideLayouts/slideLayout9135.xml" ContentType="application/vnd.openxmlformats-officedocument.presentationml.slideLayout+xml"/>
  <Override PartName="/ppt/slideLayouts/slideLayout9136.xml" ContentType="application/vnd.openxmlformats-officedocument.presentationml.slideLayout+xml"/>
  <Override PartName="/ppt/slideLayouts/slideLayout9137.xml" ContentType="application/vnd.openxmlformats-officedocument.presentationml.slideLayout+xml"/>
  <Override PartName="/ppt/slideLayouts/slideLayout9138.xml" ContentType="application/vnd.openxmlformats-officedocument.presentationml.slideLayout+xml"/>
  <Override PartName="/ppt/slideLayouts/slideLayout9139.xml" ContentType="application/vnd.openxmlformats-officedocument.presentationml.slideLayout+xml"/>
  <Override PartName="/ppt/slideLayouts/slideLayout9140.xml" ContentType="application/vnd.openxmlformats-officedocument.presentationml.slideLayout+xml"/>
  <Override PartName="/ppt/slideLayouts/slideLayout9141.xml" ContentType="application/vnd.openxmlformats-officedocument.presentationml.slideLayout+xml"/>
  <Override PartName="/ppt/slideLayouts/slideLayout9142.xml" ContentType="application/vnd.openxmlformats-officedocument.presentationml.slideLayout+xml"/>
  <Override PartName="/ppt/slideLayouts/slideLayout9143.xml" ContentType="application/vnd.openxmlformats-officedocument.presentationml.slideLayout+xml"/>
  <Override PartName="/ppt/slideLayouts/slideLayout9144.xml" ContentType="application/vnd.openxmlformats-officedocument.presentationml.slideLayout+xml"/>
  <Override PartName="/ppt/slideLayouts/slideLayout9145.xml" ContentType="application/vnd.openxmlformats-officedocument.presentationml.slideLayout+xml"/>
  <Override PartName="/ppt/slideLayouts/slideLayout9146.xml" ContentType="application/vnd.openxmlformats-officedocument.presentationml.slideLayout+xml"/>
  <Override PartName="/ppt/slideLayouts/slideLayout9147.xml" ContentType="application/vnd.openxmlformats-officedocument.presentationml.slideLayout+xml"/>
  <Override PartName="/ppt/slideLayouts/slideLayout9148.xml" ContentType="application/vnd.openxmlformats-officedocument.presentationml.slideLayout+xml"/>
  <Override PartName="/ppt/slideLayouts/slideLayout9149.xml" ContentType="application/vnd.openxmlformats-officedocument.presentationml.slideLayout+xml"/>
  <Override PartName="/ppt/slideLayouts/slideLayout9150.xml" ContentType="application/vnd.openxmlformats-officedocument.presentationml.slideLayout+xml"/>
  <Override PartName="/ppt/slideLayouts/slideLayout9151.xml" ContentType="application/vnd.openxmlformats-officedocument.presentationml.slideLayout+xml"/>
  <Override PartName="/ppt/slideLayouts/slideLayout9152.xml" ContentType="application/vnd.openxmlformats-officedocument.presentationml.slideLayout+xml"/>
  <Override PartName="/ppt/slideLayouts/slideLayout9153.xml" ContentType="application/vnd.openxmlformats-officedocument.presentationml.slideLayout+xml"/>
  <Override PartName="/ppt/slideLayouts/slideLayout9154.xml" ContentType="application/vnd.openxmlformats-officedocument.presentationml.slideLayout+xml"/>
  <Override PartName="/ppt/slideLayouts/slideLayout9155.xml" ContentType="application/vnd.openxmlformats-officedocument.presentationml.slideLayout+xml"/>
  <Override PartName="/ppt/slideLayouts/slideLayout9156.xml" ContentType="application/vnd.openxmlformats-officedocument.presentationml.slideLayout+xml"/>
  <Override PartName="/ppt/slideLayouts/slideLayout9157.xml" ContentType="application/vnd.openxmlformats-officedocument.presentationml.slideLayout+xml"/>
  <Override PartName="/ppt/slideLayouts/slideLayout9158.xml" ContentType="application/vnd.openxmlformats-officedocument.presentationml.slideLayout+xml"/>
  <Override PartName="/ppt/slideLayouts/slideLayout9159.xml" ContentType="application/vnd.openxmlformats-officedocument.presentationml.slideLayout+xml"/>
  <Override PartName="/ppt/slideLayouts/slideLayout9160.xml" ContentType="application/vnd.openxmlformats-officedocument.presentationml.slideLayout+xml"/>
  <Override PartName="/ppt/slideLayouts/slideLayout9161.xml" ContentType="application/vnd.openxmlformats-officedocument.presentationml.slideLayout+xml"/>
  <Override PartName="/ppt/slideLayouts/slideLayout9162.xml" ContentType="application/vnd.openxmlformats-officedocument.presentationml.slideLayout+xml"/>
  <Override PartName="/ppt/slideLayouts/slideLayout9163.xml" ContentType="application/vnd.openxmlformats-officedocument.presentationml.slideLayout+xml"/>
  <Override PartName="/ppt/slideLayouts/slideLayout9164.xml" ContentType="application/vnd.openxmlformats-officedocument.presentationml.slideLayout+xml"/>
  <Override PartName="/ppt/slideLayouts/slideLayout9165.xml" ContentType="application/vnd.openxmlformats-officedocument.presentationml.slideLayout+xml"/>
  <Override PartName="/ppt/slideLayouts/slideLayout9166.xml" ContentType="application/vnd.openxmlformats-officedocument.presentationml.slideLayout+xml"/>
  <Override PartName="/ppt/slideLayouts/slideLayout9167.xml" ContentType="application/vnd.openxmlformats-officedocument.presentationml.slideLayout+xml"/>
  <Override PartName="/ppt/slideLayouts/slideLayout9168.xml" ContentType="application/vnd.openxmlformats-officedocument.presentationml.slideLayout+xml"/>
  <Override PartName="/ppt/slideLayouts/slideLayout9169.xml" ContentType="application/vnd.openxmlformats-officedocument.presentationml.slideLayout+xml"/>
  <Override PartName="/ppt/slideLayouts/slideLayout9170.xml" ContentType="application/vnd.openxmlformats-officedocument.presentationml.slideLayout+xml"/>
  <Override PartName="/ppt/slideLayouts/slideLayout9171.xml" ContentType="application/vnd.openxmlformats-officedocument.presentationml.slideLayout+xml"/>
  <Override PartName="/ppt/slideLayouts/slideLayout9172.xml" ContentType="application/vnd.openxmlformats-officedocument.presentationml.slideLayout+xml"/>
  <Override PartName="/ppt/slideLayouts/slideLayout9173.xml" ContentType="application/vnd.openxmlformats-officedocument.presentationml.slideLayout+xml"/>
  <Override PartName="/ppt/slideLayouts/slideLayout9174.xml" ContentType="application/vnd.openxmlformats-officedocument.presentationml.slideLayout+xml"/>
  <Override PartName="/ppt/slideLayouts/slideLayout9175.xml" ContentType="application/vnd.openxmlformats-officedocument.presentationml.slideLayout+xml"/>
  <Override PartName="/ppt/slideLayouts/slideLayout9176.xml" ContentType="application/vnd.openxmlformats-officedocument.presentationml.slideLayout+xml"/>
  <Override PartName="/ppt/slideLayouts/slideLayout9177.xml" ContentType="application/vnd.openxmlformats-officedocument.presentationml.slideLayout+xml"/>
  <Override PartName="/ppt/slideLayouts/slideLayout9178.xml" ContentType="application/vnd.openxmlformats-officedocument.presentationml.slideLayout+xml"/>
  <Override PartName="/ppt/slideLayouts/slideLayout9179.xml" ContentType="application/vnd.openxmlformats-officedocument.presentationml.slideLayout+xml"/>
  <Override PartName="/ppt/slideLayouts/slideLayout9180.xml" ContentType="application/vnd.openxmlformats-officedocument.presentationml.slideLayout+xml"/>
  <Override PartName="/ppt/slideLayouts/slideLayout9181.xml" ContentType="application/vnd.openxmlformats-officedocument.presentationml.slideLayout+xml"/>
  <Override PartName="/ppt/slideLayouts/slideLayout9182.xml" ContentType="application/vnd.openxmlformats-officedocument.presentationml.slideLayout+xml"/>
  <Override PartName="/ppt/slideLayouts/slideLayout9183.xml" ContentType="application/vnd.openxmlformats-officedocument.presentationml.slideLayout+xml"/>
  <Override PartName="/ppt/slideLayouts/slideLayout9184.xml" ContentType="application/vnd.openxmlformats-officedocument.presentationml.slideLayout+xml"/>
  <Override PartName="/ppt/slideLayouts/slideLayout9185.xml" ContentType="application/vnd.openxmlformats-officedocument.presentationml.slideLayout+xml"/>
  <Override PartName="/ppt/slideLayouts/slideLayout9186.xml" ContentType="application/vnd.openxmlformats-officedocument.presentationml.slideLayout+xml"/>
  <Override PartName="/ppt/slideLayouts/slideLayout9187.xml" ContentType="application/vnd.openxmlformats-officedocument.presentationml.slideLayout+xml"/>
  <Override PartName="/ppt/slideLayouts/slideLayout9188.xml" ContentType="application/vnd.openxmlformats-officedocument.presentationml.slideLayout+xml"/>
  <Override PartName="/ppt/slideLayouts/slideLayout9189.xml" ContentType="application/vnd.openxmlformats-officedocument.presentationml.slideLayout+xml"/>
  <Override PartName="/ppt/slideLayouts/slideLayout9190.xml" ContentType="application/vnd.openxmlformats-officedocument.presentationml.slideLayout+xml"/>
  <Override PartName="/ppt/slideLayouts/slideLayout9191.xml" ContentType="application/vnd.openxmlformats-officedocument.presentationml.slideLayout+xml"/>
  <Override PartName="/ppt/slideLayouts/slideLayout9192.xml" ContentType="application/vnd.openxmlformats-officedocument.presentationml.slideLayout+xml"/>
  <Override PartName="/ppt/slideLayouts/slideLayout9193.xml" ContentType="application/vnd.openxmlformats-officedocument.presentationml.slideLayout+xml"/>
  <Override PartName="/ppt/slideLayouts/slideLayout9194.xml" ContentType="application/vnd.openxmlformats-officedocument.presentationml.slideLayout+xml"/>
  <Override PartName="/ppt/slideLayouts/slideLayout9195.xml" ContentType="application/vnd.openxmlformats-officedocument.presentationml.slideLayout+xml"/>
  <Override PartName="/ppt/slideLayouts/slideLayout9196.xml" ContentType="application/vnd.openxmlformats-officedocument.presentationml.slideLayout+xml"/>
  <Override PartName="/ppt/slideLayouts/slideLayout9197.xml" ContentType="application/vnd.openxmlformats-officedocument.presentationml.slideLayout+xml"/>
  <Override PartName="/ppt/slideLayouts/slideLayout9198.xml" ContentType="application/vnd.openxmlformats-officedocument.presentationml.slideLayout+xml"/>
  <Override PartName="/ppt/slideLayouts/slideLayout9199.xml" ContentType="application/vnd.openxmlformats-officedocument.presentationml.slideLayout+xml"/>
  <Override PartName="/ppt/slideLayouts/slideLayout9200.xml" ContentType="application/vnd.openxmlformats-officedocument.presentationml.slideLayout+xml"/>
  <Override PartName="/ppt/slideLayouts/slideLayout9201.xml" ContentType="application/vnd.openxmlformats-officedocument.presentationml.slideLayout+xml"/>
  <Override PartName="/ppt/slideLayouts/slideLayout9202.xml" ContentType="application/vnd.openxmlformats-officedocument.presentationml.slideLayout+xml"/>
  <Override PartName="/ppt/slideLayouts/slideLayout9203.xml" ContentType="application/vnd.openxmlformats-officedocument.presentationml.slideLayout+xml"/>
  <Override PartName="/ppt/slideLayouts/slideLayout9204.xml" ContentType="application/vnd.openxmlformats-officedocument.presentationml.slideLayout+xml"/>
  <Override PartName="/ppt/slideLayouts/slideLayout9205.xml" ContentType="application/vnd.openxmlformats-officedocument.presentationml.slideLayout+xml"/>
  <Override PartName="/ppt/slideLayouts/slideLayout9206.xml" ContentType="application/vnd.openxmlformats-officedocument.presentationml.slideLayout+xml"/>
  <Override PartName="/ppt/slideLayouts/slideLayout9207.xml" ContentType="application/vnd.openxmlformats-officedocument.presentationml.slideLayout+xml"/>
  <Override PartName="/ppt/slideLayouts/slideLayout9208.xml" ContentType="application/vnd.openxmlformats-officedocument.presentationml.slideLayout+xml"/>
  <Override PartName="/ppt/slideLayouts/slideLayout9209.xml" ContentType="application/vnd.openxmlformats-officedocument.presentationml.slideLayout+xml"/>
  <Override PartName="/ppt/slideLayouts/slideLayout9210.xml" ContentType="application/vnd.openxmlformats-officedocument.presentationml.slideLayout+xml"/>
  <Override PartName="/ppt/slideLayouts/slideLayout9211.xml" ContentType="application/vnd.openxmlformats-officedocument.presentationml.slideLayout+xml"/>
  <Override PartName="/ppt/slideLayouts/slideLayout9212.xml" ContentType="application/vnd.openxmlformats-officedocument.presentationml.slideLayout+xml"/>
  <Override PartName="/ppt/slideLayouts/slideLayout9213.xml" ContentType="application/vnd.openxmlformats-officedocument.presentationml.slideLayout+xml"/>
  <Override PartName="/ppt/slideLayouts/slideLayout9214.xml" ContentType="application/vnd.openxmlformats-officedocument.presentationml.slideLayout+xml"/>
  <Override PartName="/ppt/slideLayouts/slideLayout9215.xml" ContentType="application/vnd.openxmlformats-officedocument.presentationml.slideLayout+xml"/>
  <Override PartName="/ppt/slideLayouts/slideLayout9216.xml" ContentType="application/vnd.openxmlformats-officedocument.presentationml.slideLayout+xml"/>
  <Override PartName="/ppt/slideLayouts/slideLayout9217.xml" ContentType="application/vnd.openxmlformats-officedocument.presentationml.slideLayout+xml"/>
  <Override PartName="/ppt/slideLayouts/slideLayout9218.xml" ContentType="application/vnd.openxmlformats-officedocument.presentationml.slideLayout+xml"/>
  <Override PartName="/ppt/slideLayouts/slideLayout9219.xml" ContentType="application/vnd.openxmlformats-officedocument.presentationml.slideLayout+xml"/>
  <Override PartName="/ppt/slideLayouts/slideLayout9220.xml" ContentType="application/vnd.openxmlformats-officedocument.presentationml.slideLayout+xml"/>
  <Override PartName="/ppt/slideLayouts/slideLayout9221.xml" ContentType="application/vnd.openxmlformats-officedocument.presentationml.slideLayout+xml"/>
  <Override PartName="/ppt/slideLayouts/slideLayout9222.xml" ContentType="application/vnd.openxmlformats-officedocument.presentationml.slideLayout+xml"/>
  <Override PartName="/ppt/slideLayouts/slideLayout9223.xml" ContentType="application/vnd.openxmlformats-officedocument.presentationml.slideLayout+xml"/>
  <Override PartName="/ppt/slideLayouts/slideLayout9224.xml" ContentType="application/vnd.openxmlformats-officedocument.presentationml.slideLayout+xml"/>
  <Override PartName="/ppt/slideLayouts/slideLayout9225.xml" ContentType="application/vnd.openxmlformats-officedocument.presentationml.slideLayout+xml"/>
  <Override PartName="/ppt/slideLayouts/slideLayout9226.xml" ContentType="application/vnd.openxmlformats-officedocument.presentationml.slideLayout+xml"/>
  <Override PartName="/ppt/slideLayouts/slideLayout9227.xml" ContentType="application/vnd.openxmlformats-officedocument.presentationml.slideLayout+xml"/>
  <Override PartName="/ppt/slideLayouts/slideLayout9228.xml" ContentType="application/vnd.openxmlformats-officedocument.presentationml.slideLayout+xml"/>
  <Override PartName="/ppt/slideLayouts/slideLayout9229.xml" ContentType="application/vnd.openxmlformats-officedocument.presentationml.slideLayout+xml"/>
  <Override PartName="/ppt/slideLayouts/slideLayout9230.xml" ContentType="application/vnd.openxmlformats-officedocument.presentationml.slideLayout+xml"/>
  <Override PartName="/ppt/slideLayouts/slideLayout9231.xml" ContentType="application/vnd.openxmlformats-officedocument.presentationml.slideLayout+xml"/>
  <Override PartName="/ppt/slideLayouts/slideLayout9232.xml" ContentType="application/vnd.openxmlformats-officedocument.presentationml.slideLayout+xml"/>
  <Override PartName="/ppt/slideLayouts/slideLayout9233.xml" ContentType="application/vnd.openxmlformats-officedocument.presentationml.slideLayout+xml"/>
  <Override PartName="/ppt/slideLayouts/slideLayout9234.xml" ContentType="application/vnd.openxmlformats-officedocument.presentationml.slideLayout+xml"/>
  <Override PartName="/ppt/slideLayouts/slideLayout9235.xml" ContentType="application/vnd.openxmlformats-officedocument.presentationml.slideLayout+xml"/>
  <Override PartName="/ppt/slideLayouts/slideLayout9236.xml" ContentType="application/vnd.openxmlformats-officedocument.presentationml.slideLayout+xml"/>
  <Override PartName="/ppt/slideLayouts/slideLayout9237.xml" ContentType="application/vnd.openxmlformats-officedocument.presentationml.slideLayout+xml"/>
  <Override PartName="/ppt/slideLayouts/slideLayout9238.xml" ContentType="application/vnd.openxmlformats-officedocument.presentationml.slideLayout+xml"/>
  <Override PartName="/ppt/slideLayouts/slideLayout9239.xml" ContentType="application/vnd.openxmlformats-officedocument.presentationml.slideLayout+xml"/>
  <Override PartName="/ppt/slideLayouts/slideLayout9240.xml" ContentType="application/vnd.openxmlformats-officedocument.presentationml.slideLayout+xml"/>
  <Override PartName="/ppt/slideLayouts/slideLayout9241.xml" ContentType="application/vnd.openxmlformats-officedocument.presentationml.slideLayout+xml"/>
  <Override PartName="/ppt/slideLayouts/slideLayout9242.xml" ContentType="application/vnd.openxmlformats-officedocument.presentationml.slideLayout+xml"/>
  <Override PartName="/ppt/slideLayouts/slideLayout9243.xml" ContentType="application/vnd.openxmlformats-officedocument.presentationml.slideLayout+xml"/>
  <Override PartName="/ppt/slideLayouts/slideLayout9244.xml" ContentType="application/vnd.openxmlformats-officedocument.presentationml.slideLayout+xml"/>
  <Override PartName="/ppt/slideLayouts/slideLayout9245.xml" ContentType="application/vnd.openxmlformats-officedocument.presentationml.slideLayout+xml"/>
  <Override PartName="/ppt/slideLayouts/slideLayout9246.xml" ContentType="application/vnd.openxmlformats-officedocument.presentationml.slideLayout+xml"/>
  <Override PartName="/ppt/slideLayouts/slideLayout9247.xml" ContentType="application/vnd.openxmlformats-officedocument.presentationml.slideLayout+xml"/>
  <Override PartName="/ppt/slideLayouts/slideLayout9248.xml" ContentType="application/vnd.openxmlformats-officedocument.presentationml.slideLayout+xml"/>
  <Override PartName="/ppt/slideLayouts/slideLayout9249.xml" ContentType="application/vnd.openxmlformats-officedocument.presentationml.slideLayout+xml"/>
  <Override PartName="/ppt/slideLayouts/slideLayout9250.xml" ContentType="application/vnd.openxmlformats-officedocument.presentationml.slideLayout+xml"/>
  <Override PartName="/ppt/slideLayouts/slideLayout9251.xml" ContentType="application/vnd.openxmlformats-officedocument.presentationml.slideLayout+xml"/>
  <Override PartName="/ppt/slideLayouts/slideLayout9252.xml" ContentType="application/vnd.openxmlformats-officedocument.presentationml.slideLayout+xml"/>
  <Override PartName="/ppt/slideLayouts/slideLayout9253.xml" ContentType="application/vnd.openxmlformats-officedocument.presentationml.slideLayout+xml"/>
  <Override PartName="/ppt/slideLayouts/slideLayout9254.xml" ContentType="application/vnd.openxmlformats-officedocument.presentationml.slideLayout+xml"/>
  <Override PartName="/ppt/slideLayouts/slideLayout9255.xml" ContentType="application/vnd.openxmlformats-officedocument.presentationml.slideLayout+xml"/>
  <Override PartName="/ppt/slideLayouts/slideLayout9256.xml" ContentType="application/vnd.openxmlformats-officedocument.presentationml.slideLayout+xml"/>
  <Override PartName="/ppt/slideLayouts/slideLayout9257.xml" ContentType="application/vnd.openxmlformats-officedocument.presentationml.slideLayout+xml"/>
  <Override PartName="/ppt/slideLayouts/slideLayout9258.xml" ContentType="application/vnd.openxmlformats-officedocument.presentationml.slideLayout+xml"/>
  <Override PartName="/ppt/slideLayouts/slideLayout9259.xml" ContentType="application/vnd.openxmlformats-officedocument.presentationml.slideLayout+xml"/>
  <Override PartName="/ppt/slideLayouts/slideLayout9260.xml" ContentType="application/vnd.openxmlformats-officedocument.presentationml.slideLayout+xml"/>
  <Override PartName="/ppt/slideLayouts/slideLayout9261.xml" ContentType="application/vnd.openxmlformats-officedocument.presentationml.slideLayout+xml"/>
  <Override PartName="/ppt/slideLayouts/slideLayout9262.xml" ContentType="application/vnd.openxmlformats-officedocument.presentationml.slideLayout+xml"/>
  <Override PartName="/ppt/slideLayouts/slideLayout9263.xml" ContentType="application/vnd.openxmlformats-officedocument.presentationml.slideLayout+xml"/>
  <Override PartName="/ppt/slideLayouts/slideLayout9264.xml" ContentType="application/vnd.openxmlformats-officedocument.presentationml.slideLayout+xml"/>
  <Override PartName="/ppt/slideLayouts/slideLayout9265.xml" ContentType="application/vnd.openxmlformats-officedocument.presentationml.slideLayout+xml"/>
  <Override PartName="/ppt/slideLayouts/slideLayout9266.xml" ContentType="application/vnd.openxmlformats-officedocument.presentationml.slideLayout+xml"/>
  <Override PartName="/ppt/slideLayouts/slideLayout9267.xml" ContentType="application/vnd.openxmlformats-officedocument.presentationml.slideLayout+xml"/>
  <Override PartName="/ppt/slideLayouts/slideLayout9268.xml" ContentType="application/vnd.openxmlformats-officedocument.presentationml.slideLayout+xml"/>
  <Override PartName="/ppt/slideLayouts/slideLayout9269.xml" ContentType="application/vnd.openxmlformats-officedocument.presentationml.slideLayout+xml"/>
  <Override PartName="/ppt/slideLayouts/slideLayout9270.xml" ContentType="application/vnd.openxmlformats-officedocument.presentationml.slideLayout+xml"/>
  <Override PartName="/ppt/slideLayouts/slideLayout9271.xml" ContentType="application/vnd.openxmlformats-officedocument.presentationml.slideLayout+xml"/>
  <Override PartName="/ppt/slideLayouts/slideLayout9272.xml" ContentType="application/vnd.openxmlformats-officedocument.presentationml.slideLayout+xml"/>
  <Override PartName="/ppt/slideLayouts/slideLayout9273.xml" ContentType="application/vnd.openxmlformats-officedocument.presentationml.slideLayout+xml"/>
  <Override PartName="/ppt/slideLayouts/slideLayout9274.xml" ContentType="application/vnd.openxmlformats-officedocument.presentationml.slideLayout+xml"/>
  <Override PartName="/ppt/slideLayouts/slideLayout9275.xml" ContentType="application/vnd.openxmlformats-officedocument.presentationml.slideLayout+xml"/>
  <Override PartName="/ppt/slideLayouts/slideLayout9276.xml" ContentType="application/vnd.openxmlformats-officedocument.presentationml.slideLayout+xml"/>
  <Override PartName="/ppt/slideLayouts/slideLayout9277.xml" ContentType="application/vnd.openxmlformats-officedocument.presentationml.slideLayout+xml"/>
  <Override PartName="/ppt/slideLayouts/slideLayout9278.xml" ContentType="application/vnd.openxmlformats-officedocument.presentationml.slideLayout+xml"/>
  <Override PartName="/ppt/slideLayouts/slideLayout9279.xml" ContentType="application/vnd.openxmlformats-officedocument.presentationml.slideLayout+xml"/>
  <Override PartName="/ppt/slideLayouts/slideLayout9280.xml" ContentType="application/vnd.openxmlformats-officedocument.presentationml.slideLayout+xml"/>
  <Override PartName="/ppt/slideLayouts/slideLayout9281.xml" ContentType="application/vnd.openxmlformats-officedocument.presentationml.slideLayout+xml"/>
  <Override PartName="/ppt/slideLayouts/slideLayout9282.xml" ContentType="application/vnd.openxmlformats-officedocument.presentationml.slideLayout+xml"/>
  <Override PartName="/ppt/slideLayouts/slideLayout9283.xml" ContentType="application/vnd.openxmlformats-officedocument.presentationml.slideLayout+xml"/>
  <Override PartName="/ppt/slideLayouts/slideLayout9284.xml" ContentType="application/vnd.openxmlformats-officedocument.presentationml.slideLayout+xml"/>
  <Override PartName="/ppt/slideLayouts/slideLayout9285.xml" ContentType="application/vnd.openxmlformats-officedocument.presentationml.slideLayout+xml"/>
  <Override PartName="/ppt/slideLayouts/slideLayout9286.xml" ContentType="application/vnd.openxmlformats-officedocument.presentationml.slideLayout+xml"/>
  <Override PartName="/ppt/slideLayouts/slideLayout9287.xml" ContentType="application/vnd.openxmlformats-officedocument.presentationml.slideLayout+xml"/>
  <Override PartName="/ppt/slideLayouts/slideLayout9288.xml" ContentType="application/vnd.openxmlformats-officedocument.presentationml.slideLayout+xml"/>
  <Override PartName="/ppt/slideLayouts/slideLayout9289.xml" ContentType="application/vnd.openxmlformats-officedocument.presentationml.slideLayout+xml"/>
  <Override PartName="/ppt/slideLayouts/slideLayout9290.xml" ContentType="application/vnd.openxmlformats-officedocument.presentationml.slideLayout+xml"/>
  <Override PartName="/ppt/slideLayouts/slideLayout9291.xml" ContentType="application/vnd.openxmlformats-officedocument.presentationml.slideLayout+xml"/>
  <Override PartName="/ppt/slideLayouts/slideLayout9292.xml" ContentType="application/vnd.openxmlformats-officedocument.presentationml.slideLayout+xml"/>
  <Override PartName="/ppt/slideLayouts/slideLayout9293.xml" ContentType="application/vnd.openxmlformats-officedocument.presentationml.slideLayout+xml"/>
  <Override PartName="/ppt/slideLayouts/slideLayout9294.xml" ContentType="application/vnd.openxmlformats-officedocument.presentationml.slideLayout+xml"/>
  <Override PartName="/ppt/slideLayouts/slideLayout9295.xml" ContentType="application/vnd.openxmlformats-officedocument.presentationml.slideLayout+xml"/>
  <Override PartName="/ppt/slideLayouts/slideLayout9296.xml" ContentType="application/vnd.openxmlformats-officedocument.presentationml.slideLayout+xml"/>
  <Override PartName="/ppt/slideLayouts/slideLayout9297.xml" ContentType="application/vnd.openxmlformats-officedocument.presentationml.slideLayout+xml"/>
  <Override PartName="/ppt/slideLayouts/slideLayout9298.xml" ContentType="application/vnd.openxmlformats-officedocument.presentationml.slideLayout+xml"/>
  <Override PartName="/ppt/slideLayouts/slideLayout9299.xml" ContentType="application/vnd.openxmlformats-officedocument.presentationml.slideLayout+xml"/>
  <Override PartName="/ppt/slideLayouts/slideLayout9300.xml" ContentType="application/vnd.openxmlformats-officedocument.presentationml.slideLayout+xml"/>
  <Override PartName="/ppt/slideLayouts/slideLayout9301.xml" ContentType="application/vnd.openxmlformats-officedocument.presentationml.slideLayout+xml"/>
  <Override PartName="/ppt/slideLayouts/slideLayout9302.xml" ContentType="application/vnd.openxmlformats-officedocument.presentationml.slideLayout+xml"/>
  <Override PartName="/ppt/slideLayouts/slideLayout9303.xml" ContentType="application/vnd.openxmlformats-officedocument.presentationml.slideLayout+xml"/>
  <Override PartName="/ppt/slideLayouts/slideLayout9304.xml" ContentType="application/vnd.openxmlformats-officedocument.presentationml.slideLayout+xml"/>
  <Override PartName="/ppt/slideLayouts/slideLayout9305.xml" ContentType="application/vnd.openxmlformats-officedocument.presentationml.slideLayout+xml"/>
  <Override PartName="/ppt/slideLayouts/slideLayout9306.xml" ContentType="application/vnd.openxmlformats-officedocument.presentationml.slideLayout+xml"/>
  <Override PartName="/ppt/slideLayouts/slideLayout9307.xml" ContentType="application/vnd.openxmlformats-officedocument.presentationml.slideLayout+xml"/>
  <Override PartName="/ppt/slideLayouts/slideLayout9308.xml" ContentType="application/vnd.openxmlformats-officedocument.presentationml.slideLayout+xml"/>
  <Override PartName="/ppt/slideLayouts/slideLayout9309.xml" ContentType="application/vnd.openxmlformats-officedocument.presentationml.slideLayout+xml"/>
  <Override PartName="/ppt/slideLayouts/slideLayout9310.xml" ContentType="application/vnd.openxmlformats-officedocument.presentationml.slideLayout+xml"/>
  <Override PartName="/ppt/slideLayouts/slideLayout9311.xml" ContentType="application/vnd.openxmlformats-officedocument.presentationml.slideLayout+xml"/>
  <Override PartName="/ppt/slideLayouts/slideLayout9312.xml" ContentType="application/vnd.openxmlformats-officedocument.presentationml.slideLayout+xml"/>
  <Override PartName="/ppt/slideLayouts/slideLayout9313.xml" ContentType="application/vnd.openxmlformats-officedocument.presentationml.slideLayout+xml"/>
  <Override PartName="/ppt/slideLayouts/slideLayout9314.xml" ContentType="application/vnd.openxmlformats-officedocument.presentationml.slideLayout+xml"/>
  <Override PartName="/ppt/slideLayouts/slideLayout9315.xml" ContentType="application/vnd.openxmlformats-officedocument.presentationml.slideLayout+xml"/>
  <Override PartName="/ppt/slideLayouts/slideLayout9316.xml" ContentType="application/vnd.openxmlformats-officedocument.presentationml.slideLayout+xml"/>
  <Override PartName="/ppt/slideLayouts/slideLayout9317.xml" ContentType="application/vnd.openxmlformats-officedocument.presentationml.slideLayout+xml"/>
  <Override PartName="/ppt/slideLayouts/slideLayout9318.xml" ContentType="application/vnd.openxmlformats-officedocument.presentationml.slideLayout+xml"/>
  <Override PartName="/ppt/slideLayouts/slideLayout9319.xml" ContentType="application/vnd.openxmlformats-officedocument.presentationml.slideLayout+xml"/>
  <Override PartName="/ppt/slideLayouts/slideLayout9320.xml" ContentType="application/vnd.openxmlformats-officedocument.presentationml.slideLayout+xml"/>
  <Override PartName="/ppt/slideLayouts/slideLayout9321.xml" ContentType="application/vnd.openxmlformats-officedocument.presentationml.slideLayout+xml"/>
  <Override PartName="/ppt/slideLayouts/slideLayout9322.xml" ContentType="application/vnd.openxmlformats-officedocument.presentationml.slideLayout+xml"/>
  <Override PartName="/ppt/slideLayouts/slideLayout9323.xml" ContentType="application/vnd.openxmlformats-officedocument.presentationml.slideLayout+xml"/>
  <Override PartName="/ppt/slideLayouts/slideLayout9324.xml" ContentType="application/vnd.openxmlformats-officedocument.presentationml.slideLayout+xml"/>
  <Override PartName="/ppt/slideLayouts/slideLayout9325.xml" ContentType="application/vnd.openxmlformats-officedocument.presentationml.slideLayout+xml"/>
  <Override PartName="/ppt/slideLayouts/slideLayout9326.xml" ContentType="application/vnd.openxmlformats-officedocument.presentationml.slideLayout+xml"/>
  <Override PartName="/ppt/slideLayouts/slideLayout9327.xml" ContentType="application/vnd.openxmlformats-officedocument.presentationml.slideLayout+xml"/>
  <Override PartName="/ppt/slideLayouts/slideLayout9328.xml" ContentType="application/vnd.openxmlformats-officedocument.presentationml.slideLayout+xml"/>
  <Override PartName="/ppt/slideLayouts/slideLayout9329.xml" ContentType="application/vnd.openxmlformats-officedocument.presentationml.slideLayout+xml"/>
  <Override PartName="/ppt/slideLayouts/slideLayout9330.xml" ContentType="application/vnd.openxmlformats-officedocument.presentationml.slideLayout+xml"/>
  <Override PartName="/ppt/slideLayouts/slideLayout9331.xml" ContentType="application/vnd.openxmlformats-officedocument.presentationml.slideLayout+xml"/>
  <Override PartName="/ppt/slideLayouts/slideLayout9332.xml" ContentType="application/vnd.openxmlformats-officedocument.presentationml.slideLayout+xml"/>
  <Override PartName="/ppt/slideLayouts/slideLayout9333.xml" ContentType="application/vnd.openxmlformats-officedocument.presentationml.slideLayout+xml"/>
  <Override PartName="/ppt/slideLayouts/slideLayout9334.xml" ContentType="application/vnd.openxmlformats-officedocument.presentationml.slideLayout+xml"/>
  <Override PartName="/ppt/slideLayouts/slideLayout9335.xml" ContentType="application/vnd.openxmlformats-officedocument.presentationml.slideLayout+xml"/>
  <Override PartName="/ppt/slideLayouts/slideLayout9336.xml" ContentType="application/vnd.openxmlformats-officedocument.presentationml.slideLayout+xml"/>
  <Override PartName="/ppt/slideLayouts/slideLayout9337.xml" ContentType="application/vnd.openxmlformats-officedocument.presentationml.slideLayout+xml"/>
  <Override PartName="/ppt/slideLayouts/slideLayout9338.xml" ContentType="application/vnd.openxmlformats-officedocument.presentationml.slideLayout+xml"/>
  <Override PartName="/ppt/slideLayouts/slideLayout9339.xml" ContentType="application/vnd.openxmlformats-officedocument.presentationml.slideLayout+xml"/>
  <Override PartName="/ppt/slideLayouts/slideLayout9340.xml" ContentType="application/vnd.openxmlformats-officedocument.presentationml.slideLayout+xml"/>
  <Override PartName="/ppt/slideLayouts/slideLayout9341.xml" ContentType="application/vnd.openxmlformats-officedocument.presentationml.slideLayout+xml"/>
  <Override PartName="/ppt/slideLayouts/slideLayout9342.xml" ContentType="application/vnd.openxmlformats-officedocument.presentationml.slideLayout+xml"/>
  <Override PartName="/ppt/slideLayouts/slideLayout9343.xml" ContentType="application/vnd.openxmlformats-officedocument.presentationml.slideLayout+xml"/>
  <Override PartName="/ppt/slideLayouts/slideLayout9344.xml" ContentType="application/vnd.openxmlformats-officedocument.presentationml.slideLayout+xml"/>
  <Override PartName="/ppt/slideLayouts/slideLayout9345.xml" ContentType="application/vnd.openxmlformats-officedocument.presentationml.slideLayout+xml"/>
  <Override PartName="/ppt/slideLayouts/slideLayout9346.xml" ContentType="application/vnd.openxmlformats-officedocument.presentationml.slideLayout+xml"/>
  <Override PartName="/ppt/slideLayouts/slideLayout9347.xml" ContentType="application/vnd.openxmlformats-officedocument.presentationml.slideLayout+xml"/>
  <Override PartName="/ppt/slideLayouts/slideLayout9348.xml" ContentType="application/vnd.openxmlformats-officedocument.presentationml.slideLayout+xml"/>
  <Override PartName="/ppt/slideLayouts/slideLayout9349.xml" ContentType="application/vnd.openxmlformats-officedocument.presentationml.slideLayout+xml"/>
  <Override PartName="/ppt/slideLayouts/slideLayout9350.xml" ContentType="application/vnd.openxmlformats-officedocument.presentationml.slideLayout+xml"/>
  <Override PartName="/ppt/slideLayouts/slideLayout9351.xml" ContentType="application/vnd.openxmlformats-officedocument.presentationml.slideLayout+xml"/>
  <Override PartName="/ppt/slideLayouts/slideLayout9352.xml" ContentType="application/vnd.openxmlformats-officedocument.presentationml.slideLayout+xml"/>
  <Override PartName="/ppt/slideLayouts/slideLayout9353.xml" ContentType="application/vnd.openxmlformats-officedocument.presentationml.slideLayout+xml"/>
  <Override PartName="/ppt/slideLayouts/slideLayout9354.xml" ContentType="application/vnd.openxmlformats-officedocument.presentationml.slideLayout+xml"/>
  <Override PartName="/ppt/slideLayouts/slideLayout9355.xml" ContentType="application/vnd.openxmlformats-officedocument.presentationml.slideLayout+xml"/>
  <Override PartName="/ppt/slideLayouts/slideLayout9356.xml" ContentType="application/vnd.openxmlformats-officedocument.presentationml.slideLayout+xml"/>
  <Override PartName="/ppt/slideLayouts/slideLayout9357.xml" ContentType="application/vnd.openxmlformats-officedocument.presentationml.slideLayout+xml"/>
  <Override PartName="/ppt/slideLayouts/slideLayout9358.xml" ContentType="application/vnd.openxmlformats-officedocument.presentationml.slideLayout+xml"/>
  <Override PartName="/ppt/slideLayouts/slideLayout9359.xml" ContentType="application/vnd.openxmlformats-officedocument.presentationml.slideLayout+xml"/>
  <Override PartName="/ppt/slideLayouts/slideLayout9360.xml" ContentType="application/vnd.openxmlformats-officedocument.presentationml.slideLayout+xml"/>
  <Override PartName="/ppt/slideLayouts/slideLayout9361.xml" ContentType="application/vnd.openxmlformats-officedocument.presentationml.slideLayout+xml"/>
  <Override PartName="/ppt/slideLayouts/slideLayout9362.xml" ContentType="application/vnd.openxmlformats-officedocument.presentationml.slideLayout+xml"/>
  <Override PartName="/ppt/slideLayouts/slideLayout9363.xml" ContentType="application/vnd.openxmlformats-officedocument.presentationml.slideLayout+xml"/>
  <Override PartName="/ppt/slideLayouts/slideLayout9364.xml" ContentType="application/vnd.openxmlformats-officedocument.presentationml.slideLayout+xml"/>
  <Override PartName="/ppt/slideLayouts/slideLayout9365.xml" ContentType="application/vnd.openxmlformats-officedocument.presentationml.slideLayout+xml"/>
  <Override PartName="/ppt/slideLayouts/slideLayout9366.xml" ContentType="application/vnd.openxmlformats-officedocument.presentationml.slideLayout+xml"/>
  <Override PartName="/ppt/slideLayouts/slideLayout9367.xml" ContentType="application/vnd.openxmlformats-officedocument.presentationml.slideLayout+xml"/>
  <Override PartName="/ppt/slideLayouts/slideLayout9368.xml" ContentType="application/vnd.openxmlformats-officedocument.presentationml.slideLayout+xml"/>
  <Override PartName="/ppt/slideLayouts/slideLayout9369.xml" ContentType="application/vnd.openxmlformats-officedocument.presentationml.slideLayout+xml"/>
  <Override PartName="/ppt/slideLayouts/slideLayout9370.xml" ContentType="application/vnd.openxmlformats-officedocument.presentationml.slideLayout+xml"/>
  <Override PartName="/ppt/slideLayouts/slideLayout9371.xml" ContentType="application/vnd.openxmlformats-officedocument.presentationml.slideLayout+xml"/>
  <Override PartName="/ppt/slideLayouts/slideLayout9372.xml" ContentType="application/vnd.openxmlformats-officedocument.presentationml.slideLayout+xml"/>
  <Override PartName="/ppt/slideLayouts/slideLayout9373.xml" ContentType="application/vnd.openxmlformats-officedocument.presentationml.slideLayout+xml"/>
  <Override PartName="/ppt/slideLayouts/slideLayout9374.xml" ContentType="application/vnd.openxmlformats-officedocument.presentationml.slideLayout+xml"/>
  <Override PartName="/ppt/slideLayouts/slideLayout9375.xml" ContentType="application/vnd.openxmlformats-officedocument.presentationml.slideLayout+xml"/>
  <Override PartName="/ppt/slideLayouts/slideLayout9376.xml" ContentType="application/vnd.openxmlformats-officedocument.presentationml.slideLayout+xml"/>
  <Override PartName="/ppt/slideLayouts/slideLayout9377.xml" ContentType="application/vnd.openxmlformats-officedocument.presentationml.slideLayout+xml"/>
  <Override PartName="/ppt/slideLayouts/slideLayout9378.xml" ContentType="application/vnd.openxmlformats-officedocument.presentationml.slideLayout+xml"/>
  <Override PartName="/ppt/slideLayouts/slideLayout9379.xml" ContentType="application/vnd.openxmlformats-officedocument.presentationml.slideLayout+xml"/>
  <Override PartName="/ppt/slideLayouts/slideLayout9380.xml" ContentType="application/vnd.openxmlformats-officedocument.presentationml.slideLayout+xml"/>
  <Override PartName="/ppt/slideLayouts/slideLayout9381.xml" ContentType="application/vnd.openxmlformats-officedocument.presentationml.slideLayout+xml"/>
  <Override PartName="/ppt/slideLayouts/slideLayout9382.xml" ContentType="application/vnd.openxmlformats-officedocument.presentationml.slideLayout+xml"/>
  <Override PartName="/ppt/slideLayouts/slideLayout9383.xml" ContentType="application/vnd.openxmlformats-officedocument.presentationml.slideLayout+xml"/>
  <Override PartName="/ppt/slideLayouts/slideLayout9384.xml" ContentType="application/vnd.openxmlformats-officedocument.presentationml.slideLayout+xml"/>
  <Override PartName="/ppt/slideLayouts/slideLayout9385.xml" ContentType="application/vnd.openxmlformats-officedocument.presentationml.slideLayout+xml"/>
  <Override PartName="/ppt/slideLayouts/slideLayout9386.xml" ContentType="application/vnd.openxmlformats-officedocument.presentationml.slideLayout+xml"/>
  <Override PartName="/ppt/slideLayouts/slideLayout9387.xml" ContentType="application/vnd.openxmlformats-officedocument.presentationml.slideLayout+xml"/>
  <Override PartName="/ppt/slideLayouts/slideLayout9388.xml" ContentType="application/vnd.openxmlformats-officedocument.presentationml.slideLayout+xml"/>
  <Override PartName="/ppt/slideLayouts/slideLayout9389.xml" ContentType="application/vnd.openxmlformats-officedocument.presentationml.slideLayout+xml"/>
  <Override PartName="/ppt/slideLayouts/slideLayout9390.xml" ContentType="application/vnd.openxmlformats-officedocument.presentationml.slideLayout+xml"/>
  <Override PartName="/ppt/slideLayouts/slideLayout9391.xml" ContentType="application/vnd.openxmlformats-officedocument.presentationml.slideLayout+xml"/>
  <Override PartName="/ppt/slideLayouts/slideLayout9392.xml" ContentType="application/vnd.openxmlformats-officedocument.presentationml.slideLayout+xml"/>
  <Override PartName="/ppt/slideLayouts/slideLayout9393.xml" ContentType="application/vnd.openxmlformats-officedocument.presentationml.slideLayout+xml"/>
  <Override PartName="/ppt/slideLayouts/slideLayout9394.xml" ContentType="application/vnd.openxmlformats-officedocument.presentationml.slideLayout+xml"/>
  <Override PartName="/ppt/slideLayouts/slideLayout9395.xml" ContentType="application/vnd.openxmlformats-officedocument.presentationml.slideLayout+xml"/>
  <Override PartName="/ppt/slideLayouts/slideLayout9396.xml" ContentType="application/vnd.openxmlformats-officedocument.presentationml.slideLayout+xml"/>
  <Override PartName="/ppt/slideLayouts/slideLayout9397.xml" ContentType="application/vnd.openxmlformats-officedocument.presentationml.slideLayout+xml"/>
  <Override PartName="/ppt/slideLayouts/slideLayout9398.xml" ContentType="application/vnd.openxmlformats-officedocument.presentationml.slideLayout+xml"/>
  <Override PartName="/ppt/slideLayouts/slideLayout9399.xml" ContentType="application/vnd.openxmlformats-officedocument.presentationml.slideLayout+xml"/>
  <Override PartName="/ppt/slideLayouts/slideLayout9400.xml" ContentType="application/vnd.openxmlformats-officedocument.presentationml.slideLayout+xml"/>
  <Override PartName="/ppt/slideLayouts/slideLayout9401.xml" ContentType="application/vnd.openxmlformats-officedocument.presentationml.slideLayout+xml"/>
  <Override PartName="/ppt/slideLayouts/slideLayout9402.xml" ContentType="application/vnd.openxmlformats-officedocument.presentationml.slideLayout+xml"/>
  <Override PartName="/ppt/slideLayouts/slideLayout9403.xml" ContentType="application/vnd.openxmlformats-officedocument.presentationml.slideLayout+xml"/>
  <Override PartName="/ppt/slideLayouts/slideLayout9404.xml" ContentType="application/vnd.openxmlformats-officedocument.presentationml.slideLayout+xml"/>
  <Override PartName="/ppt/slideLayouts/slideLayout9405.xml" ContentType="application/vnd.openxmlformats-officedocument.presentationml.slideLayout+xml"/>
  <Override PartName="/ppt/slideLayouts/slideLayout9406.xml" ContentType="application/vnd.openxmlformats-officedocument.presentationml.slideLayout+xml"/>
  <Override PartName="/ppt/slideLayouts/slideLayout9407.xml" ContentType="application/vnd.openxmlformats-officedocument.presentationml.slideLayout+xml"/>
  <Override PartName="/ppt/slideLayouts/slideLayout9408.xml" ContentType="application/vnd.openxmlformats-officedocument.presentationml.slideLayout+xml"/>
  <Override PartName="/ppt/slideLayouts/slideLayout9409.xml" ContentType="application/vnd.openxmlformats-officedocument.presentationml.slideLayout+xml"/>
  <Override PartName="/ppt/slideLayouts/slideLayout9410.xml" ContentType="application/vnd.openxmlformats-officedocument.presentationml.slideLayout+xml"/>
  <Override PartName="/ppt/slideLayouts/slideLayout9411.xml" ContentType="application/vnd.openxmlformats-officedocument.presentationml.slideLayout+xml"/>
  <Override PartName="/ppt/slideLayouts/slideLayout9412.xml" ContentType="application/vnd.openxmlformats-officedocument.presentationml.slideLayout+xml"/>
  <Override PartName="/ppt/slideLayouts/slideLayout9413.xml" ContentType="application/vnd.openxmlformats-officedocument.presentationml.slideLayout+xml"/>
  <Override PartName="/ppt/slideLayouts/slideLayout9414.xml" ContentType="application/vnd.openxmlformats-officedocument.presentationml.slideLayout+xml"/>
  <Override PartName="/ppt/slideLayouts/slideLayout9415.xml" ContentType="application/vnd.openxmlformats-officedocument.presentationml.slideLayout+xml"/>
  <Override PartName="/ppt/slideLayouts/slideLayout9416.xml" ContentType="application/vnd.openxmlformats-officedocument.presentationml.slideLayout+xml"/>
  <Override PartName="/ppt/slideLayouts/slideLayout9417.xml" ContentType="application/vnd.openxmlformats-officedocument.presentationml.slideLayout+xml"/>
  <Override PartName="/ppt/slideLayouts/slideLayout9418.xml" ContentType="application/vnd.openxmlformats-officedocument.presentationml.slideLayout+xml"/>
  <Override PartName="/ppt/slideLayouts/slideLayout9419.xml" ContentType="application/vnd.openxmlformats-officedocument.presentationml.slideLayout+xml"/>
  <Override PartName="/ppt/slideLayouts/slideLayout9420.xml" ContentType="application/vnd.openxmlformats-officedocument.presentationml.slideLayout+xml"/>
  <Override PartName="/ppt/slideLayouts/slideLayout9421.xml" ContentType="application/vnd.openxmlformats-officedocument.presentationml.slideLayout+xml"/>
  <Override PartName="/ppt/slideLayouts/slideLayout9422.xml" ContentType="application/vnd.openxmlformats-officedocument.presentationml.slideLayout+xml"/>
  <Override PartName="/ppt/slideLayouts/slideLayout9423.xml" ContentType="application/vnd.openxmlformats-officedocument.presentationml.slideLayout+xml"/>
  <Override PartName="/ppt/slideLayouts/slideLayout9424.xml" ContentType="application/vnd.openxmlformats-officedocument.presentationml.slideLayout+xml"/>
  <Override PartName="/ppt/slideLayouts/slideLayout9425.xml" ContentType="application/vnd.openxmlformats-officedocument.presentationml.slideLayout+xml"/>
  <Override PartName="/ppt/slideLayouts/slideLayout9426.xml" ContentType="application/vnd.openxmlformats-officedocument.presentationml.slideLayout+xml"/>
  <Override PartName="/ppt/slideLayouts/slideLayout9427.xml" ContentType="application/vnd.openxmlformats-officedocument.presentationml.slideLayout+xml"/>
  <Override PartName="/ppt/slideLayouts/slideLayout9428.xml" ContentType="application/vnd.openxmlformats-officedocument.presentationml.slideLayout+xml"/>
  <Override PartName="/ppt/slideLayouts/slideLayout9429.xml" ContentType="application/vnd.openxmlformats-officedocument.presentationml.slideLayout+xml"/>
  <Override PartName="/ppt/slideLayouts/slideLayout9430.xml" ContentType="application/vnd.openxmlformats-officedocument.presentationml.slideLayout+xml"/>
  <Override PartName="/ppt/slideLayouts/slideLayout9431.xml" ContentType="application/vnd.openxmlformats-officedocument.presentationml.slideLayout+xml"/>
  <Override PartName="/ppt/slideLayouts/slideLayout9432.xml" ContentType="application/vnd.openxmlformats-officedocument.presentationml.slideLayout+xml"/>
  <Override PartName="/ppt/slideLayouts/slideLayout9433.xml" ContentType="application/vnd.openxmlformats-officedocument.presentationml.slideLayout+xml"/>
  <Override PartName="/ppt/slideLayouts/slideLayout9434.xml" ContentType="application/vnd.openxmlformats-officedocument.presentationml.slideLayout+xml"/>
  <Override PartName="/ppt/slideLayouts/slideLayout9435.xml" ContentType="application/vnd.openxmlformats-officedocument.presentationml.slideLayout+xml"/>
  <Override PartName="/ppt/slideLayouts/slideLayout9436.xml" ContentType="application/vnd.openxmlformats-officedocument.presentationml.slideLayout+xml"/>
  <Override PartName="/ppt/slideLayouts/slideLayout9437.xml" ContentType="application/vnd.openxmlformats-officedocument.presentationml.slideLayout+xml"/>
  <Override PartName="/ppt/slideLayouts/slideLayout9438.xml" ContentType="application/vnd.openxmlformats-officedocument.presentationml.slideLayout+xml"/>
  <Override PartName="/ppt/slideLayouts/slideLayout9439.xml" ContentType="application/vnd.openxmlformats-officedocument.presentationml.slideLayout+xml"/>
  <Override PartName="/ppt/slideLayouts/slideLayout9440.xml" ContentType="application/vnd.openxmlformats-officedocument.presentationml.slideLayout+xml"/>
  <Override PartName="/ppt/slideLayouts/slideLayout9441.xml" ContentType="application/vnd.openxmlformats-officedocument.presentationml.slideLayout+xml"/>
  <Override PartName="/ppt/slideLayouts/slideLayout9442.xml" ContentType="application/vnd.openxmlformats-officedocument.presentationml.slideLayout+xml"/>
  <Override PartName="/ppt/slideLayouts/slideLayout9443.xml" ContentType="application/vnd.openxmlformats-officedocument.presentationml.slideLayout+xml"/>
  <Override PartName="/ppt/slideLayouts/slideLayout9444.xml" ContentType="application/vnd.openxmlformats-officedocument.presentationml.slideLayout+xml"/>
  <Override PartName="/ppt/slideLayouts/slideLayout9445.xml" ContentType="application/vnd.openxmlformats-officedocument.presentationml.slideLayout+xml"/>
  <Override PartName="/ppt/slideLayouts/slideLayout9446.xml" ContentType="application/vnd.openxmlformats-officedocument.presentationml.slideLayout+xml"/>
  <Override PartName="/ppt/slideLayouts/slideLayout9447.xml" ContentType="application/vnd.openxmlformats-officedocument.presentationml.slideLayout+xml"/>
  <Override PartName="/ppt/slideLayouts/slideLayout9448.xml" ContentType="application/vnd.openxmlformats-officedocument.presentationml.slideLayout+xml"/>
  <Override PartName="/ppt/slideLayouts/slideLayout9449.xml" ContentType="application/vnd.openxmlformats-officedocument.presentationml.slideLayout+xml"/>
  <Override PartName="/ppt/slideLayouts/slideLayout9450.xml" ContentType="application/vnd.openxmlformats-officedocument.presentationml.slideLayout+xml"/>
  <Override PartName="/ppt/slideLayouts/slideLayout9451.xml" ContentType="application/vnd.openxmlformats-officedocument.presentationml.slideLayout+xml"/>
  <Override PartName="/ppt/slideLayouts/slideLayout9452.xml" ContentType="application/vnd.openxmlformats-officedocument.presentationml.slideLayout+xml"/>
  <Override PartName="/ppt/slideLayouts/slideLayout9453.xml" ContentType="application/vnd.openxmlformats-officedocument.presentationml.slideLayout+xml"/>
  <Override PartName="/ppt/slideLayouts/slideLayout9454.xml" ContentType="application/vnd.openxmlformats-officedocument.presentationml.slideLayout+xml"/>
  <Override PartName="/ppt/slideLayouts/slideLayout9455.xml" ContentType="application/vnd.openxmlformats-officedocument.presentationml.slideLayout+xml"/>
  <Override PartName="/ppt/slideLayouts/slideLayout9456.xml" ContentType="application/vnd.openxmlformats-officedocument.presentationml.slideLayout+xml"/>
  <Override PartName="/ppt/slideLayouts/slideLayout9457.xml" ContentType="application/vnd.openxmlformats-officedocument.presentationml.slideLayout+xml"/>
  <Override PartName="/ppt/slideLayouts/slideLayout9458.xml" ContentType="application/vnd.openxmlformats-officedocument.presentationml.slideLayout+xml"/>
  <Override PartName="/ppt/slideLayouts/slideLayout9459.xml" ContentType="application/vnd.openxmlformats-officedocument.presentationml.slideLayout+xml"/>
  <Override PartName="/ppt/slideLayouts/slideLayout9460.xml" ContentType="application/vnd.openxmlformats-officedocument.presentationml.slideLayout+xml"/>
  <Override PartName="/ppt/slideLayouts/slideLayout9461.xml" ContentType="application/vnd.openxmlformats-officedocument.presentationml.slideLayout+xml"/>
  <Override PartName="/ppt/slideLayouts/slideLayout9462.xml" ContentType="application/vnd.openxmlformats-officedocument.presentationml.slideLayout+xml"/>
  <Override PartName="/ppt/slideLayouts/slideLayout9463.xml" ContentType="application/vnd.openxmlformats-officedocument.presentationml.slideLayout+xml"/>
  <Override PartName="/ppt/slideLayouts/slideLayout9464.xml" ContentType="application/vnd.openxmlformats-officedocument.presentationml.slideLayout+xml"/>
  <Override PartName="/ppt/slideLayouts/slideLayout9465.xml" ContentType="application/vnd.openxmlformats-officedocument.presentationml.slideLayout+xml"/>
  <Override PartName="/ppt/slideLayouts/slideLayout9466.xml" ContentType="application/vnd.openxmlformats-officedocument.presentationml.slideLayout+xml"/>
  <Override PartName="/ppt/slideLayouts/slideLayout9467.xml" ContentType="application/vnd.openxmlformats-officedocument.presentationml.slideLayout+xml"/>
  <Override PartName="/ppt/slideLayouts/slideLayout9468.xml" ContentType="application/vnd.openxmlformats-officedocument.presentationml.slideLayout+xml"/>
  <Override PartName="/ppt/slideLayouts/slideLayout9469.xml" ContentType="application/vnd.openxmlformats-officedocument.presentationml.slideLayout+xml"/>
  <Override PartName="/ppt/slideLayouts/slideLayout9470.xml" ContentType="application/vnd.openxmlformats-officedocument.presentationml.slideLayout+xml"/>
  <Override PartName="/ppt/slideLayouts/slideLayout9471.xml" ContentType="application/vnd.openxmlformats-officedocument.presentationml.slideLayout+xml"/>
  <Override PartName="/ppt/slideLayouts/slideLayout9472.xml" ContentType="application/vnd.openxmlformats-officedocument.presentationml.slideLayout+xml"/>
  <Override PartName="/ppt/slideLayouts/slideLayout9473.xml" ContentType="application/vnd.openxmlformats-officedocument.presentationml.slideLayout+xml"/>
  <Override PartName="/ppt/slideLayouts/slideLayout9474.xml" ContentType="application/vnd.openxmlformats-officedocument.presentationml.slideLayout+xml"/>
  <Override PartName="/ppt/slideLayouts/slideLayout9475.xml" ContentType="application/vnd.openxmlformats-officedocument.presentationml.slideLayout+xml"/>
  <Override PartName="/ppt/slideLayouts/slideLayout9476.xml" ContentType="application/vnd.openxmlformats-officedocument.presentationml.slideLayout+xml"/>
  <Override PartName="/ppt/slideLayouts/slideLayout9477.xml" ContentType="application/vnd.openxmlformats-officedocument.presentationml.slideLayout+xml"/>
  <Override PartName="/ppt/slideLayouts/slideLayout9478.xml" ContentType="application/vnd.openxmlformats-officedocument.presentationml.slideLayout+xml"/>
  <Override PartName="/ppt/slideLayouts/slideLayout9479.xml" ContentType="application/vnd.openxmlformats-officedocument.presentationml.slideLayout+xml"/>
  <Override PartName="/ppt/slideLayouts/slideLayout9480.xml" ContentType="application/vnd.openxmlformats-officedocument.presentationml.slideLayout+xml"/>
  <Override PartName="/ppt/slideLayouts/slideLayout9481.xml" ContentType="application/vnd.openxmlformats-officedocument.presentationml.slideLayout+xml"/>
  <Override PartName="/ppt/slideLayouts/slideLayout9482.xml" ContentType="application/vnd.openxmlformats-officedocument.presentationml.slideLayout+xml"/>
  <Override PartName="/ppt/slideLayouts/slideLayout9483.xml" ContentType="application/vnd.openxmlformats-officedocument.presentationml.slideLayout+xml"/>
  <Override PartName="/ppt/slideLayouts/slideLayout9484.xml" ContentType="application/vnd.openxmlformats-officedocument.presentationml.slideLayout+xml"/>
  <Override PartName="/ppt/slideLayouts/slideLayout9485.xml" ContentType="application/vnd.openxmlformats-officedocument.presentationml.slideLayout+xml"/>
  <Override PartName="/ppt/slideLayouts/slideLayout9486.xml" ContentType="application/vnd.openxmlformats-officedocument.presentationml.slideLayout+xml"/>
  <Override PartName="/ppt/slideLayouts/slideLayout9487.xml" ContentType="application/vnd.openxmlformats-officedocument.presentationml.slideLayout+xml"/>
  <Override PartName="/ppt/slideLayouts/slideLayout9488.xml" ContentType="application/vnd.openxmlformats-officedocument.presentationml.slideLayout+xml"/>
  <Override PartName="/ppt/slideLayouts/slideLayout9489.xml" ContentType="application/vnd.openxmlformats-officedocument.presentationml.slideLayout+xml"/>
  <Override PartName="/ppt/slideLayouts/slideLayout9490.xml" ContentType="application/vnd.openxmlformats-officedocument.presentationml.slideLayout+xml"/>
  <Override PartName="/ppt/slideLayouts/slideLayout9491.xml" ContentType="application/vnd.openxmlformats-officedocument.presentationml.slideLayout+xml"/>
  <Override PartName="/ppt/slideLayouts/slideLayout9492.xml" ContentType="application/vnd.openxmlformats-officedocument.presentationml.slideLayout+xml"/>
  <Override PartName="/ppt/slideLayouts/slideLayout9493.xml" ContentType="application/vnd.openxmlformats-officedocument.presentationml.slideLayout+xml"/>
  <Override PartName="/ppt/slideLayouts/slideLayout9494.xml" ContentType="application/vnd.openxmlformats-officedocument.presentationml.slideLayout+xml"/>
  <Override PartName="/ppt/slideLayouts/slideLayout9495.xml" ContentType="application/vnd.openxmlformats-officedocument.presentationml.slideLayout+xml"/>
  <Override PartName="/ppt/slideLayouts/slideLayout9496.xml" ContentType="application/vnd.openxmlformats-officedocument.presentationml.slideLayout+xml"/>
  <Override PartName="/ppt/slideLayouts/slideLayout9497.xml" ContentType="application/vnd.openxmlformats-officedocument.presentationml.slideLayout+xml"/>
  <Override PartName="/ppt/slideLayouts/slideLayout9498.xml" ContentType="application/vnd.openxmlformats-officedocument.presentationml.slideLayout+xml"/>
  <Override PartName="/ppt/slideLayouts/slideLayout9499.xml" ContentType="application/vnd.openxmlformats-officedocument.presentationml.slideLayout+xml"/>
  <Override PartName="/ppt/slideLayouts/slideLayout9500.xml" ContentType="application/vnd.openxmlformats-officedocument.presentationml.slideLayout+xml"/>
  <Override PartName="/ppt/slideLayouts/slideLayout9501.xml" ContentType="application/vnd.openxmlformats-officedocument.presentationml.slideLayout+xml"/>
  <Override PartName="/ppt/slideLayouts/slideLayout9502.xml" ContentType="application/vnd.openxmlformats-officedocument.presentationml.slideLayout+xml"/>
  <Override PartName="/ppt/slideLayouts/slideLayout9503.xml" ContentType="application/vnd.openxmlformats-officedocument.presentationml.slideLayout+xml"/>
  <Override PartName="/ppt/slideLayouts/slideLayout9504.xml" ContentType="application/vnd.openxmlformats-officedocument.presentationml.slideLayout+xml"/>
  <Override PartName="/ppt/slideLayouts/slideLayout9505.xml" ContentType="application/vnd.openxmlformats-officedocument.presentationml.slideLayout+xml"/>
  <Override PartName="/ppt/slideLayouts/slideLayout9506.xml" ContentType="application/vnd.openxmlformats-officedocument.presentationml.slideLayout+xml"/>
  <Override PartName="/ppt/slideLayouts/slideLayout9507.xml" ContentType="application/vnd.openxmlformats-officedocument.presentationml.slideLayout+xml"/>
  <Override PartName="/ppt/slideLayouts/slideLayout9508.xml" ContentType="application/vnd.openxmlformats-officedocument.presentationml.slideLayout+xml"/>
  <Override PartName="/ppt/slideLayouts/slideLayout9509.xml" ContentType="application/vnd.openxmlformats-officedocument.presentationml.slideLayout+xml"/>
  <Override PartName="/ppt/slideLayouts/slideLayout9510.xml" ContentType="application/vnd.openxmlformats-officedocument.presentationml.slideLayout+xml"/>
  <Override PartName="/ppt/slideLayouts/slideLayout9511.xml" ContentType="application/vnd.openxmlformats-officedocument.presentationml.slideLayout+xml"/>
  <Override PartName="/ppt/slideLayouts/slideLayout9512.xml" ContentType="application/vnd.openxmlformats-officedocument.presentationml.slideLayout+xml"/>
  <Override PartName="/ppt/slideLayouts/slideLayout9513.xml" ContentType="application/vnd.openxmlformats-officedocument.presentationml.slideLayout+xml"/>
  <Override PartName="/ppt/slideLayouts/slideLayout9514.xml" ContentType="application/vnd.openxmlformats-officedocument.presentationml.slideLayout+xml"/>
  <Override PartName="/ppt/slideLayouts/slideLayout9515.xml" ContentType="application/vnd.openxmlformats-officedocument.presentationml.slideLayout+xml"/>
  <Override PartName="/ppt/slideLayouts/slideLayout9516.xml" ContentType="application/vnd.openxmlformats-officedocument.presentationml.slideLayout+xml"/>
  <Override PartName="/ppt/slideLayouts/slideLayout9517.xml" ContentType="application/vnd.openxmlformats-officedocument.presentationml.slideLayout+xml"/>
  <Override PartName="/ppt/slideLayouts/slideLayout9518.xml" ContentType="application/vnd.openxmlformats-officedocument.presentationml.slideLayout+xml"/>
  <Override PartName="/ppt/slideLayouts/slideLayout9519.xml" ContentType="application/vnd.openxmlformats-officedocument.presentationml.slideLayout+xml"/>
  <Override PartName="/ppt/slideLayouts/slideLayout9520.xml" ContentType="application/vnd.openxmlformats-officedocument.presentationml.slideLayout+xml"/>
  <Override PartName="/ppt/slideLayouts/slideLayout9521.xml" ContentType="application/vnd.openxmlformats-officedocument.presentationml.slideLayout+xml"/>
  <Override PartName="/ppt/slideLayouts/slideLayout9522.xml" ContentType="application/vnd.openxmlformats-officedocument.presentationml.slideLayout+xml"/>
  <Override PartName="/ppt/slideLayouts/slideLayout9523.xml" ContentType="application/vnd.openxmlformats-officedocument.presentationml.slideLayout+xml"/>
  <Override PartName="/ppt/slideLayouts/slideLayout9524.xml" ContentType="application/vnd.openxmlformats-officedocument.presentationml.slideLayout+xml"/>
  <Override PartName="/ppt/slideLayouts/slideLayout9525.xml" ContentType="application/vnd.openxmlformats-officedocument.presentationml.slideLayout+xml"/>
  <Override PartName="/ppt/slideLayouts/slideLayout9526.xml" ContentType="application/vnd.openxmlformats-officedocument.presentationml.slideLayout+xml"/>
  <Override PartName="/ppt/slideLayouts/slideLayout9527.xml" ContentType="application/vnd.openxmlformats-officedocument.presentationml.slideLayout+xml"/>
  <Override PartName="/ppt/slideLayouts/slideLayout9528.xml" ContentType="application/vnd.openxmlformats-officedocument.presentationml.slideLayout+xml"/>
  <Override PartName="/ppt/slideLayouts/slideLayout9529.xml" ContentType="application/vnd.openxmlformats-officedocument.presentationml.slideLayout+xml"/>
  <Override PartName="/ppt/slideLayouts/slideLayout9530.xml" ContentType="application/vnd.openxmlformats-officedocument.presentationml.slideLayout+xml"/>
  <Override PartName="/ppt/slideLayouts/slideLayout9531.xml" ContentType="application/vnd.openxmlformats-officedocument.presentationml.slideLayout+xml"/>
  <Override PartName="/ppt/slideLayouts/slideLayout9532.xml" ContentType="application/vnd.openxmlformats-officedocument.presentationml.slideLayout+xml"/>
  <Override PartName="/ppt/slideLayouts/slideLayout9533.xml" ContentType="application/vnd.openxmlformats-officedocument.presentationml.slideLayout+xml"/>
  <Override PartName="/ppt/slideLayouts/slideLayout9534.xml" ContentType="application/vnd.openxmlformats-officedocument.presentationml.slideLayout+xml"/>
  <Override PartName="/ppt/slideLayouts/slideLayout9535.xml" ContentType="application/vnd.openxmlformats-officedocument.presentationml.slideLayout+xml"/>
  <Override PartName="/ppt/slideLayouts/slideLayout9536.xml" ContentType="application/vnd.openxmlformats-officedocument.presentationml.slideLayout+xml"/>
  <Override PartName="/ppt/slideLayouts/slideLayout9537.xml" ContentType="application/vnd.openxmlformats-officedocument.presentationml.slideLayout+xml"/>
  <Override PartName="/ppt/slideLayouts/slideLayout9538.xml" ContentType="application/vnd.openxmlformats-officedocument.presentationml.slideLayout+xml"/>
  <Override PartName="/ppt/slideLayouts/slideLayout9539.xml" ContentType="application/vnd.openxmlformats-officedocument.presentationml.slideLayout+xml"/>
  <Override PartName="/ppt/slideLayouts/slideLayout9540.xml" ContentType="application/vnd.openxmlformats-officedocument.presentationml.slideLayout+xml"/>
  <Override PartName="/ppt/slideLayouts/slideLayout9541.xml" ContentType="application/vnd.openxmlformats-officedocument.presentationml.slideLayout+xml"/>
  <Override PartName="/ppt/slideLayouts/slideLayout9542.xml" ContentType="application/vnd.openxmlformats-officedocument.presentationml.slideLayout+xml"/>
  <Override PartName="/ppt/slideLayouts/slideLayout9543.xml" ContentType="application/vnd.openxmlformats-officedocument.presentationml.slideLayout+xml"/>
  <Override PartName="/ppt/slideLayouts/slideLayout9544.xml" ContentType="application/vnd.openxmlformats-officedocument.presentationml.slideLayout+xml"/>
  <Override PartName="/ppt/slideLayouts/slideLayout9545.xml" ContentType="application/vnd.openxmlformats-officedocument.presentationml.slideLayout+xml"/>
  <Override PartName="/ppt/slideLayouts/slideLayout9546.xml" ContentType="application/vnd.openxmlformats-officedocument.presentationml.slideLayout+xml"/>
  <Override PartName="/ppt/slideLayouts/slideLayout9547.xml" ContentType="application/vnd.openxmlformats-officedocument.presentationml.slideLayout+xml"/>
  <Override PartName="/ppt/slideLayouts/slideLayout9548.xml" ContentType="application/vnd.openxmlformats-officedocument.presentationml.slideLayout+xml"/>
  <Override PartName="/ppt/slideLayouts/slideLayout9549.xml" ContentType="application/vnd.openxmlformats-officedocument.presentationml.slideLayout+xml"/>
  <Override PartName="/ppt/slideLayouts/slideLayout9550.xml" ContentType="application/vnd.openxmlformats-officedocument.presentationml.slideLayout+xml"/>
  <Override PartName="/ppt/slideLayouts/slideLayout9551.xml" ContentType="application/vnd.openxmlformats-officedocument.presentationml.slideLayout+xml"/>
  <Override PartName="/ppt/slideLayouts/slideLayout9552.xml" ContentType="application/vnd.openxmlformats-officedocument.presentationml.slideLayout+xml"/>
  <Override PartName="/ppt/slideLayouts/slideLayout9553.xml" ContentType="application/vnd.openxmlformats-officedocument.presentationml.slideLayout+xml"/>
  <Override PartName="/ppt/slideLayouts/slideLayout9554.xml" ContentType="application/vnd.openxmlformats-officedocument.presentationml.slideLayout+xml"/>
  <Override PartName="/ppt/slideLayouts/slideLayout9555.xml" ContentType="application/vnd.openxmlformats-officedocument.presentationml.slideLayout+xml"/>
  <Override PartName="/ppt/slideLayouts/slideLayout9556.xml" ContentType="application/vnd.openxmlformats-officedocument.presentationml.slideLayout+xml"/>
  <Override PartName="/ppt/slideLayouts/slideLayout9557.xml" ContentType="application/vnd.openxmlformats-officedocument.presentationml.slideLayout+xml"/>
  <Override PartName="/ppt/slideLayouts/slideLayout9558.xml" ContentType="application/vnd.openxmlformats-officedocument.presentationml.slideLayout+xml"/>
  <Override PartName="/ppt/slideLayouts/slideLayout9559.xml" ContentType="application/vnd.openxmlformats-officedocument.presentationml.slideLayout+xml"/>
  <Override PartName="/ppt/slideLayouts/slideLayout9560.xml" ContentType="application/vnd.openxmlformats-officedocument.presentationml.slideLayout+xml"/>
  <Override PartName="/ppt/slideLayouts/slideLayout9561.xml" ContentType="application/vnd.openxmlformats-officedocument.presentationml.slideLayout+xml"/>
  <Override PartName="/ppt/slideLayouts/slideLayout9562.xml" ContentType="application/vnd.openxmlformats-officedocument.presentationml.slideLayout+xml"/>
  <Override PartName="/ppt/slideLayouts/slideLayout9563.xml" ContentType="application/vnd.openxmlformats-officedocument.presentationml.slideLayout+xml"/>
  <Override PartName="/ppt/slideLayouts/slideLayout9564.xml" ContentType="application/vnd.openxmlformats-officedocument.presentationml.slideLayout+xml"/>
  <Override PartName="/ppt/slideLayouts/slideLayout9565.xml" ContentType="application/vnd.openxmlformats-officedocument.presentationml.slideLayout+xml"/>
  <Override PartName="/ppt/slideLayouts/slideLayout9566.xml" ContentType="application/vnd.openxmlformats-officedocument.presentationml.slideLayout+xml"/>
  <Override PartName="/ppt/slideLayouts/slideLayout9567.xml" ContentType="application/vnd.openxmlformats-officedocument.presentationml.slideLayout+xml"/>
  <Override PartName="/ppt/slideLayouts/slideLayout9568.xml" ContentType="application/vnd.openxmlformats-officedocument.presentationml.slideLayout+xml"/>
  <Override PartName="/ppt/slideLayouts/slideLayout9569.xml" ContentType="application/vnd.openxmlformats-officedocument.presentationml.slideLayout+xml"/>
  <Override PartName="/ppt/slideLayouts/slideLayout9570.xml" ContentType="application/vnd.openxmlformats-officedocument.presentationml.slideLayout+xml"/>
  <Override PartName="/ppt/slideLayouts/slideLayout9571.xml" ContentType="application/vnd.openxmlformats-officedocument.presentationml.slideLayout+xml"/>
  <Override PartName="/ppt/slideLayouts/slideLayout9572.xml" ContentType="application/vnd.openxmlformats-officedocument.presentationml.slideLayout+xml"/>
  <Override PartName="/ppt/slideLayouts/slideLayout9573.xml" ContentType="application/vnd.openxmlformats-officedocument.presentationml.slideLayout+xml"/>
  <Override PartName="/ppt/slideLayouts/slideLayout9574.xml" ContentType="application/vnd.openxmlformats-officedocument.presentationml.slideLayout+xml"/>
  <Override PartName="/ppt/slideLayouts/slideLayout9575.xml" ContentType="application/vnd.openxmlformats-officedocument.presentationml.slideLayout+xml"/>
  <Override PartName="/ppt/slideLayouts/slideLayout9576.xml" ContentType="application/vnd.openxmlformats-officedocument.presentationml.slideLayout+xml"/>
  <Override PartName="/ppt/slideLayouts/slideLayout9577.xml" ContentType="application/vnd.openxmlformats-officedocument.presentationml.slideLayout+xml"/>
  <Override PartName="/ppt/slideLayouts/slideLayout9578.xml" ContentType="application/vnd.openxmlformats-officedocument.presentationml.slideLayout+xml"/>
  <Override PartName="/ppt/slideLayouts/slideLayout9579.xml" ContentType="application/vnd.openxmlformats-officedocument.presentationml.slideLayout+xml"/>
  <Override PartName="/ppt/slideLayouts/slideLayout9580.xml" ContentType="application/vnd.openxmlformats-officedocument.presentationml.slideLayout+xml"/>
  <Override PartName="/ppt/slideLayouts/slideLayout9581.xml" ContentType="application/vnd.openxmlformats-officedocument.presentationml.slideLayout+xml"/>
  <Override PartName="/ppt/slideLayouts/slideLayout9582.xml" ContentType="application/vnd.openxmlformats-officedocument.presentationml.slideLayout+xml"/>
  <Override PartName="/ppt/slideLayouts/slideLayout9583.xml" ContentType="application/vnd.openxmlformats-officedocument.presentationml.slideLayout+xml"/>
  <Override PartName="/ppt/slideLayouts/slideLayout9584.xml" ContentType="application/vnd.openxmlformats-officedocument.presentationml.slideLayout+xml"/>
  <Override PartName="/ppt/slideLayouts/slideLayout9585.xml" ContentType="application/vnd.openxmlformats-officedocument.presentationml.slideLayout+xml"/>
  <Override PartName="/ppt/slideLayouts/slideLayout9586.xml" ContentType="application/vnd.openxmlformats-officedocument.presentationml.slideLayout+xml"/>
  <Override PartName="/ppt/slideLayouts/slideLayout9587.xml" ContentType="application/vnd.openxmlformats-officedocument.presentationml.slideLayout+xml"/>
  <Override PartName="/ppt/slideLayouts/slideLayout9588.xml" ContentType="application/vnd.openxmlformats-officedocument.presentationml.slideLayout+xml"/>
  <Override PartName="/ppt/slideLayouts/slideLayout9589.xml" ContentType="application/vnd.openxmlformats-officedocument.presentationml.slideLayout+xml"/>
  <Override PartName="/ppt/slideLayouts/slideLayout9590.xml" ContentType="application/vnd.openxmlformats-officedocument.presentationml.slideLayout+xml"/>
  <Override PartName="/ppt/slideLayouts/slideLayout9591.xml" ContentType="application/vnd.openxmlformats-officedocument.presentationml.slideLayout+xml"/>
  <Override PartName="/ppt/slideLayouts/slideLayout9592.xml" ContentType="application/vnd.openxmlformats-officedocument.presentationml.slideLayout+xml"/>
  <Override PartName="/ppt/slideLayouts/slideLayout9593.xml" ContentType="application/vnd.openxmlformats-officedocument.presentationml.slideLayout+xml"/>
  <Override PartName="/ppt/slideLayouts/slideLayout9594.xml" ContentType="application/vnd.openxmlformats-officedocument.presentationml.slideLayout+xml"/>
  <Override PartName="/ppt/slideLayouts/slideLayout9595.xml" ContentType="application/vnd.openxmlformats-officedocument.presentationml.slideLayout+xml"/>
  <Override PartName="/ppt/slideLayouts/slideLayout9596.xml" ContentType="application/vnd.openxmlformats-officedocument.presentationml.slideLayout+xml"/>
  <Override PartName="/ppt/slideLayouts/slideLayout9597.xml" ContentType="application/vnd.openxmlformats-officedocument.presentationml.slideLayout+xml"/>
  <Override PartName="/ppt/slideLayouts/slideLayout9598.xml" ContentType="application/vnd.openxmlformats-officedocument.presentationml.slideLayout+xml"/>
  <Override PartName="/ppt/slideLayouts/slideLayout9599.xml" ContentType="application/vnd.openxmlformats-officedocument.presentationml.slideLayout+xml"/>
  <Override PartName="/ppt/slideLayouts/slideLayout9600.xml" ContentType="application/vnd.openxmlformats-officedocument.presentationml.slideLayout+xml"/>
  <Override PartName="/ppt/slideLayouts/slideLayout9601.xml" ContentType="application/vnd.openxmlformats-officedocument.presentationml.slideLayout+xml"/>
  <Override PartName="/ppt/slideLayouts/slideLayout9602.xml" ContentType="application/vnd.openxmlformats-officedocument.presentationml.slideLayout+xml"/>
  <Override PartName="/ppt/slideLayouts/slideLayout9603.xml" ContentType="application/vnd.openxmlformats-officedocument.presentationml.slideLayout+xml"/>
  <Override PartName="/ppt/slideLayouts/slideLayout9604.xml" ContentType="application/vnd.openxmlformats-officedocument.presentationml.slideLayout+xml"/>
  <Override PartName="/ppt/slideLayouts/slideLayout9605.xml" ContentType="application/vnd.openxmlformats-officedocument.presentationml.slideLayout+xml"/>
  <Override PartName="/ppt/slideLayouts/slideLayout9606.xml" ContentType="application/vnd.openxmlformats-officedocument.presentationml.slideLayout+xml"/>
  <Override PartName="/ppt/slideLayouts/slideLayout9607.xml" ContentType="application/vnd.openxmlformats-officedocument.presentationml.slideLayout+xml"/>
  <Override PartName="/ppt/slideLayouts/slideLayout9608.xml" ContentType="application/vnd.openxmlformats-officedocument.presentationml.slideLayout+xml"/>
  <Override PartName="/ppt/slideLayouts/slideLayout9609.xml" ContentType="application/vnd.openxmlformats-officedocument.presentationml.slideLayout+xml"/>
  <Override PartName="/ppt/slideLayouts/slideLayout9610.xml" ContentType="application/vnd.openxmlformats-officedocument.presentationml.slideLayout+xml"/>
  <Override PartName="/ppt/slideLayouts/slideLayout9611.xml" ContentType="application/vnd.openxmlformats-officedocument.presentationml.slideLayout+xml"/>
  <Override PartName="/ppt/slideLayouts/slideLayout9612.xml" ContentType="application/vnd.openxmlformats-officedocument.presentationml.slideLayout+xml"/>
  <Override PartName="/ppt/slideLayouts/slideLayout9613.xml" ContentType="application/vnd.openxmlformats-officedocument.presentationml.slideLayout+xml"/>
  <Override PartName="/ppt/slideLayouts/slideLayout9614.xml" ContentType="application/vnd.openxmlformats-officedocument.presentationml.slideLayout+xml"/>
  <Override PartName="/ppt/slideLayouts/slideLayout9615.xml" ContentType="application/vnd.openxmlformats-officedocument.presentationml.slideLayout+xml"/>
  <Override PartName="/ppt/slideLayouts/slideLayout9616.xml" ContentType="application/vnd.openxmlformats-officedocument.presentationml.slideLayout+xml"/>
  <Override PartName="/ppt/slideLayouts/slideLayout9617.xml" ContentType="application/vnd.openxmlformats-officedocument.presentationml.slideLayout+xml"/>
  <Override PartName="/ppt/slideLayouts/slideLayout9618.xml" ContentType="application/vnd.openxmlformats-officedocument.presentationml.slideLayout+xml"/>
  <Override PartName="/ppt/slideLayouts/slideLayout9619.xml" ContentType="application/vnd.openxmlformats-officedocument.presentationml.slideLayout+xml"/>
  <Override PartName="/ppt/slideLayouts/slideLayout9620.xml" ContentType="application/vnd.openxmlformats-officedocument.presentationml.slideLayout+xml"/>
  <Override PartName="/ppt/slideLayouts/slideLayout9621.xml" ContentType="application/vnd.openxmlformats-officedocument.presentationml.slideLayout+xml"/>
  <Override PartName="/ppt/slideLayouts/slideLayout9622.xml" ContentType="application/vnd.openxmlformats-officedocument.presentationml.slideLayout+xml"/>
  <Override PartName="/ppt/slideLayouts/slideLayout9623.xml" ContentType="application/vnd.openxmlformats-officedocument.presentationml.slideLayout+xml"/>
  <Override PartName="/ppt/slideLayouts/slideLayout9624.xml" ContentType="application/vnd.openxmlformats-officedocument.presentationml.slideLayout+xml"/>
  <Override PartName="/ppt/slideLayouts/slideLayout9625.xml" ContentType="application/vnd.openxmlformats-officedocument.presentationml.slideLayout+xml"/>
  <Override PartName="/ppt/slideLayouts/slideLayout9626.xml" ContentType="application/vnd.openxmlformats-officedocument.presentationml.slideLayout+xml"/>
  <Override PartName="/ppt/slideLayouts/slideLayout9627.xml" ContentType="application/vnd.openxmlformats-officedocument.presentationml.slideLayout+xml"/>
  <Override PartName="/ppt/slideLayouts/slideLayout9628.xml" ContentType="application/vnd.openxmlformats-officedocument.presentationml.slideLayout+xml"/>
  <Override PartName="/ppt/slideLayouts/slideLayout9629.xml" ContentType="application/vnd.openxmlformats-officedocument.presentationml.slideLayout+xml"/>
  <Override PartName="/ppt/slideLayouts/slideLayout9630.xml" ContentType="application/vnd.openxmlformats-officedocument.presentationml.slideLayout+xml"/>
  <Override PartName="/ppt/slideLayouts/slideLayout9631.xml" ContentType="application/vnd.openxmlformats-officedocument.presentationml.slideLayout+xml"/>
  <Override PartName="/ppt/slideLayouts/slideLayout9632.xml" ContentType="application/vnd.openxmlformats-officedocument.presentationml.slideLayout+xml"/>
  <Override PartName="/ppt/slideLayouts/slideLayout9633.xml" ContentType="application/vnd.openxmlformats-officedocument.presentationml.slideLayout+xml"/>
  <Override PartName="/ppt/slideLayouts/slideLayout9634.xml" ContentType="application/vnd.openxmlformats-officedocument.presentationml.slideLayout+xml"/>
  <Override PartName="/ppt/slideLayouts/slideLayout9635.xml" ContentType="application/vnd.openxmlformats-officedocument.presentationml.slideLayout+xml"/>
  <Override PartName="/ppt/slideLayouts/slideLayout9636.xml" ContentType="application/vnd.openxmlformats-officedocument.presentationml.slideLayout+xml"/>
  <Override PartName="/ppt/slideLayouts/slideLayout9637.xml" ContentType="application/vnd.openxmlformats-officedocument.presentationml.slideLayout+xml"/>
  <Override PartName="/ppt/slideLayouts/slideLayout9638.xml" ContentType="application/vnd.openxmlformats-officedocument.presentationml.slideLayout+xml"/>
  <Override PartName="/ppt/slideLayouts/slideLayout9639.xml" ContentType="application/vnd.openxmlformats-officedocument.presentationml.slideLayout+xml"/>
  <Override PartName="/ppt/slideLayouts/slideLayout9640.xml" ContentType="application/vnd.openxmlformats-officedocument.presentationml.slideLayout+xml"/>
  <Override PartName="/ppt/slideLayouts/slideLayout9641.xml" ContentType="application/vnd.openxmlformats-officedocument.presentationml.slideLayout+xml"/>
  <Override PartName="/ppt/slideLayouts/slideLayout9642.xml" ContentType="application/vnd.openxmlformats-officedocument.presentationml.slideLayout+xml"/>
  <Override PartName="/ppt/slideLayouts/slideLayout9643.xml" ContentType="application/vnd.openxmlformats-officedocument.presentationml.slideLayout+xml"/>
  <Override PartName="/ppt/slideLayouts/slideLayout9644.xml" ContentType="application/vnd.openxmlformats-officedocument.presentationml.slideLayout+xml"/>
  <Override PartName="/ppt/slideLayouts/slideLayout9645.xml" ContentType="application/vnd.openxmlformats-officedocument.presentationml.slideLayout+xml"/>
  <Override PartName="/ppt/slideLayouts/slideLayout9646.xml" ContentType="application/vnd.openxmlformats-officedocument.presentationml.slideLayout+xml"/>
  <Override PartName="/ppt/slideLayouts/slideLayout9647.xml" ContentType="application/vnd.openxmlformats-officedocument.presentationml.slideLayout+xml"/>
  <Override PartName="/ppt/slideLayouts/slideLayout9648.xml" ContentType="application/vnd.openxmlformats-officedocument.presentationml.slideLayout+xml"/>
  <Override PartName="/ppt/slideLayouts/slideLayout9649.xml" ContentType="application/vnd.openxmlformats-officedocument.presentationml.slideLayout+xml"/>
  <Override PartName="/ppt/slideLayouts/slideLayout9650.xml" ContentType="application/vnd.openxmlformats-officedocument.presentationml.slideLayout+xml"/>
  <Override PartName="/ppt/slideLayouts/slideLayout9651.xml" ContentType="application/vnd.openxmlformats-officedocument.presentationml.slideLayout+xml"/>
  <Override PartName="/ppt/slideLayouts/slideLayout9652.xml" ContentType="application/vnd.openxmlformats-officedocument.presentationml.slideLayout+xml"/>
  <Override PartName="/ppt/slideLayouts/slideLayout9653.xml" ContentType="application/vnd.openxmlformats-officedocument.presentationml.slideLayout+xml"/>
  <Override PartName="/ppt/slideLayouts/slideLayout9654.xml" ContentType="application/vnd.openxmlformats-officedocument.presentationml.slideLayout+xml"/>
  <Override PartName="/ppt/slideLayouts/slideLayout9655.xml" ContentType="application/vnd.openxmlformats-officedocument.presentationml.slideLayout+xml"/>
  <Override PartName="/ppt/slideLayouts/slideLayout9656.xml" ContentType="application/vnd.openxmlformats-officedocument.presentationml.slideLayout+xml"/>
  <Override PartName="/ppt/slideLayouts/slideLayout9657.xml" ContentType="application/vnd.openxmlformats-officedocument.presentationml.slideLayout+xml"/>
  <Override PartName="/ppt/slideLayouts/slideLayout9658.xml" ContentType="application/vnd.openxmlformats-officedocument.presentationml.slideLayout+xml"/>
  <Override PartName="/ppt/slideLayouts/slideLayout9659.xml" ContentType="application/vnd.openxmlformats-officedocument.presentationml.slideLayout+xml"/>
  <Override PartName="/ppt/slideLayouts/slideLayout9660.xml" ContentType="application/vnd.openxmlformats-officedocument.presentationml.slideLayout+xml"/>
  <Override PartName="/ppt/slideLayouts/slideLayout9661.xml" ContentType="application/vnd.openxmlformats-officedocument.presentationml.slideLayout+xml"/>
  <Override PartName="/ppt/slideLayouts/slideLayout9662.xml" ContentType="application/vnd.openxmlformats-officedocument.presentationml.slideLayout+xml"/>
  <Override PartName="/ppt/slideLayouts/slideLayout9663.xml" ContentType="application/vnd.openxmlformats-officedocument.presentationml.slideLayout+xml"/>
  <Override PartName="/ppt/slideLayouts/slideLayout9664.xml" ContentType="application/vnd.openxmlformats-officedocument.presentationml.slideLayout+xml"/>
  <Override PartName="/ppt/slideLayouts/slideLayout9665.xml" ContentType="application/vnd.openxmlformats-officedocument.presentationml.slideLayout+xml"/>
  <Override PartName="/ppt/slideLayouts/slideLayout9666.xml" ContentType="application/vnd.openxmlformats-officedocument.presentationml.slideLayout+xml"/>
  <Override PartName="/ppt/slideLayouts/slideLayout9667.xml" ContentType="application/vnd.openxmlformats-officedocument.presentationml.slideLayout+xml"/>
  <Override PartName="/ppt/slideLayouts/slideLayout9668.xml" ContentType="application/vnd.openxmlformats-officedocument.presentationml.slideLayout+xml"/>
  <Override PartName="/ppt/slideLayouts/slideLayout9669.xml" ContentType="application/vnd.openxmlformats-officedocument.presentationml.slideLayout+xml"/>
  <Override PartName="/ppt/slideLayouts/slideLayout9670.xml" ContentType="application/vnd.openxmlformats-officedocument.presentationml.slideLayout+xml"/>
  <Override PartName="/ppt/slideLayouts/slideLayout9671.xml" ContentType="application/vnd.openxmlformats-officedocument.presentationml.slideLayout+xml"/>
  <Override PartName="/ppt/slideLayouts/slideLayout9672.xml" ContentType="application/vnd.openxmlformats-officedocument.presentationml.slideLayout+xml"/>
  <Override PartName="/ppt/slideLayouts/slideLayout9673.xml" ContentType="application/vnd.openxmlformats-officedocument.presentationml.slideLayout+xml"/>
  <Override PartName="/ppt/slideLayouts/slideLayout9674.xml" ContentType="application/vnd.openxmlformats-officedocument.presentationml.slideLayout+xml"/>
  <Override PartName="/ppt/slideLayouts/slideLayout9675.xml" ContentType="application/vnd.openxmlformats-officedocument.presentationml.slideLayout+xml"/>
  <Override PartName="/ppt/slideLayouts/slideLayout9676.xml" ContentType="application/vnd.openxmlformats-officedocument.presentationml.slideLayout+xml"/>
  <Override PartName="/ppt/slideLayouts/slideLayout9677.xml" ContentType="application/vnd.openxmlformats-officedocument.presentationml.slideLayout+xml"/>
  <Override PartName="/ppt/slideLayouts/slideLayout9678.xml" ContentType="application/vnd.openxmlformats-officedocument.presentationml.slideLayout+xml"/>
  <Override PartName="/ppt/slideLayouts/slideLayout9679.xml" ContentType="application/vnd.openxmlformats-officedocument.presentationml.slideLayout+xml"/>
  <Override PartName="/ppt/slideLayouts/slideLayout9680.xml" ContentType="application/vnd.openxmlformats-officedocument.presentationml.slideLayout+xml"/>
  <Override PartName="/ppt/slideLayouts/slideLayout9681.xml" ContentType="application/vnd.openxmlformats-officedocument.presentationml.slideLayout+xml"/>
  <Override PartName="/ppt/slideLayouts/slideLayout9682.xml" ContentType="application/vnd.openxmlformats-officedocument.presentationml.slideLayout+xml"/>
  <Override PartName="/ppt/slideLayouts/slideLayout9683.xml" ContentType="application/vnd.openxmlformats-officedocument.presentationml.slideLayout+xml"/>
  <Override PartName="/ppt/slideLayouts/slideLayout9684.xml" ContentType="application/vnd.openxmlformats-officedocument.presentationml.slideLayout+xml"/>
  <Override PartName="/ppt/slideLayouts/slideLayout9685.xml" ContentType="application/vnd.openxmlformats-officedocument.presentationml.slideLayout+xml"/>
  <Override PartName="/ppt/slideLayouts/slideLayout9686.xml" ContentType="application/vnd.openxmlformats-officedocument.presentationml.slideLayout+xml"/>
  <Override PartName="/ppt/slideLayouts/slideLayout9687.xml" ContentType="application/vnd.openxmlformats-officedocument.presentationml.slideLayout+xml"/>
  <Override PartName="/ppt/slideLayouts/slideLayout9688.xml" ContentType="application/vnd.openxmlformats-officedocument.presentationml.slideLayout+xml"/>
  <Override PartName="/ppt/slideLayouts/slideLayout9689.xml" ContentType="application/vnd.openxmlformats-officedocument.presentationml.slideLayout+xml"/>
  <Override PartName="/ppt/slideLayouts/slideLayout9690.xml" ContentType="application/vnd.openxmlformats-officedocument.presentationml.slideLayout+xml"/>
  <Override PartName="/ppt/slideLayouts/slideLayout9691.xml" ContentType="application/vnd.openxmlformats-officedocument.presentationml.slideLayout+xml"/>
  <Override PartName="/ppt/slideLayouts/slideLayout9692.xml" ContentType="application/vnd.openxmlformats-officedocument.presentationml.slideLayout+xml"/>
  <Override PartName="/ppt/slideLayouts/slideLayout9693.xml" ContentType="application/vnd.openxmlformats-officedocument.presentationml.slideLayout+xml"/>
  <Override PartName="/ppt/slideLayouts/slideLayout9694.xml" ContentType="application/vnd.openxmlformats-officedocument.presentationml.slideLayout+xml"/>
  <Override PartName="/ppt/slideLayouts/slideLayout9695.xml" ContentType="application/vnd.openxmlformats-officedocument.presentationml.slideLayout+xml"/>
  <Override PartName="/ppt/slideLayouts/slideLayout9696.xml" ContentType="application/vnd.openxmlformats-officedocument.presentationml.slideLayout+xml"/>
  <Override PartName="/ppt/slideLayouts/slideLayout9697.xml" ContentType="application/vnd.openxmlformats-officedocument.presentationml.slideLayout+xml"/>
  <Override PartName="/ppt/slideLayouts/slideLayout9698.xml" ContentType="application/vnd.openxmlformats-officedocument.presentationml.slideLayout+xml"/>
  <Override PartName="/ppt/slideLayouts/slideLayout9699.xml" ContentType="application/vnd.openxmlformats-officedocument.presentationml.slideLayout+xml"/>
  <Override PartName="/ppt/slideLayouts/slideLayout9700.xml" ContentType="application/vnd.openxmlformats-officedocument.presentationml.slideLayout+xml"/>
  <Override PartName="/ppt/slideLayouts/slideLayout9701.xml" ContentType="application/vnd.openxmlformats-officedocument.presentationml.slideLayout+xml"/>
  <Override PartName="/ppt/slideLayouts/slideLayout9702.xml" ContentType="application/vnd.openxmlformats-officedocument.presentationml.slideLayout+xml"/>
  <Override PartName="/ppt/slideLayouts/slideLayout9703.xml" ContentType="application/vnd.openxmlformats-officedocument.presentationml.slideLayout+xml"/>
  <Override PartName="/ppt/slideLayouts/slideLayout9704.xml" ContentType="application/vnd.openxmlformats-officedocument.presentationml.slideLayout+xml"/>
  <Override PartName="/ppt/slideLayouts/slideLayout9705.xml" ContentType="application/vnd.openxmlformats-officedocument.presentationml.slideLayout+xml"/>
  <Override PartName="/ppt/slideLayouts/slideLayout9706.xml" ContentType="application/vnd.openxmlformats-officedocument.presentationml.slideLayout+xml"/>
  <Override PartName="/ppt/slideLayouts/slideLayout9707.xml" ContentType="application/vnd.openxmlformats-officedocument.presentationml.slideLayout+xml"/>
  <Override PartName="/ppt/slideLayouts/slideLayout9708.xml" ContentType="application/vnd.openxmlformats-officedocument.presentationml.slideLayout+xml"/>
  <Override PartName="/ppt/slideLayouts/slideLayout9709.xml" ContentType="application/vnd.openxmlformats-officedocument.presentationml.slideLayout+xml"/>
  <Override PartName="/ppt/slideLayouts/slideLayout9710.xml" ContentType="application/vnd.openxmlformats-officedocument.presentationml.slideLayout+xml"/>
  <Override PartName="/ppt/slideLayouts/slideLayout9711.xml" ContentType="application/vnd.openxmlformats-officedocument.presentationml.slideLayout+xml"/>
  <Override PartName="/ppt/slideLayouts/slideLayout9712.xml" ContentType="application/vnd.openxmlformats-officedocument.presentationml.slideLayout+xml"/>
  <Override PartName="/ppt/slideLayouts/slideLayout9713.xml" ContentType="application/vnd.openxmlformats-officedocument.presentationml.slideLayout+xml"/>
  <Override PartName="/ppt/slideLayouts/slideLayout9714.xml" ContentType="application/vnd.openxmlformats-officedocument.presentationml.slideLayout+xml"/>
  <Override PartName="/ppt/slideLayouts/slideLayout9715.xml" ContentType="application/vnd.openxmlformats-officedocument.presentationml.slideLayout+xml"/>
  <Override PartName="/ppt/slideLayouts/slideLayout9716.xml" ContentType="application/vnd.openxmlformats-officedocument.presentationml.slideLayout+xml"/>
  <Override PartName="/ppt/slideLayouts/slideLayout9717.xml" ContentType="application/vnd.openxmlformats-officedocument.presentationml.slideLayout+xml"/>
  <Override PartName="/ppt/slideLayouts/slideLayout9718.xml" ContentType="application/vnd.openxmlformats-officedocument.presentationml.slideLayout+xml"/>
  <Override PartName="/ppt/slideLayouts/slideLayout9719.xml" ContentType="application/vnd.openxmlformats-officedocument.presentationml.slideLayout+xml"/>
  <Override PartName="/ppt/slideLayouts/slideLayout9720.xml" ContentType="application/vnd.openxmlformats-officedocument.presentationml.slideLayout+xml"/>
  <Override PartName="/ppt/slideLayouts/slideLayout9721.xml" ContentType="application/vnd.openxmlformats-officedocument.presentationml.slideLayout+xml"/>
  <Override PartName="/ppt/slideLayouts/slideLayout9722.xml" ContentType="application/vnd.openxmlformats-officedocument.presentationml.slideLayout+xml"/>
  <Override PartName="/ppt/slideLayouts/slideLayout9723.xml" ContentType="application/vnd.openxmlformats-officedocument.presentationml.slideLayout+xml"/>
  <Override PartName="/ppt/slideLayouts/slideLayout9724.xml" ContentType="application/vnd.openxmlformats-officedocument.presentationml.slideLayout+xml"/>
  <Override PartName="/ppt/slideLayouts/slideLayout9725.xml" ContentType="application/vnd.openxmlformats-officedocument.presentationml.slideLayout+xml"/>
  <Override PartName="/ppt/slideLayouts/slideLayout9726.xml" ContentType="application/vnd.openxmlformats-officedocument.presentationml.slideLayout+xml"/>
  <Override PartName="/ppt/slideLayouts/slideLayout9727.xml" ContentType="application/vnd.openxmlformats-officedocument.presentationml.slideLayout+xml"/>
  <Override PartName="/ppt/slideLayouts/slideLayout9728.xml" ContentType="application/vnd.openxmlformats-officedocument.presentationml.slideLayout+xml"/>
  <Override PartName="/ppt/slideLayouts/slideLayout9729.xml" ContentType="application/vnd.openxmlformats-officedocument.presentationml.slideLayout+xml"/>
  <Override PartName="/ppt/slideLayouts/slideLayout9730.xml" ContentType="application/vnd.openxmlformats-officedocument.presentationml.slideLayout+xml"/>
  <Override PartName="/ppt/slideLayouts/slideLayout9731.xml" ContentType="application/vnd.openxmlformats-officedocument.presentationml.slideLayout+xml"/>
  <Override PartName="/ppt/slideLayouts/slideLayout9732.xml" ContentType="application/vnd.openxmlformats-officedocument.presentationml.slideLayout+xml"/>
  <Override PartName="/ppt/slideLayouts/slideLayout9733.xml" ContentType="application/vnd.openxmlformats-officedocument.presentationml.slideLayout+xml"/>
  <Override PartName="/ppt/slideLayouts/slideLayout9734.xml" ContentType="application/vnd.openxmlformats-officedocument.presentationml.slideLayout+xml"/>
  <Override PartName="/ppt/slideLayouts/slideLayout9735.xml" ContentType="application/vnd.openxmlformats-officedocument.presentationml.slideLayout+xml"/>
  <Override PartName="/ppt/slideLayouts/slideLayout9736.xml" ContentType="application/vnd.openxmlformats-officedocument.presentationml.slideLayout+xml"/>
  <Override PartName="/ppt/slideLayouts/slideLayout9737.xml" ContentType="application/vnd.openxmlformats-officedocument.presentationml.slideLayout+xml"/>
  <Override PartName="/ppt/slideLayouts/slideLayout9738.xml" ContentType="application/vnd.openxmlformats-officedocument.presentationml.slideLayout+xml"/>
  <Override PartName="/ppt/slideLayouts/slideLayout9739.xml" ContentType="application/vnd.openxmlformats-officedocument.presentationml.slideLayout+xml"/>
  <Override PartName="/ppt/slideLayouts/slideLayout9740.xml" ContentType="application/vnd.openxmlformats-officedocument.presentationml.slideLayout+xml"/>
  <Override PartName="/ppt/slideLayouts/slideLayout9741.xml" ContentType="application/vnd.openxmlformats-officedocument.presentationml.slideLayout+xml"/>
  <Override PartName="/ppt/slideLayouts/slideLayout9742.xml" ContentType="application/vnd.openxmlformats-officedocument.presentationml.slideLayout+xml"/>
  <Override PartName="/ppt/slideLayouts/slideLayout9743.xml" ContentType="application/vnd.openxmlformats-officedocument.presentationml.slideLayout+xml"/>
  <Override PartName="/ppt/slideLayouts/slideLayout9744.xml" ContentType="application/vnd.openxmlformats-officedocument.presentationml.slideLayout+xml"/>
  <Override PartName="/ppt/slideLayouts/slideLayout9745.xml" ContentType="application/vnd.openxmlformats-officedocument.presentationml.slideLayout+xml"/>
  <Override PartName="/ppt/slideLayouts/slideLayout9746.xml" ContentType="application/vnd.openxmlformats-officedocument.presentationml.slideLayout+xml"/>
  <Override PartName="/ppt/slideLayouts/slideLayout9747.xml" ContentType="application/vnd.openxmlformats-officedocument.presentationml.slideLayout+xml"/>
  <Override PartName="/ppt/slideLayouts/slideLayout9748.xml" ContentType="application/vnd.openxmlformats-officedocument.presentationml.slideLayout+xml"/>
  <Override PartName="/ppt/slideLayouts/slideLayout9749.xml" ContentType="application/vnd.openxmlformats-officedocument.presentationml.slideLayout+xml"/>
  <Override PartName="/ppt/slideLayouts/slideLayout9750.xml" ContentType="application/vnd.openxmlformats-officedocument.presentationml.slideLayout+xml"/>
  <Override PartName="/ppt/slideLayouts/slideLayout9751.xml" ContentType="application/vnd.openxmlformats-officedocument.presentationml.slideLayout+xml"/>
  <Override PartName="/ppt/slideLayouts/slideLayout9752.xml" ContentType="application/vnd.openxmlformats-officedocument.presentationml.slideLayout+xml"/>
  <Override PartName="/ppt/slideLayouts/slideLayout9753.xml" ContentType="application/vnd.openxmlformats-officedocument.presentationml.slideLayout+xml"/>
  <Override PartName="/ppt/slideLayouts/slideLayout9754.xml" ContentType="application/vnd.openxmlformats-officedocument.presentationml.slideLayout+xml"/>
  <Override PartName="/ppt/slideLayouts/slideLayout9755.xml" ContentType="application/vnd.openxmlformats-officedocument.presentationml.slideLayout+xml"/>
  <Override PartName="/ppt/slideLayouts/slideLayout9756.xml" ContentType="application/vnd.openxmlformats-officedocument.presentationml.slideLayout+xml"/>
  <Override PartName="/ppt/slideLayouts/slideLayout9757.xml" ContentType="application/vnd.openxmlformats-officedocument.presentationml.slideLayout+xml"/>
  <Override PartName="/ppt/slideLayouts/slideLayout9758.xml" ContentType="application/vnd.openxmlformats-officedocument.presentationml.slideLayout+xml"/>
  <Override PartName="/ppt/slideLayouts/slideLayout9759.xml" ContentType="application/vnd.openxmlformats-officedocument.presentationml.slideLayout+xml"/>
  <Override PartName="/ppt/slideLayouts/slideLayout9760.xml" ContentType="application/vnd.openxmlformats-officedocument.presentationml.slideLayout+xml"/>
  <Override PartName="/ppt/slideLayouts/slideLayout9761.xml" ContentType="application/vnd.openxmlformats-officedocument.presentationml.slideLayout+xml"/>
  <Override PartName="/ppt/slideLayouts/slideLayout9762.xml" ContentType="application/vnd.openxmlformats-officedocument.presentationml.slideLayout+xml"/>
  <Override PartName="/ppt/slideLayouts/slideLayout9763.xml" ContentType="application/vnd.openxmlformats-officedocument.presentationml.slideLayout+xml"/>
  <Override PartName="/ppt/slideLayouts/slideLayout9764.xml" ContentType="application/vnd.openxmlformats-officedocument.presentationml.slideLayout+xml"/>
  <Override PartName="/ppt/slideLayouts/slideLayout9765.xml" ContentType="application/vnd.openxmlformats-officedocument.presentationml.slideLayout+xml"/>
  <Override PartName="/ppt/slideLayouts/slideLayout9766.xml" ContentType="application/vnd.openxmlformats-officedocument.presentationml.slideLayout+xml"/>
  <Override PartName="/ppt/slideLayouts/slideLayout9767.xml" ContentType="application/vnd.openxmlformats-officedocument.presentationml.slideLayout+xml"/>
  <Override PartName="/ppt/slideLayouts/slideLayout9768.xml" ContentType="application/vnd.openxmlformats-officedocument.presentationml.slideLayout+xml"/>
  <Override PartName="/ppt/slideLayouts/slideLayout9769.xml" ContentType="application/vnd.openxmlformats-officedocument.presentationml.slideLayout+xml"/>
  <Override PartName="/ppt/slideLayouts/slideLayout9770.xml" ContentType="application/vnd.openxmlformats-officedocument.presentationml.slideLayout+xml"/>
  <Override PartName="/ppt/slideLayouts/slideLayout9771.xml" ContentType="application/vnd.openxmlformats-officedocument.presentationml.slideLayout+xml"/>
  <Override PartName="/ppt/slideLayouts/slideLayout9772.xml" ContentType="application/vnd.openxmlformats-officedocument.presentationml.slideLayout+xml"/>
  <Override PartName="/ppt/slideLayouts/slideLayout9773.xml" ContentType="application/vnd.openxmlformats-officedocument.presentationml.slideLayout+xml"/>
  <Override PartName="/ppt/slideLayouts/slideLayout9774.xml" ContentType="application/vnd.openxmlformats-officedocument.presentationml.slideLayout+xml"/>
  <Override PartName="/ppt/slideLayouts/slideLayout9775.xml" ContentType="application/vnd.openxmlformats-officedocument.presentationml.slideLayout+xml"/>
  <Override PartName="/ppt/slideLayouts/slideLayout9776.xml" ContentType="application/vnd.openxmlformats-officedocument.presentationml.slideLayout+xml"/>
  <Override PartName="/ppt/slideLayouts/slideLayout9777.xml" ContentType="application/vnd.openxmlformats-officedocument.presentationml.slideLayout+xml"/>
  <Override PartName="/ppt/slideLayouts/slideLayout9778.xml" ContentType="application/vnd.openxmlformats-officedocument.presentationml.slideLayout+xml"/>
  <Override PartName="/ppt/slideLayouts/slideLayout9779.xml" ContentType="application/vnd.openxmlformats-officedocument.presentationml.slideLayout+xml"/>
  <Override PartName="/ppt/slideLayouts/slideLayout9780.xml" ContentType="application/vnd.openxmlformats-officedocument.presentationml.slideLayout+xml"/>
  <Override PartName="/ppt/slideLayouts/slideLayout9781.xml" ContentType="application/vnd.openxmlformats-officedocument.presentationml.slideLayout+xml"/>
  <Override PartName="/ppt/slideLayouts/slideLayout9782.xml" ContentType="application/vnd.openxmlformats-officedocument.presentationml.slideLayout+xml"/>
  <Override PartName="/ppt/slideLayouts/slideLayout9783.xml" ContentType="application/vnd.openxmlformats-officedocument.presentationml.slideLayout+xml"/>
  <Override PartName="/ppt/slideLayouts/slideLayout9784.xml" ContentType="application/vnd.openxmlformats-officedocument.presentationml.slideLayout+xml"/>
  <Override PartName="/ppt/slideLayouts/slideLayout9785.xml" ContentType="application/vnd.openxmlformats-officedocument.presentationml.slideLayout+xml"/>
  <Override PartName="/ppt/slideLayouts/slideLayout9786.xml" ContentType="application/vnd.openxmlformats-officedocument.presentationml.slideLayout+xml"/>
  <Override PartName="/ppt/slideLayouts/slideLayout9787.xml" ContentType="application/vnd.openxmlformats-officedocument.presentationml.slideLayout+xml"/>
  <Override PartName="/ppt/slideLayouts/slideLayout9788.xml" ContentType="application/vnd.openxmlformats-officedocument.presentationml.slideLayout+xml"/>
  <Override PartName="/ppt/slideLayouts/slideLayout9789.xml" ContentType="application/vnd.openxmlformats-officedocument.presentationml.slideLayout+xml"/>
  <Override PartName="/ppt/slideLayouts/slideLayout9790.xml" ContentType="application/vnd.openxmlformats-officedocument.presentationml.slideLayout+xml"/>
  <Override PartName="/ppt/slideLayouts/slideLayout9791.xml" ContentType="application/vnd.openxmlformats-officedocument.presentationml.slideLayout+xml"/>
  <Override PartName="/ppt/slideLayouts/slideLayout9792.xml" ContentType="application/vnd.openxmlformats-officedocument.presentationml.slideLayout+xml"/>
  <Override PartName="/ppt/slideLayouts/slideLayout9793.xml" ContentType="application/vnd.openxmlformats-officedocument.presentationml.slideLayout+xml"/>
  <Override PartName="/ppt/slideLayouts/slideLayout9794.xml" ContentType="application/vnd.openxmlformats-officedocument.presentationml.slideLayout+xml"/>
  <Override PartName="/ppt/slideLayouts/slideLayout9795.xml" ContentType="application/vnd.openxmlformats-officedocument.presentationml.slideLayout+xml"/>
  <Override PartName="/ppt/slideLayouts/slideLayout9796.xml" ContentType="application/vnd.openxmlformats-officedocument.presentationml.slideLayout+xml"/>
  <Override PartName="/ppt/slideLayouts/slideLayout9797.xml" ContentType="application/vnd.openxmlformats-officedocument.presentationml.slideLayout+xml"/>
  <Override PartName="/ppt/slideLayouts/slideLayout9798.xml" ContentType="application/vnd.openxmlformats-officedocument.presentationml.slideLayout+xml"/>
  <Override PartName="/ppt/slideLayouts/slideLayout9799.xml" ContentType="application/vnd.openxmlformats-officedocument.presentationml.slideLayout+xml"/>
  <Override PartName="/ppt/slideLayouts/slideLayout9800.xml" ContentType="application/vnd.openxmlformats-officedocument.presentationml.slideLayout+xml"/>
  <Override PartName="/ppt/slideLayouts/slideLayout9801.xml" ContentType="application/vnd.openxmlformats-officedocument.presentationml.slideLayout+xml"/>
  <Override PartName="/ppt/slideLayouts/slideLayout9802.xml" ContentType="application/vnd.openxmlformats-officedocument.presentationml.slideLayout+xml"/>
  <Override PartName="/ppt/slideLayouts/slideLayout9803.xml" ContentType="application/vnd.openxmlformats-officedocument.presentationml.slideLayout+xml"/>
  <Override PartName="/ppt/slideLayouts/slideLayout9804.xml" ContentType="application/vnd.openxmlformats-officedocument.presentationml.slideLayout+xml"/>
  <Override PartName="/ppt/slideLayouts/slideLayout9805.xml" ContentType="application/vnd.openxmlformats-officedocument.presentationml.slideLayout+xml"/>
  <Override PartName="/ppt/slideLayouts/slideLayout9806.xml" ContentType="application/vnd.openxmlformats-officedocument.presentationml.slideLayout+xml"/>
  <Override PartName="/ppt/slideLayouts/slideLayout9807.xml" ContentType="application/vnd.openxmlformats-officedocument.presentationml.slideLayout+xml"/>
  <Override PartName="/ppt/slideLayouts/slideLayout9808.xml" ContentType="application/vnd.openxmlformats-officedocument.presentationml.slideLayout+xml"/>
  <Override PartName="/ppt/slideLayouts/slideLayout9809.xml" ContentType="application/vnd.openxmlformats-officedocument.presentationml.slideLayout+xml"/>
  <Override PartName="/ppt/slideLayouts/slideLayout9810.xml" ContentType="application/vnd.openxmlformats-officedocument.presentationml.slideLayout+xml"/>
  <Override PartName="/ppt/slideLayouts/slideLayout9811.xml" ContentType="application/vnd.openxmlformats-officedocument.presentationml.slideLayout+xml"/>
  <Override PartName="/ppt/slideLayouts/slideLayout9812.xml" ContentType="application/vnd.openxmlformats-officedocument.presentationml.slideLayout+xml"/>
  <Override PartName="/ppt/slideLayouts/slideLayout9813.xml" ContentType="application/vnd.openxmlformats-officedocument.presentationml.slideLayout+xml"/>
  <Override PartName="/ppt/slideLayouts/slideLayout9814.xml" ContentType="application/vnd.openxmlformats-officedocument.presentationml.slideLayout+xml"/>
  <Override PartName="/ppt/slideLayouts/slideLayout9815.xml" ContentType="application/vnd.openxmlformats-officedocument.presentationml.slideLayout+xml"/>
  <Override PartName="/ppt/slideLayouts/slideLayout9816.xml" ContentType="application/vnd.openxmlformats-officedocument.presentationml.slideLayout+xml"/>
  <Override PartName="/ppt/slideLayouts/slideLayout9817.xml" ContentType="application/vnd.openxmlformats-officedocument.presentationml.slideLayout+xml"/>
  <Override PartName="/ppt/slideLayouts/slideLayout9818.xml" ContentType="application/vnd.openxmlformats-officedocument.presentationml.slideLayout+xml"/>
  <Override PartName="/ppt/slideLayouts/slideLayout9819.xml" ContentType="application/vnd.openxmlformats-officedocument.presentationml.slideLayout+xml"/>
  <Override PartName="/ppt/slideLayouts/slideLayout9820.xml" ContentType="application/vnd.openxmlformats-officedocument.presentationml.slideLayout+xml"/>
  <Override PartName="/ppt/slideLayouts/slideLayout9821.xml" ContentType="application/vnd.openxmlformats-officedocument.presentationml.slideLayout+xml"/>
  <Override PartName="/ppt/slideLayouts/slideLayout9822.xml" ContentType="application/vnd.openxmlformats-officedocument.presentationml.slideLayout+xml"/>
  <Override PartName="/ppt/slideLayouts/slideLayout9823.xml" ContentType="application/vnd.openxmlformats-officedocument.presentationml.slideLayout+xml"/>
  <Override PartName="/ppt/slideLayouts/slideLayout9824.xml" ContentType="application/vnd.openxmlformats-officedocument.presentationml.slideLayout+xml"/>
  <Override PartName="/ppt/slideLayouts/slideLayout9825.xml" ContentType="application/vnd.openxmlformats-officedocument.presentationml.slideLayout+xml"/>
  <Override PartName="/ppt/slideLayouts/slideLayout9826.xml" ContentType="application/vnd.openxmlformats-officedocument.presentationml.slideLayout+xml"/>
  <Override PartName="/ppt/slideLayouts/slideLayout9827.xml" ContentType="application/vnd.openxmlformats-officedocument.presentationml.slideLayout+xml"/>
  <Override PartName="/ppt/slideLayouts/slideLayout9828.xml" ContentType="application/vnd.openxmlformats-officedocument.presentationml.slideLayout+xml"/>
  <Override PartName="/ppt/slideLayouts/slideLayout9829.xml" ContentType="application/vnd.openxmlformats-officedocument.presentationml.slideLayout+xml"/>
  <Override PartName="/ppt/slideLayouts/slideLayout9830.xml" ContentType="application/vnd.openxmlformats-officedocument.presentationml.slideLayout+xml"/>
  <Override PartName="/ppt/slideLayouts/slideLayout9831.xml" ContentType="application/vnd.openxmlformats-officedocument.presentationml.slideLayout+xml"/>
  <Override PartName="/ppt/slideLayouts/slideLayout9832.xml" ContentType="application/vnd.openxmlformats-officedocument.presentationml.slideLayout+xml"/>
  <Override PartName="/ppt/slideLayouts/slideLayout9833.xml" ContentType="application/vnd.openxmlformats-officedocument.presentationml.slideLayout+xml"/>
  <Override PartName="/ppt/slideLayouts/slideLayout9834.xml" ContentType="application/vnd.openxmlformats-officedocument.presentationml.slideLayout+xml"/>
  <Override PartName="/ppt/slideLayouts/slideLayout9835.xml" ContentType="application/vnd.openxmlformats-officedocument.presentationml.slideLayout+xml"/>
  <Override PartName="/ppt/slideLayouts/slideLayout9836.xml" ContentType="application/vnd.openxmlformats-officedocument.presentationml.slideLayout+xml"/>
  <Override PartName="/ppt/slideLayouts/slideLayout9837.xml" ContentType="application/vnd.openxmlformats-officedocument.presentationml.slideLayout+xml"/>
  <Override PartName="/ppt/slideLayouts/slideLayout9838.xml" ContentType="application/vnd.openxmlformats-officedocument.presentationml.slideLayout+xml"/>
  <Override PartName="/ppt/slideLayouts/slideLayout9839.xml" ContentType="application/vnd.openxmlformats-officedocument.presentationml.slideLayout+xml"/>
  <Override PartName="/ppt/slideLayouts/slideLayout9840.xml" ContentType="application/vnd.openxmlformats-officedocument.presentationml.slideLayout+xml"/>
  <Override PartName="/ppt/slideLayouts/slideLayout9841.xml" ContentType="application/vnd.openxmlformats-officedocument.presentationml.slideLayout+xml"/>
  <Override PartName="/ppt/slideLayouts/slideLayout9842.xml" ContentType="application/vnd.openxmlformats-officedocument.presentationml.slideLayout+xml"/>
  <Override PartName="/ppt/slideLayouts/slideLayout9843.xml" ContentType="application/vnd.openxmlformats-officedocument.presentationml.slideLayout+xml"/>
  <Override PartName="/ppt/slideLayouts/slideLayout9844.xml" ContentType="application/vnd.openxmlformats-officedocument.presentationml.slideLayout+xml"/>
  <Override PartName="/ppt/slideLayouts/slideLayout9845.xml" ContentType="application/vnd.openxmlformats-officedocument.presentationml.slideLayout+xml"/>
  <Override PartName="/ppt/slideLayouts/slideLayout9846.xml" ContentType="application/vnd.openxmlformats-officedocument.presentationml.slideLayout+xml"/>
  <Override PartName="/ppt/slideLayouts/slideLayout9847.xml" ContentType="application/vnd.openxmlformats-officedocument.presentationml.slideLayout+xml"/>
  <Override PartName="/ppt/slideLayouts/slideLayout9848.xml" ContentType="application/vnd.openxmlformats-officedocument.presentationml.slideLayout+xml"/>
  <Override PartName="/ppt/slideLayouts/slideLayout9849.xml" ContentType="application/vnd.openxmlformats-officedocument.presentationml.slideLayout+xml"/>
  <Override PartName="/ppt/slideLayouts/slideLayout9850.xml" ContentType="application/vnd.openxmlformats-officedocument.presentationml.slideLayout+xml"/>
  <Override PartName="/ppt/slideLayouts/slideLayout9851.xml" ContentType="application/vnd.openxmlformats-officedocument.presentationml.slideLayout+xml"/>
  <Override PartName="/ppt/slideLayouts/slideLayout9852.xml" ContentType="application/vnd.openxmlformats-officedocument.presentationml.slideLayout+xml"/>
  <Override PartName="/ppt/slideLayouts/slideLayout9853.xml" ContentType="application/vnd.openxmlformats-officedocument.presentationml.slideLayout+xml"/>
  <Override PartName="/ppt/slideLayouts/slideLayout9854.xml" ContentType="application/vnd.openxmlformats-officedocument.presentationml.slideLayout+xml"/>
  <Override PartName="/ppt/slideLayouts/slideLayout9855.xml" ContentType="application/vnd.openxmlformats-officedocument.presentationml.slideLayout+xml"/>
  <Override PartName="/ppt/slideLayouts/slideLayout9856.xml" ContentType="application/vnd.openxmlformats-officedocument.presentationml.slideLayout+xml"/>
  <Override PartName="/ppt/slideLayouts/slideLayout9857.xml" ContentType="application/vnd.openxmlformats-officedocument.presentationml.slideLayout+xml"/>
  <Override PartName="/ppt/slideLayouts/slideLayout9858.xml" ContentType="application/vnd.openxmlformats-officedocument.presentationml.slideLayout+xml"/>
  <Override PartName="/ppt/slideLayouts/slideLayout9859.xml" ContentType="application/vnd.openxmlformats-officedocument.presentationml.slideLayout+xml"/>
  <Override PartName="/ppt/slideLayouts/slideLayout9860.xml" ContentType="application/vnd.openxmlformats-officedocument.presentationml.slideLayout+xml"/>
  <Override PartName="/ppt/slideLayouts/slideLayout9861.xml" ContentType="application/vnd.openxmlformats-officedocument.presentationml.slideLayout+xml"/>
  <Override PartName="/ppt/slideLayouts/slideLayout9862.xml" ContentType="application/vnd.openxmlformats-officedocument.presentationml.slideLayout+xml"/>
  <Override PartName="/ppt/slideLayouts/slideLayout9863.xml" ContentType="application/vnd.openxmlformats-officedocument.presentationml.slideLayout+xml"/>
  <Override PartName="/ppt/slideLayouts/slideLayout9864.xml" ContentType="application/vnd.openxmlformats-officedocument.presentationml.slideLayout+xml"/>
  <Override PartName="/ppt/slideLayouts/slideLayout9865.xml" ContentType="application/vnd.openxmlformats-officedocument.presentationml.slideLayout+xml"/>
  <Override PartName="/ppt/slideLayouts/slideLayout9866.xml" ContentType="application/vnd.openxmlformats-officedocument.presentationml.slideLayout+xml"/>
  <Override PartName="/ppt/slideLayouts/slideLayout9867.xml" ContentType="application/vnd.openxmlformats-officedocument.presentationml.slideLayout+xml"/>
  <Override PartName="/ppt/slideLayouts/slideLayout9868.xml" ContentType="application/vnd.openxmlformats-officedocument.presentationml.slideLayout+xml"/>
  <Override PartName="/ppt/slideLayouts/slideLayout9869.xml" ContentType="application/vnd.openxmlformats-officedocument.presentationml.slideLayout+xml"/>
  <Override PartName="/ppt/slideLayouts/slideLayout9870.xml" ContentType="application/vnd.openxmlformats-officedocument.presentationml.slideLayout+xml"/>
  <Override PartName="/ppt/slideLayouts/slideLayout9871.xml" ContentType="application/vnd.openxmlformats-officedocument.presentationml.slideLayout+xml"/>
  <Override PartName="/ppt/slideLayouts/slideLayout9872.xml" ContentType="application/vnd.openxmlformats-officedocument.presentationml.slideLayout+xml"/>
  <Override PartName="/ppt/slideLayouts/slideLayout9873.xml" ContentType="application/vnd.openxmlformats-officedocument.presentationml.slideLayout+xml"/>
  <Override PartName="/ppt/slideLayouts/slideLayout9874.xml" ContentType="application/vnd.openxmlformats-officedocument.presentationml.slideLayout+xml"/>
  <Override PartName="/ppt/slideLayouts/slideLayout9875.xml" ContentType="application/vnd.openxmlformats-officedocument.presentationml.slideLayout+xml"/>
  <Override PartName="/ppt/slideLayouts/slideLayout9876.xml" ContentType="application/vnd.openxmlformats-officedocument.presentationml.slideLayout+xml"/>
  <Override PartName="/ppt/slideLayouts/slideLayout9877.xml" ContentType="application/vnd.openxmlformats-officedocument.presentationml.slideLayout+xml"/>
  <Override PartName="/ppt/slideLayouts/slideLayout9878.xml" ContentType="application/vnd.openxmlformats-officedocument.presentationml.slideLayout+xml"/>
  <Override PartName="/ppt/slideLayouts/slideLayout9879.xml" ContentType="application/vnd.openxmlformats-officedocument.presentationml.slideLayout+xml"/>
  <Override PartName="/ppt/slideLayouts/slideLayout9880.xml" ContentType="application/vnd.openxmlformats-officedocument.presentationml.slideLayout+xml"/>
  <Override PartName="/ppt/slideLayouts/slideLayout9881.xml" ContentType="application/vnd.openxmlformats-officedocument.presentationml.slideLayout+xml"/>
  <Override PartName="/ppt/slideLayouts/slideLayout9882.xml" ContentType="application/vnd.openxmlformats-officedocument.presentationml.slideLayout+xml"/>
  <Override PartName="/ppt/slideLayouts/slideLayout9883.xml" ContentType="application/vnd.openxmlformats-officedocument.presentationml.slideLayout+xml"/>
  <Override PartName="/ppt/slideLayouts/slideLayout9884.xml" ContentType="application/vnd.openxmlformats-officedocument.presentationml.slideLayout+xml"/>
  <Override PartName="/ppt/slideLayouts/slideLayout9885.xml" ContentType="application/vnd.openxmlformats-officedocument.presentationml.slideLayout+xml"/>
  <Override PartName="/ppt/slideLayouts/slideLayout9886.xml" ContentType="application/vnd.openxmlformats-officedocument.presentationml.slideLayout+xml"/>
  <Override PartName="/ppt/slideLayouts/slideLayout9887.xml" ContentType="application/vnd.openxmlformats-officedocument.presentationml.slideLayout+xml"/>
  <Override PartName="/ppt/slideLayouts/slideLayout9888.xml" ContentType="application/vnd.openxmlformats-officedocument.presentationml.slideLayout+xml"/>
  <Override PartName="/ppt/slideLayouts/slideLayout9889.xml" ContentType="application/vnd.openxmlformats-officedocument.presentationml.slideLayout+xml"/>
  <Override PartName="/ppt/slideLayouts/slideLayout9890.xml" ContentType="application/vnd.openxmlformats-officedocument.presentationml.slideLayout+xml"/>
  <Override PartName="/ppt/slideLayouts/slideLayout9891.xml" ContentType="application/vnd.openxmlformats-officedocument.presentationml.slideLayout+xml"/>
  <Override PartName="/ppt/slideLayouts/slideLayout9892.xml" ContentType="application/vnd.openxmlformats-officedocument.presentationml.slideLayout+xml"/>
  <Override PartName="/ppt/slideLayouts/slideLayout9893.xml" ContentType="application/vnd.openxmlformats-officedocument.presentationml.slideLayout+xml"/>
  <Override PartName="/ppt/slideLayouts/slideLayout9894.xml" ContentType="application/vnd.openxmlformats-officedocument.presentationml.slideLayout+xml"/>
  <Override PartName="/ppt/slideLayouts/slideLayout9895.xml" ContentType="application/vnd.openxmlformats-officedocument.presentationml.slideLayout+xml"/>
  <Override PartName="/ppt/slideLayouts/slideLayout9896.xml" ContentType="application/vnd.openxmlformats-officedocument.presentationml.slideLayout+xml"/>
  <Override PartName="/ppt/slideLayouts/slideLayout9897.xml" ContentType="application/vnd.openxmlformats-officedocument.presentationml.slideLayout+xml"/>
  <Override PartName="/ppt/slideLayouts/slideLayout9898.xml" ContentType="application/vnd.openxmlformats-officedocument.presentationml.slideLayout+xml"/>
  <Override PartName="/ppt/slideLayouts/slideLayout9899.xml" ContentType="application/vnd.openxmlformats-officedocument.presentationml.slideLayout+xml"/>
  <Override PartName="/ppt/slideLayouts/slideLayout9900.xml" ContentType="application/vnd.openxmlformats-officedocument.presentationml.slideLayout+xml"/>
  <Override PartName="/ppt/slideLayouts/slideLayout9901.xml" ContentType="application/vnd.openxmlformats-officedocument.presentationml.slideLayout+xml"/>
  <Override PartName="/ppt/slideLayouts/slideLayout9902.xml" ContentType="application/vnd.openxmlformats-officedocument.presentationml.slideLayout+xml"/>
  <Override PartName="/ppt/slideLayouts/slideLayout9903.xml" ContentType="application/vnd.openxmlformats-officedocument.presentationml.slideLayout+xml"/>
  <Override PartName="/ppt/slideLayouts/slideLayout9904.xml" ContentType="application/vnd.openxmlformats-officedocument.presentationml.slideLayout+xml"/>
  <Override PartName="/ppt/slideLayouts/slideLayout9905.xml" ContentType="application/vnd.openxmlformats-officedocument.presentationml.slideLayout+xml"/>
  <Override PartName="/ppt/slideLayouts/slideLayout9906.xml" ContentType="application/vnd.openxmlformats-officedocument.presentationml.slideLayout+xml"/>
  <Override PartName="/ppt/slideLayouts/slideLayout9907.xml" ContentType="application/vnd.openxmlformats-officedocument.presentationml.slideLayout+xml"/>
  <Override PartName="/ppt/slideLayouts/slideLayout9908.xml" ContentType="application/vnd.openxmlformats-officedocument.presentationml.slideLayout+xml"/>
  <Override PartName="/ppt/slideLayouts/slideLayout9909.xml" ContentType="application/vnd.openxmlformats-officedocument.presentationml.slideLayout+xml"/>
  <Override PartName="/ppt/slideLayouts/slideLayout9910.xml" ContentType="application/vnd.openxmlformats-officedocument.presentationml.slideLayout+xml"/>
  <Override PartName="/ppt/slideLayouts/slideLayout9911.xml" ContentType="application/vnd.openxmlformats-officedocument.presentationml.slideLayout+xml"/>
  <Override PartName="/ppt/slideLayouts/slideLayout9912.xml" ContentType="application/vnd.openxmlformats-officedocument.presentationml.slideLayout+xml"/>
  <Override PartName="/ppt/slideLayouts/slideLayout9913.xml" ContentType="application/vnd.openxmlformats-officedocument.presentationml.slideLayout+xml"/>
  <Override PartName="/ppt/slideLayouts/slideLayout9914.xml" ContentType="application/vnd.openxmlformats-officedocument.presentationml.slideLayout+xml"/>
  <Override PartName="/ppt/slideLayouts/slideLayout9915.xml" ContentType="application/vnd.openxmlformats-officedocument.presentationml.slideLayout+xml"/>
  <Override PartName="/ppt/slideLayouts/slideLayout9916.xml" ContentType="application/vnd.openxmlformats-officedocument.presentationml.slideLayout+xml"/>
  <Override PartName="/ppt/slideLayouts/slideLayout9917.xml" ContentType="application/vnd.openxmlformats-officedocument.presentationml.slideLayout+xml"/>
  <Override PartName="/ppt/slideLayouts/slideLayout9918.xml" ContentType="application/vnd.openxmlformats-officedocument.presentationml.slideLayout+xml"/>
  <Override PartName="/ppt/slideLayouts/slideLayout9919.xml" ContentType="application/vnd.openxmlformats-officedocument.presentationml.slideLayout+xml"/>
  <Override PartName="/ppt/slideLayouts/slideLayout9920.xml" ContentType="application/vnd.openxmlformats-officedocument.presentationml.slideLayout+xml"/>
  <Override PartName="/ppt/slideLayouts/slideLayout9921.xml" ContentType="application/vnd.openxmlformats-officedocument.presentationml.slideLayout+xml"/>
  <Override PartName="/ppt/slideLayouts/slideLayout9922.xml" ContentType="application/vnd.openxmlformats-officedocument.presentationml.slideLayout+xml"/>
  <Override PartName="/ppt/slideLayouts/slideLayout9923.xml" ContentType="application/vnd.openxmlformats-officedocument.presentationml.slideLayout+xml"/>
  <Override PartName="/ppt/slideLayouts/slideLayout9924.xml" ContentType="application/vnd.openxmlformats-officedocument.presentationml.slideLayout+xml"/>
  <Override PartName="/ppt/slideLayouts/slideLayout9925.xml" ContentType="application/vnd.openxmlformats-officedocument.presentationml.slideLayout+xml"/>
  <Override PartName="/ppt/slideLayouts/slideLayout9926.xml" ContentType="application/vnd.openxmlformats-officedocument.presentationml.slideLayout+xml"/>
  <Override PartName="/ppt/slideLayouts/slideLayout9927.xml" ContentType="application/vnd.openxmlformats-officedocument.presentationml.slideLayout+xml"/>
  <Override PartName="/ppt/slideLayouts/slideLayout9928.xml" ContentType="application/vnd.openxmlformats-officedocument.presentationml.slideLayout+xml"/>
  <Override PartName="/ppt/slideLayouts/slideLayout9929.xml" ContentType="application/vnd.openxmlformats-officedocument.presentationml.slideLayout+xml"/>
  <Override PartName="/ppt/slideLayouts/slideLayout9930.xml" ContentType="application/vnd.openxmlformats-officedocument.presentationml.slideLayout+xml"/>
  <Override PartName="/ppt/slideLayouts/slideLayout9931.xml" ContentType="application/vnd.openxmlformats-officedocument.presentationml.slideLayout+xml"/>
  <Override PartName="/ppt/slideLayouts/slideLayout9932.xml" ContentType="application/vnd.openxmlformats-officedocument.presentationml.slideLayout+xml"/>
  <Override PartName="/ppt/slideLayouts/slideLayout9933.xml" ContentType="application/vnd.openxmlformats-officedocument.presentationml.slideLayout+xml"/>
  <Override PartName="/ppt/slideLayouts/slideLayout9934.xml" ContentType="application/vnd.openxmlformats-officedocument.presentationml.slideLayout+xml"/>
  <Override PartName="/ppt/slideLayouts/slideLayout9935.xml" ContentType="application/vnd.openxmlformats-officedocument.presentationml.slideLayout+xml"/>
  <Override PartName="/ppt/slideLayouts/slideLayout9936.xml" ContentType="application/vnd.openxmlformats-officedocument.presentationml.slideLayout+xml"/>
  <Override PartName="/ppt/slideLayouts/slideLayout9937.xml" ContentType="application/vnd.openxmlformats-officedocument.presentationml.slideLayout+xml"/>
  <Override PartName="/ppt/slideLayouts/slideLayout9938.xml" ContentType="application/vnd.openxmlformats-officedocument.presentationml.slideLayout+xml"/>
  <Override PartName="/ppt/slideLayouts/slideLayout9939.xml" ContentType="application/vnd.openxmlformats-officedocument.presentationml.slideLayout+xml"/>
  <Override PartName="/ppt/slideLayouts/slideLayout9940.xml" ContentType="application/vnd.openxmlformats-officedocument.presentationml.slideLayout+xml"/>
  <Override PartName="/ppt/slideLayouts/slideLayout9941.xml" ContentType="application/vnd.openxmlformats-officedocument.presentationml.slideLayout+xml"/>
  <Override PartName="/ppt/slideLayouts/slideLayout9942.xml" ContentType="application/vnd.openxmlformats-officedocument.presentationml.slideLayout+xml"/>
  <Override PartName="/ppt/slideLayouts/slideLayout9943.xml" ContentType="application/vnd.openxmlformats-officedocument.presentationml.slideLayout+xml"/>
  <Override PartName="/ppt/slideLayouts/slideLayout9944.xml" ContentType="application/vnd.openxmlformats-officedocument.presentationml.slideLayout+xml"/>
  <Override PartName="/ppt/slideLayouts/slideLayout9945.xml" ContentType="application/vnd.openxmlformats-officedocument.presentationml.slideLayout+xml"/>
  <Override PartName="/ppt/slideLayouts/slideLayout9946.xml" ContentType="application/vnd.openxmlformats-officedocument.presentationml.slideLayout+xml"/>
  <Override PartName="/ppt/slideLayouts/slideLayout9947.xml" ContentType="application/vnd.openxmlformats-officedocument.presentationml.slideLayout+xml"/>
  <Override PartName="/ppt/slideLayouts/slideLayout9948.xml" ContentType="application/vnd.openxmlformats-officedocument.presentationml.slideLayout+xml"/>
  <Override PartName="/ppt/slideLayouts/slideLayout9949.xml" ContentType="application/vnd.openxmlformats-officedocument.presentationml.slideLayout+xml"/>
  <Override PartName="/ppt/slideLayouts/slideLayout9950.xml" ContentType="application/vnd.openxmlformats-officedocument.presentationml.slideLayout+xml"/>
  <Override PartName="/ppt/slideLayouts/slideLayout9951.xml" ContentType="application/vnd.openxmlformats-officedocument.presentationml.slideLayout+xml"/>
  <Override PartName="/ppt/slideLayouts/slideLayout9952.xml" ContentType="application/vnd.openxmlformats-officedocument.presentationml.slideLayout+xml"/>
  <Override PartName="/ppt/slideLayouts/slideLayout9953.xml" ContentType="application/vnd.openxmlformats-officedocument.presentationml.slideLayout+xml"/>
  <Override PartName="/ppt/slideLayouts/slideLayout9954.xml" ContentType="application/vnd.openxmlformats-officedocument.presentationml.slideLayout+xml"/>
  <Override PartName="/ppt/slideLayouts/slideLayout9955.xml" ContentType="application/vnd.openxmlformats-officedocument.presentationml.slideLayout+xml"/>
  <Override PartName="/ppt/slideLayouts/slideLayout9956.xml" ContentType="application/vnd.openxmlformats-officedocument.presentationml.slideLayout+xml"/>
  <Override PartName="/ppt/slideLayouts/slideLayout9957.xml" ContentType="application/vnd.openxmlformats-officedocument.presentationml.slideLayout+xml"/>
  <Override PartName="/ppt/slideLayouts/slideLayout9958.xml" ContentType="application/vnd.openxmlformats-officedocument.presentationml.slideLayout+xml"/>
  <Override PartName="/ppt/slideLayouts/slideLayout9959.xml" ContentType="application/vnd.openxmlformats-officedocument.presentationml.slideLayout+xml"/>
  <Override PartName="/ppt/slideLayouts/slideLayout9960.xml" ContentType="application/vnd.openxmlformats-officedocument.presentationml.slideLayout+xml"/>
  <Override PartName="/ppt/slideLayouts/slideLayout9961.xml" ContentType="application/vnd.openxmlformats-officedocument.presentationml.slideLayout+xml"/>
  <Override PartName="/ppt/slideLayouts/slideLayout9962.xml" ContentType="application/vnd.openxmlformats-officedocument.presentationml.slideLayout+xml"/>
  <Override PartName="/ppt/slideLayouts/slideLayout9963.xml" ContentType="application/vnd.openxmlformats-officedocument.presentationml.slideLayout+xml"/>
  <Override PartName="/ppt/slideLayouts/slideLayout9964.xml" ContentType="application/vnd.openxmlformats-officedocument.presentationml.slideLayout+xml"/>
  <Override PartName="/ppt/slideLayouts/slideLayout9965.xml" ContentType="application/vnd.openxmlformats-officedocument.presentationml.slideLayout+xml"/>
  <Override PartName="/ppt/slideLayouts/slideLayout9966.xml" ContentType="application/vnd.openxmlformats-officedocument.presentationml.slideLayout+xml"/>
  <Override PartName="/ppt/slideLayouts/slideLayout9967.xml" ContentType="application/vnd.openxmlformats-officedocument.presentationml.slideLayout+xml"/>
  <Override PartName="/ppt/slideLayouts/slideLayout9968.xml" ContentType="application/vnd.openxmlformats-officedocument.presentationml.slideLayout+xml"/>
  <Override PartName="/ppt/slideLayouts/slideLayout9969.xml" ContentType="application/vnd.openxmlformats-officedocument.presentationml.slideLayout+xml"/>
  <Override PartName="/ppt/slideLayouts/slideLayout9970.xml" ContentType="application/vnd.openxmlformats-officedocument.presentationml.slideLayout+xml"/>
  <Override PartName="/ppt/slideLayouts/slideLayout9971.xml" ContentType="application/vnd.openxmlformats-officedocument.presentationml.slideLayout+xml"/>
  <Override PartName="/ppt/slideLayouts/slideLayout9972.xml" ContentType="application/vnd.openxmlformats-officedocument.presentationml.slideLayout+xml"/>
  <Override PartName="/ppt/slideLayouts/slideLayout9973.xml" ContentType="application/vnd.openxmlformats-officedocument.presentationml.slideLayout+xml"/>
  <Override PartName="/ppt/slideLayouts/slideLayout9974.xml" ContentType="application/vnd.openxmlformats-officedocument.presentationml.slideLayout+xml"/>
  <Override PartName="/ppt/slideLayouts/slideLayout9975.xml" ContentType="application/vnd.openxmlformats-officedocument.presentationml.slideLayout+xml"/>
  <Override PartName="/ppt/slideLayouts/slideLayout9976.xml" ContentType="application/vnd.openxmlformats-officedocument.presentationml.slideLayout+xml"/>
  <Override PartName="/ppt/slideLayouts/slideLayout9977.xml" ContentType="application/vnd.openxmlformats-officedocument.presentationml.slideLayout+xml"/>
  <Override PartName="/ppt/slideLayouts/slideLayout9978.xml" ContentType="application/vnd.openxmlformats-officedocument.presentationml.slideLayout+xml"/>
  <Override PartName="/ppt/slideLayouts/slideLayout9979.xml" ContentType="application/vnd.openxmlformats-officedocument.presentationml.slideLayout+xml"/>
  <Override PartName="/ppt/slideLayouts/slideLayout9980.xml" ContentType="application/vnd.openxmlformats-officedocument.presentationml.slideLayout+xml"/>
  <Override PartName="/ppt/slideLayouts/slideLayout9981.xml" ContentType="application/vnd.openxmlformats-officedocument.presentationml.slideLayout+xml"/>
  <Override PartName="/ppt/slideLayouts/slideLayout9982.xml" ContentType="application/vnd.openxmlformats-officedocument.presentationml.slideLayout+xml"/>
  <Override PartName="/ppt/slideLayouts/slideLayout9983.xml" ContentType="application/vnd.openxmlformats-officedocument.presentationml.slideLayout+xml"/>
  <Override PartName="/ppt/slideLayouts/slideLayout9984.xml" ContentType="application/vnd.openxmlformats-officedocument.presentationml.slideLayout+xml"/>
  <Override PartName="/ppt/slideLayouts/slideLayout9985.xml" ContentType="application/vnd.openxmlformats-officedocument.presentationml.slideLayout+xml"/>
  <Override PartName="/ppt/slideLayouts/slideLayout9986.xml" ContentType="application/vnd.openxmlformats-officedocument.presentationml.slideLayout+xml"/>
  <Override PartName="/ppt/slideLayouts/slideLayout9987.xml" ContentType="application/vnd.openxmlformats-officedocument.presentationml.slideLayout+xml"/>
  <Override PartName="/ppt/slideLayouts/slideLayout9988.xml" ContentType="application/vnd.openxmlformats-officedocument.presentationml.slideLayout+xml"/>
  <Override PartName="/ppt/slideLayouts/slideLayout9989.xml" ContentType="application/vnd.openxmlformats-officedocument.presentationml.slideLayout+xml"/>
  <Override PartName="/ppt/slideLayouts/slideLayout9990.xml" ContentType="application/vnd.openxmlformats-officedocument.presentationml.slideLayout+xml"/>
  <Override PartName="/ppt/slideLayouts/slideLayout9991.xml" ContentType="application/vnd.openxmlformats-officedocument.presentationml.slideLayout+xml"/>
  <Override PartName="/ppt/slideLayouts/slideLayout9992.xml" ContentType="application/vnd.openxmlformats-officedocument.presentationml.slideLayout+xml"/>
  <Override PartName="/ppt/slideLayouts/slideLayout9993.xml" ContentType="application/vnd.openxmlformats-officedocument.presentationml.slideLayout+xml"/>
  <Override PartName="/ppt/slideLayouts/slideLayout9994.xml" ContentType="application/vnd.openxmlformats-officedocument.presentationml.slideLayout+xml"/>
  <Override PartName="/ppt/slideLayouts/slideLayout9995.xml" ContentType="application/vnd.openxmlformats-officedocument.presentationml.slideLayout+xml"/>
  <Override PartName="/ppt/slideLayouts/slideLayout9996.xml" ContentType="application/vnd.openxmlformats-officedocument.presentationml.slideLayout+xml"/>
  <Override PartName="/ppt/slideLayouts/slideLayout9997.xml" ContentType="application/vnd.openxmlformats-officedocument.presentationml.slideLayout+xml"/>
  <Override PartName="/ppt/slideLayouts/slideLayout9998.xml" ContentType="application/vnd.openxmlformats-officedocument.presentationml.slideLayout+xml"/>
  <Override PartName="/ppt/slideLayouts/slideLayout9999.xml" ContentType="application/vnd.openxmlformats-officedocument.presentationml.slideLayout+xml"/>
  <Override PartName="/ppt/slideLayouts/slideLayout10000.xml" ContentType="application/vnd.openxmlformats-officedocument.presentationml.slideLayout+xml"/>
  <Override PartName="/ppt/slideLayouts/slideLayout10001.xml" ContentType="application/vnd.openxmlformats-officedocument.presentationml.slideLayout+xml"/>
  <Override PartName="/ppt/slideLayouts/slideLayout10002.xml" ContentType="application/vnd.openxmlformats-officedocument.presentationml.slideLayout+xml"/>
  <Override PartName="/ppt/slideLayouts/slideLayout10003.xml" ContentType="application/vnd.openxmlformats-officedocument.presentationml.slideLayout+xml"/>
  <Override PartName="/ppt/slideLayouts/slideLayout10004.xml" ContentType="application/vnd.openxmlformats-officedocument.presentationml.slideLayout+xml"/>
  <Override PartName="/ppt/slideLayouts/slideLayout10005.xml" ContentType="application/vnd.openxmlformats-officedocument.presentationml.slideLayout+xml"/>
  <Override PartName="/ppt/slideLayouts/slideLayout10006.xml" ContentType="application/vnd.openxmlformats-officedocument.presentationml.slideLayout+xml"/>
  <Override PartName="/ppt/slideLayouts/slideLayout10007.xml" ContentType="application/vnd.openxmlformats-officedocument.presentationml.slideLayout+xml"/>
  <Override PartName="/ppt/slideLayouts/slideLayout10008.xml" ContentType="application/vnd.openxmlformats-officedocument.presentationml.slideLayout+xml"/>
  <Override PartName="/ppt/slideLayouts/slideLayout10009.xml" ContentType="application/vnd.openxmlformats-officedocument.presentationml.slideLayout+xml"/>
  <Override PartName="/ppt/slideLayouts/slideLayout10010.xml" ContentType="application/vnd.openxmlformats-officedocument.presentationml.slideLayout+xml"/>
  <Override PartName="/ppt/slideLayouts/slideLayout10011.xml" ContentType="application/vnd.openxmlformats-officedocument.presentationml.slideLayout+xml"/>
  <Override PartName="/ppt/slideLayouts/slideLayout10012.xml" ContentType="application/vnd.openxmlformats-officedocument.presentationml.slideLayout+xml"/>
  <Override PartName="/ppt/slideLayouts/slideLayout10013.xml" ContentType="application/vnd.openxmlformats-officedocument.presentationml.slideLayout+xml"/>
  <Override PartName="/ppt/slideLayouts/slideLayout10014.xml" ContentType="application/vnd.openxmlformats-officedocument.presentationml.slideLayout+xml"/>
  <Override PartName="/ppt/slideLayouts/slideLayout10015.xml" ContentType="application/vnd.openxmlformats-officedocument.presentationml.slideLayout+xml"/>
  <Override PartName="/ppt/slideLayouts/slideLayout10016.xml" ContentType="application/vnd.openxmlformats-officedocument.presentationml.slideLayout+xml"/>
  <Override PartName="/ppt/slideLayouts/slideLayout10017.xml" ContentType="application/vnd.openxmlformats-officedocument.presentationml.slideLayout+xml"/>
  <Override PartName="/ppt/slideLayouts/slideLayout10018.xml" ContentType="application/vnd.openxmlformats-officedocument.presentationml.slideLayout+xml"/>
  <Override PartName="/ppt/slideLayouts/slideLayout10019.xml" ContentType="application/vnd.openxmlformats-officedocument.presentationml.slideLayout+xml"/>
  <Override PartName="/ppt/slideLayouts/slideLayout10020.xml" ContentType="application/vnd.openxmlformats-officedocument.presentationml.slideLayout+xml"/>
  <Override PartName="/ppt/slideLayouts/slideLayout10021.xml" ContentType="application/vnd.openxmlformats-officedocument.presentationml.slideLayout+xml"/>
  <Override PartName="/ppt/slideLayouts/slideLayout10022.xml" ContentType="application/vnd.openxmlformats-officedocument.presentationml.slideLayout+xml"/>
  <Override PartName="/ppt/slideLayouts/slideLayout10023.xml" ContentType="application/vnd.openxmlformats-officedocument.presentationml.slideLayout+xml"/>
  <Override PartName="/ppt/slideLayouts/slideLayout10024.xml" ContentType="application/vnd.openxmlformats-officedocument.presentationml.slideLayout+xml"/>
  <Override PartName="/ppt/slideLayouts/slideLayout10025.xml" ContentType="application/vnd.openxmlformats-officedocument.presentationml.slideLayout+xml"/>
  <Override PartName="/ppt/slideLayouts/slideLayout10026.xml" ContentType="application/vnd.openxmlformats-officedocument.presentationml.slideLayout+xml"/>
  <Override PartName="/ppt/slideLayouts/slideLayout10027.xml" ContentType="application/vnd.openxmlformats-officedocument.presentationml.slideLayout+xml"/>
  <Override PartName="/ppt/slideLayouts/slideLayout10028.xml" ContentType="application/vnd.openxmlformats-officedocument.presentationml.slideLayout+xml"/>
  <Override PartName="/ppt/slideLayouts/slideLayout10029.xml" ContentType="application/vnd.openxmlformats-officedocument.presentationml.slideLayout+xml"/>
  <Override PartName="/ppt/slideLayouts/slideLayout10030.xml" ContentType="application/vnd.openxmlformats-officedocument.presentationml.slideLayout+xml"/>
  <Override PartName="/ppt/slideLayouts/slideLayout10031.xml" ContentType="application/vnd.openxmlformats-officedocument.presentationml.slideLayout+xml"/>
  <Override PartName="/ppt/slideLayouts/slideLayout10032.xml" ContentType="application/vnd.openxmlformats-officedocument.presentationml.slideLayout+xml"/>
  <Override PartName="/ppt/slideLayouts/slideLayout10033.xml" ContentType="application/vnd.openxmlformats-officedocument.presentationml.slideLayout+xml"/>
  <Override PartName="/ppt/slideLayouts/slideLayout10034.xml" ContentType="application/vnd.openxmlformats-officedocument.presentationml.slideLayout+xml"/>
  <Override PartName="/ppt/slideLayouts/slideLayout10035.xml" ContentType="application/vnd.openxmlformats-officedocument.presentationml.slideLayout+xml"/>
  <Override PartName="/ppt/slideLayouts/slideLayout10036.xml" ContentType="application/vnd.openxmlformats-officedocument.presentationml.slideLayout+xml"/>
  <Override PartName="/ppt/slideLayouts/slideLayout10037.xml" ContentType="application/vnd.openxmlformats-officedocument.presentationml.slideLayout+xml"/>
  <Override PartName="/ppt/slideLayouts/slideLayout10038.xml" ContentType="application/vnd.openxmlformats-officedocument.presentationml.slideLayout+xml"/>
  <Override PartName="/ppt/slideLayouts/slideLayout10039.xml" ContentType="application/vnd.openxmlformats-officedocument.presentationml.slideLayout+xml"/>
  <Override PartName="/ppt/slideLayouts/slideLayout10040.xml" ContentType="application/vnd.openxmlformats-officedocument.presentationml.slideLayout+xml"/>
  <Override PartName="/ppt/slideLayouts/slideLayout10041.xml" ContentType="application/vnd.openxmlformats-officedocument.presentationml.slideLayout+xml"/>
  <Override PartName="/ppt/slideLayouts/slideLayout10042.xml" ContentType="application/vnd.openxmlformats-officedocument.presentationml.slideLayout+xml"/>
  <Override PartName="/ppt/slideLayouts/slideLayout10043.xml" ContentType="application/vnd.openxmlformats-officedocument.presentationml.slideLayout+xml"/>
  <Override PartName="/ppt/slideLayouts/slideLayout10044.xml" ContentType="application/vnd.openxmlformats-officedocument.presentationml.slideLayout+xml"/>
  <Override PartName="/ppt/slideLayouts/slideLayout10045.xml" ContentType="application/vnd.openxmlformats-officedocument.presentationml.slideLayout+xml"/>
  <Override PartName="/ppt/slideLayouts/slideLayout10046.xml" ContentType="application/vnd.openxmlformats-officedocument.presentationml.slideLayout+xml"/>
  <Override PartName="/ppt/slideLayouts/slideLayout10047.xml" ContentType="application/vnd.openxmlformats-officedocument.presentationml.slideLayout+xml"/>
  <Override PartName="/ppt/slideLayouts/slideLayout10048.xml" ContentType="application/vnd.openxmlformats-officedocument.presentationml.slideLayout+xml"/>
  <Override PartName="/ppt/slideLayouts/slideLayout10049.xml" ContentType="application/vnd.openxmlformats-officedocument.presentationml.slideLayout+xml"/>
  <Override PartName="/ppt/slideLayouts/slideLayout10050.xml" ContentType="application/vnd.openxmlformats-officedocument.presentationml.slideLayout+xml"/>
  <Override PartName="/ppt/slideLayouts/slideLayout10051.xml" ContentType="application/vnd.openxmlformats-officedocument.presentationml.slideLayout+xml"/>
  <Override PartName="/ppt/slideLayouts/slideLayout10052.xml" ContentType="application/vnd.openxmlformats-officedocument.presentationml.slideLayout+xml"/>
  <Override PartName="/ppt/slideLayouts/slideLayout10053.xml" ContentType="application/vnd.openxmlformats-officedocument.presentationml.slideLayout+xml"/>
  <Override PartName="/ppt/slideLayouts/slideLayout10054.xml" ContentType="application/vnd.openxmlformats-officedocument.presentationml.slideLayout+xml"/>
  <Override PartName="/ppt/slideLayouts/slideLayout10055.xml" ContentType="application/vnd.openxmlformats-officedocument.presentationml.slideLayout+xml"/>
  <Override PartName="/ppt/slideLayouts/slideLayout10056.xml" ContentType="application/vnd.openxmlformats-officedocument.presentationml.slideLayout+xml"/>
  <Override PartName="/ppt/slideLayouts/slideLayout10057.xml" ContentType="application/vnd.openxmlformats-officedocument.presentationml.slideLayout+xml"/>
  <Override PartName="/ppt/slideLayouts/slideLayout10058.xml" ContentType="application/vnd.openxmlformats-officedocument.presentationml.slideLayout+xml"/>
  <Override PartName="/ppt/slideLayouts/slideLayout10059.xml" ContentType="application/vnd.openxmlformats-officedocument.presentationml.slideLayout+xml"/>
  <Override PartName="/ppt/slideLayouts/slideLayout10060.xml" ContentType="application/vnd.openxmlformats-officedocument.presentationml.slideLayout+xml"/>
  <Override PartName="/ppt/slideLayouts/slideLayout10061.xml" ContentType="application/vnd.openxmlformats-officedocument.presentationml.slideLayout+xml"/>
  <Override PartName="/ppt/slideLayouts/slideLayout10062.xml" ContentType="application/vnd.openxmlformats-officedocument.presentationml.slideLayout+xml"/>
  <Override PartName="/ppt/slideLayouts/slideLayout10063.xml" ContentType="application/vnd.openxmlformats-officedocument.presentationml.slideLayout+xml"/>
  <Override PartName="/ppt/slideLayouts/slideLayout10064.xml" ContentType="application/vnd.openxmlformats-officedocument.presentationml.slideLayout+xml"/>
  <Override PartName="/ppt/slideLayouts/slideLayout10065.xml" ContentType="application/vnd.openxmlformats-officedocument.presentationml.slideLayout+xml"/>
  <Override PartName="/ppt/slideLayouts/slideLayout10066.xml" ContentType="application/vnd.openxmlformats-officedocument.presentationml.slideLayout+xml"/>
  <Override PartName="/ppt/slideLayouts/slideLayout10067.xml" ContentType="application/vnd.openxmlformats-officedocument.presentationml.slideLayout+xml"/>
  <Override PartName="/ppt/slideLayouts/slideLayout10068.xml" ContentType="application/vnd.openxmlformats-officedocument.presentationml.slideLayout+xml"/>
  <Override PartName="/ppt/slideLayouts/slideLayout10069.xml" ContentType="application/vnd.openxmlformats-officedocument.presentationml.slideLayout+xml"/>
  <Override PartName="/ppt/slideLayouts/slideLayout10070.xml" ContentType="application/vnd.openxmlformats-officedocument.presentationml.slideLayout+xml"/>
  <Override PartName="/ppt/slideLayouts/slideLayout10071.xml" ContentType="application/vnd.openxmlformats-officedocument.presentationml.slideLayout+xml"/>
  <Override PartName="/ppt/slideLayouts/slideLayout10072.xml" ContentType="application/vnd.openxmlformats-officedocument.presentationml.slideLayout+xml"/>
  <Override PartName="/ppt/slideLayouts/slideLayout10073.xml" ContentType="application/vnd.openxmlformats-officedocument.presentationml.slideLayout+xml"/>
  <Override PartName="/ppt/slideLayouts/slideLayout10074.xml" ContentType="application/vnd.openxmlformats-officedocument.presentationml.slideLayout+xml"/>
  <Override PartName="/ppt/slideLayouts/slideLayout10075.xml" ContentType="application/vnd.openxmlformats-officedocument.presentationml.slideLayout+xml"/>
  <Override PartName="/ppt/slideLayouts/slideLayout10076.xml" ContentType="application/vnd.openxmlformats-officedocument.presentationml.slideLayout+xml"/>
  <Override PartName="/ppt/slideLayouts/slideLayout10077.xml" ContentType="application/vnd.openxmlformats-officedocument.presentationml.slideLayout+xml"/>
  <Override PartName="/ppt/slideLayouts/slideLayout10078.xml" ContentType="application/vnd.openxmlformats-officedocument.presentationml.slideLayout+xml"/>
  <Override PartName="/ppt/slideLayouts/slideLayout10079.xml" ContentType="application/vnd.openxmlformats-officedocument.presentationml.slideLayout+xml"/>
  <Override PartName="/ppt/slideLayouts/slideLayout10080.xml" ContentType="application/vnd.openxmlformats-officedocument.presentationml.slideLayout+xml"/>
  <Override PartName="/ppt/slideLayouts/slideLayout10081.xml" ContentType="application/vnd.openxmlformats-officedocument.presentationml.slideLayout+xml"/>
  <Override PartName="/ppt/slideLayouts/slideLayout10082.xml" ContentType="application/vnd.openxmlformats-officedocument.presentationml.slideLayout+xml"/>
  <Override PartName="/ppt/slideLayouts/slideLayout10083.xml" ContentType="application/vnd.openxmlformats-officedocument.presentationml.slideLayout+xml"/>
  <Override PartName="/ppt/slideLayouts/slideLayout10084.xml" ContentType="application/vnd.openxmlformats-officedocument.presentationml.slideLayout+xml"/>
  <Override PartName="/ppt/slideLayouts/slideLayout10085.xml" ContentType="application/vnd.openxmlformats-officedocument.presentationml.slideLayout+xml"/>
  <Override PartName="/ppt/slideLayouts/slideLayout10086.xml" ContentType="application/vnd.openxmlformats-officedocument.presentationml.slideLayout+xml"/>
  <Override PartName="/ppt/slideLayouts/slideLayout10087.xml" ContentType="application/vnd.openxmlformats-officedocument.presentationml.slideLayout+xml"/>
  <Override PartName="/ppt/slideLayouts/slideLayout10088.xml" ContentType="application/vnd.openxmlformats-officedocument.presentationml.slideLayout+xml"/>
  <Override PartName="/ppt/slideLayouts/slideLayout10089.xml" ContentType="application/vnd.openxmlformats-officedocument.presentationml.slideLayout+xml"/>
  <Override PartName="/ppt/slideLayouts/slideLayout10090.xml" ContentType="application/vnd.openxmlformats-officedocument.presentationml.slideLayout+xml"/>
  <Override PartName="/ppt/slideLayouts/slideLayout10091.xml" ContentType="application/vnd.openxmlformats-officedocument.presentationml.slideLayout+xml"/>
  <Override PartName="/ppt/slideLayouts/slideLayout10092.xml" ContentType="application/vnd.openxmlformats-officedocument.presentationml.slideLayout+xml"/>
  <Override PartName="/ppt/slideLayouts/slideLayout10093.xml" ContentType="application/vnd.openxmlformats-officedocument.presentationml.slideLayout+xml"/>
  <Override PartName="/ppt/slideLayouts/slideLayout10094.xml" ContentType="application/vnd.openxmlformats-officedocument.presentationml.slideLayout+xml"/>
  <Override PartName="/ppt/slideLayouts/slideLayout10095.xml" ContentType="application/vnd.openxmlformats-officedocument.presentationml.slideLayout+xml"/>
  <Override PartName="/ppt/slideLayouts/slideLayout10096.xml" ContentType="application/vnd.openxmlformats-officedocument.presentationml.slideLayout+xml"/>
  <Override PartName="/ppt/slideLayouts/slideLayout10097.xml" ContentType="application/vnd.openxmlformats-officedocument.presentationml.slideLayout+xml"/>
  <Override PartName="/ppt/slideLayouts/slideLayout10098.xml" ContentType="application/vnd.openxmlformats-officedocument.presentationml.slideLayout+xml"/>
  <Override PartName="/ppt/slideLayouts/slideLayout10099.xml" ContentType="application/vnd.openxmlformats-officedocument.presentationml.slideLayout+xml"/>
  <Override PartName="/ppt/slideLayouts/slideLayout10100.xml" ContentType="application/vnd.openxmlformats-officedocument.presentationml.slideLayout+xml"/>
  <Override PartName="/ppt/slideLayouts/slideLayout10101.xml" ContentType="application/vnd.openxmlformats-officedocument.presentationml.slideLayout+xml"/>
  <Override PartName="/ppt/slideLayouts/slideLayout10102.xml" ContentType="application/vnd.openxmlformats-officedocument.presentationml.slideLayout+xml"/>
  <Override PartName="/ppt/slideLayouts/slideLayout10103.xml" ContentType="application/vnd.openxmlformats-officedocument.presentationml.slideLayout+xml"/>
  <Override PartName="/ppt/slideLayouts/slideLayout10104.xml" ContentType="application/vnd.openxmlformats-officedocument.presentationml.slideLayout+xml"/>
  <Override PartName="/ppt/slideLayouts/slideLayout10105.xml" ContentType="application/vnd.openxmlformats-officedocument.presentationml.slideLayout+xml"/>
  <Override PartName="/ppt/slideLayouts/slideLayout10106.xml" ContentType="application/vnd.openxmlformats-officedocument.presentationml.slideLayout+xml"/>
  <Override PartName="/ppt/slideLayouts/slideLayout10107.xml" ContentType="application/vnd.openxmlformats-officedocument.presentationml.slideLayout+xml"/>
  <Override PartName="/ppt/slideLayouts/slideLayout10108.xml" ContentType="application/vnd.openxmlformats-officedocument.presentationml.slideLayout+xml"/>
  <Override PartName="/ppt/slideLayouts/slideLayout10109.xml" ContentType="application/vnd.openxmlformats-officedocument.presentationml.slideLayout+xml"/>
  <Override PartName="/ppt/slideLayouts/slideLayout10110.xml" ContentType="application/vnd.openxmlformats-officedocument.presentationml.slideLayout+xml"/>
  <Override PartName="/ppt/slideLayouts/slideLayout10111.xml" ContentType="application/vnd.openxmlformats-officedocument.presentationml.slideLayout+xml"/>
  <Override PartName="/ppt/slideLayouts/slideLayout10112.xml" ContentType="application/vnd.openxmlformats-officedocument.presentationml.slideLayout+xml"/>
  <Override PartName="/ppt/slideLayouts/slideLayout10113.xml" ContentType="application/vnd.openxmlformats-officedocument.presentationml.slideLayout+xml"/>
  <Override PartName="/ppt/slideLayouts/slideLayout10114.xml" ContentType="application/vnd.openxmlformats-officedocument.presentationml.slideLayout+xml"/>
  <Override PartName="/ppt/slideLayouts/slideLayout10115.xml" ContentType="application/vnd.openxmlformats-officedocument.presentationml.slideLayout+xml"/>
  <Override PartName="/ppt/slideLayouts/slideLayout10116.xml" ContentType="application/vnd.openxmlformats-officedocument.presentationml.slideLayout+xml"/>
  <Override PartName="/ppt/slideLayouts/slideLayout10117.xml" ContentType="application/vnd.openxmlformats-officedocument.presentationml.slideLayout+xml"/>
  <Override PartName="/ppt/slideLayouts/slideLayout10118.xml" ContentType="application/vnd.openxmlformats-officedocument.presentationml.slideLayout+xml"/>
  <Override PartName="/ppt/slideLayouts/slideLayout10119.xml" ContentType="application/vnd.openxmlformats-officedocument.presentationml.slideLayout+xml"/>
  <Override PartName="/ppt/slideLayouts/slideLayout10120.xml" ContentType="application/vnd.openxmlformats-officedocument.presentationml.slideLayout+xml"/>
  <Override PartName="/ppt/slideLayouts/slideLayout10121.xml" ContentType="application/vnd.openxmlformats-officedocument.presentationml.slideLayout+xml"/>
  <Override PartName="/ppt/slideLayouts/slideLayout10122.xml" ContentType="application/vnd.openxmlformats-officedocument.presentationml.slideLayout+xml"/>
  <Override PartName="/ppt/slideLayouts/slideLayout10123.xml" ContentType="application/vnd.openxmlformats-officedocument.presentationml.slideLayout+xml"/>
  <Override PartName="/ppt/slideLayouts/slideLayout10124.xml" ContentType="application/vnd.openxmlformats-officedocument.presentationml.slideLayout+xml"/>
  <Override PartName="/ppt/slideLayouts/slideLayout10125.xml" ContentType="application/vnd.openxmlformats-officedocument.presentationml.slideLayout+xml"/>
  <Override PartName="/ppt/slideLayouts/slideLayout10126.xml" ContentType="application/vnd.openxmlformats-officedocument.presentationml.slideLayout+xml"/>
  <Override PartName="/ppt/slideLayouts/slideLayout10127.xml" ContentType="application/vnd.openxmlformats-officedocument.presentationml.slideLayout+xml"/>
  <Override PartName="/ppt/slideLayouts/slideLayout10128.xml" ContentType="application/vnd.openxmlformats-officedocument.presentationml.slideLayout+xml"/>
  <Override PartName="/ppt/slideLayouts/slideLayout10129.xml" ContentType="application/vnd.openxmlformats-officedocument.presentationml.slideLayout+xml"/>
  <Override PartName="/ppt/slideLayouts/slideLayout10130.xml" ContentType="application/vnd.openxmlformats-officedocument.presentationml.slideLayout+xml"/>
  <Override PartName="/ppt/slideLayouts/slideLayout10131.xml" ContentType="application/vnd.openxmlformats-officedocument.presentationml.slideLayout+xml"/>
  <Override PartName="/ppt/slideLayouts/slideLayout10132.xml" ContentType="application/vnd.openxmlformats-officedocument.presentationml.slideLayout+xml"/>
  <Override PartName="/ppt/slideLayouts/slideLayout10133.xml" ContentType="application/vnd.openxmlformats-officedocument.presentationml.slideLayout+xml"/>
  <Override PartName="/ppt/slideLayouts/slideLayout10134.xml" ContentType="application/vnd.openxmlformats-officedocument.presentationml.slideLayout+xml"/>
  <Override PartName="/ppt/slideLayouts/slideLayout10135.xml" ContentType="application/vnd.openxmlformats-officedocument.presentationml.slideLayout+xml"/>
  <Override PartName="/ppt/slideLayouts/slideLayout10136.xml" ContentType="application/vnd.openxmlformats-officedocument.presentationml.slideLayout+xml"/>
  <Override PartName="/ppt/slideLayouts/slideLayout10137.xml" ContentType="application/vnd.openxmlformats-officedocument.presentationml.slideLayout+xml"/>
  <Override PartName="/ppt/slideLayouts/slideLayout10138.xml" ContentType="application/vnd.openxmlformats-officedocument.presentationml.slideLayout+xml"/>
  <Override PartName="/ppt/slideLayouts/slideLayout10139.xml" ContentType="application/vnd.openxmlformats-officedocument.presentationml.slideLayout+xml"/>
  <Override PartName="/ppt/slideLayouts/slideLayout10140.xml" ContentType="application/vnd.openxmlformats-officedocument.presentationml.slideLayout+xml"/>
  <Override PartName="/ppt/slideLayouts/slideLayout10141.xml" ContentType="application/vnd.openxmlformats-officedocument.presentationml.slideLayout+xml"/>
  <Override PartName="/ppt/slideLayouts/slideLayout10142.xml" ContentType="application/vnd.openxmlformats-officedocument.presentationml.slideLayout+xml"/>
  <Override PartName="/ppt/slideLayouts/slideLayout10143.xml" ContentType="application/vnd.openxmlformats-officedocument.presentationml.slideLayout+xml"/>
  <Override PartName="/ppt/slideLayouts/slideLayout10144.xml" ContentType="application/vnd.openxmlformats-officedocument.presentationml.slideLayout+xml"/>
  <Override PartName="/ppt/slideLayouts/slideLayout10145.xml" ContentType="application/vnd.openxmlformats-officedocument.presentationml.slideLayout+xml"/>
  <Override PartName="/ppt/slideLayouts/slideLayout10146.xml" ContentType="application/vnd.openxmlformats-officedocument.presentationml.slideLayout+xml"/>
  <Override PartName="/ppt/slideLayouts/slideLayout10147.xml" ContentType="application/vnd.openxmlformats-officedocument.presentationml.slideLayout+xml"/>
  <Override PartName="/ppt/slideLayouts/slideLayout10148.xml" ContentType="application/vnd.openxmlformats-officedocument.presentationml.slideLayout+xml"/>
  <Override PartName="/ppt/slideLayouts/slideLayout10149.xml" ContentType="application/vnd.openxmlformats-officedocument.presentationml.slideLayout+xml"/>
  <Override PartName="/ppt/slideLayouts/slideLayout10150.xml" ContentType="application/vnd.openxmlformats-officedocument.presentationml.slideLayout+xml"/>
  <Override PartName="/ppt/slideLayouts/slideLayout10151.xml" ContentType="application/vnd.openxmlformats-officedocument.presentationml.slideLayout+xml"/>
  <Override PartName="/ppt/slideLayouts/slideLayout10152.xml" ContentType="application/vnd.openxmlformats-officedocument.presentationml.slideLayout+xml"/>
  <Override PartName="/ppt/slideLayouts/slideLayout10153.xml" ContentType="application/vnd.openxmlformats-officedocument.presentationml.slideLayout+xml"/>
  <Override PartName="/ppt/slideLayouts/slideLayout10154.xml" ContentType="application/vnd.openxmlformats-officedocument.presentationml.slideLayout+xml"/>
  <Override PartName="/ppt/slideLayouts/slideLayout10155.xml" ContentType="application/vnd.openxmlformats-officedocument.presentationml.slideLayout+xml"/>
  <Override PartName="/ppt/slideLayouts/slideLayout10156.xml" ContentType="application/vnd.openxmlformats-officedocument.presentationml.slideLayout+xml"/>
  <Override PartName="/ppt/slideLayouts/slideLayout10157.xml" ContentType="application/vnd.openxmlformats-officedocument.presentationml.slideLayout+xml"/>
  <Override PartName="/ppt/slideLayouts/slideLayout10158.xml" ContentType="application/vnd.openxmlformats-officedocument.presentationml.slideLayout+xml"/>
  <Override PartName="/ppt/slideLayouts/slideLayout10159.xml" ContentType="application/vnd.openxmlformats-officedocument.presentationml.slideLayout+xml"/>
  <Override PartName="/ppt/slideLayouts/slideLayout10160.xml" ContentType="application/vnd.openxmlformats-officedocument.presentationml.slideLayout+xml"/>
  <Override PartName="/ppt/slideLayouts/slideLayout10161.xml" ContentType="application/vnd.openxmlformats-officedocument.presentationml.slideLayout+xml"/>
  <Override PartName="/ppt/slideLayouts/slideLayout10162.xml" ContentType="application/vnd.openxmlformats-officedocument.presentationml.slideLayout+xml"/>
  <Override PartName="/ppt/slideLayouts/slideLayout10163.xml" ContentType="application/vnd.openxmlformats-officedocument.presentationml.slideLayout+xml"/>
  <Override PartName="/ppt/slideLayouts/slideLayout10164.xml" ContentType="application/vnd.openxmlformats-officedocument.presentationml.slideLayout+xml"/>
  <Override PartName="/ppt/slideLayouts/slideLayout10165.xml" ContentType="application/vnd.openxmlformats-officedocument.presentationml.slideLayout+xml"/>
  <Override PartName="/ppt/slideLayouts/slideLayout10166.xml" ContentType="application/vnd.openxmlformats-officedocument.presentationml.slideLayout+xml"/>
  <Override PartName="/ppt/slideLayouts/slideLayout10167.xml" ContentType="application/vnd.openxmlformats-officedocument.presentationml.slideLayout+xml"/>
  <Override PartName="/ppt/slideLayouts/slideLayout10168.xml" ContentType="application/vnd.openxmlformats-officedocument.presentationml.slideLayout+xml"/>
  <Override PartName="/ppt/slideLayouts/slideLayout10169.xml" ContentType="application/vnd.openxmlformats-officedocument.presentationml.slideLayout+xml"/>
  <Override PartName="/ppt/slideLayouts/slideLayout10170.xml" ContentType="application/vnd.openxmlformats-officedocument.presentationml.slideLayout+xml"/>
  <Override PartName="/ppt/slideLayouts/slideLayout10171.xml" ContentType="application/vnd.openxmlformats-officedocument.presentationml.slideLayout+xml"/>
  <Override PartName="/ppt/slideLayouts/slideLayout10172.xml" ContentType="application/vnd.openxmlformats-officedocument.presentationml.slideLayout+xml"/>
  <Override PartName="/ppt/slideLayouts/slideLayout10173.xml" ContentType="application/vnd.openxmlformats-officedocument.presentationml.slideLayout+xml"/>
  <Override PartName="/ppt/slideLayouts/slideLayout10174.xml" ContentType="application/vnd.openxmlformats-officedocument.presentationml.slideLayout+xml"/>
  <Override PartName="/ppt/slideLayouts/slideLayout10175.xml" ContentType="application/vnd.openxmlformats-officedocument.presentationml.slideLayout+xml"/>
  <Override PartName="/ppt/slideLayouts/slideLayout10176.xml" ContentType="application/vnd.openxmlformats-officedocument.presentationml.slideLayout+xml"/>
  <Override PartName="/ppt/slideLayouts/slideLayout10177.xml" ContentType="application/vnd.openxmlformats-officedocument.presentationml.slideLayout+xml"/>
  <Override PartName="/ppt/slideLayouts/slideLayout10178.xml" ContentType="application/vnd.openxmlformats-officedocument.presentationml.slideLayout+xml"/>
  <Override PartName="/ppt/slideLayouts/slideLayout10179.xml" ContentType="application/vnd.openxmlformats-officedocument.presentationml.slideLayout+xml"/>
  <Override PartName="/ppt/slideLayouts/slideLayout10180.xml" ContentType="application/vnd.openxmlformats-officedocument.presentationml.slideLayout+xml"/>
  <Override PartName="/ppt/slideLayouts/slideLayout10181.xml" ContentType="application/vnd.openxmlformats-officedocument.presentationml.slideLayout+xml"/>
  <Override PartName="/ppt/slideLayouts/slideLayout10182.xml" ContentType="application/vnd.openxmlformats-officedocument.presentationml.slideLayout+xml"/>
  <Override PartName="/ppt/slideLayouts/slideLayout10183.xml" ContentType="application/vnd.openxmlformats-officedocument.presentationml.slideLayout+xml"/>
  <Override PartName="/ppt/slideLayouts/slideLayout10184.xml" ContentType="application/vnd.openxmlformats-officedocument.presentationml.slideLayout+xml"/>
  <Override PartName="/ppt/slideLayouts/slideLayout10185.xml" ContentType="application/vnd.openxmlformats-officedocument.presentationml.slideLayout+xml"/>
  <Override PartName="/ppt/slideLayouts/slideLayout10186.xml" ContentType="application/vnd.openxmlformats-officedocument.presentationml.slideLayout+xml"/>
  <Override PartName="/ppt/slideLayouts/slideLayout10187.xml" ContentType="application/vnd.openxmlformats-officedocument.presentationml.slideLayout+xml"/>
  <Override PartName="/ppt/slideLayouts/slideLayout10188.xml" ContentType="application/vnd.openxmlformats-officedocument.presentationml.slideLayout+xml"/>
  <Override PartName="/ppt/slideLayouts/slideLayout10189.xml" ContentType="application/vnd.openxmlformats-officedocument.presentationml.slideLayout+xml"/>
  <Override PartName="/ppt/slideLayouts/slideLayout10190.xml" ContentType="application/vnd.openxmlformats-officedocument.presentationml.slideLayout+xml"/>
  <Override PartName="/ppt/slideLayouts/slideLayout10191.xml" ContentType="application/vnd.openxmlformats-officedocument.presentationml.slideLayout+xml"/>
  <Override PartName="/ppt/slideLayouts/slideLayout10192.xml" ContentType="application/vnd.openxmlformats-officedocument.presentationml.slideLayout+xml"/>
  <Override PartName="/ppt/slideLayouts/slideLayout10193.xml" ContentType="application/vnd.openxmlformats-officedocument.presentationml.slideLayout+xml"/>
  <Override PartName="/ppt/slideLayouts/slideLayout10194.xml" ContentType="application/vnd.openxmlformats-officedocument.presentationml.slideLayout+xml"/>
  <Override PartName="/ppt/slideLayouts/slideLayout10195.xml" ContentType="application/vnd.openxmlformats-officedocument.presentationml.slideLayout+xml"/>
  <Override PartName="/ppt/slideLayouts/slideLayout10196.xml" ContentType="application/vnd.openxmlformats-officedocument.presentationml.slideLayout+xml"/>
  <Override PartName="/ppt/slideLayouts/slideLayout10197.xml" ContentType="application/vnd.openxmlformats-officedocument.presentationml.slideLayout+xml"/>
  <Override PartName="/ppt/slideLayouts/slideLayout10198.xml" ContentType="application/vnd.openxmlformats-officedocument.presentationml.slideLayout+xml"/>
  <Override PartName="/ppt/slideLayouts/slideLayout10199.xml" ContentType="application/vnd.openxmlformats-officedocument.presentationml.slideLayout+xml"/>
  <Override PartName="/ppt/slideLayouts/slideLayout10200.xml" ContentType="application/vnd.openxmlformats-officedocument.presentationml.slideLayout+xml"/>
  <Override PartName="/ppt/slideLayouts/slideLayout10201.xml" ContentType="application/vnd.openxmlformats-officedocument.presentationml.slideLayout+xml"/>
  <Override PartName="/ppt/slideLayouts/slideLayout10202.xml" ContentType="application/vnd.openxmlformats-officedocument.presentationml.slideLayout+xml"/>
  <Override PartName="/ppt/slideLayouts/slideLayout10203.xml" ContentType="application/vnd.openxmlformats-officedocument.presentationml.slideLayout+xml"/>
  <Override PartName="/ppt/slideLayouts/slideLayout10204.xml" ContentType="application/vnd.openxmlformats-officedocument.presentationml.slideLayout+xml"/>
  <Override PartName="/ppt/slideLayouts/slideLayout10205.xml" ContentType="application/vnd.openxmlformats-officedocument.presentationml.slideLayout+xml"/>
  <Override PartName="/ppt/slideLayouts/slideLayout10206.xml" ContentType="application/vnd.openxmlformats-officedocument.presentationml.slideLayout+xml"/>
  <Override PartName="/ppt/slideLayouts/slideLayout10207.xml" ContentType="application/vnd.openxmlformats-officedocument.presentationml.slideLayout+xml"/>
  <Override PartName="/ppt/slideLayouts/slideLayout10208.xml" ContentType="application/vnd.openxmlformats-officedocument.presentationml.slideLayout+xml"/>
  <Override PartName="/ppt/slideLayouts/slideLayout10209.xml" ContentType="application/vnd.openxmlformats-officedocument.presentationml.slideLayout+xml"/>
  <Override PartName="/ppt/slideLayouts/slideLayout10210.xml" ContentType="application/vnd.openxmlformats-officedocument.presentationml.slideLayout+xml"/>
  <Override PartName="/ppt/slideLayouts/slideLayout10211.xml" ContentType="application/vnd.openxmlformats-officedocument.presentationml.slideLayout+xml"/>
  <Override PartName="/ppt/slideLayouts/slideLayout10212.xml" ContentType="application/vnd.openxmlformats-officedocument.presentationml.slideLayout+xml"/>
  <Override PartName="/ppt/slideLayouts/slideLayout10213.xml" ContentType="application/vnd.openxmlformats-officedocument.presentationml.slideLayout+xml"/>
  <Override PartName="/ppt/slideLayouts/slideLayout10214.xml" ContentType="application/vnd.openxmlformats-officedocument.presentationml.slideLayout+xml"/>
  <Override PartName="/ppt/slideLayouts/slideLayout10215.xml" ContentType="application/vnd.openxmlformats-officedocument.presentationml.slideLayout+xml"/>
  <Override PartName="/ppt/slideLayouts/slideLayout10216.xml" ContentType="application/vnd.openxmlformats-officedocument.presentationml.slideLayout+xml"/>
  <Override PartName="/ppt/slideLayouts/slideLayout10217.xml" ContentType="application/vnd.openxmlformats-officedocument.presentationml.slideLayout+xml"/>
  <Override PartName="/ppt/slideLayouts/slideLayout10218.xml" ContentType="application/vnd.openxmlformats-officedocument.presentationml.slideLayout+xml"/>
  <Override PartName="/ppt/slideLayouts/slideLayout10219.xml" ContentType="application/vnd.openxmlformats-officedocument.presentationml.slideLayout+xml"/>
  <Override PartName="/ppt/slideLayouts/slideLayout10220.xml" ContentType="application/vnd.openxmlformats-officedocument.presentationml.slideLayout+xml"/>
  <Override PartName="/ppt/slideLayouts/slideLayout10221.xml" ContentType="application/vnd.openxmlformats-officedocument.presentationml.slideLayout+xml"/>
  <Override PartName="/ppt/slideLayouts/slideLayout10222.xml" ContentType="application/vnd.openxmlformats-officedocument.presentationml.slideLayout+xml"/>
  <Override PartName="/ppt/slideLayouts/slideLayout10223.xml" ContentType="application/vnd.openxmlformats-officedocument.presentationml.slideLayout+xml"/>
  <Override PartName="/ppt/slideLayouts/slideLayout10224.xml" ContentType="application/vnd.openxmlformats-officedocument.presentationml.slideLayout+xml"/>
  <Override PartName="/ppt/slideLayouts/slideLayout10225.xml" ContentType="application/vnd.openxmlformats-officedocument.presentationml.slideLayout+xml"/>
  <Override PartName="/ppt/slideLayouts/slideLayout10226.xml" ContentType="application/vnd.openxmlformats-officedocument.presentationml.slideLayout+xml"/>
  <Override PartName="/ppt/slideLayouts/slideLayout10227.xml" ContentType="application/vnd.openxmlformats-officedocument.presentationml.slideLayout+xml"/>
  <Override PartName="/ppt/slideLayouts/slideLayout10228.xml" ContentType="application/vnd.openxmlformats-officedocument.presentationml.slideLayout+xml"/>
  <Override PartName="/ppt/slideLayouts/slideLayout10229.xml" ContentType="application/vnd.openxmlformats-officedocument.presentationml.slideLayout+xml"/>
  <Override PartName="/ppt/slideLayouts/slideLayout10230.xml" ContentType="application/vnd.openxmlformats-officedocument.presentationml.slideLayout+xml"/>
  <Override PartName="/ppt/slideLayouts/slideLayout10231.xml" ContentType="application/vnd.openxmlformats-officedocument.presentationml.slideLayout+xml"/>
  <Override PartName="/ppt/slideLayouts/slideLayout10232.xml" ContentType="application/vnd.openxmlformats-officedocument.presentationml.slideLayout+xml"/>
  <Override PartName="/ppt/slideLayouts/slideLayout10233.xml" ContentType="application/vnd.openxmlformats-officedocument.presentationml.slideLayout+xml"/>
  <Override PartName="/ppt/slideLayouts/slideLayout10234.xml" ContentType="application/vnd.openxmlformats-officedocument.presentationml.slideLayout+xml"/>
  <Override PartName="/ppt/slideLayouts/slideLayout10235.xml" ContentType="application/vnd.openxmlformats-officedocument.presentationml.slideLayout+xml"/>
  <Override PartName="/ppt/slideLayouts/slideLayout10236.xml" ContentType="application/vnd.openxmlformats-officedocument.presentationml.slideLayout+xml"/>
  <Override PartName="/ppt/slideLayouts/slideLayout10237.xml" ContentType="application/vnd.openxmlformats-officedocument.presentationml.slideLayout+xml"/>
  <Override PartName="/ppt/slideLayouts/slideLayout10238.xml" ContentType="application/vnd.openxmlformats-officedocument.presentationml.slideLayout+xml"/>
  <Override PartName="/ppt/slideLayouts/slideLayout10239.xml" ContentType="application/vnd.openxmlformats-officedocument.presentationml.slideLayout+xml"/>
  <Override PartName="/ppt/slideLayouts/slideLayout10240.xml" ContentType="application/vnd.openxmlformats-officedocument.presentationml.slideLayout+xml"/>
  <Override PartName="/ppt/slideLayouts/slideLayout10241.xml" ContentType="application/vnd.openxmlformats-officedocument.presentationml.slideLayout+xml"/>
  <Override PartName="/ppt/slideLayouts/slideLayout10242.xml" ContentType="application/vnd.openxmlformats-officedocument.presentationml.slideLayout+xml"/>
  <Override PartName="/ppt/slideLayouts/slideLayout10243.xml" ContentType="application/vnd.openxmlformats-officedocument.presentationml.slideLayout+xml"/>
  <Override PartName="/ppt/slideLayouts/slideLayout10244.xml" ContentType="application/vnd.openxmlformats-officedocument.presentationml.slideLayout+xml"/>
  <Override PartName="/ppt/slideLayouts/slideLayout10245.xml" ContentType="application/vnd.openxmlformats-officedocument.presentationml.slideLayout+xml"/>
  <Override PartName="/ppt/slideLayouts/slideLayout10246.xml" ContentType="application/vnd.openxmlformats-officedocument.presentationml.slideLayout+xml"/>
  <Override PartName="/ppt/slideLayouts/slideLayout10247.xml" ContentType="application/vnd.openxmlformats-officedocument.presentationml.slideLayout+xml"/>
  <Override PartName="/ppt/slideLayouts/slideLayout10248.xml" ContentType="application/vnd.openxmlformats-officedocument.presentationml.slideLayout+xml"/>
  <Override PartName="/ppt/slideLayouts/slideLayout10249.xml" ContentType="application/vnd.openxmlformats-officedocument.presentationml.slideLayout+xml"/>
  <Override PartName="/ppt/slideLayouts/slideLayout10250.xml" ContentType="application/vnd.openxmlformats-officedocument.presentationml.slideLayout+xml"/>
  <Override PartName="/ppt/slideLayouts/slideLayout10251.xml" ContentType="application/vnd.openxmlformats-officedocument.presentationml.slideLayout+xml"/>
  <Override PartName="/ppt/slideLayouts/slideLayout10252.xml" ContentType="application/vnd.openxmlformats-officedocument.presentationml.slideLayout+xml"/>
  <Override PartName="/ppt/slideLayouts/slideLayout10253.xml" ContentType="application/vnd.openxmlformats-officedocument.presentationml.slideLayout+xml"/>
  <Override PartName="/ppt/slideLayouts/slideLayout10254.xml" ContentType="application/vnd.openxmlformats-officedocument.presentationml.slideLayout+xml"/>
  <Override PartName="/ppt/slideLayouts/slideLayout10255.xml" ContentType="application/vnd.openxmlformats-officedocument.presentationml.slideLayout+xml"/>
  <Override PartName="/ppt/slideLayouts/slideLayout10256.xml" ContentType="application/vnd.openxmlformats-officedocument.presentationml.slideLayout+xml"/>
  <Override PartName="/ppt/slideLayouts/slideLayout10257.xml" ContentType="application/vnd.openxmlformats-officedocument.presentationml.slideLayout+xml"/>
  <Override PartName="/ppt/slideLayouts/slideLayout10258.xml" ContentType="application/vnd.openxmlformats-officedocument.presentationml.slideLayout+xml"/>
  <Override PartName="/ppt/slideLayouts/slideLayout10259.xml" ContentType="application/vnd.openxmlformats-officedocument.presentationml.slideLayout+xml"/>
  <Override PartName="/ppt/slideLayouts/slideLayout10260.xml" ContentType="application/vnd.openxmlformats-officedocument.presentationml.slideLayout+xml"/>
  <Override PartName="/ppt/slideLayouts/slideLayout10261.xml" ContentType="application/vnd.openxmlformats-officedocument.presentationml.slideLayout+xml"/>
  <Override PartName="/ppt/slideLayouts/slideLayout10262.xml" ContentType="application/vnd.openxmlformats-officedocument.presentationml.slideLayout+xml"/>
  <Override PartName="/ppt/slideLayouts/slideLayout10263.xml" ContentType="application/vnd.openxmlformats-officedocument.presentationml.slideLayout+xml"/>
  <Override PartName="/ppt/slideLayouts/slideLayout10264.xml" ContentType="application/vnd.openxmlformats-officedocument.presentationml.slideLayout+xml"/>
  <Override PartName="/ppt/slideLayouts/slideLayout10265.xml" ContentType="application/vnd.openxmlformats-officedocument.presentationml.slideLayout+xml"/>
  <Override PartName="/ppt/slideLayouts/slideLayout10266.xml" ContentType="application/vnd.openxmlformats-officedocument.presentationml.slideLayout+xml"/>
  <Override PartName="/ppt/slideLayouts/slideLayout10267.xml" ContentType="application/vnd.openxmlformats-officedocument.presentationml.slideLayout+xml"/>
  <Override PartName="/ppt/slideLayouts/slideLayout10268.xml" ContentType="application/vnd.openxmlformats-officedocument.presentationml.slideLayout+xml"/>
  <Override PartName="/ppt/slideLayouts/slideLayout10269.xml" ContentType="application/vnd.openxmlformats-officedocument.presentationml.slideLayout+xml"/>
  <Override PartName="/ppt/slideLayouts/slideLayout10270.xml" ContentType="application/vnd.openxmlformats-officedocument.presentationml.slideLayout+xml"/>
  <Override PartName="/ppt/slideLayouts/slideLayout10271.xml" ContentType="application/vnd.openxmlformats-officedocument.presentationml.slideLayout+xml"/>
  <Override PartName="/ppt/slideLayouts/slideLayout10272.xml" ContentType="application/vnd.openxmlformats-officedocument.presentationml.slideLayout+xml"/>
  <Override PartName="/ppt/slideLayouts/slideLayout10273.xml" ContentType="application/vnd.openxmlformats-officedocument.presentationml.slideLayout+xml"/>
  <Override PartName="/ppt/slideLayouts/slideLayout10274.xml" ContentType="application/vnd.openxmlformats-officedocument.presentationml.slideLayout+xml"/>
  <Override PartName="/ppt/slideLayouts/slideLayout10275.xml" ContentType="application/vnd.openxmlformats-officedocument.presentationml.slideLayout+xml"/>
  <Override PartName="/ppt/slideLayouts/slideLayout10276.xml" ContentType="application/vnd.openxmlformats-officedocument.presentationml.slideLayout+xml"/>
  <Override PartName="/ppt/slideLayouts/slideLayout10277.xml" ContentType="application/vnd.openxmlformats-officedocument.presentationml.slideLayout+xml"/>
  <Override PartName="/ppt/slideLayouts/slideLayout10278.xml" ContentType="application/vnd.openxmlformats-officedocument.presentationml.slideLayout+xml"/>
  <Override PartName="/ppt/slideLayouts/slideLayout10279.xml" ContentType="application/vnd.openxmlformats-officedocument.presentationml.slideLayout+xml"/>
  <Override PartName="/ppt/slideLayouts/slideLayout10280.xml" ContentType="application/vnd.openxmlformats-officedocument.presentationml.slideLayout+xml"/>
  <Override PartName="/ppt/slideLayouts/slideLayout10281.xml" ContentType="application/vnd.openxmlformats-officedocument.presentationml.slideLayout+xml"/>
  <Override PartName="/ppt/slideLayouts/slideLayout10282.xml" ContentType="application/vnd.openxmlformats-officedocument.presentationml.slideLayout+xml"/>
  <Override PartName="/ppt/slideLayouts/slideLayout10283.xml" ContentType="application/vnd.openxmlformats-officedocument.presentationml.slideLayout+xml"/>
  <Override PartName="/ppt/slideLayouts/slideLayout10284.xml" ContentType="application/vnd.openxmlformats-officedocument.presentationml.slideLayout+xml"/>
  <Override PartName="/ppt/slideLayouts/slideLayout10285.xml" ContentType="application/vnd.openxmlformats-officedocument.presentationml.slideLayout+xml"/>
  <Override PartName="/ppt/slideLayouts/slideLayout10286.xml" ContentType="application/vnd.openxmlformats-officedocument.presentationml.slideLayout+xml"/>
  <Override PartName="/ppt/slideLayouts/slideLayout10287.xml" ContentType="application/vnd.openxmlformats-officedocument.presentationml.slideLayout+xml"/>
  <Override PartName="/ppt/slideLayouts/slideLayout10288.xml" ContentType="application/vnd.openxmlformats-officedocument.presentationml.slideLayout+xml"/>
  <Override PartName="/ppt/slideLayouts/slideLayout10289.xml" ContentType="application/vnd.openxmlformats-officedocument.presentationml.slideLayout+xml"/>
  <Override PartName="/ppt/slideLayouts/slideLayout10290.xml" ContentType="application/vnd.openxmlformats-officedocument.presentationml.slideLayout+xml"/>
  <Override PartName="/ppt/slideLayouts/slideLayout10291.xml" ContentType="application/vnd.openxmlformats-officedocument.presentationml.slideLayout+xml"/>
  <Override PartName="/ppt/slideLayouts/slideLayout10292.xml" ContentType="application/vnd.openxmlformats-officedocument.presentationml.slideLayout+xml"/>
  <Override PartName="/ppt/slideLayouts/slideLayout10293.xml" ContentType="application/vnd.openxmlformats-officedocument.presentationml.slideLayout+xml"/>
  <Override PartName="/ppt/slideLayouts/slideLayout10294.xml" ContentType="application/vnd.openxmlformats-officedocument.presentationml.slideLayout+xml"/>
  <Override PartName="/ppt/slideLayouts/slideLayout10295.xml" ContentType="application/vnd.openxmlformats-officedocument.presentationml.slideLayout+xml"/>
  <Override PartName="/ppt/slideLayouts/slideLayout10296.xml" ContentType="application/vnd.openxmlformats-officedocument.presentationml.slideLayout+xml"/>
  <Override PartName="/ppt/slideLayouts/slideLayout10297.xml" ContentType="application/vnd.openxmlformats-officedocument.presentationml.slideLayout+xml"/>
  <Override PartName="/ppt/slideLayouts/slideLayout10298.xml" ContentType="application/vnd.openxmlformats-officedocument.presentationml.slideLayout+xml"/>
  <Override PartName="/ppt/slideLayouts/slideLayout10299.xml" ContentType="application/vnd.openxmlformats-officedocument.presentationml.slideLayout+xml"/>
  <Override PartName="/ppt/slideLayouts/slideLayout10300.xml" ContentType="application/vnd.openxmlformats-officedocument.presentationml.slideLayout+xml"/>
  <Override PartName="/ppt/slideLayouts/slideLayout10301.xml" ContentType="application/vnd.openxmlformats-officedocument.presentationml.slideLayout+xml"/>
  <Override PartName="/ppt/slideLayouts/slideLayout10302.xml" ContentType="application/vnd.openxmlformats-officedocument.presentationml.slideLayout+xml"/>
  <Override PartName="/ppt/slideLayouts/slideLayout10303.xml" ContentType="application/vnd.openxmlformats-officedocument.presentationml.slideLayout+xml"/>
  <Override PartName="/ppt/slideLayouts/slideLayout10304.xml" ContentType="application/vnd.openxmlformats-officedocument.presentationml.slideLayout+xml"/>
  <Override PartName="/ppt/slideLayouts/slideLayout10305.xml" ContentType="application/vnd.openxmlformats-officedocument.presentationml.slideLayout+xml"/>
  <Override PartName="/ppt/slideLayouts/slideLayout10306.xml" ContentType="application/vnd.openxmlformats-officedocument.presentationml.slideLayout+xml"/>
  <Override PartName="/ppt/slideLayouts/slideLayout10307.xml" ContentType="application/vnd.openxmlformats-officedocument.presentationml.slideLayout+xml"/>
  <Override PartName="/ppt/slideLayouts/slideLayout10308.xml" ContentType="application/vnd.openxmlformats-officedocument.presentationml.slideLayout+xml"/>
  <Override PartName="/ppt/slideLayouts/slideLayout10309.xml" ContentType="application/vnd.openxmlformats-officedocument.presentationml.slideLayout+xml"/>
  <Override PartName="/ppt/slideLayouts/slideLayout10310.xml" ContentType="application/vnd.openxmlformats-officedocument.presentationml.slideLayout+xml"/>
  <Override PartName="/ppt/slideLayouts/slideLayout10311.xml" ContentType="application/vnd.openxmlformats-officedocument.presentationml.slideLayout+xml"/>
  <Override PartName="/ppt/slideLayouts/slideLayout10312.xml" ContentType="application/vnd.openxmlformats-officedocument.presentationml.slideLayout+xml"/>
  <Override PartName="/ppt/slideLayouts/slideLayout10313.xml" ContentType="application/vnd.openxmlformats-officedocument.presentationml.slideLayout+xml"/>
  <Override PartName="/ppt/slideLayouts/slideLayout10314.xml" ContentType="application/vnd.openxmlformats-officedocument.presentationml.slideLayout+xml"/>
  <Override PartName="/ppt/slideLayouts/slideLayout10315.xml" ContentType="application/vnd.openxmlformats-officedocument.presentationml.slideLayout+xml"/>
  <Override PartName="/ppt/slideLayouts/slideLayout10316.xml" ContentType="application/vnd.openxmlformats-officedocument.presentationml.slideLayout+xml"/>
  <Override PartName="/ppt/slideLayouts/slideLayout10317.xml" ContentType="application/vnd.openxmlformats-officedocument.presentationml.slideLayout+xml"/>
  <Override PartName="/ppt/slideLayouts/slideLayout10318.xml" ContentType="application/vnd.openxmlformats-officedocument.presentationml.slideLayout+xml"/>
  <Override PartName="/ppt/slideLayouts/slideLayout10319.xml" ContentType="application/vnd.openxmlformats-officedocument.presentationml.slideLayout+xml"/>
  <Override PartName="/ppt/slideLayouts/slideLayout10320.xml" ContentType="application/vnd.openxmlformats-officedocument.presentationml.slideLayout+xml"/>
  <Override PartName="/ppt/slideLayouts/slideLayout10321.xml" ContentType="application/vnd.openxmlformats-officedocument.presentationml.slideLayout+xml"/>
  <Override PartName="/ppt/slideLayouts/slideLayout10322.xml" ContentType="application/vnd.openxmlformats-officedocument.presentationml.slideLayout+xml"/>
  <Override PartName="/ppt/slideLayouts/slideLayout10323.xml" ContentType="application/vnd.openxmlformats-officedocument.presentationml.slideLayout+xml"/>
  <Override PartName="/ppt/slideLayouts/slideLayout10324.xml" ContentType="application/vnd.openxmlformats-officedocument.presentationml.slideLayout+xml"/>
  <Override PartName="/ppt/slideLayouts/slideLayout10325.xml" ContentType="application/vnd.openxmlformats-officedocument.presentationml.slideLayout+xml"/>
  <Override PartName="/ppt/slideLayouts/slideLayout10326.xml" ContentType="application/vnd.openxmlformats-officedocument.presentationml.slideLayout+xml"/>
  <Override PartName="/ppt/slideLayouts/slideLayout10327.xml" ContentType="application/vnd.openxmlformats-officedocument.presentationml.slideLayout+xml"/>
  <Override PartName="/ppt/slideLayouts/slideLayout10328.xml" ContentType="application/vnd.openxmlformats-officedocument.presentationml.slideLayout+xml"/>
  <Override PartName="/ppt/slideLayouts/slideLayout10329.xml" ContentType="application/vnd.openxmlformats-officedocument.presentationml.slideLayout+xml"/>
  <Override PartName="/ppt/slideLayouts/slideLayout10330.xml" ContentType="application/vnd.openxmlformats-officedocument.presentationml.slideLayout+xml"/>
  <Override PartName="/ppt/slideLayouts/slideLayout10331.xml" ContentType="application/vnd.openxmlformats-officedocument.presentationml.slideLayout+xml"/>
  <Override PartName="/ppt/slideLayouts/slideLayout10332.xml" ContentType="application/vnd.openxmlformats-officedocument.presentationml.slideLayout+xml"/>
  <Override PartName="/ppt/slideLayouts/slideLayout10333.xml" ContentType="application/vnd.openxmlformats-officedocument.presentationml.slideLayout+xml"/>
  <Override PartName="/ppt/slideLayouts/slideLayout10334.xml" ContentType="application/vnd.openxmlformats-officedocument.presentationml.slideLayout+xml"/>
  <Override PartName="/ppt/slideLayouts/slideLayout10335.xml" ContentType="application/vnd.openxmlformats-officedocument.presentationml.slideLayout+xml"/>
  <Override PartName="/ppt/slideLayouts/slideLayout10336.xml" ContentType="application/vnd.openxmlformats-officedocument.presentationml.slideLayout+xml"/>
  <Override PartName="/ppt/slideLayouts/slideLayout10337.xml" ContentType="application/vnd.openxmlformats-officedocument.presentationml.slideLayout+xml"/>
  <Override PartName="/ppt/slideLayouts/slideLayout10338.xml" ContentType="application/vnd.openxmlformats-officedocument.presentationml.slideLayout+xml"/>
  <Override PartName="/ppt/slideLayouts/slideLayout10339.xml" ContentType="application/vnd.openxmlformats-officedocument.presentationml.slideLayout+xml"/>
  <Override PartName="/ppt/slideLayouts/slideLayout10340.xml" ContentType="application/vnd.openxmlformats-officedocument.presentationml.slideLayout+xml"/>
  <Override PartName="/ppt/slideLayouts/slideLayout10341.xml" ContentType="application/vnd.openxmlformats-officedocument.presentationml.slideLayout+xml"/>
  <Override PartName="/ppt/slideLayouts/slideLayout10342.xml" ContentType="application/vnd.openxmlformats-officedocument.presentationml.slideLayout+xml"/>
  <Override PartName="/ppt/slideLayouts/slideLayout10343.xml" ContentType="application/vnd.openxmlformats-officedocument.presentationml.slideLayout+xml"/>
  <Override PartName="/ppt/slideLayouts/slideLayout10344.xml" ContentType="application/vnd.openxmlformats-officedocument.presentationml.slideLayout+xml"/>
  <Override PartName="/ppt/slideLayouts/slideLayout10345.xml" ContentType="application/vnd.openxmlformats-officedocument.presentationml.slideLayout+xml"/>
  <Override PartName="/ppt/slideLayouts/slideLayout10346.xml" ContentType="application/vnd.openxmlformats-officedocument.presentationml.slideLayout+xml"/>
  <Override PartName="/ppt/slideLayouts/slideLayout10347.xml" ContentType="application/vnd.openxmlformats-officedocument.presentationml.slideLayout+xml"/>
  <Override PartName="/ppt/slideLayouts/slideLayout10348.xml" ContentType="application/vnd.openxmlformats-officedocument.presentationml.slideLayout+xml"/>
  <Override PartName="/ppt/slideLayouts/slideLayout10349.xml" ContentType="application/vnd.openxmlformats-officedocument.presentationml.slideLayout+xml"/>
  <Override PartName="/ppt/slideLayouts/slideLayout10350.xml" ContentType="application/vnd.openxmlformats-officedocument.presentationml.slideLayout+xml"/>
  <Override PartName="/ppt/slideLayouts/slideLayout10351.xml" ContentType="application/vnd.openxmlformats-officedocument.presentationml.slideLayout+xml"/>
  <Override PartName="/ppt/slideLayouts/slideLayout10352.xml" ContentType="application/vnd.openxmlformats-officedocument.presentationml.slideLayout+xml"/>
  <Override PartName="/ppt/slideLayouts/slideLayout10353.xml" ContentType="application/vnd.openxmlformats-officedocument.presentationml.slideLayout+xml"/>
  <Override PartName="/ppt/slideLayouts/slideLayout10354.xml" ContentType="application/vnd.openxmlformats-officedocument.presentationml.slideLayout+xml"/>
  <Override PartName="/ppt/slideLayouts/slideLayout10355.xml" ContentType="application/vnd.openxmlformats-officedocument.presentationml.slideLayout+xml"/>
  <Override PartName="/ppt/slideLayouts/slideLayout10356.xml" ContentType="application/vnd.openxmlformats-officedocument.presentationml.slideLayout+xml"/>
  <Override PartName="/ppt/slideLayouts/slideLayout10357.xml" ContentType="application/vnd.openxmlformats-officedocument.presentationml.slideLayout+xml"/>
  <Override PartName="/ppt/slideLayouts/slideLayout10358.xml" ContentType="application/vnd.openxmlformats-officedocument.presentationml.slideLayout+xml"/>
  <Override PartName="/ppt/slideLayouts/slideLayout10359.xml" ContentType="application/vnd.openxmlformats-officedocument.presentationml.slideLayout+xml"/>
  <Override PartName="/ppt/slideLayouts/slideLayout10360.xml" ContentType="application/vnd.openxmlformats-officedocument.presentationml.slideLayout+xml"/>
  <Override PartName="/ppt/slideLayouts/slideLayout10361.xml" ContentType="application/vnd.openxmlformats-officedocument.presentationml.slideLayout+xml"/>
  <Override PartName="/ppt/slideLayouts/slideLayout10362.xml" ContentType="application/vnd.openxmlformats-officedocument.presentationml.slideLayout+xml"/>
  <Override PartName="/ppt/slideLayouts/slideLayout10363.xml" ContentType="application/vnd.openxmlformats-officedocument.presentationml.slideLayout+xml"/>
  <Override PartName="/ppt/slideLayouts/slideLayout10364.xml" ContentType="application/vnd.openxmlformats-officedocument.presentationml.slideLayout+xml"/>
  <Override PartName="/ppt/slideLayouts/slideLayout10365.xml" ContentType="application/vnd.openxmlformats-officedocument.presentationml.slideLayout+xml"/>
  <Override PartName="/ppt/slideLayouts/slideLayout10366.xml" ContentType="application/vnd.openxmlformats-officedocument.presentationml.slideLayout+xml"/>
  <Override PartName="/ppt/slideLayouts/slideLayout10367.xml" ContentType="application/vnd.openxmlformats-officedocument.presentationml.slideLayout+xml"/>
  <Override PartName="/ppt/slideLayouts/slideLayout10368.xml" ContentType="application/vnd.openxmlformats-officedocument.presentationml.slideLayout+xml"/>
  <Override PartName="/ppt/slideLayouts/slideLayout10369.xml" ContentType="application/vnd.openxmlformats-officedocument.presentationml.slideLayout+xml"/>
  <Override PartName="/ppt/slideLayouts/slideLayout10370.xml" ContentType="application/vnd.openxmlformats-officedocument.presentationml.slideLayout+xml"/>
  <Override PartName="/ppt/slideLayouts/slideLayout10371.xml" ContentType="application/vnd.openxmlformats-officedocument.presentationml.slideLayout+xml"/>
  <Override PartName="/ppt/slideLayouts/slideLayout10372.xml" ContentType="application/vnd.openxmlformats-officedocument.presentationml.slideLayout+xml"/>
  <Override PartName="/ppt/slideLayouts/slideLayout10373.xml" ContentType="application/vnd.openxmlformats-officedocument.presentationml.slideLayout+xml"/>
  <Override PartName="/ppt/slideLayouts/slideLayout10374.xml" ContentType="application/vnd.openxmlformats-officedocument.presentationml.slideLayout+xml"/>
  <Override PartName="/ppt/slideLayouts/slideLayout10375.xml" ContentType="application/vnd.openxmlformats-officedocument.presentationml.slideLayout+xml"/>
  <Override PartName="/ppt/slideLayouts/slideLayout10376.xml" ContentType="application/vnd.openxmlformats-officedocument.presentationml.slideLayout+xml"/>
  <Override PartName="/ppt/slideLayouts/slideLayout10377.xml" ContentType="application/vnd.openxmlformats-officedocument.presentationml.slideLayout+xml"/>
  <Override PartName="/ppt/slideLayouts/slideLayout10378.xml" ContentType="application/vnd.openxmlformats-officedocument.presentationml.slideLayout+xml"/>
  <Override PartName="/ppt/slideLayouts/slideLayout10379.xml" ContentType="application/vnd.openxmlformats-officedocument.presentationml.slideLayout+xml"/>
  <Override PartName="/ppt/slideLayouts/slideLayout10380.xml" ContentType="application/vnd.openxmlformats-officedocument.presentationml.slideLayout+xml"/>
  <Override PartName="/ppt/slideLayouts/slideLayout10381.xml" ContentType="application/vnd.openxmlformats-officedocument.presentationml.slideLayout+xml"/>
  <Override PartName="/ppt/slideLayouts/slideLayout10382.xml" ContentType="application/vnd.openxmlformats-officedocument.presentationml.slideLayout+xml"/>
  <Override PartName="/ppt/slideLayouts/slideLayout10383.xml" ContentType="application/vnd.openxmlformats-officedocument.presentationml.slideLayout+xml"/>
  <Override PartName="/ppt/slideLayouts/slideLayout10384.xml" ContentType="application/vnd.openxmlformats-officedocument.presentationml.slideLayout+xml"/>
  <Override PartName="/ppt/slideLayouts/slideLayout10385.xml" ContentType="application/vnd.openxmlformats-officedocument.presentationml.slideLayout+xml"/>
  <Override PartName="/ppt/slideLayouts/slideLayout10386.xml" ContentType="application/vnd.openxmlformats-officedocument.presentationml.slideLayout+xml"/>
  <Override PartName="/ppt/slideLayouts/slideLayout10387.xml" ContentType="application/vnd.openxmlformats-officedocument.presentationml.slideLayout+xml"/>
  <Override PartName="/ppt/slideLayouts/slideLayout10388.xml" ContentType="application/vnd.openxmlformats-officedocument.presentationml.slideLayout+xml"/>
  <Override PartName="/ppt/slideLayouts/slideLayout10389.xml" ContentType="application/vnd.openxmlformats-officedocument.presentationml.slideLayout+xml"/>
  <Override PartName="/ppt/slideLayouts/slideLayout10390.xml" ContentType="application/vnd.openxmlformats-officedocument.presentationml.slideLayout+xml"/>
  <Override PartName="/ppt/slideLayouts/slideLayout10391.xml" ContentType="application/vnd.openxmlformats-officedocument.presentationml.slideLayout+xml"/>
  <Override PartName="/ppt/slideLayouts/slideLayout10392.xml" ContentType="application/vnd.openxmlformats-officedocument.presentationml.slideLayout+xml"/>
  <Override PartName="/ppt/slideLayouts/slideLayout10393.xml" ContentType="application/vnd.openxmlformats-officedocument.presentationml.slideLayout+xml"/>
  <Override PartName="/ppt/slideLayouts/slideLayout10394.xml" ContentType="application/vnd.openxmlformats-officedocument.presentationml.slideLayout+xml"/>
  <Override PartName="/ppt/slideLayouts/slideLayout10395.xml" ContentType="application/vnd.openxmlformats-officedocument.presentationml.slideLayout+xml"/>
  <Override PartName="/ppt/slideLayouts/slideLayout10396.xml" ContentType="application/vnd.openxmlformats-officedocument.presentationml.slideLayout+xml"/>
  <Override PartName="/ppt/slideLayouts/slideLayout10397.xml" ContentType="application/vnd.openxmlformats-officedocument.presentationml.slideLayout+xml"/>
  <Override PartName="/ppt/slideLayouts/slideLayout10398.xml" ContentType="application/vnd.openxmlformats-officedocument.presentationml.slideLayout+xml"/>
  <Override PartName="/ppt/slideLayouts/slideLayout10399.xml" ContentType="application/vnd.openxmlformats-officedocument.presentationml.slideLayout+xml"/>
  <Override PartName="/ppt/slideLayouts/slideLayout10400.xml" ContentType="application/vnd.openxmlformats-officedocument.presentationml.slideLayout+xml"/>
  <Override PartName="/ppt/slideLayouts/slideLayout10401.xml" ContentType="application/vnd.openxmlformats-officedocument.presentationml.slideLayout+xml"/>
  <Override PartName="/ppt/slideLayouts/slideLayout10402.xml" ContentType="application/vnd.openxmlformats-officedocument.presentationml.slideLayout+xml"/>
  <Override PartName="/ppt/slideLayouts/slideLayout10403.xml" ContentType="application/vnd.openxmlformats-officedocument.presentationml.slideLayout+xml"/>
  <Override PartName="/ppt/slideLayouts/slideLayout10404.xml" ContentType="application/vnd.openxmlformats-officedocument.presentationml.slideLayout+xml"/>
  <Override PartName="/ppt/slideLayouts/slideLayout10405.xml" ContentType="application/vnd.openxmlformats-officedocument.presentationml.slideLayout+xml"/>
  <Override PartName="/ppt/slideLayouts/slideLayout10406.xml" ContentType="application/vnd.openxmlformats-officedocument.presentationml.slideLayout+xml"/>
  <Override PartName="/ppt/slideLayouts/slideLayout10407.xml" ContentType="application/vnd.openxmlformats-officedocument.presentationml.slideLayout+xml"/>
  <Override PartName="/ppt/slideLayouts/slideLayout10408.xml" ContentType="application/vnd.openxmlformats-officedocument.presentationml.slideLayout+xml"/>
  <Override PartName="/ppt/slideLayouts/slideLayout10409.xml" ContentType="application/vnd.openxmlformats-officedocument.presentationml.slideLayout+xml"/>
  <Override PartName="/ppt/slideLayouts/slideLayout10410.xml" ContentType="application/vnd.openxmlformats-officedocument.presentationml.slideLayout+xml"/>
  <Override PartName="/ppt/slideLayouts/slideLayout10411.xml" ContentType="application/vnd.openxmlformats-officedocument.presentationml.slideLayout+xml"/>
  <Override PartName="/ppt/slideLayouts/slideLayout10412.xml" ContentType="application/vnd.openxmlformats-officedocument.presentationml.slideLayout+xml"/>
  <Override PartName="/ppt/slideLayouts/slideLayout10413.xml" ContentType="application/vnd.openxmlformats-officedocument.presentationml.slideLayout+xml"/>
  <Override PartName="/ppt/slideLayouts/slideLayout10414.xml" ContentType="application/vnd.openxmlformats-officedocument.presentationml.slideLayout+xml"/>
  <Override PartName="/ppt/slideLayouts/slideLayout10415.xml" ContentType="application/vnd.openxmlformats-officedocument.presentationml.slideLayout+xml"/>
  <Override PartName="/ppt/slideLayouts/slideLayout10416.xml" ContentType="application/vnd.openxmlformats-officedocument.presentationml.slideLayout+xml"/>
  <Override PartName="/ppt/slideLayouts/slideLayout10417.xml" ContentType="application/vnd.openxmlformats-officedocument.presentationml.slideLayout+xml"/>
  <Override PartName="/ppt/slideLayouts/slideLayout10418.xml" ContentType="application/vnd.openxmlformats-officedocument.presentationml.slideLayout+xml"/>
  <Override PartName="/ppt/slideLayouts/slideLayout10419.xml" ContentType="application/vnd.openxmlformats-officedocument.presentationml.slideLayout+xml"/>
  <Override PartName="/ppt/slideLayouts/slideLayout10420.xml" ContentType="application/vnd.openxmlformats-officedocument.presentationml.slideLayout+xml"/>
  <Override PartName="/ppt/slideLayouts/slideLayout10421.xml" ContentType="application/vnd.openxmlformats-officedocument.presentationml.slideLayout+xml"/>
  <Override PartName="/ppt/slideLayouts/slideLayout10422.xml" ContentType="application/vnd.openxmlformats-officedocument.presentationml.slideLayout+xml"/>
  <Override PartName="/ppt/slideLayouts/slideLayout10423.xml" ContentType="application/vnd.openxmlformats-officedocument.presentationml.slideLayout+xml"/>
  <Override PartName="/ppt/slideLayouts/slideLayout10424.xml" ContentType="application/vnd.openxmlformats-officedocument.presentationml.slideLayout+xml"/>
  <Override PartName="/ppt/slideLayouts/slideLayout10425.xml" ContentType="application/vnd.openxmlformats-officedocument.presentationml.slideLayout+xml"/>
  <Override PartName="/ppt/slideLayouts/slideLayout10426.xml" ContentType="application/vnd.openxmlformats-officedocument.presentationml.slideLayout+xml"/>
  <Override PartName="/ppt/slideLayouts/slideLayout10427.xml" ContentType="application/vnd.openxmlformats-officedocument.presentationml.slideLayout+xml"/>
  <Override PartName="/ppt/slideLayouts/slideLayout10428.xml" ContentType="application/vnd.openxmlformats-officedocument.presentationml.slideLayout+xml"/>
  <Override PartName="/ppt/slideLayouts/slideLayout10429.xml" ContentType="application/vnd.openxmlformats-officedocument.presentationml.slideLayout+xml"/>
  <Override PartName="/ppt/slideLayouts/slideLayout10430.xml" ContentType="application/vnd.openxmlformats-officedocument.presentationml.slideLayout+xml"/>
  <Override PartName="/ppt/slideLayouts/slideLayout10431.xml" ContentType="application/vnd.openxmlformats-officedocument.presentationml.slideLayout+xml"/>
  <Override PartName="/ppt/slideLayouts/slideLayout10432.xml" ContentType="application/vnd.openxmlformats-officedocument.presentationml.slideLayout+xml"/>
  <Override PartName="/ppt/slideLayouts/slideLayout10433.xml" ContentType="application/vnd.openxmlformats-officedocument.presentationml.slideLayout+xml"/>
  <Override PartName="/ppt/slideLayouts/slideLayout10434.xml" ContentType="application/vnd.openxmlformats-officedocument.presentationml.slideLayout+xml"/>
  <Override PartName="/ppt/slideLayouts/slideLayout10435.xml" ContentType="application/vnd.openxmlformats-officedocument.presentationml.slideLayout+xml"/>
  <Override PartName="/ppt/slideLayouts/slideLayout10436.xml" ContentType="application/vnd.openxmlformats-officedocument.presentationml.slideLayout+xml"/>
  <Override PartName="/ppt/slideLayouts/slideLayout10437.xml" ContentType="application/vnd.openxmlformats-officedocument.presentationml.slideLayout+xml"/>
  <Override PartName="/ppt/slideLayouts/slideLayout10438.xml" ContentType="application/vnd.openxmlformats-officedocument.presentationml.slideLayout+xml"/>
  <Override PartName="/ppt/slideLayouts/slideLayout10439.xml" ContentType="application/vnd.openxmlformats-officedocument.presentationml.slideLayout+xml"/>
  <Override PartName="/ppt/slideLayouts/slideLayout10440.xml" ContentType="application/vnd.openxmlformats-officedocument.presentationml.slideLayout+xml"/>
  <Override PartName="/ppt/slideLayouts/slideLayout10441.xml" ContentType="application/vnd.openxmlformats-officedocument.presentationml.slideLayout+xml"/>
  <Override PartName="/ppt/slideLayouts/slideLayout10442.xml" ContentType="application/vnd.openxmlformats-officedocument.presentationml.slideLayout+xml"/>
  <Override PartName="/ppt/slideLayouts/slideLayout10443.xml" ContentType="application/vnd.openxmlformats-officedocument.presentationml.slideLayout+xml"/>
  <Override PartName="/ppt/slideLayouts/slideLayout10444.xml" ContentType="application/vnd.openxmlformats-officedocument.presentationml.slideLayout+xml"/>
  <Override PartName="/ppt/slideLayouts/slideLayout10445.xml" ContentType="application/vnd.openxmlformats-officedocument.presentationml.slideLayout+xml"/>
  <Override PartName="/ppt/slideLayouts/slideLayout10446.xml" ContentType="application/vnd.openxmlformats-officedocument.presentationml.slideLayout+xml"/>
  <Override PartName="/ppt/slideLayouts/slideLayout10447.xml" ContentType="application/vnd.openxmlformats-officedocument.presentationml.slideLayout+xml"/>
  <Override PartName="/ppt/slideLayouts/slideLayout10448.xml" ContentType="application/vnd.openxmlformats-officedocument.presentationml.slideLayout+xml"/>
  <Override PartName="/ppt/slideLayouts/slideLayout10449.xml" ContentType="application/vnd.openxmlformats-officedocument.presentationml.slideLayout+xml"/>
  <Override PartName="/ppt/slideLayouts/slideLayout10450.xml" ContentType="application/vnd.openxmlformats-officedocument.presentationml.slideLayout+xml"/>
  <Override PartName="/ppt/slideLayouts/slideLayout10451.xml" ContentType="application/vnd.openxmlformats-officedocument.presentationml.slideLayout+xml"/>
  <Override PartName="/ppt/slideLayouts/slideLayout10452.xml" ContentType="application/vnd.openxmlformats-officedocument.presentationml.slideLayout+xml"/>
  <Override PartName="/ppt/slideLayouts/slideLayout10453.xml" ContentType="application/vnd.openxmlformats-officedocument.presentationml.slideLayout+xml"/>
  <Override PartName="/ppt/slideLayouts/slideLayout10454.xml" ContentType="application/vnd.openxmlformats-officedocument.presentationml.slideLayout+xml"/>
  <Override PartName="/ppt/slideLayouts/slideLayout10455.xml" ContentType="application/vnd.openxmlformats-officedocument.presentationml.slideLayout+xml"/>
  <Override PartName="/ppt/slideLayouts/slideLayout10456.xml" ContentType="application/vnd.openxmlformats-officedocument.presentationml.slideLayout+xml"/>
  <Override PartName="/ppt/slideLayouts/slideLayout10457.xml" ContentType="application/vnd.openxmlformats-officedocument.presentationml.slideLayout+xml"/>
  <Override PartName="/ppt/slideLayouts/slideLayout10458.xml" ContentType="application/vnd.openxmlformats-officedocument.presentationml.slideLayout+xml"/>
  <Override PartName="/ppt/slideLayouts/slideLayout10459.xml" ContentType="application/vnd.openxmlformats-officedocument.presentationml.slideLayout+xml"/>
  <Override PartName="/ppt/slideLayouts/slideLayout10460.xml" ContentType="application/vnd.openxmlformats-officedocument.presentationml.slideLayout+xml"/>
  <Override PartName="/ppt/slideLayouts/slideLayout10461.xml" ContentType="application/vnd.openxmlformats-officedocument.presentationml.slideLayout+xml"/>
  <Override PartName="/ppt/slideLayouts/slideLayout10462.xml" ContentType="application/vnd.openxmlformats-officedocument.presentationml.slideLayout+xml"/>
  <Override PartName="/ppt/slideLayouts/slideLayout10463.xml" ContentType="application/vnd.openxmlformats-officedocument.presentationml.slideLayout+xml"/>
  <Override PartName="/ppt/slideLayouts/slideLayout10464.xml" ContentType="application/vnd.openxmlformats-officedocument.presentationml.slideLayout+xml"/>
  <Override PartName="/ppt/slideLayouts/slideLayout10465.xml" ContentType="application/vnd.openxmlformats-officedocument.presentationml.slideLayout+xml"/>
  <Override PartName="/ppt/slideLayouts/slideLayout10466.xml" ContentType="application/vnd.openxmlformats-officedocument.presentationml.slideLayout+xml"/>
  <Override PartName="/ppt/slideLayouts/slideLayout10467.xml" ContentType="application/vnd.openxmlformats-officedocument.presentationml.slideLayout+xml"/>
  <Override PartName="/ppt/slideLayouts/slideLayout10468.xml" ContentType="application/vnd.openxmlformats-officedocument.presentationml.slideLayout+xml"/>
  <Override PartName="/ppt/slideLayouts/slideLayout10469.xml" ContentType="application/vnd.openxmlformats-officedocument.presentationml.slideLayout+xml"/>
  <Override PartName="/ppt/slideLayouts/slideLayout10470.xml" ContentType="application/vnd.openxmlformats-officedocument.presentationml.slideLayout+xml"/>
  <Override PartName="/ppt/slideLayouts/slideLayout10471.xml" ContentType="application/vnd.openxmlformats-officedocument.presentationml.slideLayout+xml"/>
  <Override PartName="/ppt/slideLayouts/slideLayout10472.xml" ContentType="application/vnd.openxmlformats-officedocument.presentationml.slideLayout+xml"/>
  <Override PartName="/ppt/slideLayouts/slideLayout10473.xml" ContentType="application/vnd.openxmlformats-officedocument.presentationml.slideLayout+xml"/>
  <Override PartName="/ppt/slideLayouts/slideLayout10474.xml" ContentType="application/vnd.openxmlformats-officedocument.presentationml.slideLayout+xml"/>
  <Override PartName="/ppt/slideLayouts/slideLayout10475.xml" ContentType="application/vnd.openxmlformats-officedocument.presentationml.slideLayout+xml"/>
  <Override PartName="/ppt/slideLayouts/slideLayout10476.xml" ContentType="application/vnd.openxmlformats-officedocument.presentationml.slideLayout+xml"/>
  <Override PartName="/ppt/slideLayouts/slideLayout10477.xml" ContentType="application/vnd.openxmlformats-officedocument.presentationml.slideLayout+xml"/>
  <Override PartName="/ppt/slideLayouts/slideLayout10478.xml" ContentType="application/vnd.openxmlformats-officedocument.presentationml.slideLayout+xml"/>
  <Override PartName="/ppt/slideLayouts/slideLayout10479.xml" ContentType="application/vnd.openxmlformats-officedocument.presentationml.slideLayout+xml"/>
  <Override PartName="/ppt/slideLayouts/slideLayout10480.xml" ContentType="application/vnd.openxmlformats-officedocument.presentationml.slideLayout+xml"/>
  <Override PartName="/ppt/slideLayouts/slideLayout10481.xml" ContentType="application/vnd.openxmlformats-officedocument.presentationml.slideLayout+xml"/>
  <Override PartName="/ppt/slideLayouts/slideLayout10482.xml" ContentType="application/vnd.openxmlformats-officedocument.presentationml.slideLayout+xml"/>
  <Override PartName="/ppt/slideLayouts/slideLayout10483.xml" ContentType="application/vnd.openxmlformats-officedocument.presentationml.slideLayout+xml"/>
  <Override PartName="/ppt/slideLayouts/slideLayout10484.xml" ContentType="application/vnd.openxmlformats-officedocument.presentationml.slideLayout+xml"/>
  <Override PartName="/ppt/slideLayouts/slideLayout10485.xml" ContentType="application/vnd.openxmlformats-officedocument.presentationml.slideLayout+xml"/>
  <Override PartName="/ppt/slideLayouts/slideLayout10486.xml" ContentType="application/vnd.openxmlformats-officedocument.presentationml.slideLayout+xml"/>
  <Override PartName="/ppt/slideLayouts/slideLayout10487.xml" ContentType="application/vnd.openxmlformats-officedocument.presentationml.slideLayout+xml"/>
  <Override PartName="/ppt/slideLayouts/slideLayout10488.xml" ContentType="application/vnd.openxmlformats-officedocument.presentationml.slideLayout+xml"/>
  <Override PartName="/ppt/slideLayouts/slideLayout10489.xml" ContentType="application/vnd.openxmlformats-officedocument.presentationml.slideLayout+xml"/>
  <Override PartName="/ppt/slideLayouts/slideLayout10490.xml" ContentType="application/vnd.openxmlformats-officedocument.presentationml.slideLayout+xml"/>
  <Override PartName="/ppt/slideLayouts/slideLayout10491.xml" ContentType="application/vnd.openxmlformats-officedocument.presentationml.slideLayout+xml"/>
  <Override PartName="/ppt/slideLayouts/slideLayout10492.xml" ContentType="application/vnd.openxmlformats-officedocument.presentationml.slideLayout+xml"/>
  <Override PartName="/ppt/slideLayouts/slideLayout10493.xml" ContentType="application/vnd.openxmlformats-officedocument.presentationml.slideLayout+xml"/>
  <Override PartName="/ppt/slideLayouts/slideLayout10494.xml" ContentType="application/vnd.openxmlformats-officedocument.presentationml.slideLayout+xml"/>
  <Override PartName="/ppt/slideLayouts/slideLayout10495.xml" ContentType="application/vnd.openxmlformats-officedocument.presentationml.slideLayout+xml"/>
  <Override PartName="/ppt/slideLayouts/slideLayout10496.xml" ContentType="application/vnd.openxmlformats-officedocument.presentationml.slideLayout+xml"/>
  <Override PartName="/ppt/slideLayouts/slideLayout10497.xml" ContentType="application/vnd.openxmlformats-officedocument.presentationml.slideLayout+xml"/>
  <Override PartName="/ppt/slideLayouts/slideLayout10498.xml" ContentType="application/vnd.openxmlformats-officedocument.presentationml.slideLayout+xml"/>
  <Override PartName="/ppt/slideLayouts/slideLayout10499.xml" ContentType="application/vnd.openxmlformats-officedocument.presentationml.slideLayout+xml"/>
  <Override PartName="/ppt/slideLayouts/slideLayout10500.xml" ContentType="application/vnd.openxmlformats-officedocument.presentationml.slideLayout+xml"/>
  <Override PartName="/ppt/slideLayouts/slideLayout10501.xml" ContentType="application/vnd.openxmlformats-officedocument.presentationml.slideLayout+xml"/>
  <Override PartName="/ppt/slideLayouts/slideLayout10502.xml" ContentType="application/vnd.openxmlformats-officedocument.presentationml.slideLayout+xml"/>
  <Override PartName="/ppt/slideLayouts/slideLayout10503.xml" ContentType="application/vnd.openxmlformats-officedocument.presentationml.slideLayout+xml"/>
  <Override PartName="/ppt/slideLayouts/slideLayout10504.xml" ContentType="application/vnd.openxmlformats-officedocument.presentationml.slideLayout+xml"/>
  <Override PartName="/ppt/slideLayouts/slideLayout10505.xml" ContentType="application/vnd.openxmlformats-officedocument.presentationml.slideLayout+xml"/>
  <Override PartName="/ppt/slideLayouts/slideLayout10506.xml" ContentType="application/vnd.openxmlformats-officedocument.presentationml.slideLayout+xml"/>
  <Override PartName="/ppt/slideLayouts/slideLayout10507.xml" ContentType="application/vnd.openxmlformats-officedocument.presentationml.slideLayout+xml"/>
  <Override PartName="/ppt/slideLayouts/slideLayout10508.xml" ContentType="application/vnd.openxmlformats-officedocument.presentationml.slideLayout+xml"/>
  <Override PartName="/ppt/slideLayouts/slideLayout10509.xml" ContentType="application/vnd.openxmlformats-officedocument.presentationml.slideLayout+xml"/>
  <Override PartName="/ppt/slideLayouts/slideLayout10510.xml" ContentType="application/vnd.openxmlformats-officedocument.presentationml.slideLayout+xml"/>
  <Override PartName="/ppt/slideLayouts/slideLayout10511.xml" ContentType="application/vnd.openxmlformats-officedocument.presentationml.slideLayout+xml"/>
  <Override PartName="/ppt/slideLayouts/slideLayout10512.xml" ContentType="application/vnd.openxmlformats-officedocument.presentationml.slideLayout+xml"/>
  <Override PartName="/ppt/slideLayouts/slideLayout10513.xml" ContentType="application/vnd.openxmlformats-officedocument.presentationml.slideLayout+xml"/>
  <Override PartName="/ppt/slideLayouts/slideLayout10514.xml" ContentType="application/vnd.openxmlformats-officedocument.presentationml.slideLayout+xml"/>
  <Override PartName="/ppt/slideLayouts/slideLayout10515.xml" ContentType="application/vnd.openxmlformats-officedocument.presentationml.slideLayout+xml"/>
  <Override PartName="/ppt/slideLayouts/slideLayout10516.xml" ContentType="application/vnd.openxmlformats-officedocument.presentationml.slideLayout+xml"/>
  <Override PartName="/ppt/slideLayouts/slideLayout10517.xml" ContentType="application/vnd.openxmlformats-officedocument.presentationml.slideLayout+xml"/>
  <Override PartName="/ppt/slideLayouts/slideLayout10518.xml" ContentType="application/vnd.openxmlformats-officedocument.presentationml.slideLayout+xml"/>
  <Override PartName="/ppt/slideLayouts/slideLayout10519.xml" ContentType="application/vnd.openxmlformats-officedocument.presentationml.slideLayout+xml"/>
  <Override PartName="/ppt/slideLayouts/slideLayout10520.xml" ContentType="application/vnd.openxmlformats-officedocument.presentationml.slideLayout+xml"/>
  <Override PartName="/ppt/slideLayouts/slideLayout10521.xml" ContentType="application/vnd.openxmlformats-officedocument.presentationml.slideLayout+xml"/>
  <Override PartName="/ppt/slideLayouts/slideLayout10522.xml" ContentType="application/vnd.openxmlformats-officedocument.presentationml.slideLayout+xml"/>
  <Override PartName="/ppt/slideLayouts/slideLayout10523.xml" ContentType="application/vnd.openxmlformats-officedocument.presentationml.slideLayout+xml"/>
  <Override PartName="/ppt/slideLayouts/slideLayout10524.xml" ContentType="application/vnd.openxmlformats-officedocument.presentationml.slideLayout+xml"/>
  <Override PartName="/ppt/slideLayouts/slideLayout10525.xml" ContentType="application/vnd.openxmlformats-officedocument.presentationml.slideLayout+xml"/>
  <Override PartName="/ppt/slideLayouts/slideLayout10526.xml" ContentType="application/vnd.openxmlformats-officedocument.presentationml.slideLayout+xml"/>
  <Override PartName="/ppt/slideLayouts/slideLayout10527.xml" ContentType="application/vnd.openxmlformats-officedocument.presentationml.slideLayout+xml"/>
  <Override PartName="/ppt/slideLayouts/slideLayout10528.xml" ContentType="application/vnd.openxmlformats-officedocument.presentationml.slideLayout+xml"/>
  <Override PartName="/ppt/slideLayouts/slideLayout10529.xml" ContentType="application/vnd.openxmlformats-officedocument.presentationml.slideLayout+xml"/>
  <Override PartName="/ppt/slideLayouts/slideLayout10530.xml" ContentType="application/vnd.openxmlformats-officedocument.presentationml.slideLayout+xml"/>
  <Override PartName="/ppt/slideLayouts/slideLayout10531.xml" ContentType="application/vnd.openxmlformats-officedocument.presentationml.slideLayout+xml"/>
  <Override PartName="/ppt/slideLayouts/slideLayout10532.xml" ContentType="application/vnd.openxmlformats-officedocument.presentationml.slideLayout+xml"/>
  <Override PartName="/ppt/slideLayouts/slideLayout10533.xml" ContentType="application/vnd.openxmlformats-officedocument.presentationml.slideLayout+xml"/>
  <Override PartName="/ppt/slideLayouts/slideLayout10534.xml" ContentType="application/vnd.openxmlformats-officedocument.presentationml.slideLayout+xml"/>
  <Override PartName="/ppt/slideLayouts/slideLayout10535.xml" ContentType="application/vnd.openxmlformats-officedocument.presentationml.slideLayout+xml"/>
  <Override PartName="/ppt/slideLayouts/slideLayout10536.xml" ContentType="application/vnd.openxmlformats-officedocument.presentationml.slideLayout+xml"/>
  <Override PartName="/ppt/slideLayouts/slideLayout10537.xml" ContentType="application/vnd.openxmlformats-officedocument.presentationml.slideLayout+xml"/>
  <Override PartName="/ppt/slideLayouts/slideLayout10538.xml" ContentType="application/vnd.openxmlformats-officedocument.presentationml.slideLayout+xml"/>
  <Override PartName="/ppt/slideLayouts/slideLayout10539.xml" ContentType="application/vnd.openxmlformats-officedocument.presentationml.slideLayout+xml"/>
  <Override PartName="/ppt/slideLayouts/slideLayout10540.xml" ContentType="application/vnd.openxmlformats-officedocument.presentationml.slideLayout+xml"/>
  <Override PartName="/ppt/slideLayouts/slideLayout10541.xml" ContentType="application/vnd.openxmlformats-officedocument.presentationml.slideLayout+xml"/>
  <Override PartName="/ppt/slideLayouts/slideLayout10542.xml" ContentType="application/vnd.openxmlformats-officedocument.presentationml.slideLayout+xml"/>
  <Override PartName="/ppt/slideLayouts/slideLayout10543.xml" ContentType="application/vnd.openxmlformats-officedocument.presentationml.slideLayout+xml"/>
  <Override PartName="/ppt/slideLayouts/slideLayout10544.xml" ContentType="application/vnd.openxmlformats-officedocument.presentationml.slideLayout+xml"/>
  <Override PartName="/ppt/slideLayouts/slideLayout10545.xml" ContentType="application/vnd.openxmlformats-officedocument.presentationml.slideLayout+xml"/>
  <Override PartName="/ppt/slideLayouts/slideLayout10546.xml" ContentType="application/vnd.openxmlformats-officedocument.presentationml.slideLayout+xml"/>
  <Override PartName="/ppt/slideLayouts/slideLayout10547.xml" ContentType="application/vnd.openxmlformats-officedocument.presentationml.slideLayout+xml"/>
  <Override PartName="/ppt/slideLayouts/slideLayout10548.xml" ContentType="application/vnd.openxmlformats-officedocument.presentationml.slideLayout+xml"/>
  <Override PartName="/ppt/slideLayouts/slideLayout10549.xml" ContentType="application/vnd.openxmlformats-officedocument.presentationml.slideLayout+xml"/>
  <Override PartName="/ppt/slideLayouts/slideLayout10550.xml" ContentType="application/vnd.openxmlformats-officedocument.presentationml.slideLayout+xml"/>
  <Override PartName="/ppt/slideLayouts/slideLayout10551.xml" ContentType="application/vnd.openxmlformats-officedocument.presentationml.slideLayout+xml"/>
  <Override PartName="/ppt/slideLayouts/slideLayout10552.xml" ContentType="application/vnd.openxmlformats-officedocument.presentationml.slideLayout+xml"/>
  <Override PartName="/ppt/slideLayouts/slideLayout10553.xml" ContentType="application/vnd.openxmlformats-officedocument.presentationml.slideLayout+xml"/>
  <Override PartName="/ppt/slideLayouts/slideLayout10554.xml" ContentType="application/vnd.openxmlformats-officedocument.presentationml.slideLayout+xml"/>
  <Override PartName="/ppt/slideLayouts/slideLayout10555.xml" ContentType="application/vnd.openxmlformats-officedocument.presentationml.slideLayout+xml"/>
  <Override PartName="/ppt/slideLayouts/slideLayout10556.xml" ContentType="application/vnd.openxmlformats-officedocument.presentationml.slideLayout+xml"/>
  <Override PartName="/ppt/slideLayouts/slideLayout10557.xml" ContentType="application/vnd.openxmlformats-officedocument.presentationml.slideLayout+xml"/>
  <Override PartName="/ppt/slideLayouts/slideLayout10558.xml" ContentType="application/vnd.openxmlformats-officedocument.presentationml.slideLayout+xml"/>
  <Override PartName="/ppt/slideLayouts/slideLayout10559.xml" ContentType="application/vnd.openxmlformats-officedocument.presentationml.slideLayout+xml"/>
  <Override PartName="/ppt/slideLayouts/slideLayout10560.xml" ContentType="application/vnd.openxmlformats-officedocument.presentationml.slideLayout+xml"/>
  <Override PartName="/ppt/slideLayouts/slideLayout10561.xml" ContentType="application/vnd.openxmlformats-officedocument.presentationml.slideLayout+xml"/>
  <Override PartName="/ppt/slideLayouts/slideLayout10562.xml" ContentType="application/vnd.openxmlformats-officedocument.presentationml.slideLayout+xml"/>
  <Override PartName="/ppt/slideLayouts/slideLayout10563.xml" ContentType="application/vnd.openxmlformats-officedocument.presentationml.slideLayout+xml"/>
  <Override PartName="/ppt/slideLayouts/slideLayout10564.xml" ContentType="application/vnd.openxmlformats-officedocument.presentationml.slideLayout+xml"/>
  <Override PartName="/ppt/slideLayouts/slideLayout10565.xml" ContentType="application/vnd.openxmlformats-officedocument.presentationml.slideLayout+xml"/>
  <Override PartName="/ppt/slideLayouts/slideLayout10566.xml" ContentType="application/vnd.openxmlformats-officedocument.presentationml.slideLayout+xml"/>
  <Override PartName="/ppt/slideLayouts/slideLayout10567.xml" ContentType="application/vnd.openxmlformats-officedocument.presentationml.slideLayout+xml"/>
  <Override PartName="/ppt/slideLayouts/slideLayout10568.xml" ContentType="application/vnd.openxmlformats-officedocument.presentationml.slideLayout+xml"/>
  <Override PartName="/ppt/slideLayouts/slideLayout10569.xml" ContentType="application/vnd.openxmlformats-officedocument.presentationml.slideLayout+xml"/>
  <Override PartName="/ppt/slideLayouts/slideLayout10570.xml" ContentType="application/vnd.openxmlformats-officedocument.presentationml.slideLayout+xml"/>
  <Override PartName="/ppt/slideLayouts/slideLayout10571.xml" ContentType="application/vnd.openxmlformats-officedocument.presentationml.slideLayout+xml"/>
  <Override PartName="/ppt/slideLayouts/slideLayout10572.xml" ContentType="application/vnd.openxmlformats-officedocument.presentationml.slideLayout+xml"/>
  <Override PartName="/ppt/slideLayouts/slideLayout10573.xml" ContentType="application/vnd.openxmlformats-officedocument.presentationml.slideLayout+xml"/>
  <Override PartName="/ppt/slideLayouts/slideLayout10574.xml" ContentType="application/vnd.openxmlformats-officedocument.presentationml.slideLayout+xml"/>
  <Override PartName="/ppt/slideLayouts/slideLayout10575.xml" ContentType="application/vnd.openxmlformats-officedocument.presentationml.slideLayout+xml"/>
  <Override PartName="/ppt/slideLayouts/slideLayout10576.xml" ContentType="application/vnd.openxmlformats-officedocument.presentationml.slideLayout+xml"/>
  <Override PartName="/ppt/slideLayouts/slideLayout10577.xml" ContentType="application/vnd.openxmlformats-officedocument.presentationml.slideLayout+xml"/>
  <Override PartName="/ppt/slideLayouts/slideLayout10578.xml" ContentType="application/vnd.openxmlformats-officedocument.presentationml.slideLayout+xml"/>
  <Override PartName="/ppt/slideLayouts/slideLayout10579.xml" ContentType="application/vnd.openxmlformats-officedocument.presentationml.slideLayout+xml"/>
  <Override PartName="/ppt/slideLayouts/slideLayout10580.xml" ContentType="application/vnd.openxmlformats-officedocument.presentationml.slideLayout+xml"/>
  <Override PartName="/ppt/slideLayouts/slideLayout10581.xml" ContentType="application/vnd.openxmlformats-officedocument.presentationml.slideLayout+xml"/>
  <Override PartName="/ppt/slideLayouts/slideLayout10582.xml" ContentType="application/vnd.openxmlformats-officedocument.presentationml.slideLayout+xml"/>
  <Override PartName="/ppt/slideLayouts/slideLayout10583.xml" ContentType="application/vnd.openxmlformats-officedocument.presentationml.slideLayout+xml"/>
  <Override PartName="/ppt/slideLayouts/slideLayout10584.xml" ContentType="application/vnd.openxmlformats-officedocument.presentationml.slideLayout+xml"/>
  <Override PartName="/ppt/slideLayouts/slideLayout10585.xml" ContentType="application/vnd.openxmlformats-officedocument.presentationml.slideLayout+xml"/>
  <Override PartName="/ppt/slideLayouts/slideLayout10586.xml" ContentType="application/vnd.openxmlformats-officedocument.presentationml.slideLayout+xml"/>
  <Override PartName="/ppt/slideLayouts/slideLayout10587.xml" ContentType="application/vnd.openxmlformats-officedocument.presentationml.slideLayout+xml"/>
  <Override PartName="/ppt/slideLayouts/slideLayout10588.xml" ContentType="application/vnd.openxmlformats-officedocument.presentationml.slideLayout+xml"/>
  <Override PartName="/ppt/slideLayouts/slideLayout10589.xml" ContentType="application/vnd.openxmlformats-officedocument.presentationml.slideLayout+xml"/>
  <Override PartName="/ppt/slideLayouts/slideLayout10590.xml" ContentType="application/vnd.openxmlformats-officedocument.presentationml.slideLayout+xml"/>
  <Override PartName="/ppt/slideLayouts/slideLayout10591.xml" ContentType="application/vnd.openxmlformats-officedocument.presentationml.slideLayout+xml"/>
  <Override PartName="/ppt/slideLayouts/slideLayout10592.xml" ContentType="application/vnd.openxmlformats-officedocument.presentationml.slideLayout+xml"/>
  <Override PartName="/ppt/slideLayouts/slideLayout10593.xml" ContentType="application/vnd.openxmlformats-officedocument.presentationml.slideLayout+xml"/>
  <Override PartName="/ppt/slideLayouts/slideLayout10594.xml" ContentType="application/vnd.openxmlformats-officedocument.presentationml.slideLayout+xml"/>
  <Override PartName="/ppt/slideLayouts/slideLayout10595.xml" ContentType="application/vnd.openxmlformats-officedocument.presentationml.slideLayout+xml"/>
  <Override PartName="/ppt/slideLayouts/slideLayout10596.xml" ContentType="application/vnd.openxmlformats-officedocument.presentationml.slideLayout+xml"/>
  <Override PartName="/ppt/slideLayouts/slideLayout10597.xml" ContentType="application/vnd.openxmlformats-officedocument.presentationml.slideLayout+xml"/>
  <Override PartName="/ppt/slideLayouts/slideLayout10598.xml" ContentType="application/vnd.openxmlformats-officedocument.presentationml.slideLayout+xml"/>
  <Override PartName="/ppt/slideLayouts/slideLayout10599.xml" ContentType="application/vnd.openxmlformats-officedocument.presentationml.slideLayout+xml"/>
  <Override PartName="/ppt/slideLayouts/slideLayout10600.xml" ContentType="application/vnd.openxmlformats-officedocument.presentationml.slideLayout+xml"/>
  <Override PartName="/ppt/slideLayouts/slideLayout10601.xml" ContentType="application/vnd.openxmlformats-officedocument.presentationml.slideLayout+xml"/>
  <Override PartName="/ppt/slideLayouts/slideLayout10602.xml" ContentType="application/vnd.openxmlformats-officedocument.presentationml.slideLayout+xml"/>
  <Override PartName="/ppt/slideLayouts/slideLayout10603.xml" ContentType="application/vnd.openxmlformats-officedocument.presentationml.slideLayout+xml"/>
  <Override PartName="/ppt/slideLayouts/slideLayout10604.xml" ContentType="application/vnd.openxmlformats-officedocument.presentationml.slideLayout+xml"/>
  <Override PartName="/ppt/slideLayouts/slideLayout10605.xml" ContentType="application/vnd.openxmlformats-officedocument.presentationml.slideLayout+xml"/>
  <Override PartName="/ppt/slideLayouts/slideLayout10606.xml" ContentType="application/vnd.openxmlformats-officedocument.presentationml.slideLayout+xml"/>
  <Override PartName="/ppt/slideLayouts/slideLayout10607.xml" ContentType="application/vnd.openxmlformats-officedocument.presentationml.slideLayout+xml"/>
  <Override PartName="/ppt/slideLayouts/slideLayout10608.xml" ContentType="application/vnd.openxmlformats-officedocument.presentationml.slideLayout+xml"/>
  <Override PartName="/ppt/slideLayouts/slideLayout10609.xml" ContentType="application/vnd.openxmlformats-officedocument.presentationml.slideLayout+xml"/>
  <Override PartName="/ppt/slideLayouts/slideLayout10610.xml" ContentType="application/vnd.openxmlformats-officedocument.presentationml.slideLayout+xml"/>
  <Override PartName="/ppt/slideLayouts/slideLayout10611.xml" ContentType="application/vnd.openxmlformats-officedocument.presentationml.slideLayout+xml"/>
  <Override PartName="/ppt/slideLayouts/slideLayout10612.xml" ContentType="application/vnd.openxmlformats-officedocument.presentationml.slideLayout+xml"/>
  <Override PartName="/ppt/slideLayouts/slideLayout10613.xml" ContentType="application/vnd.openxmlformats-officedocument.presentationml.slideLayout+xml"/>
  <Override PartName="/ppt/slideLayouts/slideLayout10614.xml" ContentType="application/vnd.openxmlformats-officedocument.presentationml.slideLayout+xml"/>
  <Override PartName="/ppt/slideLayouts/slideLayout10615.xml" ContentType="application/vnd.openxmlformats-officedocument.presentationml.slideLayout+xml"/>
  <Override PartName="/ppt/slideLayouts/slideLayout10616.xml" ContentType="application/vnd.openxmlformats-officedocument.presentationml.slideLayout+xml"/>
  <Override PartName="/ppt/slideLayouts/slideLayout10617.xml" ContentType="application/vnd.openxmlformats-officedocument.presentationml.slideLayout+xml"/>
  <Override PartName="/ppt/slideLayouts/slideLayout10618.xml" ContentType="application/vnd.openxmlformats-officedocument.presentationml.slideLayout+xml"/>
  <Override PartName="/ppt/slideLayouts/slideLayout10619.xml" ContentType="application/vnd.openxmlformats-officedocument.presentationml.slideLayout+xml"/>
  <Override PartName="/ppt/slideLayouts/slideLayout10620.xml" ContentType="application/vnd.openxmlformats-officedocument.presentationml.slideLayout+xml"/>
  <Override PartName="/ppt/slideLayouts/slideLayout10621.xml" ContentType="application/vnd.openxmlformats-officedocument.presentationml.slideLayout+xml"/>
  <Override PartName="/ppt/slideLayouts/slideLayout10622.xml" ContentType="application/vnd.openxmlformats-officedocument.presentationml.slideLayout+xml"/>
  <Override PartName="/ppt/slideLayouts/slideLayout10623.xml" ContentType="application/vnd.openxmlformats-officedocument.presentationml.slideLayout+xml"/>
  <Override PartName="/ppt/slideLayouts/slideLayout10624.xml" ContentType="application/vnd.openxmlformats-officedocument.presentationml.slideLayout+xml"/>
  <Override PartName="/ppt/slideLayouts/slideLayout10625.xml" ContentType="application/vnd.openxmlformats-officedocument.presentationml.slideLayout+xml"/>
  <Override PartName="/ppt/slideLayouts/slideLayout10626.xml" ContentType="application/vnd.openxmlformats-officedocument.presentationml.slideLayout+xml"/>
  <Override PartName="/ppt/slideLayouts/slideLayout10627.xml" ContentType="application/vnd.openxmlformats-officedocument.presentationml.slideLayout+xml"/>
  <Override PartName="/ppt/slideLayouts/slideLayout10628.xml" ContentType="application/vnd.openxmlformats-officedocument.presentationml.slideLayout+xml"/>
  <Override PartName="/ppt/slideLayouts/slideLayout10629.xml" ContentType="application/vnd.openxmlformats-officedocument.presentationml.slideLayout+xml"/>
  <Override PartName="/ppt/slideLayouts/slideLayout10630.xml" ContentType="application/vnd.openxmlformats-officedocument.presentationml.slideLayout+xml"/>
  <Override PartName="/ppt/slideLayouts/slideLayout10631.xml" ContentType="application/vnd.openxmlformats-officedocument.presentationml.slideLayout+xml"/>
  <Override PartName="/ppt/slideLayouts/slideLayout10632.xml" ContentType="application/vnd.openxmlformats-officedocument.presentationml.slideLayout+xml"/>
  <Override PartName="/ppt/slideLayouts/slideLayout10633.xml" ContentType="application/vnd.openxmlformats-officedocument.presentationml.slideLayout+xml"/>
  <Override PartName="/ppt/slideLayouts/slideLayout10634.xml" ContentType="application/vnd.openxmlformats-officedocument.presentationml.slideLayout+xml"/>
  <Override PartName="/ppt/slideLayouts/slideLayout10635.xml" ContentType="application/vnd.openxmlformats-officedocument.presentationml.slideLayout+xml"/>
  <Override PartName="/ppt/slideLayouts/slideLayout10636.xml" ContentType="application/vnd.openxmlformats-officedocument.presentationml.slideLayout+xml"/>
  <Override PartName="/ppt/slideLayouts/slideLayout10637.xml" ContentType="application/vnd.openxmlformats-officedocument.presentationml.slideLayout+xml"/>
  <Override PartName="/ppt/slideLayouts/slideLayout10638.xml" ContentType="application/vnd.openxmlformats-officedocument.presentationml.slideLayout+xml"/>
  <Override PartName="/ppt/slideLayouts/slideLayout10639.xml" ContentType="application/vnd.openxmlformats-officedocument.presentationml.slideLayout+xml"/>
  <Override PartName="/ppt/slideLayouts/slideLayout10640.xml" ContentType="application/vnd.openxmlformats-officedocument.presentationml.slideLayout+xml"/>
  <Override PartName="/ppt/slideLayouts/slideLayout10641.xml" ContentType="application/vnd.openxmlformats-officedocument.presentationml.slideLayout+xml"/>
  <Override PartName="/ppt/slideLayouts/slideLayout10642.xml" ContentType="application/vnd.openxmlformats-officedocument.presentationml.slideLayout+xml"/>
  <Override PartName="/ppt/slideLayouts/slideLayout10643.xml" ContentType="application/vnd.openxmlformats-officedocument.presentationml.slideLayout+xml"/>
  <Override PartName="/ppt/slideLayouts/slideLayout10644.xml" ContentType="application/vnd.openxmlformats-officedocument.presentationml.slideLayout+xml"/>
  <Override PartName="/ppt/slideLayouts/slideLayout10645.xml" ContentType="application/vnd.openxmlformats-officedocument.presentationml.slideLayout+xml"/>
  <Override PartName="/ppt/slideLayouts/slideLayout10646.xml" ContentType="application/vnd.openxmlformats-officedocument.presentationml.slideLayout+xml"/>
  <Override PartName="/ppt/slideLayouts/slideLayout10647.xml" ContentType="application/vnd.openxmlformats-officedocument.presentationml.slideLayout+xml"/>
  <Override PartName="/ppt/slideLayouts/slideLayout10648.xml" ContentType="application/vnd.openxmlformats-officedocument.presentationml.slideLayout+xml"/>
  <Override PartName="/ppt/slideLayouts/slideLayout10649.xml" ContentType="application/vnd.openxmlformats-officedocument.presentationml.slideLayout+xml"/>
  <Override PartName="/ppt/slideLayouts/slideLayout10650.xml" ContentType="application/vnd.openxmlformats-officedocument.presentationml.slideLayout+xml"/>
  <Override PartName="/ppt/slideLayouts/slideLayout10651.xml" ContentType="application/vnd.openxmlformats-officedocument.presentationml.slideLayout+xml"/>
  <Override PartName="/ppt/slideLayouts/slideLayout10652.xml" ContentType="application/vnd.openxmlformats-officedocument.presentationml.slideLayout+xml"/>
  <Override PartName="/ppt/slideLayouts/slideLayout10653.xml" ContentType="application/vnd.openxmlformats-officedocument.presentationml.slideLayout+xml"/>
  <Override PartName="/ppt/slideLayouts/slideLayout10654.xml" ContentType="application/vnd.openxmlformats-officedocument.presentationml.slideLayout+xml"/>
  <Override PartName="/ppt/slideLayouts/slideLayout10655.xml" ContentType="application/vnd.openxmlformats-officedocument.presentationml.slideLayout+xml"/>
  <Override PartName="/ppt/slideLayouts/slideLayout10656.xml" ContentType="application/vnd.openxmlformats-officedocument.presentationml.slideLayout+xml"/>
  <Override PartName="/ppt/slideLayouts/slideLayout10657.xml" ContentType="application/vnd.openxmlformats-officedocument.presentationml.slideLayout+xml"/>
  <Override PartName="/ppt/slideLayouts/slideLayout10658.xml" ContentType="application/vnd.openxmlformats-officedocument.presentationml.slideLayout+xml"/>
  <Override PartName="/ppt/slideLayouts/slideLayout10659.xml" ContentType="application/vnd.openxmlformats-officedocument.presentationml.slideLayout+xml"/>
  <Override PartName="/ppt/slideLayouts/slideLayout10660.xml" ContentType="application/vnd.openxmlformats-officedocument.presentationml.slideLayout+xml"/>
  <Override PartName="/ppt/slideLayouts/slideLayout10661.xml" ContentType="application/vnd.openxmlformats-officedocument.presentationml.slideLayout+xml"/>
  <Override PartName="/ppt/slideLayouts/slideLayout10662.xml" ContentType="application/vnd.openxmlformats-officedocument.presentationml.slideLayout+xml"/>
  <Override PartName="/ppt/slideLayouts/slideLayout10663.xml" ContentType="application/vnd.openxmlformats-officedocument.presentationml.slideLayout+xml"/>
  <Override PartName="/ppt/slideLayouts/slideLayout10664.xml" ContentType="application/vnd.openxmlformats-officedocument.presentationml.slideLayout+xml"/>
  <Override PartName="/ppt/slideLayouts/slideLayout10665.xml" ContentType="application/vnd.openxmlformats-officedocument.presentationml.slideLayout+xml"/>
  <Override PartName="/ppt/slideLayouts/slideLayout10666.xml" ContentType="application/vnd.openxmlformats-officedocument.presentationml.slideLayout+xml"/>
  <Override PartName="/ppt/slideLayouts/slideLayout10667.xml" ContentType="application/vnd.openxmlformats-officedocument.presentationml.slideLayout+xml"/>
  <Override PartName="/ppt/slideLayouts/slideLayout10668.xml" ContentType="application/vnd.openxmlformats-officedocument.presentationml.slideLayout+xml"/>
  <Override PartName="/ppt/slideLayouts/slideLayout10669.xml" ContentType="application/vnd.openxmlformats-officedocument.presentationml.slideLayout+xml"/>
  <Override PartName="/ppt/slideLayouts/slideLayout10670.xml" ContentType="application/vnd.openxmlformats-officedocument.presentationml.slideLayout+xml"/>
  <Override PartName="/ppt/slideLayouts/slideLayout10671.xml" ContentType="application/vnd.openxmlformats-officedocument.presentationml.slideLayout+xml"/>
  <Override PartName="/ppt/slideLayouts/slideLayout10672.xml" ContentType="application/vnd.openxmlformats-officedocument.presentationml.slideLayout+xml"/>
  <Override PartName="/ppt/slideLayouts/slideLayout10673.xml" ContentType="application/vnd.openxmlformats-officedocument.presentationml.slideLayout+xml"/>
  <Override PartName="/ppt/slideLayouts/slideLayout10674.xml" ContentType="application/vnd.openxmlformats-officedocument.presentationml.slideLayout+xml"/>
  <Override PartName="/ppt/slideLayouts/slideLayout10675.xml" ContentType="application/vnd.openxmlformats-officedocument.presentationml.slideLayout+xml"/>
  <Override PartName="/ppt/slideLayouts/slideLayout10676.xml" ContentType="application/vnd.openxmlformats-officedocument.presentationml.slideLayout+xml"/>
  <Override PartName="/ppt/slideLayouts/slideLayout10677.xml" ContentType="application/vnd.openxmlformats-officedocument.presentationml.slideLayout+xml"/>
  <Override PartName="/ppt/slideLayouts/slideLayout10678.xml" ContentType="application/vnd.openxmlformats-officedocument.presentationml.slideLayout+xml"/>
  <Override PartName="/ppt/slideLayouts/slideLayout10679.xml" ContentType="application/vnd.openxmlformats-officedocument.presentationml.slideLayout+xml"/>
  <Override PartName="/ppt/slideLayouts/slideLayout10680.xml" ContentType="application/vnd.openxmlformats-officedocument.presentationml.slideLayout+xml"/>
  <Override PartName="/ppt/slideLayouts/slideLayout10681.xml" ContentType="application/vnd.openxmlformats-officedocument.presentationml.slideLayout+xml"/>
  <Override PartName="/ppt/slideLayouts/slideLayout10682.xml" ContentType="application/vnd.openxmlformats-officedocument.presentationml.slideLayout+xml"/>
  <Override PartName="/ppt/slideLayouts/slideLayout10683.xml" ContentType="application/vnd.openxmlformats-officedocument.presentationml.slideLayout+xml"/>
  <Override PartName="/ppt/slideLayouts/slideLayout10684.xml" ContentType="application/vnd.openxmlformats-officedocument.presentationml.slideLayout+xml"/>
  <Override PartName="/ppt/slideLayouts/slideLayout10685.xml" ContentType="application/vnd.openxmlformats-officedocument.presentationml.slideLayout+xml"/>
  <Override PartName="/ppt/slideLayouts/slideLayout10686.xml" ContentType="application/vnd.openxmlformats-officedocument.presentationml.slideLayout+xml"/>
  <Override PartName="/ppt/slideLayouts/slideLayout10687.xml" ContentType="application/vnd.openxmlformats-officedocument.presentationml.slideLayout+xml"/>
  <Override PartName="/ppt/slideLayouts/slideLayout10688.xml" ContentType="application/vnd.openxmlformats-officedocument.presentationml.slideLayout+xml"/>
  <Override PartName="/ppt/slideLayouts/slideLayout10689.xml" ContentType="application/vnd.openxmlformats-officedocument.presentationml.slideLayout+xml"/>
  <Override PartName="/ppt/slideLayouts/slideLayout10690.xml" ContentType="application/vnd.openxmlformats-officedocument.presentationml.slideLayout+xml"/>
  <Override PartName="/ppt/slideLayouts/slideLayout10691.xml" ContentType="application/vnd.openxmlformats-officedocument.presentationml.slideLayout+xml"/>
  <Override PartName="/ppt/slideLayouts/slideLayout10692.xml" ContentType="application/vnd.openxmlformats-officedocument.presentationml.slideLayout+xml"/>
  <Override PartName="/ppt/slideLayouts/slideLayout10693.xml" ContentType="application/vnd.openxmlformats-officedocument.presentationml.slideLayout+xml"/>
  <Override PartName="/ppt/slideLayouts/slideLayout10694.xml" ContentType="application/vnd.openxmlformats-officedocument.presentationml.slideLayout+xml"/>
  <Override PartName="/ppt/slideLayouts/slideLayout10695.xml" ContentType="application/vnd.openxmlformats-officedocument.presentationml.slideLayout+xml"/>
  <Override PartName="/ppt/slideLayouts/slideLayout10696.xml" ContentType="application/vnd.openxmlformats-officedocument.presentationml.slideLayout+xml"/>
  <Override PartName="/ppt/slideLayouts/slideLayout10697.xml" ContentType="application/vnd.openxmlformats-officedocument.presentationml.slideLayout+xml"/>
  <Override PartName="/ppt/slideLayouts/slideLayout10698.xml" ContentType="application/vnd.openxmlformats-officedocument.presentationml.slideLayout+xml"/>
  <Override PartName="/ppt/slideLayouts/slideLayout10699.xml" ContentType="application/vnd.openxmlformats-officedocument.presentationml.slideLayout+xml"/>
  <Override PartName="/ppt/slideLayouts/slideLayout10700.xml" ContentType="application/vnd.openxmlformats-officedocument.presentationml.slideLayout+xml"/>
  <Override PartName="/ppt/slideLayouts/slideLayout10701.xml" ContentType="application/vnd.openxmlformats-officedocument.presentationml.slideLayout+xml"/>
  <Override PartName="/ppt/slideLayouts/slideLayout10702.xml" ContentType="application/vnd.openxmlformats-officedocument.presentationml.slideLayout+xml"/>
  <Override PartName="/ppt/slideLayouts/slideLayout10703.xml" ContentType="application/vnd.openxmlformats-officedocument.presentationml.slideLayout+xml"/>
  <Override PartName="/ppt/slideLayouts/slideLayout10704.xml" ContentType="application/vnd.openxmlformats-officedocument.presentationml.slideLayout+xml"/>
  <Override PartName="/ppt/slideLayouts/slideLayout10705.xml" ContentType="application/vnd.openxmlformats-officedocument.presentationml.slideLayout+xml"/>
  <Override PartName="/ppt/slideLayouts/slideLayout10706.xml" ContentType="application/vnd.openxmlformats-officedocument.presentationml.slideLayout+xml"/>
  <Override PartName="/ppt/slideLayouts/slideLayout10707.xml" ContentType="application/vnd.openxmlformats-officedocument.presentationml.slideLayout+xml"/>
  <Override PartName="/ppt/slideLayouts/slideLayout10708.xml" ContentType="application/vnd.openxmlformats-officedocument.presentationml.slideLayout+xml"/>
  <Override PartName="/ppt/slideLayouts/slideLayout10709.xml" ContentType="application/vnd.openxmlformats-officedocument.presentationml.slideLayout+xml"/>
  <Override PartName="/ppt/slideLayouts/slideLayout10710.xml" ContentType="application/vnd.openxmlformats-officedocument.presentationml.slideLayout+xml"/>
  <Override PartName="/ppt/slideLayouts/slideLayout10711.xml" ContentType="application/vnd.openxmlformats-officedocument.presentationml.slideLayout+xml"/>
  <Override PartName="/ppt/slideLayouts/slideLayout10712.xml" ContentType="application/vnd.openxmlformats-officedocument.presentationml.slideLayout+xml"/>
  <Override PartName="/ppt/slideLayouts/slideLayout10713.xml" ContentType="application/vnd.openxmlformats-officedocument.presentationml.slideLayout+xml"/>
  <Override PartName="/ppt/slideLayouts/slideLayout10714.xml" ContentType="application/vnd.openxmlformats-officedocument.presentationml.slideLayout+xml"/>
  <Override PartName="/ppt/slideLayouts/slideLayout10715.xml" ContentType="application/vnd.openxmlformats-officedocument.presentationml.slideLayout+xml"/>
  <Override PartName="/ppt/slideLayouts/slideLayout10716.xml" ContentType="application/vnd.openxmlformats-officedocument.presentationml.slideLayout+xml"/>
  <Override PartName="/ppt/slideLayouts/slideLayout10717.xml" ContentType="application/vnd.openxmlformats-officedocument.presentationml.slideLayout+xml"/>
  <Override PartName="/ppt/slideLayouts/slideLayout10718.xml" ContentType="application/vnd.openxmlformats-officedocument.presentationml.slideLayout+xml"/>
  <Override PartName="/ppt/slideLayouts/slideLayout10719.xml" ContentType="application/vnd.openxmlformats-officedocument.presentationml.slideLayout+xml"/>
  <Override PartName="/ppt/slideLayouts/slideLayout10720.xml" ContentType="application/vnd.openxmlformats-officedocument.presentationml.slideLayout+xml"/>
  <Override PartName="/ppt/slideLayouts/slideLayout10721.xml" ContentType="application/vnd.openxmlformats-officedocument.presentationml.slideLayout+xml"/>
  <Override PartName="/ppt/slideLayouts/slideLayout10722.xml" ContentType="application/vnd.openxmlformats-officedocument.presentationml.slideLayout+xml"/>
  <Override PartName="/ppt/slideLayouts/slideLayout10723.xml" ContentType="application/vnd.openxmlformats-officedocument.presentationml.slideLayout+xml"/>
  <Override PartName="/ppt/slideLayouts/slideLayout10724.xml" ContentType="application/vnd.openxmlformats-officedocument.presentationml.slideLayout+xml"/>
  <Override PartName="/ppt/slideLayouts/slideLayout10725.xml" ContentType="application/vnd.openxmlformats-officedocument.presentationml.slideLayout+xml"/>
  <Override PartName="/ppt/slideLayouts/slideLayout10726.xml" ContentType="application/vnd.openxmlformats-officedocument.presentationml.slideLayout+xml"/>
  <Override PartName="/ppt/slideLayouts/slideLayout10727.xml" ContentType="application/vnd.openxmlformats-officedocument.presentationml.slideLayout+xml"/>
  <Override PartName="/ppt/slideLayouts/slideLayout10728.xml" ContentType="application/vnd.openxmlformats-officedocument.presentationml.slideLayout+xml"/>
  <Override PartName="/ppt/slideLayouts/slideLayout10729.xml" ContentType="application/vnd.openxmlformats-officedocument.presentationml.slideLayout+xml"/>
  <Override PartName="/ppt/slideLayouts/slideLayout10730.xml" ContentType="application/vnd.openxmlformats-officedocument.presentationml.slideLayout+xml"/>
  <Override PartName="/ppt/slideLayouts/slideLayout10731.xml" ContentType="application/vnd.openxmlformats-officedocument.presentationml.slideLayout+xml"/>
  <Override PartName="/ppt/slideLayouts/slideLayout10732.xml" ContentType="application/vnd.openxmlformats-officedocument.presentationml.slideLayout+xml"/>
  <Override PartName="/ppt/slideLayouts/slideLayout10733.xml" ContentType="application/vnd.openxmlformats-officedocument.presentationml.slideLayout+xml"/>
  <Override PartName="/ppt/slideLayouts/slideLayout10734.xml" ContentType="application/vnd.openxmlformats-officedocument.presentationml.slideLayout+xml"/>
  <Override PartName="/ppt/slideLayouts/slideLayout10735.xml" ContentType="application/vnd.openxmlformats-officedocument.presentationml.slideLayout+xml"/>
  <Override PartName="/ppt/slideLayouts/slideLayout10736.xml" ContentType="application/vnd.openxmlformats-officedocument.presentationml.slideLayout+xml"/>
  <Override PartName="/ppt/slideLayouts/slideLayout10737.xml" ContentType="application/vnd.openxmlformats-officedocument.presentationml.slideLayout+xml"/>
  <Override PartName="/ppt/slideLayouts/slideLayout10738.xml" ContentType="application/vnd.openxmlformats-officedocument.presentationml.slideLayout+xml"/>
  <Override PartName="/ppt/slideLayouts/slideLayout10739.xml" ContentType="application/vnd.openxmlformats-officedocument.presentationml.slideLayout+xml"/>
  <Override PartName="/ppt/slideLayouts/slideLayout10740.xml" ContentType="application/vnd.openxmlformats-officedocument.presentationml.slideLayout+xml"/>
  <Override PartName="/ppt/slideLayouts/slideLayout10741.xml" ContentType="application/vnd.openxmlformats-officedocument.presentationml.slideLayout+xml"/>
  <Override PartName="/ppt/slideLayouts/slideLayout10742.xml" ContentType="application/vnd.openxmlformats-officedocument.presentationml.slideLayout+xml"/>
  <Override PartName="/ppt/slideLayouts/slideLayout10743.xml" ContentType="application/vnd.openxmlformats-officedocument.presentationml.slideLayout+xml"/>
  <Override PartName="/ppt/slideLayouts/slideLayout10744.xml" ContentType="application/vnd.openxmlformats-officedocument.presentationml.slideLayout+xml"/>
  <Override PartName="/ppt/slideLayouts/slideLayout10745.xml" ContentType="application/vnd.openxmlformats-officedocument.presentationml.slideLayout+xml"/>
  <Override PartName="/ppt/slideLayouts/slideLayout10746.xml" ContentType="application/vnd.openxmlformats-officedocument.presentationml.slideLayout+xml"/>
  <Override PartName="/ppt/slideLayouts/slideLayout10747.xml" ContentType="application/vnd.openxmlformats-officedocument.presentationml.slideLayout+xml"/>
  <Override PartName="/ppt/slideLayouts/slideLayout10748.xml" ContentType="application/vnd.openxmlformats-officedocument.presentationml.slideLayout+xml"/>
  <Override PartName="/ppt/slideLayouts/slideLayout10749.xml" ContentType="application/vnd.openxmlformats-officedocument.presentationml.slideLayout+xml"/>
  <Override PartName="/ppt/slideLayouts/slideLayout10750.xml" ContentType="application/vnd.openxmlformats-officedocument.presentationml.slideLayout+xml"/>
  <Override PartName="/ppt/slideLayouts/slideLayout10751.xml" ContentType="application/vnd.openxmlformats-officedocument.presentationml.slideLayout+xml"/>
  <Override PartName="/ppt/slideLayouts/slideLayout10752.xml" ContentType="application/vnd.openxmlformats-officedocument.presentationml.slideLayout+xml"/>
  <Override PartName="/ppt/slideLayouts/slideLayout10753.xml" ContentType="application/vnd.openxmlformats-officedocument.presentationml.slideLayout+xml"/>
  <Override PartName="/ppt/slideLayouts/slideLayout10754.xml" ContentType="application/vnd.openxmlformats-officedocument.presentationml.slideLayout+xml"/>
  <Override PartName="/ppt/slideLayouts/slideLayout10755.xml" ContentType="application/vnd.openxmlformats-officedocument.presentationml.slideLayout+xml"/>
  <Override PartName="/ppt/slideLayouts/slideLayout10756.xml" ContentType="application/vnd.openxmlformats-officedocument.presentationml.slideLayout+xml"/>
  <Override PartName="/ppt/slideLayouts/slideLayout10757.xml" ContentType="application/vnd.openxmlformats-officedocument.presentationml.slideLayout+xml"/>
  <Override PartName="/ppt/slideLayouts/slideLayout10758.xml" ContentType="application/vnd.openxmlformats-officedocument.presentationml.slideLayout+xml"/>
  <Override PartName="/ppt/slideLayouts/slideLayout10759.xml" ContentType="application/vnd.openxmlformats-officedocument.presentationml.slideLayout+xml"/>
  <Override PartName="/ppt/slideLayouts/slideLayout10760.xml" ContentType="application/vnd.openxmlformats-officedocument.presentationml.slideLayout+xml"/>
  <Override PartName="/ppt/slideLayouts/slideLayout10761.xml" ContentType="application/vnd.openxmlformats-officedocument.presentationml.slideLayout+xml"/>
  <Override PartName="/ppt/slideLayouts/slideLayout10762.xml" ContentType="application/vnd.openxmlformats-officedocument.presentationml.slideLayout+xml"/>
  <Override PartName="/ppt/slideLayouts/slideLayout10763.xml" ContentType="application/vnd.openxmlformats-officedocument.presentationml.slideLayout+xml"/>
  <Override PartName="/ppt/slideLayouts/slideLayout10764.xml" ContentType="application/vnd.openxmlformats-officedocument.presentationml.slideLayout+xml"/>
  <Override PartName="/ppt/slideLayouts/slideLayout10765.xml" ContentType="application/vnd.openxmlformats-officedocument.presentationml.slideLayout+xml"/>
  <Override PartName="/ppt/slideLayouts/slideLayout10766.xml" ContentType="application/vnd.openxmlformats-officedocument.presentationml.slideLayout+xml"/>
  <Override PartName="/ppt/slideLayouts/slideLayout10767.xml" ContentType="application/vnd.openxmlformats-officedocument.presentationml.slideLayout+xml"/>
  <Override PartName="/ppt/slideLayouts/slideLayout10768.xml" ContentType="application/vnd.openxmlformats-officedocument.presentationml.slideLayout+xml"/>
  <Override PartName="/ppt/slideLayouts/slideLayout10769.xml" ContentType="application/vnd.openxmlformats-officedocument.presentationml.slideLayout+xml"/>
  <Override PartName="/ppt/slideLayouts/slideLayout10770.xml" ContentType="application/vnd.openxmlformats-officedocument.presentationml.slideLayout+xml"/>
  <Override PartName="/ppt/slideLayouts/slideLayout10771.xml" ContentType="application/vnd.openxmlformats-officedocument.presentationml.slideLayout+xml"/>
  <Override PartName="/ppt/slideLayouts/slideLayout10772.xml" ContentType="application/vnd.openxmlformats-officedocument.presentationml.slideLayout+xml"/>
  <Override PartName="/ppt/slideLayouts/slideLayout10773.xml" ContentType="application/vnd.openxmlformats-officedocument.presentationml.slideLayout+xml"/>
  <Override PartName="/ppt/slideLayouts/slideLayout10774.xml" ContentType="application/vnd.openxmlformats-officedocument.presentationml.slideLayout+xml"/>
  <Override PartName="/ppt/slideLayouts/slideLayout10775.xml" ContentType="application/vnd.openxmlformats-officedocument.presentationml.slideLayout+xml"/>
  <Override PartName="/ppt/slideLayouts/slideLayout10776.xml" ContentType="application/vnd.openxmlformats-officedocument.presentationml.slideLayout+xml"/>
  <Override PartName="/ppt/slideLayouts/slideLayout10777.xml" ContentType="application/vnd.openxmlformats-officedocument.presentationml.slideLayout+xml"/>
  <Override PartName="/ppt/slideLayouts/slideLayout10778.xml" ContentType="application/vnd.openxmlformats-officedocument.presentationml.slideLayout+xml"/>
  <Override PartName="/ppt/slideLayouts/slideLayout10779.xml" ContentType="application/vnd.openxmlformats-officedocument.presentationml.slideLayout+xml"/>
  <Override PartName="/ppt/slideLayouts/slideLayout10780.xml" ContentType="application/vnd.openxmlformats-officedocument.presentationml.slideLayout+xml"/>
  <Override PartName="/ppt/slideLayouts/slideLayout10781.xml" ContentType="application/vnd.openxmlformats-officedocument.presentationml.slideLayout+xml"/>
  <Override PartName="/ppt/slideLayouts/slideLayout10782.xml" ContentType="application/vnd.openxmlformats-officedocument.presentationml.slideLayout+xml"/>
  <Override PartName="/ppt/slideLayouts/slideLayout10783.xml" ContentType="application/vnd.openxmlformats-officedocument.presentationml.slideLayout+xml"/>
  <Override PartName="/ppt/slideLayouts/slideLayout10784.xml" ContentType="application/vnd.openxmlformats-officedocument.presentationml.slideLayout+xml"/>
  <Override PartName="/ppt/slideLayouts/slideLayout10785.xml" ContentType="application/vnd.openxmlformats-officedocument.presentationml.slideLayout+xml"/>
  <Override PartName="/ppt/slideLayouts/slideLayout10786.xml" ContentType="application/vnd.openxmlformats-officedocument.presentationml.slideLayout+xml"/>
  <Override PartName="/ppt/slideLayouts/slideLayout10787.xml" ContentType="application/vnd.openxmlformats-officedocument.presentationml.slideLayout+xml"/>
  <Override PartName="/ppt/slideLayouts/slideLayout10788.xml" ContentType="application/vnd.openxmlformats-officedocument.presentationml.slideLayout+xml"/>
  <Override PartName="/ppt/slideLayouts/slideLayout10789.xml" ContentType="application/vnd.openxmlformats-officedocument.presentationml.slideLayout+xml"/>
  <Override PartName="/ppt/slideLayouts/slideLayout10790.xml" ContentType="application/vnd.openxmlformats-officedocument.presentationml.slideLayout+xml"/>
  <Override PartName="/ppt/slideLayouts/slideLayout10791.xml" ContentType="application/vnd.openxmlformats-officedocument.presentationml.slideLayout+xml"/>
  <Override PartName="/ppt/slideLayouts/slideLayout10792.xml" ContentType="application/vnd.openxmlformats-officedocument.presentationml.slideLayout+xml"/>
  <Override PartName="/ppt/slideLayouts/slideLayout10793.xml" ContentType="application/vnd.openxmlformats-officedocument.presentationml.slideLayout+xml"/>
  <Override PartName="/ppt/slideLayouts/slideLayout10794.xml" ContentType="application/vnd.openxmlformats-officedocument.presentationml.slideLayout+xml"/>
  <Override PartName="/ppt/slideLayouts/slideLayout10795.xml" ContentType="application/vnd.openxmlformats-officedocument.presentationml.slideLayout+xml"/>
  <Override PartName="/ppt/slideLayouts/slideLayout10796.xml" ContentType="application/vnd.openxmlformats-officedocument.presentationml.slideLayout+xml"/>
  <Override PartName="/ppt/slideLayouts/slideLayout10797.xml" ContentType="application/vnd.openxmlformats-officedocument.presentationml.slideLayout+xml"/>
  <Override PartName="/ppt/slideLayouts/slideLayout10798.xml" ContentType="application/vnd.openxmlformats-officedocument.presentationml.slideLayout+xml"/>
  <Override PartName="/ppt/slideLayouts/slideLayout10799.xml" ContentType="application/vnd.openxmlformats-officedocument.presentationml.slideLayout+xml"/>
  <Override PartName="/ppt/slideLayouts/slideLayout10800.xml" ContentType="application/vnd.openxmlformats-officedocument.presentationml.slideLayout+xml"/>
  <Override PartName="/ppt/slideLayouts/slideLayout10801.xml" ContentType="application/vnd.openxmlformats-officedocument.presentationml.slideLayout+xml"/>
  <Override PartName="/ppt/slideLayouts/slideLayout10802.xml" ContentType="application/vnd.openxmlformats-officedocument.presentationml.slideLayout+xml"/>
  <Override PartName="/ppt/slideLayouts/slideLayout10803.xml" ContentType="application/vnd.openxmlformats-officedocument.presentationml.slideLayout+xml"/>
  <Override PartName="/ppt/slideLayouts/slideLayout10804.xml" ContentType="application/vnd.openxmlformats-officedocument.presentationml.slideLayout+xml"/>
  <Override PartName="/ppt/slideLayouts/slideLayout10805.xml" ContentType="application/vnd.openxmlformats-officedocument.presentationml.slideLayout+xml"/>
  <Override PartName="/ppt/slideLayouts/slideLayout10806.xml" ContentType="application/vnd.openxmlformats-officedocument.presentationml.slideLayout+xml"/>
  <Override PartName="/ppt/slideLayouts/slideLayout10807.xml" ContentType="application/vnd.openxmlformats-officedocument.presentationml.slideLayout+xml"/>
  <Override PartName="/ppt/slideLayouts/slideLayout10808.xml" ContentType="application/vnd.openxmlformats-officedocument.presentationml.slideLayout+xml"/>
  <Override PartName="/ppt/slideLayouts/slideLayout10809.xml" ContentType="application/vnd.openxmlformats-officedocument.presentationml.slideLayout+xml"/>
  <Override PartName="/ppt/slideLayouts/slideLayout10810.xml" ContentType="application/vnd.openxmlformats-officedocument.presentationml.slideLayout+xml"/>
  <Override PartName="/ppt/slideLayouts/slideLayout10811.xml" ContentType="application/vnd.openxmlformats-officedocument.presentationml.slideLayout+xml"/>
  <Override PartName="/ppt/slideLayouts/slideLayout10812.xml" ContentType="application/vnd.openxmlformats-officedocument.presentationml.slideLayout+xml"/>
  <Override PartName="/ppt/slideLayouts/slideLayout10813.xml" ContentType="application/vnd.openxmlformats-officedocument.presentationml.slideLayout+xml"/>
  <Override PartName="/ppt/slideLayouts/slideLayout10814.xml" ContentType="application/vnd.openxmlformats-officedocument.presentationml.slideLayout+xml"/>
  <Override PartName="/ppt/slideLayouts/slideLayout10815.xml" ContentType="application/vnd.openxmlformats-officedocument.presentationml.slideLayout+xml"/>
  <Override PartName="/ppt/slideLayouts/slideLayout10816.xml" ContentType="application/vnd.openxmlformats-officedocument.presentationml.slideLayout+xml"/>
  <Override PartName="/ppt/slideLayouts/slideLayout10817.xml" ContentType="application/vnd.openxmlformats-officedocument.presentationml.slideLayout+xml"/>
  <Override PartName="/ppt/slideLayouts/slideLayout10818.xml" ContentType="application/vnd.openxmlformats-officedocument.presentationml.slideLayout+xml"/>
  <Override PartName="/ppt/slideLayouts/slideLayout10819.xml" ContentType="application/vnd.openxmlformats-officedocument.presentationml.slideLayout+xml"/>
  <Override PartName="/ppt/slideLayouts/slideLayout10820.xml" ContentType="application/vnd.openxmlformats-officedocument.presentationml.slideLayout+xml"/>
  <Override PartName="/ppt/slideLayouts/slideLayout10821.xml" ContentType="application/vnd.openxmlformats-officedocument.presentationml.slideLayout+xml"/>
  <Override PartName="/ppt/slideLayouts/slideLayout10822.xml" ContentType="application/vnd.openxmlformats-officedocument.presentationml.slideLayout+xml"/>
  <Override PartName="/ppt/slideLayouts/slideLayout10823.xml" ContentType="application/vnd.openxmlformats-officedocument.presentationml.slideLayout+xml"/>
  <Override PartName="/ppt/slideLayouts/slideLayout10824.xml" ContentType="application/vnd.openxmlformats-officedocument.presentationml.slideLayout+xml"/>
  <Override PartName="/ppt/slideLayouts/slideLayout10825.xml" ContentType="application/vnd.openxmlformats-officedocument.presentationml.slideLayout+xml"/>
  <Override PartName="/ppt/slideLayouts/slideLayout10826.xml" ContentType="application/vnd.openxmlformats-officedocument.presentationml.slideLayout+xml"/>
  <Override PartName="/ppt/slideLayouts/slideLayout10827.xml" ContentType="application/vnd.openxmlformats-officedocument.presentationml.slideLayout+xml"/>
  <Override PartName="/ppt/slideLayouts/slideLayout10828.xml" ContentType="application/vnd.openxmlformats-officedocument.presentationml.slideLayout+xml"/>
  <Override PartName="/ppt/slideLayouts/slideLayout10829.xml" ContentType="application/vnd.openxmlformats-officedocument.presentationml.slideLayout+xml"/>
  <Override PartName="/ppt/slideLayouts/slideLayout10830.xml" ContentType="application/vnd.openxmlformats-officedocument.presentationml.slideLayout+xml"/>
  <Override PartName="/ppt/slideLayouts/slideLayout10831.xml" ContentType="application/vnd.openxmlformats-officedocument.presentationml.slideLayout+xml"/>
  <Override PartName="/ppt/slideLayouts/slideLayout10832.xml" ContentType="application/vnd.openxmlformats-officedocument.presentationml.slideLayout+xml"/>
  <Override PartName="/ppt/slideLayouts/slideLayout10833.xml" ContentType="application/vnd.openxmlformats-officedocument.presentationml.slideLayout+xml"/>
  <Override PartName="/ppt/slideLayouts/slideLayout10834.xml" ContentType="application/vnd.openxmlformats-officedocument.presentationml.slideLayout+xml"/>
  <Override PartName="/ppt/slideLayouts/slideLayout10835.xml" ContentType="application/vnd.openxmlformats-officedocument.presentationml.slideLayout+xml"/>
  <Override PartName="/ppt/slideLayouts/slideLayout10836.xml" ContentType="application/vnd.openxmlformats-officedocument.presentationml.slideLayout+xml"/>
  <Override PartName="/ppt/slideLayouts/slideLayout10837.xml" ContentType="application/vnd.openxmlformats-officedocument.presentationml.slideLayout+xml"/>
  <Override PartName="/ppt/slideLayouts/slideLayout10838.xml" ContentType="application/vnd.openxmlformats-officedocument.presentationml.slideLayout+xml"/>
  <Override PartName="/ppt/slideLayouts/slideLayout10839.xml" ContentType="application/vnd.openxmlformats-officedocument.presentationml.slideLayout+xml"/>
  <Override PartName="/ppt/slideLayouts/slideLayout10840.xml" ContentType="application/vnd.openxmlformats-officedocument.presentationml.slideLayout+xml"/>
  <Override PartName="/ppt/slideLayouts/slideLayout10841.xml" ContentType="application/vnd.openxmlformats-officedocument.presentationml.slideLayout+xml"/>
  <Override PartName="/ppt/slideLayouts/slideLayout10842.xml" ContentType="application/vnd.openxmlformats-officedocument.presentationml.slideLayout+xml"/>
  <Override PartName="/ppt/slideLayouts/slideLayout10843.xml" ContentType="application/vnd.openxmlformats-officedocument.presentationml.slideLayout+xml"/>
  <Override PartName="/ppt/slideLayouts/slideLayout10844.xml" ContentType="application/vnd.openxmlformats-officedocument.presentationml.slideLayout+xml"/>
  <Override PartName="/ppt/slideLayouts/slideLayout10845.xml" ContentType="application/vnd.openxmlformats-officedocument.presentationml.slideLayout+xml"/>
  <Override PartName="/ppt/slideLayouts/slideLayout10846.xml" ContentType="application/vnd.openxmlformats-officedocument.presentationml.slideLayout+xml"/>
  <Override PartName="/ppt/slideLayouts/slideLayout10847.xml" ContentType="application/vnd.openxmlformats-officedocument.presentationml.slideLayout+xml"/>
  <Override PartName="/ppt/slideLayouts/slideLayout10848.xml" ContentType="application/vnd.openxmlformats-officedocument.presentationml.slideLayout+xml"/>
  <Override PartName="/ppt/slideLayouts/slideLayout10849.xml" ContentType="application/vnd.openxmlformats-officedocument.presentationml.slideLayout+xml"/>
  <Override PartName="/ppt/slideLayouts/slideLayout10850.xml" ContentType="application/vnd.openxmlformats-officedocument.presentationml.slideLayout+xml"/>
  <Override PartName="/ppt/slideLayouts/slideLayout10851.xml" ContentType="application/vnd.openxmlformats-officedocument.presentationml.slideLayout+xml"/>
  <Override PartName="/ppt/slideLayouts/slideLayout10852.xml" ContentType="application/vnd.openxmlformats-officedocument.presentationml.slideLayout+xml"/>
  <Override PartName="/ppt/slideLayouts/slideLayout10853.xml" ContentType="application/vnd.openxmlformats-officedocument.presentationml.slideLayout+xml"/>
  <Override PartName="/ppt/slideLayouts/slideLayout10854.xml" ContentType="application/vnd.openxmlformats-officedocument.presentationml.slideLayout+xml"/>
  <Override PartName="/ppt/slideLayouts/slideLayout10855.xml" ContentType="application/vnd.openxmlformats-officedocument.presentationml.slideLayout+xml"/>
  <Override PartName="/ppt/slideLayouts/slideLayout10856.xml" ContentType="application/vnd.openxmlformats-officedocument.presentationml.slideLayout+xml"/>
  <Override PartName="/ppt/slideLayouts/slideLayout10857.xml" ContentType="application/vnd.openxmlformats-officedocument.presentationml.slideLayout+xml"/>
  <Override PartName="/ppt/slideLayouts/slideLayout10858.xml" ContentType="application/vnd.openxmlformats-officedocument.presentationml.slideLayout+xml"/>
  <Override PartName="/ppt/slideLayouts/slideLayout10859.xml" ContentType="application/vnd.openxmlformats-officedocument.presentationml.slideLayout+xml"/>
  <Override PartName="/ppt/slideLayouts/slideLayout10860.xml" ContentType="application/vnd.openxmlformats-officedocument.presentationml.slideLayout+xml"/>
  <Override PartName="/ppt/slideLayouts/slideLayout10861.xml" ContentType="application/vnd.openxmlformats-officedocument.presentationml.slideLayout+xml"/>
  <Override PartName="/ppt/slideLayouts/slideLayout10862.xml" ContentType="application/vnd.openxmlformats-officedocument.presentationml.slideLayout+xml"/>
  <Override PartName="/ppt/slideLayouts/slideLayout10863.xml" ContentType="application/vnd.openxmlformats-officedocument.presentationml.slideLayout+xml"/>
  <Override PartName="/ppt/slideLayouts/slideLayout10864.xml" ContentType="application/vnd.openxmlformats-officedocument.presentationml.slideLayout+xml"/>
  <Override PartName="/ppt/slideLayouts/slideLayout10865.xml" ContentType="application/vnd.openxmlformats-officedocument.presentationml.slideLayout+xml"/>
  <Override PartName="/ppt/slideLayouts/slideLayout10866.xml" ContentType="application/vnd.openxmlformats-officedocument.presentationml.slideLayout+xml"/>
  <Override PartName="/ppt/slideLayouts/slideLayout10867.xml" ContentType="application/vnd.openxmlformats-officedocument.presentationml.slideLayout+xml"/>
  <Override PartName="/ppt/slideLayouts/slideLayout10868.xml" ContentType="application/vnd.openxmlformats-officedocument.presentationml.slideLayout+xml"/>
  <Override PartName="/ppt/slideLayouts/slideLayout10869.xml" ContentType="application/vnd.openxmlformats-officedocument.presentationml.slideLayout+xml"/>
  <Override PartName="/ppt/slideLayouts/slideLayout10870.xml" ContentType="application/vnd.openxmlformats-officedocument.presentationml.slideLayout+xml"/>
  <Override PartName="/ppt/slideLayouts/slideLayout10871.xml" ContentType="application/vnd.openxmlformats-officedocument.presentationml.slideLayout+xml"/>
  <Override PartName="/ppt/slideLayouts/slideLayout10872.xml" ContentType="application/vnd.openxmlformats-officedocument.presentationml.slideLayout+xml"/>
  <Override PartName="/ppt/slideLayouts/slideLayout10873.xml" ContentType="application/vnd.openxmlformats-officedocument.presentationml.slideLayout+xml"/>
  <Override PartName="/ppt/slideLayouts/slideLayout10874.xml" ContentType="application/vnd.openxmlformats-officedocument.presentationml.slideLayout+xml"/>
  <Override PartName="/ppt/slideLayouts/slideLayout10875.xml" ContentType="application/vnd.openxmlformats-officedocument.presentationml.slideLayout+xml"/>
  <Override PartName="/ppt/slideLayouts/slideLayout10876.xml" ContentType="application/vnd.openxmlformats-officedocument.presentationml.slideLayout+xml"/>
  <Override PartName="/ppt/slideLayouts/slideLayout10877.xml" ContentType="application/vnd.openxmlformats-officedocument.presentationml.slideLayout+xml"/>
  <Override PartName="/ppt/slideLayouts/slideLayout10878.xml" ContentType="application/vnd.openxmlformats-officedocument.presentationml.slideLayout+xml"/>
  <Override PartName="/ppt/slideLayouts/slideLayout10879.xml" ContentType="application/vnd.openxmlformats-officedocument.presentationml.slideLayout+xml"/>
  <Override PartName="/ppt/slideLayouts/slideLayout10880.xml" ContentType="application/vnd.openxmlformats-officedocument.presentationml.slideLayout+xml"/>
  <Override PartName="/ppt/slideLayouts/slideLayout10881.xml" ContentType="application/vnd.openxmlformats-officedocument.presentationml.slideLayout+xml"/>
  <Override PartName="/ppt/slideLayouts/slideLayout10882.xml" ContentType="application/vnd.openxmlformats-officedocument.presentationml.slideLayout+xml"/>
  <Override PartName="/ppt/slideLayouts/slideLayout10883.xml" ContentType="application/vnd.openxmlformats-officedocument.presentationml.slideLayout+xml"/>
  <Override PartName="/ppt/slideLayouts/slideLayout10884.xml" ContentType="application/vnd.openxmlformats-officedocument.presentationml.slideLayout+xml"/>
  <Override PartName="/ppt/slideLayouts/slideLayout10885.xml" ContentType="application/vnd.openxmlformats-officedocument.presentationml.slideLayout+xml"/>
  <Override PartName="/ppt/slideLayouts/slideLayout10886.xml" ContentType="application/vnd.openxmlformats-officedocument.presentationml.slideLayout+xml"/>
  <Override PartName="/ppt/slideLayouts/slideLayout10887.xml" ContentType="application/vnd.openxmlformats-officedocument.presentationml.slideLayout+xml"/>
  <Override PartName="/ppt/slideLayouts/slideLayout10888.xml" ContentType="application/vnd.openxmlformats-officedocument.presentationml.slideLayout+xml"/>
  <Override PartName="/ppt/slideLayouts/slideLayout10889.xml" ContentType="application/vnd.openxmlformats-officedocument.presentationml.slideLayout+xml"/>
  <Override PartName="/ppt/slideLayouts/slideLayout10890.xml" ContentType="application/vnd.openxmlformats-officedocument.presentationml.slideLayout+xml"/>
  <Override PartName="/ppt/slideLayouts/slideLayout10891.xml" ContentType="application/vnd.openxmlformats-officedocument.presentationml.slideLayout+xml"/>
  <Override PartName="/ppt/slideLayouts/slideLayout10892.xml" ContentType="application/vnd.openxmlformats-officedocument.presentationml.slideLayout+xml"/>
  <Override PartName="/ppt/slideLayouts/slideLayout10893.xml" ContentType="application/vnd.openxmlformats-officedocument.presentationml.slideLayout+xml"/>
  <Override PartName="/ppt/slideLayouts/slideLayout10894.xml" ContentType="application/vnd.openxmlformats-officedocument.presentationml.slideLayout+xml"/>
  <Override PartName="/ppt/slideLayouts/slideLayout10895.xml" ContentType="application/vnd.openxmlformats-officedocument.presentationml.slideLayout+xml"/>
  <Override PartName="/ppt/slideLayouts/slideLayout10896.xml" ContentType="application/vnd.openxmlformats-officedocument.presentationml.slideLayout+xml"/>
  <Override PartName="/ppt/slideLayouts/slideLayout10897.xml" ContentType="application/vnd.openxmlformats-officedocument.presentationml.slideLayout+xml"/>
  <Override PartName="/ppt/slideLayouts/slideLayout10898.xml" ContentType="application/vnd.openxmlformats-officedocument.presentationml.slideLayout+xml"/>
  <Override PartName="/ppt/slideLayouts/slideLayout10899.xml" ContentType="application/vnd.openxmlformats-officedocument.presentationml.slideLayout+xml"/>
  <Override PartName="/ppt/slideLayouts/slideLayout10900.xml" ContentType="application/vnd.openxmlformats-officedocument.presentationml.slideLayout+xml"/>
  <Override PartName="/ppt/slideLayouts/slideLayout10901.xml" ContentType="application/vnd.openxmlformats-officedocument.presentationml.slideLayout+xml"/>
  <Override PartName="/ppt/slideLayouts/slideLayout10902.xml" ContentType="application/vnd.openxmlformats-officedocument.presentationml.slideLayout+xml"/>
  <Override PartName="/ppt/slideLayouts/slideLayout10903.xml" ContentType="application/vnd.openxmlformats-officedocument.presentationml.slideLayout+xml"/>
  <Override PartName="/ppt/slideLayouts/slideLayout10904.xml" ContentType="application/vnd.openxmlformats-officedocument.presentationml.slideLayout+xml"/>
  <Override PartName="/ppt/slideLayouts/slideLayout10905.xml" ContentType="application/vnd.openxmlformats-officedocument.presentationml.slideLayout+xml"/>
  <Override PartName="/ppt/slideLayouts/slideLayout10906.xml" ContentType="application/vnd.openxmlformats-officedocument.presentationml.slideLayout+xml"/>
  <Override PartName="/ppt/slideLayouts/slideLayout10907.xml" ContentType="application/vnd.openxmlformats-officedocument.presentationml.slideLayout+xml"/>
  <Override PartName="/ppt/slideLayouts/slideLayout10908.xml" ContentType="application/vnd.openxmlformats-officedocument.presentationml.slideLayout+xml"/>
  <Override PartName="/ppt/slideLayouts/slideLayout10909.xml" ContentType="application/vnd.openxmlformats-officedocument.presentationml.slideLayout+xml"/>
  <Override PartName="/ppt/slideLayouts/slideLayout10910.xml" ContentType="application/vnd.openxmlformats-officedocument.presentationml.slideLayout+xml"/>
  <Override PartName="/ppt/slideLayouts/slideLayout10911.xml" ContentType="application/vnd.openxmlformats-officedocument.presentationml.slideLayout+xml"/>
  <Override PartName="/ppt/slideLayouts/slideLayout10912.xml" ContentType="application/vnd.openxmlformats-officedocument.presentationml.slideLayout+xml"/>
  <Override PartName="/ppt/slideLayouts/slideLayout10913.xml" ContentType="application/vnd.openxmlformats-officedocument.presentationml.slideLayout+xml"/>
  <Override PartName="/ppt/slideLayouts/slideLayout10914.xml" ContentType="application/vnd.openxmlformats-officedocument.presentationml.slideLayout+xml"/>
  <Override PartName="/ppt/slideLayouts/slideLayout10915.xml" ContentType="application/vnd.openxmlformats-officedocument.presentationml.slideLayout+xml"/>
  <Override PartName="/ppt/slideLayouts/slideLayout10916.xml" ContentType="application/vnd.openxmlformats-officedocument.presentationml.slideLayout+xml"/>
  <Override PartName="/ppt/slideLayouts/slideLayout10917.xml" ContentType="application/vnd.openxmlformats-officedocument.presentationml.slideLayout+xml"/>
  <Override PartName="/ppt/slideLayouts/slideLayout10918.xml" ContentType="application/vnd.openxmlformats-officedocument.presentationml.slideLayout+xml"/>
  <Override PartName="/ppt/slideLayouts/slideLayout10919.xml" ContentType="application/vnd.openxmlformats-officedocument.presentationml.slideLayout+xml"/>
  <Override PartName="/ppt/slideLayouts/slideLayout10920.xml" ContentType="application/vnd.openxmlformats-officedocument.presentationml.slideLayout+xml"/>
  <Override PartName="/ppt/slideLayouts/slideLayout10921.xml" ContentType="application/vnd.openxmlformats-officedocument.presentationml.slideLayout+xml"/>
  <Override PartName="/ppt/slideLayouts/slideLayout10922.xml" ContentType="application/vnd.openxmlformats-officedocument.presentationml.slideLayout+xml"/>
  <Override PartName="/ppt/slideLayouts/slideLayout10923.xml" ContentType="application/vnd.openxmlformats-officedocument.presentationml.slideLayout+xml"/>
  <Override PartName="/ppt/slideLayouts/slideLayout10924.xml" ContentType="application/vnd.openxmlformats-officedocument.presentationml.slideLayout+xml"/>
  <Override PartName="/ppt/slideLayouts/slideLayout10925.xml" ContentType="application/vnd.openxmlformats-officedocument.presentationml.slideLayout+xml"/>
  <Override PartName="/ppt/slideLayouts/slideLayout10926.xml" ContentType="application/vnd.openxmlformats-officedocument.presentationml.slideLayout+xml"/>
  <Override PartName="/ppt/slideLayouts/slideLayout10927.xml" ContentType="application/vnd.openxmlformats-officedocument.presentationml.slideLayout+xml"/>
  <Override PartName="/ppt/slideLayouts/slideLayout10928.xml" ContentType="application/vnd.openxmlformats-officedocument.presentationml.slideLayout+xml"/>
  <Override PartName="/ppt/slideLayouts/slideLayout10929.xml" ContentType="application/vnd.openxmlformats-officedocument.presentationml.slideLayout+xml"/>
  <Override PartName="/ppt/slideLayouts/slideLayout10930.xml" ContentType="application/vnd.openxmlformats-officedocument.presentationml.slideLayout+xml"/>
  <Override PartName="/ppt/slideLayouts/slideLayout10931.xml" ContentType="application/vnd.openxmlformats-officedocument.presentationml.slideLayout+xml"/>
  <Override PartName="/ppt/slideLayouts/slideLayout10932.xml" ContentType="application/vnd.openxmlformats-officedocument.presentationml.slideLayout+xml"/>
  <Override PartName="/ppt/slideLayouts/slideLayout10933.xml" ContentType="application/vnd.openxmlformats-officedocument.presentationml.slideLayout+xml"/>
  <Override PartName="/ppt/slideLayouts/slideLayout10934.xml" ContentType="application/vnd.openxmlformats-officedocument.presentationml.slideLayout+xml"/>
  <Override PartName="/ppt/slideLayouts/slideLayout10935.xml" ContentType="application/vnd.openxmlformats-officedocument.presentationml.slideLayout+xml"/>
  <Override PartName="/ppt/slideLayouts/slideLayout10936.xml" ContentType="application/vnd.openxmlformats-officedocument.presentationml.slideLayout+xml"/>
  <Override PartName="/ppt/slideLayouts/slideLayout10937.xml" ContentType="application/vnd.openxmlformats-officedocument.presentationml.slideLayout+xml"/>
  <Override PartName="/ppt/slideLayouts/slideLayout10938.xml" ContentType="application/vnd.openxmlformats-officedocument.presentationml.slideLayout+xml"/>
  <Override PartName="/ppt/slideLayouts/slideLayout10939.xml" ContentType="application/vnd.openxmlformats-officedocument.presentationml.slideLayout+xml"/>
  <Override PartName="/ppt/slideLayouts/slideLayout10940.xml" ContentType="application/vnd.openxmlformats-officedocument.presentationml.slideLayout+xml"/>
  <Override PartName="/ppt/slideLayouts/slideLayout10941.xml" ContentType="application/vnd.openxmlformats-officedocument.presentationml.slideLayout+xml"/>
  <Override PartName="/ppt/slideLayouts/slideLayout10942.xml" ContentType="application/vnd.openxmlformats-officedocument.presentationml.slideLayout+xml"/>
  <Override PartName="/ppt/slideLayouts/slideLayout10943.xml" ContentType="application/vnd.openxmlformats-officedocument.presentationml.slideLayout+xml"/>
  <Override PartName="/ppt/slideLayouts/slideLayout10944.xml" ContentType="application/vnd.openxmlformats-officedocument.presentationml.slideLayout+xml"/>
  <Override PartName="/ppt/slideLayouts/slideLayout10945.xml" ContentType="application/vnd.openxmlformats-officedocument.presentationml.slideLayout+xml"/>
  <Override PartName="/ppt/slideLayouts/slideLayout10946.xml" ContentType="application/vnd.openxmlformats-officedocument.presentationml.slideLayout+xml"/>
  <Override PartName="/ppt/slideLayouts/slideLayout10947.xml" ContentType="application/vnd.openxmlformats-officedocument.presentationml.slideLayout+xml"/>
  <Override PartName="/ppt/slideLayouts/slideLayout10948.xml" ContentType="application/vnd.openxmlformats-officedocument.presentationml.slideLayout+xml"/>
  <Override PartName="/ppt/slideLayouts/slideLayout10949.xml" ContentType="application/vnd.openxmlformats-officedocument.presentationml.slideLayout+xml"/>
  <Override PartName="/ppt/slideLayouts/slideLayout10950.xml" ContentType="application/vnd.openxmlformats-officedocument.presentationml.slideLayout+xml"/>
  <Override PartName="/ppt/slideLayouts/slideLayout10951.xml" ContentType="application/vnd.openxmlformats-officedocument.presentationml.slideLayout+xml"/>
  <Override PartName="/ppt/slideLayouts/slideLayout10952.xml" ContentType="application/vnd.openxmlformats-officedocument.presentationml.slideLayout+xml"/>
  <Override PartName="/ppt/slideLayouts/slideLayout10953.xml" ContentType="application/vnd.openxmlformats-officedocument.presentationml.slideLayout+xml"/>
  <Override PartName="/ppt/slideLayouts/slideLayout10954.xml" ContentType="application/vnd.openxmlformats-officedocument.presentationml.slideLayout+xml"/>
  <Override PartName="/ppt/slideLayouts/slideLayout10955.xml" ContentType="application/vnd.openxmlformats-officedocument.presentationml.slideLayout+xml"/>
  <Override PartName="/ppt/slideLayouts/slideLayout10956.xml" ContentType="application/vnd.openxmlformats-officedocument.presentationml.slideLayout+xml"/>
  <Override PartName="/ppt/slideLayouts/slideLayout10957.xml" ContentType="application/vnd.openxmlformats-officedocument.presentationml.slideLayout+xml"/>
  <Override PartName="/ppt/slideLayouts/slideLayout10958.xml" ContentType="application/vnd.openxmlformats-officedocument.presentationml.slideLayout+xml"/>
  <Override PartName="/ppt/slideLayouts/slideLayout10959.xml" ContentType="application/vnd.openxmlformats-officedocument.presentationml.slideLayout+xml"/>
  <Override PartName="/ppt/slideLayouts/slideLayout10960.xml" ContentType="application/vnd.openxmlformats-officedocument.presentationml.slideLayout+xml"/>
  <Override PartName="/ppt/slideLayouts/slideLayout10961.xml" ContentType="application/vnd.openxmlformats-officedocument.presentationml.slideLayout+xml"/>
  <Override PartName="/ppt/slideLayouts/slideLayout10962.xml" ContentType="application/vnd.openxmlformats-officedocument.presentationml.slideLayout+xml"/>
  <Override PartName="/ppt/slideLayouts/slideLayout10963.xml" ContentType="application/vnd.openxmlformats-officedocument.presentationml.slideLayout+xml"/>
  <Override PartName="/ppt/slideLayouts/slideLayout10964.xml" ContentType="application/vnd.openxmlformats-officedocument.presentationml.slideLayout+xml"/>
  <Override PartName="/ppt/slideLayouts/slideLayout10965.xml" ContentType="application/vnd.openxmlformats-officedocument.presentationml.slideLayout+xml"/>
  <Override PartName="/ppt/slideLayouts/slideLayout10966.xml" ContentType="application/vnd.openxmlformats-officedocument.presentationml.slideLayout+xml"/>
  <Override PartName="/ppt/slideLayouts/slideLayout10967.xml" ContentType="application/vnd.openxmlformats-officedocument.presentationml.slideLayout+xml"/>
  <Override PartName="/ppt/slideLayouts/slideLayout10968.xml" ContentType="application/vnd.openxmlformats-officedocument.presentationml.slideLayout+xml"/>
  <Override PartName="/ppt/slideLayouts/slideLayout10969.xml" ContentType="application/vnd.openxmlformats-officedocument.presentationml.slideLayout+xml"/>
  <Override PartName="/ppt/slideLayouts/slideLayout10970.xml" ContentType="application/vnd.openxmlformats-officedocument.presentationml.slideLayout+xml"/>
  <Override PartName="/ppt/slideLayouts/slideLayout10971.xml" ContentType="application/vnd.openxmlformats-officedocument.presentationml.slideLayout+xml"/>
  <Override PartName="/ppt/slideLayouts/slideLayout10972.xml" ContentType="application/vnd.openxmlformats-officedocument.presentationml.slideLayout+xml"/>
  <Override PartName="/ppt/slideLayouts/slideLayout10973.xml" ContentType="application/vnd.openxmlformats-officedocument.presentationml.slideLayout+xml"/>
  <Override PartName="/ppt/slideLayouts/slideLayout10974.xml" ContentType="application/vnd.openxmlformats-officedocument.presentationml.slideLayout+xml"/>
  <Override PartName="/ppt/slideLayouts/slideLayout10975.xml" ContentType="application/vnd.openxmlformats-officedocument.presentationml.slideLayout+xml"/>
  <Override PartName="/ppt/slideLayouts/slideLayout10976.xml" ContentType="application/vnd.openxmlformats-officedocument.presentationml.slideLayout+xml"/>
  <Override PartName="/ppt/slideLayouts/slideLayout10977.xml" ContentType="application/vnd.openxmlformats-officedocument.presentationml.slideLayout+xml"/>
  <Override PartName="/ppt/slideLayouts/slideLayout10978.xml" ContentType="application/vnd.openxmlformats-officedocument.presentationml.slideLayout+xml"/>
  <Override PartName="/ppt/slideLayouts/slideLayout10979.xml" ContentType="application/vnd.openxmlformats-officedocument.presentationml.slideLayout+xml"/>
  <Override PartName="/ppt/slideLayouts/slideLayout10980.xml" ContentType="application/vnd.openxmlformats-officedocument.presentationml.slideLayout+xml"/>
  <Override PartName="/ppt/slideLayouts/slideLayout10981.xml" ContentType="application/vnd.openxmlformats-officedocument.presentationml.slideLayout+xml"/>
  <Override PartName="/ppt/slideLayouts/slideLayout10982.xml" ContentType="application/vnd.openxmlformats-officedocument.presentationml.slideLayout+xml"/>
  <Override PartName="/ppt/slideLayouts/slideLayout10983.xml" ContentType="application/vnd.openxmlformats-officedocument.presentationml.slideLayout+xml"/>
  <Override PartName="/ppt/slideLayouts/slideLayout10984.xml" ContentType="application/vnd.openxmlformats-officedocument.presentationml.slideLayout+xml"/>
  <Override PartName="/ppt/slideLayouts/slideLayout10985.xml" ContentType="application/vnd.openxmlformats-officedocument.presentationml.slideLayout+xml"/>
  <Override PartName="/ppt/slideLayouts/slideLayout10986.xml" ContentType="application/vnd.openxmlformats-officedocument.presentationml.slideLayout+xml"/>
  <Override PartName="/ppt/slideLayouts/slideLayout10987.xml" ContentType="application/vnd.openxmlformats-officedocument.presentationml.slideLayout+xml"/>
  <Override PartName="/ppt/slideLayouts/slideLayout10988.xml" ContentType="application/vnd.openxmlformats-officedocument.presentationml.slideLayout+xml"/>
  <Override PartName="/ppt/slideLayouts/slideLayout10989.xml" ContentType="application/vnd.openxmlformats-officedocument.presentationml.slideLayout+xml"/>
  <Override PartName="/ppt/slideLayouts/slideLayout10990.xml" ContentType="application/vnd.openxmlformats-officedocument.presentationml.slideLayout+xml"/>
  <Override PartName="/ppt/slideLayouts/slideLayout10991.xml" ContentType="application/vnd.openxmlformats-officedocument.presentationml.slideLayout+xml"/>
  <Override PartName="/ppt/slideLayouts/slideLayout10992.xml" ContentType="application/vnd.openxmlformats-officedocument.presentationml.slideLayout+xml"/>
  <Override PartName="/ppt/slideLayouts/slideLayout10993.xml" ContentType="application/vnd.openxmlformats-officedocument.presentationml.slideLayout+xml"/>
  <Override PartName="/ppt/slideLayouts/slideLayout10994.xml" ContentType="application/vnd.openxmlformats-officedocument.presentationml.slideLayout+xml"/>
  <Override PartName="/ppt/slideLayouts/slideLayout10995.xml" ContentType="application/vnd.openxmlformats-officedocument.presentationml.slideLayout+xml"/>
  <Override PartName="/ppt/slideLayouts/slideLayout10996.xml" ContentType="application/vnd.openxmlformats-officedocument.presentationml.slideLayout+xml"/>
  <Override PartName="/ppt/slideLayouts/slideLayout10997.xml" ContentType="application/vnd.openxmlformats-officedocument.presentationml.slideLayout+xml"/>
  <Override PartName="/ppt/slideLayouts/slideLayout10998.xml" ContentType="application/vnd.openxmlformats-officedocument.presentationml.slideLayout+xml"/>
  <Override PartName="/ppt/slideLayouts/slideLayout10999.xml" ContentType="application/vnd.openxmlformats-officedocument.presentationml.slideLayout+xml"/>
  <Override PartName="/ppt/slideLayouts/slideLayout11000.xml" ContentType="application/vnd.openxmlformats-officedocument.presentationml.slideLayout+xml"/>
  <Override PartName="/ppt/slideLayouts/slideLayout11001.xml" ContentType="application/vnd.openxmlformats-officedocument.presentationml.slideLayout+xml"/>
  <Override PartName="/ppt/slideLayouts/slideLayout11002.xml" ContentType="application/vnd.openxmlformats-officedocument.presentationml.slideLayout+xml"/>
  <Override PartName="/ppt/slideLayouts/slideLayout11003.xml" ContentType="application/vnd.openxmlformats-officedocument.presentationml.slideLayout+xml"/>
  <Override PartName="/ppt/slideLayouts/slideLayout11004.xml" ContentType="application/vnd.openxmlformats-officedocument.presentationml.slideLayout+xml"/>
  <Override PartName="/ppt/slideLayouts/slideLayout11005.xml" ContentType="application/vnd.openxmlformats-officedocument.presentationml.slideLayout+xml"/>
  <Override PartName="/ppt/slideLayouts/slideLayout11006.xml" ContentType="application/vnd.openxmlformats-officedocument.presentationml.slideLayout+xml"/>
  <Override PartName="/ppt/slideLayouts/slideLayout11007.xml" ContentType="application/vnd.openxmlformats-officedocument.presentationml.slideLayout+xml"/>
  <Override PartName="/ppt/slideLayouts/slideLayout11008.xml" ContentType="application/vnd.openxmlformats-officedocument.presentationml.slideLayout+xml"/>
  <Override PartName="/ppt/slideLayouts/slideLayout11009.xml" ContentType="application/vnd.openxmlformats-officedocument.presentationml.slideLayout+xml"/>
  <Override PartName="/ppt/slideLayouts/slideLayout11010.xml" ContentType="application/vnd.openxmlformats-officedocument.presentationml.slideLayout+xml"/>
  <Override PartName="/ppt/slideLayouts/slideLayout11011.xml" ContentType="application/vnd.openxmlformats-officedocument.presentationml.slideLayout+xml"/>
  <Override PartName="/ppt/slideLayouts/slideLayout11012.xml" ContentType="application/vnd.openxmlformats-officedocument.presentationml.slideLayout+xml"/>
  <Override PartName="/ppt/slideLayouts/slideLayout11013.xml" ContentType="application/vnd.openxmlformats-officedocument.presentationml.slideLayout+xml"/>
  <Override PartName="/ppt/slideLayouts/slideLayout11014.xml" ContentType="application/vnd.openxmlformats-officedocument.presentationml.slideLayout+xml"/>
  <Override PartName="/ppt/slideLayouts/slideLayout11015.xml" ContentType="application/vnd.openxmlformats-officedocument.presentationml.slideLayout+xml"/>
  <Override PartName="/ppt/slideLayouts/slideLayout11016.xml" ContentType="application/vnd.openxmlformats-officedocument.presentationml.slideLayout+xml"/>
  <Override PartName="/ppt/slideLayouts/slideLayout11017.xml" ContentType="application/vnd.openxmlformats-officedocument.presentationml.slideLayout+xml"/>
  <Override PartName="/ppt/slideLayouts/slideLayout11018.xml" ContentType="application/vnd.openxmlformats-officedocument.presentationml.slideLayout+xml"/>
  <Override PartName="/ppt/slideLayouts/slideLayout11019.xml" ContentType="application/vnd.openxmlformats-officedocument.presentationml.slideLayout+xml"/>
  <Override PartName="/ppt/slideLayouts/slideLayout11020.xml" ContentType="application/vnd.openxmlformats-officedocument.presentationml.slideLayout+xml"/>
  <Override PartName="/ppt/slideLayouts/slideLayout11021.xml" ContentType="application/vnd.openxmlformats-officedocument.presentationml.slideLayout+xml"/>
  <Override PartName="/ppt/slideLayouts/slideLayout11022.xml" ContentType="application/vnd.openxmlformats-officedocument.presentationml.slideLayout+xml"/>
  <Override PartName="/ppt/slideLayouts/slideLayout11023.xml" ContentType="application/vnd.openxmlformats-officedocument.presentationml.slideLayout+xml"/>
  <Override PartName="/ppt/slideLayouts/slideLayout11024.xml" ContentType="application/vnd.openxmlformats-officedocument.presentationml.slideLayout+xml"/>
  <Override PartName="/ppt/slideLayouts/slideLayout11025.xml" ContentType="application/vnd.openxmlformats-officedocument.presentationml.slideLayout+xml"/>
  <Override PartName="/ppt/slideLayouts/slideLayout11026.xml" ContentType="application/vnd.openxmlformats-officedocument.presentationml.slideLayout+xml"/>
  <Override PartName="/ppt/slideLayouts/slideLayout11027.xml" ContentType="application/vnd.openxmlformats-officedocument.presentationml.slideLayout+xml"/>
  <Override PartName="/ppt/slideLayouts/slideLayout11028.xml" ContentType="application/vnd.openxmlformats-officedocument.presentationml.slideLayout+xml"/>
  <Override PartName="/ppt/slideLayouts/slideLayout11029.xml" ContentType="application/vnd.openxmlformats-officedocument.presentationml.slideLayout+xml"/>
  <Override PartName="/ppt/slideLayouts/slideLayout11030.xml" ContentType="application/vnd.openxmlformats-officedocument.presentationml.slideLayout+xml"/>
  <Override PartName="/ppt/slideLayouts/slideLayout11031.xml" ContentType="application/vnd.openxmlformats-officedocument.presentationml.slideLayout+xml"/>
  <Override PartName="/ppt/slideLayouts/slideLayout11032.xml" ContentType="application/vnd.openxmlformats-officedocument.presentationml.slideLayout+xml"/>
  <Override PartName="/ppt/slideLayouts/slideLayout11033.xml" ContentType="application/vnd.openxmlformats-officedocument.presentationml.slideLayout+xml"/>
  <Override PartName="/ppt/slideLayouts/slideLayout11034.xml" ContentType="application/vnd.openxmlformats-officedocument.presentationml.slideLayout+xml"/>
  <Override PartName="/ppt/slideLayouts/slideLayout11035.xml" ContentType="application/vnd.openxmlformats-officedocument.presentationml.slideLayout+xml"/>
  <Override PartName="/ppt/slideLayouts/slideLayout11036.xml" ContentType="application/vnd.openxmlformats-officedocument.presentationml.slideLayout+xml"/>
  <Override PartName="/ppt/slideLayouts/slideLayout11037.xml" ContentType="application/vnd.openxmlformats-officedocument.presentationml.slideLayout+xml"/>
  <Override PartName="/ppt/slideLayouts/slideLayout11038.xml" ContentType="application/vnd.openxmlformats-officedocument.presentationml.slideLayout+xml"/>
  <Override PartName="/ppt/slideLayouts/slideLayout11039.xml" ContentType="application/vnd.openxmlformats-officedocument.presentationml.slideLayout+xml"/>
  <Override PartName="/ppt/slideLayouts/slideLayout11040.xml" ContentType="application/vnd.openxmlformats-officedocument.presentationml.slideLayout+xml"/>
  <Override PartName="/ppt/slideLayouts/slideLayout11041.xml" ContentType="application/vnd.openxmlformats-officedocument.presentationml.slideLayout+xml"/>
  <Override PartName="/ppt/slideLayouts/slideLayout11042.xml" ContentType="application/vnd.openxmlformats-officedocument.presentationml.slideLayout+xml"/>
  <Override PartName="/ppt/slideLayouts/slideLayout11043.xml" ContentType="application/vnd.openxmlformats-officedocument.presentationml.slideLayout+xml"/>
  <Override PartName="/ppt/slideLayouts/slideLayout11044.xml" ContentType="application/vnd.openxmlformats-officedocument.presentationml.slideLayout+xml"/>
  <Override PartName="/ppt/slideLayouts/slideLayout11045.xml" ContentType="application/vnd.openxmlformats-officedocument.presentationml.slideLayout+xml"/>
  <Override PartName="/ppt/slideLayouts/slideLayout11046.xml" ContentType="application/vnd.openxmlformats-officedocument.presentationml.slideLayout+xml"/>
  <Override PartName="/ppt/slideLayouts/slideLayout11047.xml" ContentType="application/vnd.openxmlformats-officedocument.presentationml.slideLayout+xml"/>
  <Override PartName="/ppt/slideLayouts/slideLayout11048.xml" ContentType="application/vnd.openxmlformats-officedocument.presentationml.slideLayout+xml"/>
  <Override PartName="/ppt/slideLayouts/slideLayout11049.xml" ContentType="application/vnd.openxmlformats-officedocument.presentationml.slideLayout+xml"/>
  <Override PartName="/ppt/slideLayouts/slideLayout11050.xml" ContentType="application/vnd.openxmlformats-officedocument.presentationml.slideLayout+xml"/>
  <Override PartName="/ppt/slideLayouts/slideLayout11051.xml" ContentType="application/vnd.openxmlformats-officedocument.presentationml.slideLayout+xml"/>
  <Override PartName="/ppt/slideLayouts/slideLayout11052.xml" ContentType="application/vnd.openxmlformats-officedocument.presentationml.slideLayout+xml"/>
  <Override PartName="/ppt/slideLayouts/slideLayout11053.xml" ContentType="application/vnd.openxmlformats-officedocument.presentationml.slideLayout+xml"/>
  <Override PartName="/ppt/slideLayouts/slideLayout11054.xml" ContentType="application/vnd.openxmlformats-officedocument.presentationml.slideLayout+xml"/>
  <Override PartName="/ppt/slideLayouts/slideLayout11055.xml" ContentType="application/vnd.openxmlformats-officedocument.presentationml.slideLayout+xml"/>
  <Override PartName="/ppt/slideLayouts/slideLayout11056.xml" ContentType="application/vnd.openxmlformats-officedocument.presentationml.slideLayout+xml"/>
  <Override PartName="/ppt/slideLayouts/slideLayout11057.xml" ContentType="application/vnd.openxmlformats-officedocument.presentationml.slideLayout+xml"/>
  <Override PartName="/ppt/slideLayouts/slideLayout11058.xml" ContentType="application/vnd.openxmlformats-officedocument.presentationml.slideLayout+xml"/>
  <Override PartName="/ppt/slideLayouts/slideLayout11059.xml" ContentType="application/vnd.openxmlformats-officedocument.presentationml.slideLayout+xml"/>
  <Override PartName="/ppt/slideLayouts/slideLayout11060.xml" ContentType="application/vnd.openxmlformats-officedocument.presentationml.slideLayout+xml"/>
  <Override PartName="/ppt/slideLayouts/slideLayout11061.xml" ContentType="application/vnd.openxmlformats-officedocument.presentationml.slideLayout+xml"/>
  <Override PartName="/ppt/slideLayouts/slideLayout11062.xml" ContentType="application/vnd.openxmlformats-officedocument.presentationml.slideLayout+xml"/>
  <Override PartName="/ppt/slideLayouts/slideLayout11063.xml" ContentType="application/vnd.openxmlformats-officedocument.presentationml.slideLayout+xml"/>
  <Override PartName="/ppt/slideLayouts/slideLayout11064.xml" ContentType="application/vnd.openxmlformats-officedocument.presentationml.slideLayout+xml"/>
  <Override PartName="/ppt/slideLayouts/slideLayout11065.xml" ContentType="application/vnd.openxmlformats-officedocument.presentationml.slideLayout+xml"/>
  <Override PartName="/ppt/slideLayouts/slideLayout11066.xml" ContentType="application/vnd.openxmlformats-officedocument.presentationml.slideLayout+xml"/>
  <Override PartName="/ppt/slideLayouts/slideLayout11067.xml" ContentType="application/vnd.openxmlformats-officedocument.presentationml.slideLayout+xml"/>
  <Override PartName="/ppt/slideLayouts/slideLayout11068.xml" ContentType="application/vnd.openxmlformats-officedocument.presentationml.slideLayout+xml"/>
  <Override PartName="/ppt/slideLayouts/slideLayout11069.xml" ContentType="application/vnd.openxmlformats-officedocument.presentationml.slideLayout+xml"/>
  <Override PartName="/ppt/slideLayouts/slideLayout11070.xml" ContentType="application/vnd.openxmlformats-officedocument.presentationml.slideLayout+xml"/>
  <Override PartName="/ppt/slideLayouts/slideLayout11071.xml" ContentType="application/vnd.openxmlformats-officedocument.presentationml.slideLayout+xml"/>
  <Override PartName="/ppt/slideLayouts/slideLayout11072.xml" ContentType="application/vnd.openxmlformats-officedocument.presentationml.slideLayout+xml"/>
  <Override PartName="/ppt/slideLayouts/slideLayout11073.xml" ContentType="application/vnd.openxmlformats-officedocument.presentationml.slideLayout+xml"/>
  <Override PartName="/ppt/slideLayouts/slideLayout11074.xml" ContentType="application/vnd.openxmlformats-officedocument.presentationml.slideLayout+xml"/>
  <Override PartName="/ppt/slideLayouts/slideLayout11075.xml" ContentType="application/vnd.openxmlformats-officedocument.presentationml.slideLayout+xml"/>
  <Override PartName="/ppt/slideLayouts/slideLayout11076.xml" ContentType="application/vnd.openxmlformats-officedocument.presentationml.slideLayout+xml"/>
  <Override PartName="/ppt/slideLayouts/slideLayout11077.xml" ContentType="application/vnd.openxmlformats-officedocument.presentationml.slideLayout+xml"/>
  <Override PartName="/ppt/slideLayouts/slideLayout11078.xml" ContentType="application/vnd.openxmlformats-officedocument.presentationml.slideLayout+xml"/>
  <Override PartName="/ppt/slideLayouts/slideLayout11079.xml" ContentType="application/vnd.openxmlformats-officedocument.presentationml.slideLayout+xml"/>
  <Override PartName="/ppt/slideLayouts/slideLayout11080.xml" ContentType="application/vnd.openxmlformats-officedocument.presentationml.slideLayout+xml"/>
  <Override PartName="/ppt/slideLayouts/slideLayout11081.xml" ContentType="application/vnd.openxmlformats-officedocument.presentationml.slideLayout+xml"/>
  <Override PartName="/ppt/slideLayouts/slideLayout11082.xml" ContentType="application/vnd.openxmlformats-officedocument.presentationml.slideLayout+xml"/>
  <Override PartName="/ppt/slideLayouts/slideLayout11083.xml" ContentType="application/vnd.openxmlformats-officedocument.presentationml.slideLayout+xml"/>
  <Override PartName="/ppt/slideLayouts/slideLayout11084.xml" ContentType="application/vnd.openxmlformats-officedocument.presentationml.slideLayout+xml"/>
  <Override PartName="/ppt/slideLayouts/slideLayout11085.xml" ContentType="application/vnd.openxmlformats-officedocument.presentationml.slideLayout+xml"/>
  <Override PartName="/ppt/slideLayouts/slideLayout11086.xml" ContentType="application/vnd.openxmlformats-officedocument.presentationml.slideLayout+xml"/>
  <Override PartName="/ppt/slideLayouts/slideLayout11087.xml" ContentType="application/vnd.openxmlformats-officedocument.presentationml.slideLayout+xml"/>
  <Override PartName="/ppt/slideLayouts/slideLayout11088.xml" ContentType="application/vnd.openxmlformats-officedocument.presentationml.slideLayout+xml"/>
  <Override PartName="/ppt/slideLayouts/slideLayout11089.xml" ContentType="application/vnd.openxmlformats-officedocument.presentationml.slideLayout+xml"/>
  <Override PartName="/ppt/slideLayouts/slideLayout11090.xml" ContentType="application/vnd.openxmlformats-officedocument.presentationml.slideLayout+xml"/>
  <Override PartName="/ppt/slideLayouts/slideLayout11091.xml" ContentType="application/vnd.openxmlformats-officedocument.presentationml.slideLayout+xml"/>
  <Override PartName="/ppt/slideLayouts/slideLayout11092.xml" ContentType="application/vnd.openxmlformats-officedocument.presentationml.slideLayout+xml"/>
  <Override PartName="/ppt/slideLayouts/slideLayout11093.xml" ContentType="application/vnd.openxmlformats-officedocument.presentationml.slideLayout+xml"/>
  <Override PartName="/ppt/slideLayouts/slideLayout11094.xml" ContentType="application/vnd.openxmlformats-officedocument.presentationml.slideLayout+xml"/>
  <Override PartName="/ppt/slideLayouts/slideLayout11095.xml" ContentType="application/vnd.openxmlformats-officedocument.presentationml.slideLayout+xml"/>
  <Override PartName="/ppt/slideLayouts/slideLayout11096.xml" ContentType="application/vnd.openxmlformats-officedocument.presentationml.slideLayout+xml"/>
  <Override PartName="/ppt/slideLayouts/slideLayout11097.xml" ContentType="application/vnd.openxmlformats-officedocument.presentationml.slideLayout+xml"/>
  <Override PartName="/ppt/slideLayouts/slideLayout11098.xml" ContentType="application/vnd.openxmlformats-officedocument.presentationml.slideLayout+xml"/>
  <Override PartName="/ppt/slideLayouts/slideLayout11099.xml" ContentType="application/vnd.openxmlformats-officedocument.presentationml.slideLayout+xml"/>
  <Override PartName="/ppt/slideLayouts/slideLayout11100.xml" ContentType="application/vnd.openxmlformats-officedocument.presentationml.slideLayout+xml"/>
  <Override PartName="/ppt/slideLayouts/slideLayout11101.xml" ContentType="application/vnd.openxmlformats-officedocument.presentationml.slideLayout+xml"/>
  <Override PartName="/ppt/slideLayouts/slideLayout11102.xml" ContentType="application/vnd.openxmlformats-officedocument.presentationml.slideLayout+xml"/>
  <Override PartName="/ppt/slideLayouts/slideLayout11103.xml" ContentType="application/vnd.openxmlformats-officedocument.presentationml.slideLayout+xml"/>
  <Override PartName="/ppt/slideLayouts/slideLayout11104.xml" ContentType="application/vnd.openxmlformats-officedocument.presentationml.slideLayout+xml"/>
  <Override PartName="/ppt/slideLayouts/slideLayout11105.xml" ContentType="application/vnd.openxmlformats-officedocument.presentationml.slideLayout+xml"/>
  <Override PartName="/ppt/slideLayouts/slideLayout11106.xml" ContentType="application/vnd.openxmlformats-officedocument.presentationml.slideLayout+xml"/>
  <Override PartName="/ppt/slideLayouts/slideLayout11107.xml" ContentType="application/vnd.openxmlformats-officedocument.presentationml.slideLayout+xml"/>
  <Override PartName="/ppt/slideLayouts/slideLayout11108.xml" ContentType="application/vnd.openxmlformats-officedocument.presentationml.slideLayout+xml"/>
  <Override PartName="/ppt/slideLayouts/slideLayout11109.xml" ContentType="application/vnd.openxmlformats-officedocument.presentationml.slideLayout+xml"/>
  <Override PartName="/ppt/slideLayouts/slideLayout11110.xml" ContentType="application/vnd.openxmlformats-officedocument.presentationml.slideLayout+xml"/>
  <Override PartName="/ppt/slideLayouts/slideLayout11111.xml" ContentType="application/vnd.openxmlformats-officedocument.presentationml.slideLayout+xml"/>
  <Override PartName="/ppt/slideLayouts/slideLayout11112.xml" ContentType="application/vnd.openxmlformats-officedocument.presentationml.slideLayout+xml"/>
  <Override PartName="/ppt/slideLayouts/slideLayout11113.xml" ContentType="application/vnd.openxmlformats-officedocument.presentationml.slideLayout+xml"/>
  <Override PartName="/ppt/slideLayouts/slideLayout11114.xml" ContentType="application/vnd.openxmlformats-officedocument.presentationml.slideLayout+xml"/>
  <Override PartName="/ppt/slideLayouts/slideLayout11115.xml" ContentType="application/vnd.openxmlformats-officedocument.presentationml.slideLayout+xml"/>
  <Override PartName="/ppt/slideLayouts/slideLayout11116.xml" ContentType="application/vnd.openxmlformats-officedocument.presentationml.slideLayout+xml"/>
  <Override PartName="/ppt/slideLayouts/slideLayout11117.xml" ContentType="application/vnd.openxmlformats-officedocument.presentationml.slideLayout+xml"/>
  <Override PartName="/ppt/slideLayouts/slideLayout11118.xml" ContentType="application/vnd.openxmlformats-officedocument.presentationml.slideLayout+xml"/>
  <Override PartName="/ppt/slideLayouts/slideLayout11119.xml" ContentType="application/vnd.openxmlformats-officedocument.presentationml.slideLayout+xml"/>
  <Override PartName="/ppt/slideLayouts/slideLayout11120.xml" ContentType="application/vnd.openxmlformats-officedocument.presentationml.slideLayout+xml"/>
  <Override PartName="/ppt/slideLayouts/slideLayout11121.xml" ContentType="application/vnd.openxmlformats-officedocument.presentationml.slideLayout+xml"/>
  <Override PartName="/ppt/slideLayouts/slideLayout11122.xml" ContentType="application/vnd.openxmlformats-officedocument.presentationml.slideLayout+xml"/>
  <Override PartName="/ppt/slideLayouts/slideLayout11123.xml" ContentType="application/vnd.openxmlformats-officedocument.presentationml.slideLayout+xml"/>
  <Override PartName="/ppt/slideLayouts/slideLayout11124.xml" ContentType="application/vnd.openxmlformats-officedocument.presentationml.slideLayout+xml"/>
  <Override PartName="/ppt/slideLayouts/slideLayout11125.xml" ContentType="application/vnd.openxmlformats-officedocument.presentationml.slideLayout+xml"/>
  <Override PartName="/ppt/slideLayouts/slideLayout11126.xml" ContentType="application/vnd.openxmlformats-officedocument.presentationml.slideLayout+xml"/>
  <Override PartName="/ppt/slideLayouts/slideLayout11127.xml" ContentType="application/vnd.openxmlformats-officedocument.presentationml.slideLayout+xml"/>
  <Override PartName="/ppt/slideLayouts/slideLayout11128.xml" ContentType="application/vnd.openxmlformats-officedocument.presentationml.slideLayout+xml"/>
  <Override PartName="/ppt/slideLayouts/slideLayout11129.xml" ContentType="application/vnd.openxmlformats-officedocument.presentationml.slideLayout+xml"/>
  <Override PartName="/ppt/slideLayouts/slideLayout11130.xml" ContentType="application/vnd.openxmlformats-officedocument.presentationml.slideLayout+xml"/>
  <Override PartName="/ppt/slideLayouts/slideLayout11131.xml" ContentType="application/vnd.openxmlformats-officedocument.presentationml.slideLayout+xml"/>
  <Override PartName="/ppt/slideLayouts/slideLayout11132.xml" ContentType="application/vnd.openxmlformats-officedocument.presentationml.slideLayout+xml"/>
  <Override PartName="/ppt/slideLayouts/slideLayout11133.xml" ContentType="application/vnd.openxmlformats-officedocument.presentationml.slideLayout+xml"/>
  <Override PartName="/ppt/slideLayouts/slideLayout11134.xml" ContentType="application/vnd.openxmlformats-officedocument.presentationml.slideLayout+xml"/>
  <Override PartName="/ppt/slideLayouts/slideLayout11135.xml" ContentType="application/vnd.openxmlformats-officedocument.presentationml.slideLayout+xml"/>
  <Override PartName="/ppt/slideLayouts/slideLayout11136.xml" ContentType="application/vnd.openxmlformats-officedocument.presentationml.slideLayout+xml"/>
  <Override PartName="/ppt/slideLayouts/slideLayout11137.xml" ContentType="application/vnd.openxmlformats-officedocument.presentationml.slideLayout+xml"/>
  <Override PartName="/ppt/slideLayouts/slideLayout11138.xml" ContentType="application/vnd.openxmlformats-officedocument.presentationml.slideLayout+xml"/>
  <Override PartName="/ppt/slideLayouts/slideLayout11139.xml" ContentType="application/vnd.openxmlformats-officedocument.presentationml.slideLayout+xml"/>
  <Override PartName="/ppt/slideLayouts/slideLayout11140.xml" ContentType="application/vnd.openxmlformats-officedocument.presentationml.slideLayout+xml"/>
  <Override PartName="/ppt/slideLayouts/slideLayout11141.xml" ContentType="application/vnd.openxmlformats-officedocument.presentationml.slideLayout+xml"/>
  <Override PartName="/ppt/slideLayouts/slideLayout11142.xml" ContentType="application/vnd.openxmlformats-officedocument.presentationml.slideLayout+xml"/>
  <Override PartName="/ppt/slideLayouts/slideLayout11143.xml" ContentType="application/vnd.openxmlformats-officedocument.presentationml.slideLayout+xml"/>
  <Override PartName="/ppt/slideLayouts/slideLayout11144.xml" ContentType="application/vnd.openxmlformats-officedocument.presentationml.slideLayout+xml"/>
  <Override PartName="/ppt/slideLayouts/slideLayout11145.xml" ContentType="application/vnd.openxmlformats-officedocument.presentationml.slideLayout+xml"/>
  <Override PartName="/ppt/slideLayouts/slideLayout11146.xml" ContentType="application/vnd.openxmlformats-officedocument.presentationml.slideLayout+xml"/>
  <Override PartName="/ppt/slideLayouts/slideLayout11147.xml" ContentType="application/vnd.openxmlformats-officedocument.presentationml.slideLayout+xml"/>
  <Override PartName="/ppt/slideLayouts/slideLayout11148.xml" ContentType="application/vnd.openxmlformats-officedocument.presentationml.slideLayout+xml"/>
  <Override PartName="/ppt/slideLayouts/slideLayout11149.xml" ContentType="application/vnd.openxmlformats-officedocument.presentationml.slideLayout+xml"/>
  <Override PartName="/ppt/slideLayouts/slideLayout11150.xml" ContentType="application/vnd.openxmlformats-officedocument.presentationml.slideLayout+xml"/>
  <Override PartName="/ppt/slideLayouts/slideLayout11151.xml" ContentType="application/vnd.openxmlformats-officedocument.presentationml.slideLayout+xml"/>
  <Override PartName="/ppt/slideLayouts/slideLayout11152.xml" ContentType="application/vnd.openxmlformats-officedocument.presentationml.slideLayout+xml"/>
  <Override PartName="/ppt/slideLayouts/slideLayout11153.xml" ContentType="application/vnd.openxmlformats-officedocument.presentationml.slideLayout+xml"/>
  <Override PartName="/ppt/slideLayouts/slideLayout11154.xml" ContentType="application/vnd.openxmlformats-officedocument.presentationml.slideLayout+xml"/>
  <Override PartName="/ppt/slideLayouts/slideLayout11155.xml" ContentType="application/vnd.openxmlformats-officedocument.presentationml.slideLayout+xml"/>
  <Override PartName="/ppt/slideLayouts/slideLayout11156.xml" ContentType="application/vnd.openxmlformats-officedocument.presentationml.slideLayout+xml"/>
  <Override PartName="/ppt/slideLayouts/slideLayout11157.xml" ContentType="application/vnd.openxmlformats-officedocument.presentationml.slideLayout+xml"/>
  <Override PartName="/ppt/slideLayouts/slideLayout11158.xml" ContentType="application/vnd.openxmlformats-officedocument.presentationml.slideLayout+xml"/>
  <Override PartName="/ppt/slideLayouts/slideLayout11159.xml" ContentType="application/vnd.openxmlformats-officedocument.presentationml.slideLayout+xml"/>
  <Override PartName="/ppt/slideLayouts/slideLayout11160.xml" ContentType="application/vnd.openxmlformats-officedocument.presentationml.slideLayout+xml"/>
  <Override PartName="/ppt/slideLayouts/slideLayout11161.xml" ContentType="application/vnd.openxmlformats-officedocument.presentationml.slideLayout+xml"/>
  <Override PartName="/ppt/slideLayouts/slideLayout11162.xml" ContentType="application/vnd.openxmlformats-officedocument.presentationml.slideLayout+xml"/>
  <Override PartName="/ppt/slideLayouts/slideLayout11163.xml" ContentType="application/vnd.openxmlformats-officedocument.presentationml.slideLayout+xml"/>
  <Override PartName="/ppt/slideLayouts/slideLayout11164.xml" ContentType="application/vnd.openxmlformats-officedocument.presentationml.slideLayout+xml"/>
  <Override PartName="/ppt/slideLayouts/slideLayout11165.xml" ContentType="application/vnd.openxmlformats-officedocument.presentationml.slideLayout+xml"/>
  <Override PartName="/ppt/slideLayouts/slideLayout11166.xml" ContentType="application/vnd.openxmlformats-officedocument.presentationml.slideLayout+xml"/>
  <Override PartName="/ppt/slideLayouts/slideLayout11167.xml" ContentType="application/vnd.openxmlformats-officedocument.presentationml.slideLayout+xml"/>
  <Override PartName="/ppt/slideLayouts/slideLayout11168.xml" ContentType="application/vnd.openxmlformats-officedocument.presentationml.slideLayout+xml"/>
  <Override PartName="/ppt/slideLayouts/slideLayout11169.xml" ContentType="application/vnd.openxmlformats-officedocument.presentationml.slideLayout+xml"/>
  <Override PartName="/ppt/slideLayouts/slideLayout11170.xml" ContentType="application/vnd.openxmlformats-officedocument.presentationml.slideLayout+xml"/>
  <Override PartName="/ppt/slideLayouts/slideLayout11171.xml" ContentType="application/vnd.openxmlformats-officedocument.presentationml.slideLayout+xml"/>
  <Override PartName="/ppt/slideLayouts/slideLayout11172.xml" ContentType="application/vnd.openxmlformats-officedocument.presentationml.slideLayout+xml"/>
  <Override PartName="/ppt/slideLayouts/slideLayout11173.xml" ContentType="application/vnd.openxmlformats-officedocument.presentationml.slideLayout+xml"/>
  <Override PartName="/ppt/slideLayouts/slideLayout11174.xml" ContentType="application/vnd.openxmlformats-officedocument.presentationml.slideLayout+xml"/>
  <Override PartName="/ppt/slideLayouts/slideLayout11175.xml" ContentType="application/vnd.openxmlformats-officedocument.presentationml.slideLayout+xml"/>
  <Override PartName="/ppt/slideLayouts/slideLayout11176.xml" ContentType="application/vnd.openxmlformats-officedocument.presentationml.slideLayout+xml"/>
  <Override PartName="/ppt/slideLayouts/slideLayout11177.xml" ContentType="application/vnd.openxmlformats-officedocument.presentationml.slideLayout+xml"/>
  <Override PartName="/ppt/slideLayouts/slideLayout11178.xml" ContentType="application/vnd.openxmlformats-officedocument.presentationml.slideLayout+xml"/>
  <Override PartName="/ppt/slideLayouts/slideLayout11179.xml" ContentType="application/vnd.openxmlformats-officedocument.presentationml.slideLayout+xml"/>
  <Override PartName="/ppt/slideLayouts/slideLayout11180.xml" ContentType="application/vnd.openxmlformats-officedocument.presentationml.slideLayout+xml"/>
  <Override PartName="/ppt/slideLayouts/slideLayout11181.xml" ContentType="application/vnd.openxmlformats-officedocument.presentationml.slideLayout+xml"/>
  <Override PartName="/ppt/slideLayouts/slideLayout11182.xml" ContentType="application/vnd.openxmlformats-officedocument.presentationml.slideLayout+xml"/>
  <Override PartName="/ppt/slideLayouts/slideLayout11183.xml" ContentType="application/vnd.openxmlformats-officedocument.presentationml.slideLayout+xml"/>
  <Override PartName="/ppt/slideLayouts/slideLayout11184.xml" ContentType="application/vnd.openxmlformats-officedocument.presentationml.slideLayout+xml"/>
  <Override PartName="/ppt/slideLayouts/slideLayout11185.xml" ContentType="application/vnd.openxmlformats-officedocument.presentationml.slideLayout+xml"/>
  <Override PartName="/ppt/slideLayouts/slideLayout11186.xml" ContentType="application/vnd.openxmlformats-officedocument.presentationml.slideLayout+xml"/>
  <Override PartName="/ppt/slideLayouts/slideLayout11187.xml" ContentType="application/vnd.openxmlformats-officedocument.presentationml.slideLayout+xml"/>
  <Override PartName="/ppt/slideLayouts/slideLayout11188.xml" ContentType="application/vnd.openxmlformats-officedocument.presentationml.slideLayout+xml"/>
  <Override PartName="/ppt/slideLayouts/slideLayout11189.xml" ContentType="application/vnd.openxmlformats-officedocument.presentationml.slideLayout+xml"/>
  <Override PartName="/ppt/slideLayouts/slideLayout11190.xml" ContentType="application/vnd.openxmlformats-officedocument.presentationml.slideLayout+xml"/>
  <Override PartName="/ppt/slideLayouts/slideLayout11191.xml" ContentType="application/vnd.openxmlformats-officedocument.presentationml.slideLayout+xml"/>
  <Override PartName="/ppt/slideLayouts/slideLayout11192.xml" ContentType="application/vnd.openxmlformats-officedocument.presentationml.slideLayout+xml"/>
  <Override PartName="/ppt/slideLayouts/slideLayout11193.xml" ContentType="application/vnd.openxmlformats-officedocument.presentationml.slideLayout+xml"/>
  <Override PartName="/ppt/slideLayouts/slideLayout11194.xml" ContentType="application/vnd.openxmlformats-officedocument.presentationml.slideLayout+xml"/>
  <Override PartName="/ppt/slideLayouts/slideLayout11195.xml" ContentType="application/vnd.openxmlformats-officedocument.presentationml.slideLayout+xml"/>
  <Override PartName="/ppt/slideLayouts/slideLayout11196.xml" ContentType="application/vnd.openxmlformats-officedocument.presentationml.slideLayout+xml"/>
  <Override PartName="/ppt/slideLayouts/slideLayout11197.xml" ContentType="application/vnd.openxmlformats-officedocument.presentationml.slideLayout+xml"/>
  <Override PartName="/ppt/slideLayouts/slideLayout11198.xml" ContentType="application/vnd.openxmlformats-officedocument.presentationml.slideLayout+xml"/>
  <Override PartName="/ppt/slideLayouts/slideLayout11199.xml" ContentType="application/vnd.openxmlformats-officedocument.presentationml.slideLayout+xml"/>
  <Override PartName="/ppt/slideLayouts/slideLayout11200.xml" ContentType="application/vnd.openxmlformats-officedocument.presentationml.slideLayout+xml"/>
  <Override PartName="/ppt/slideLayouts/slideLayout11201.xml" ContentType="application/vnd.openxmlformats-officedocument.presentationml.slideLayout+xml"/>
  <Override PartName="/ppt/slideLayouts/slideLayout11202.xml" ContentType="application/vnd.openxmlformats-officedocument.presentationml.slideLayout+xml"/>
  <Override PartName="/ppt/slideLayouts/slideLayout11203.xml" ContentType="application/vnd.openxmlformats-officedocument.presentationml.slideLayout+xml"/>
  <Override PartName="/ppt/slideLayouts/slideLayout11204.xml" ContentType="application/vnd.openxmlformats-officedocument.presentationml.slideLayout+xml"/>
  <Override PartName="/ppt/slideLayouts/slideLayout11205.xml" ContentType="application/vnd.openxmlformats-officedocument.presentationml.slideLayout+xml"/>
  <Override PartName="/ppt/slideLayouts/slideLayout11206.xml" ContentType="application/vnd.openxmlformats-officedocument.presentationml.slideLayout+xml"/>
  <Override PartName="/ppt/slideLayouts/slideLayout11207.xml" ContentType="application/vnd.openxmlformats-officedocument.presentationml.slideLayout+xml"/>
  <Override PartName="/ppt/slideLayouts/slideLayout11208.xml" ContentType="application/vnd.openxmlformats-officedocument.presentationml.slideLayout+xml"/>
  <Override PartName="/ppt/slideLayouts/slideLayout11209.xml" ContentType="application/vnd.openxmlformats-officedocument.presentationml.slideLayout+xml"/>
  <Override PartName="/ppt/slideLayouts/slideLayout11210.xml" ContentType="application/vnd.openxmlformats-officedocument.presentationml.slideLayout+xml"/>
  <Override PartName="/ppt/slideLayouts/slideLayout11211.xml" ContentType="application/vnd.openxmlformats-officedocument.presentationml.slideLayout+xml"/>
  <Override PartName="/ppt/slideLayouts/slideLayout11212.xml" ContentType="application/vnd.openxmlformats-officedocument.presentationml.slideLayout+xml"/>
  <Override PartName="/ppt/slideLayouts/slideLayout11213.xml" ContentType="application/vnd.openxmlformats-officedocument.presentationml.slideLayout+xml"/>
  <Override PartName="/ppt/slideLayouts/slideLayout11214.xml" ContentType="application/vnd.openxmlformats-officedocument.presentationml.slideLayout+xml"/>
  <Override PartName="/ppt/slideLayouts/slideLayout11215.xml" ContentType="application/vnd.openxmlformats-officedocument.presentationml.slideLayout+xml"/>
  <Override PartName="/ppt/slideLayouts/slideLayout11216.xml" ContentType="application/vnd.openxmlformats-officedocument.presentationml.slideLayout+xml"/>
  <Override PartName="/ppt/slideLayouts/slideLayout11217.xml" ContentType="application/vnd.openxmlformats-officedocument.presentationml.slideLayout+xml"/>
  <Override PartName="/ppt/slideLayouts/slideLayout11218.xml" ContentType="application/vnd.openxmlformats-officedocument.presentationml.slideLayout+xml"/>
  <Override PartName="/ppt/slideLayouts/slideLayout11219.xml" ContentType="application/vnd.openxmlformats-officedocument.presentationml.slideLayout+xml"/>
  <Override PartName="/ppt/slideLayouts/slideLayout11220.xml" ContentType="application/vnd.openxmlformats-officedocument.presentationml.slideLayout+xml"/>
  <Override PartName="/ppt/slideLayouts/slideLayout11221.xml" ContentType="application/vnd.openxmlformats-officedocument.presentationml.slideLayout+xml"/>
  <Override PartName="/ppt/slideLayouts/slideLayout11222.xml" ContentType="application/vnd.openxmlformats-officedocument.presentationml.slideLayout+xml"/>
  <Override PartName="/ppt/slideLayouts/slideLayout11223.xml" ContentType="application/vnd.openxmlformats-officedocument.presentationml.slideLayout+xml"/>
  <Override PartName="/ppt/slideLayouts/slideLayout11224.xml" ContentType="application/vnd.openxmlformats-officedocument.presentationml.slideLayout+xml"/>
  <Override PartName="/ppt/slideLayouts/slideLayout11225.xml" ContentType="application/vnd.openxmlformats-officedocument.presentationml.slideLayout+xml"/>
  <Override PartName="/ppt/slideLayouts/slideLayout11226.xml" ContentType="application/vnd.openxmlformats-officedocument.presentationml.slideLayout+xml"/>
  <Override PartName="/ppt/slideLayouts/slideLayout11227.xml" ContentType="application/vnd.openxmlformats-officedocument.presentationml.slideLayout+xml"/>
  <Override PartName="/ppt/slideLayouts/slideLayout11228.xml" ContentType="application/vnd.openxmlformats-officedocument.presentationml.slideLayout+xml"/>
  <Override PartName="/ppt/slideLayouts/slideLayout11229.xml" ContentType="application/vnd.openxmlformats-officedocument.presentationml.slideLayout+xml"/>
  <Override PartName="/ppt/slideLayouts/slideLayout11230.xml" ContentType="application/vnd.openxmlformats-officedocument.presentationml.slideLayout+xml"/>
  <Override PartName="/ppt/slideLayouts/slideLayout11231.xml" ContentType="application/vnd.openxmlformats-officedocument.presentationml.slideLayout+xml"/>
  <Override PartName="/ppt/slideLayouts/slideLayout11232.xml" ContentType="application/vnd.openxmlformats-officedocument.presentationml.slideLayout+xml"/>
  <Override PartName="/ppt/slideLayouts/slideLayout11233.xml" ContentType="application/vnd.openxmlformats-officedocument.presentationml.slideLayout+xml"/>
  <Override PartName="/ppt/slideLayouts/slideLayout11234.xml" ContentType="application/vnd.openxmlformats-officedocument.presentationml.slideLayout+xml"/>
  <Override PartName="/ppt/slideLayouts/slideLayout11235.xml" ContentType="application/vnd.openxmlformats-officedocument.presentationml.slideLayout+xml"/>
  <Override PartName="/ppt/slideLayouts/slideLayout11236.xml" ContentType="application/vnd.openxmlformats-officedocument.presentationml.slideLayout+xml"/>
  <Override PartName="/ppt/slideLayouts/slideLayout11237.xml" ContentType="application/vnd.openxmlformats-officedocument.presentationml.slideLayout+xml"/>
  <Override PartName="/ppt/slideLayouts/slideLayout11238.xml" ContentType="application/vnd.openxmlformats-officedocument.presentationml.slideLayout+xml"/>
  <Override PartName="/ppt/slideLayouts/slideLayout11239.xml" ContentType="application/vnd.openxmlformats-officedocument.presentationml.slideLayout+xml"/>
  <Override PartName="/ppt/slideLayouts/slideLayout11240.xml" ContentType="application/vnd.openxmlformats-officedocument.presentationml.slideLayout+xml"/>
  <Override PartName="/ppt/slideLayouts/slideLayout11241.xml" ContentType="application/vnd.openxmlformats-officedocument.presentationml.slideLayout+xml"/>
  <Override PartName="/ppt/slideLayouts/slideLayout11242.xml" ContentType="application/vnd.openxmlformats-officedocument.presentationml.slideLayout+xml"/>
  <Override PartName="/ppt/slideLayouts/slideLayout11243.xml" ContentType="application/vnd.openxmlformats-officedocument.presentationml.slideLayout+xml"/>
  <Override PartName="/ppt/slideLayouts/slideLayout11244.xml" ContentType="application/vnd.openxmlformats-officedocument.presentationml.slideLayout+xml"/>
  <Override PartName="/ppt/slideLayouts/slideLayout11245.xml" ContentType="application/vnd.openxmlformats-officedocument.presentationml.slideLayout+xml"/>
  <Override PartName="/ppt/slideLayouts/slideLayout11246.xml" ContentType="application/vnd.openxmlformats-officedocument.presentationml.slideLayout+xml"/>
  <Override PartName="/ppt/slideLayouts/slideLayout11247.xml" ContentType="application/vnd.openxmlformats-officedocument.presentationml.slideLayout+xml"/>
  <Override PartName="/ppt/slideLayouts/slideLayout11248.xml" ContentType="application/vnd.openxmlformats-officedocument.presentationml.slideLayout+xml"/>
  <Override PartName="/ppt/slideLayouts/slideLayout11249.xml" ContentType="application/vnd.openxmlformats-officedocument.presentationml.slideLayout+xml"/>
  <Override PartName="/ppt/slideLayouts/slideLayout11250.xml" ContentType="application/vnd.openxmlformats-officedocument.presentationml.slideLayout+xml"/>
  <Override PartName="/ppt/slideLayouts/slideLayout11251.xml" ContentType="application/vnd.openxmlformats-officedocument.presentationml.slideLayout+xml"/>
  <Override PartName="/ppt/slideLayouts/slideLayout11252.xml" ContentType="application/vnd.openxmlformats-officedocument.presentationml.slideLayout+xml"/>
  <Override PartName="/ppt/slideLayouts/slideLayout11253.xml" ContentType="application/vnd.openxmlformats-officedocument.presentationml.slideLayout+xml"/>
  <Override PartName="/ppt/slideLayouts/slideLayout11254.xml" ContentType="application/vnd.openxmlformats-officedocument.presentationml.slideLayout+xml"/>
  <Override PartName="/ppt/slideLayouts/slideLayout11255.xml" ContentType="application/vnd.openxmlformats-officedocument.presentationml.slideLayout+xml"/>
  <Override PartName="/ppt/slideLayouts/slideLayout11256.xml" ContentType="application/vnd.openxmlformats-officedocument.presentationml.slideLayout+xml"/>
  <Override PartName="/ppt/slideLayouts/slideLayout11257.xml" ContentType="application/vnd.openxmlformats-officedocument.presentationml.slideLayout+xml"/>
  <Override PartName="/ppt/slideLayouts/slideLayout11258.xml" ContentType="application/vnd.openxmlformats-officedocument.presentationml.slideLayout+xml"/>
  <Override PartName="/ppt/slideLayouts/slideLayout11259.xml" ContentType="application/vnd.openxmlformats-officedocument.presentationml.slideLayout+xml"/>
  <Override PartName="/ppt/slideLayouts/slideLayout11260.xml" ContentType="application/vnd.openxmlformats-officedocument.presentationml.slideLayout+xml"/>
  <Override PartName="/ppt/slideLayouts/slideLayout11261.xml" ContentType="application/vnd.openxmlformats-officedocument.presentationml.slideLayout+xml"/>
  <Override PartName="/ppt/slideLayouts/slideLayout11262.xml" ContentType="application/vnd.openxmlformats-officedocument.presentationml.slideLayout+xml"/>
  <Override PartName="/ppt/slideLayouts/slideLayout11263.xml" ContentType="application/vnd.openxmlformats-officedocument.presentationml.slideLayout+xml"/>
  <Override PartName="/ppt/slideLayouts/slideLayout11264.xml" ContentType="application/vnd.openxmlformats-officedocument.presentationml.slideLayout+xml"/>
  <Override PartName="/ppt/slideLayouts/slideLayout11265.xml" ContentType="application/vnd.openxmlformats-officedocument.presentationml.slideLayout+xml"/>
  <Override PartName="/ppt/slideLayouts/slideLayout11266.xml" ContentType="application/vnd.openxmlformats-officedocument.presentationml.slideLayout+xml"/>
  <Override PartName="/ppt/slideLayouts/slideLayout11267.xml" ContentType="application/vnd.openxmlformats-officedocument.presentationml.slideLayout+xml"/>
  <Override PartName="/ppt/slideLayouts/slideLayout11268.xml" ContentType="application/vnd.openxmlformats-officedocument.presentationml.slideLayout+xml"/>
  <Override PartName="/ppt/slideLayouts/slideLayout11269.xml" ContentType="application/vnd.openxmlformats-officedocument.presentationml.slideLayout+xml"/>
  <Override PartName="/ppt/slideLayouts/slideLayout11270.xml" ContentType="application/vnd.openxmlformats-officedocument.presentationml.slideLayout+xml"/>
  <Override PartName="/ppt/slideLayouts/slideLayout11271.xml" ContentType="application/vnd.openxmlformats-officedocument.presentationml.slideLayout+xml"/>
  <Override PartName="/ppt/slideLayouts/slideLayout11272.xml" ContentType="application/vnd.openxmlformats-officedocument.presentationml.slideLayout+xml"/>
  <Override PartName="/ppt/slideLayouts/slideLayout11273.xml" ContentType="application/vnd.openxmlformats-officedocument.presentationml.slideLayout+xml"/>
  <Override PartName="/ppt/slideLayouts/slideLayout11274.xml" ContentType="application/vnd.openxmlformats-officedocument.presentationml.slideLayout+xml"/>
  <Override PartName="/ppt/slideLayouts/slideLayout11275.xml" ContentType="application/vnd.openxmlformats-officedocument.presentationml.slideLayout+xml"/>
  <Override PartName="/ppt/slideLayouts/slideLayout11276.xml" ContentType="application/vnd.openxmlformats-officedocument.presentationml.slideLayout+xml"/>
  <Override PartName="/ppt/slideLayouts/slideLayout11277.xml" ContentType="application/vnd.openxmlformats-officedocument.presentationml.slideLayout+xml"/>
  <Override PartName="/ppt/slideLayouts/slideLayout11278.xml" ContentType="application/vnd.openxmlformats-officedocument.presentationml.slideLayout+xml"/>
  <Override PartName="/ppt/slideLayouts/slideLayout11279.xml" ContentType="application/vnd.openxmlformats-officedocument.presentationml.slideLayout+xml"/>
  <Override PartName="/ppt/slideLayouts/slideLayout11280.xml" ContentType="application/vnd.openxmlformats-officedocument.presentationml.slideLayout+xml"/>
  <Override PartName="/ppt/slideLayouts/slideLayout11281.xml" ContentType="application/vnd.openxmlformats-officedocument.presentationml.slideLayout+xml"/>
  <Override PartName="/ppt/slideLayouts/slideLayout11282.xml" ContentType="application/vnd.openxmlformats-officedocument.presentationml.slideLayout+xml"/>
  <Override PartName="/ppt/slideLayouts/slideLayout11283.xml" ContentType="application/vnd.openxmlformats-officedocument.presentationml.slideLayout+xml"/>
  <Override PartName="/ppt/slideLayouts/slideLayout11284.xml" ContentType="application/vnd.openxmlformats-officedocument.presentationml.slideLayout+xml"/>
  <Override PartName="/ppt/slideLayouts/slideLayout11285.xml" ContentType="application/vnd.openxmlformats-officedocument.presentationml.slideLayout+xml"/>
  <Override PartName="/ppt/slideLayouts/slideLayout11286.xml" ContentType="application/vnd.openxmlformats-officedocument.presentationml.slideLayout+xml"/>
  <Override PartName="/ppt/slideLayouts/slideLayout11287.xml" ContentType="application/vnd.openxmlformats-officedocument.presentationml.slideLayout+xml"/>
  <Override PartName="/ppt/slideLayouts/slideLayout11288.xml" ContentType="application/vnd.openxmlformats-officedocument.presentationml.slideLayout+xml"/>
  <Override PartName="/ppt/slideLayouts/slideLayout11289.xml" ContentType="application/vnd.openxmlformats-officedocument.presentationml.slideLayout+xml"/>
  <Override PartName="/ppt/slideLayouts/slideLayout11290.xml" ContentType="application/vnd.openxmlformats-officedocument.presentationml.slideLayout+xml"/>
  <Override PartName="/ppt/slideLayouts/slideLayout11291.xml" ContentType="application/vnd.openxmlformats-officedocument.presentationml.slideLayout+xml"/>
  <Override PartName="/ppt/slideLayouts/slideLayout11292.xml" ContentType="application/vnd.openxmlformats-officedocument.presentationml.slideLayout+xml"/>
  <Override PartName="/ppt/slideLayouts/slideLayout11293.xml" ContentType="application/vnd.openxmlformats-officedocument.presentationml.slideLayout+xml"/>
  <Override PartName="/ppt/slideLayouts/slideLayout11294.xml" ContentType="application/vnd.openxmlformats-officedocument.presentationml.slideLayout+xml"/>
  <Override PartName="/ppt/slideLayouts/slideLayout11295.xml" ContentType="application/vnd.openxmlformats-officedocument.presentationml.slideLayout+xml"/>
  <Override PartName="/ppt/slideLayouts/slideLayout11296.xml" ContentType="application/vnd.openxmlformats-officedocument.presentationml.slideLayout+xml"/>
  <Override PartName="/ppt/slideLayouts/slideLayout11297.xml" ContentType="application/vnd.openxmlformats-officedocument.presentationml.slideLayout+xml"/>
  <Override PartName="/ppt/slideLayouts/slideLayout11298.xml" ContentType="application/vnd.openxmlformats-officedocument.presentationml.slideLayout+xml"/>
  <Override PartName="/ppt/slideLayouts/slideLayout11299.xml" ContentType="application/vnd.openxmlformats-officedocument.presentationml.slideLayout+xml"/>
  <Override PartName="/ppt/slideLayouts/slideLayout11300.xml" ContentType="application/vnd.openxmlformats-officedocument.presentationml.slideLayout+xml"/>
  <Override PartName="/ppt/slideLayouts/slideLayout11301.xml" ContentType="application/vnd.openxmlformats-officedocument.presentationml.slideLayout+xml"/>
  <Override PartName="/ppt/slideLayouts/slideLayout11302.xml" ContentType="application/vnd.openxmlformats-officedocument.presentationml.slideLayout+xml"/>
  <Override PartName="/ppt/slideLayouts/slideLayout11303.xml" ContentType="application/vnd.openxmlformats-officedocument.presentationml.slideLayout+xml"/>
  <Override PartName="/ppt/slideLayouts/slideLayout11304.xml" ContentType="application/vnd.openxmlformats-officedocument.presentationml.slideLayout+xml"/>
  <Override PartName="/ppt/slideLayouts/slideLayout11305.xml" ContentType="application/vnd.openxmlformats-officedocument.presentationml.slideLayout+xml"/>
  <Override PartName="/ppt/slideLayouts/slideLayout11306.xml" ContentType="application/vnd.openxmlformats-officedocument.presentationml.slideLayout+xml"/>
  <Override PartName="/ppt/slideLayouts/slideLayout11307.xml" ContentType="application/vnd.openxmlformats-officedocument.presentationml.slideLayout+xml"/>
  <Override PartName="/ppt/slideLayouts/slideLayout11308.xml" ContentType="application/vnd.openxmlformats-officedocument.presentationml.slideLayout+xml"/>
  <Override PartName="/ppt/slideLayouts/slideLayout11309.xml" ContentType="application/vnd.openxmlformats-officedocument.presentationml.slideLayout+xml"/>
  <Override PartName="/ppt/slideLayouts/slideLayout11310.xml" ContentType="application/vnd.openxmlformats-officedocument.presentationml.slideLayout+xml"/>
  <Override PartName="/ppt/slideLayouts/slideLayout11311.xml" ContentType="application/vnd.openxmlformats-officedocument.presentationml.slideLayout+xml"/>
  <Override PartName="/ppt/slideLayouts/slideLayout11312.xml" ContentType="application/vnd.openxmlformats-officedocument.presentationml.slideLayout+xml"/>
  <Override PartName="/ppt/slideLayouts/slideLayout11313.xml" ContentType="application/vnd.openxmlformats-officedocument.presentationml.slideLayout+xml"/>
  <Override PartName="/ppt/slideLayouts/slideLayout11314.xml" ContentType="application/vnd.openxmlformats-officedocument.presentationml.slideLayout+xml"/>
  <Override PartName="/ppt/slideLayouts/slideLayout11315.xml" ContentType="application/vnd.openxmlformats-officedocument.presentationml.slideLayout+xml"/>
  <Override PartName="/ppt/slideLayouts/slideLayout11316.xml" ContentType="application/vnd.openxmlformats-officedocument.presentationml.slideLayout+xml"/>
  <Override PartName="/ppt/slideLayouts/slideLayout11317.xml" ContentType="application/vnd.openxmlformats-officedocument.presentationml.slideLayout+xml"/>
  <Override PartName="/ppt/slideLayouts/slideLayout11318.xml" ContentType="application/vnd.openxmlformats-officedocument.presentationml.slideLayout+xml"/>
  <Override PartName="/ppt/slideLayouts/slideLayout11319.xml" ContentType="application/vnd.openxmlformats-officedocument.presentationml.slideLayout+xml"/>
  <Override PartName="/ppt/slideLayouts/slideLayout11320.xml" ContentType="application/vnd.openxmlformats-officedocument.presentationml.slideLayout+xml"/>
  <Override PartName="/ppt/slideLayouts/slideLayout11321.xml" ContentType="application/vnd.openxmlformats-officedocument.presentationml.slideLayout+xml"/>
  <Override PartName="/ppt/slideLayouts/slideLayout11322.xml" ContentType="application/vnd.openxmlformats-officedocument.presentationml.slideLayout+xml"/>
  <Override PartName="/ppt/slideLayouts/slideLayout11323.xml" ContentType="application/vnd.openxmlformats-officedocument.presentationml.slideLayout+xml"/>
  <Override PartName="/ppt/slideLayouts/slideLayout11324.xml" ContentType="application/vnd.openxmlformats-officedocument.presentationml.slideLayout+xml"/>
  <Override PartName="/ppt/slideLayouts/slideLayout11325.xml" ContentType="application/vnd.openxmlformats-officedocument.presentationml.slideLayout+xml"/>
  <Override PartName="/ppt/slideLayouts/slideLayout11326.xml" ContentType="application/vnd.openxmlformats-officedocument.presentationml.slideLayout+xml"/>
  <Override PartName="/ppt/slideLayouts/slideLayout11327.xml" ContentType="application/vnd.openxmlformats-officedocument.presentationml.slideLayout+xml"/>
  <Override PartName="/ppt/slideLayouts/slideLayout11328.xml" ContentType="application/vnd.openxmlformats-officedocument.presentationml.slideLayout+xml"/>
  <Override PartName="/ppt/slideLayouts/slideLayout11329.xml" ContentType="application/vnd.openxmlformats-officedocument.presentationml.slideLayout+xml"/>
  <Override PartName="/ppt/slideLayouts/slideLayout11330.xml" ContentType="application/vnd.openxmlformats-officedocument.presentationml.slideLayout+xml"/>
  <Override PartName="/ppt/slideLayouts/slideLayout11331.xml" ContentType="application/vnd.openxmlformats-officedocument.presentationml.slideLayout+xml"/>
  <Override PartName="/ppt/slideLayouts/slideLayout11332.xml" ContentType="application/vnd.openxmlformats-officedocument.presentationml.slideLayout+xml"/>
  <Override PartName="/ppt/slideLayouts/slideLayout11333.xml" ContentType="application/vnd.openxmlformats-officedocument.presentationml.slideLayout+xml"/>
  <Override PartName="/ppt/slideLayouts/slideLayout11334.xml" ContentType="application/vnd.openxmlformats-officedocument.presentationml.slideLayout+xml"/>
  <Override PartName="/ppt/slideLayouts/slideLayout11335.xml" ContentType="application/vnd.openxmlformats-officedocument.presentationml.slideLayout+xml"/>
  <Override PartName="/ppt/slideLayouts/slideLayout11336.xml" ContentType="application/vnd.openxmlformats-officedocument.presentationml.slideLayout+xml"/>
  <Override PartName="/ppt/slideLayouts/slideLayout11337.xml" ContentType="application/vnd.openxmlformats-officedocument.presentationml.slideLayout+xml"/>
  <Override PartName="/ppt/slideLayouts/slideLayout11338.xml" ContentType="application/vnd.openxmlformats-officedocument.presentationml.slideLayout+xml"/>
  <Override PartName="/ppt/slideLayouts/slideLayout11339.xml" ContentType="application/vnd.openxmlformats-officedocument.presentationml.slideLayout+xml"/>
  <Override PartName="/ppt/slideLayouts/slideLayout11340.xml" ContentType="application/vnd.openxmlformats-officedocument.presentationml.slideLayout+xml"/>
  <Override PartName="/ppt/slideLayouts/slideLayout11341.xml" ContentType="application/vnd.openxmlformats-officedocument.presentationml.slideLayout+xml"/>
  <Override PartName="/ppt/slideLayouts/slideLayout11342.xml" ContentType="application/vnd.openxmlformats-officedocument.presentationml.slideLayout+xml"/>
  <Override PartName="/ppt/slideLayouts/slideLayout11343.xml" ContentType="application/vnd.openxmlformats-officedocument.presentationml.slideLayout+xml"/>
  <Override PartName="/ppt/slideLayouts/slideLayout11344.xml" ContentType="application/vnd.openxmlformats-officedocument.presentationml.slideLayout+xml"/>
  <Override PartName="/ppt/slideLayouts/slideLayout11345.xml" ContentType="application/vnd.openxmlformats-officedocument.presentationml.slideLayout+xml"/>
  <Override PartName="/ppt/slideLayouts/slideLayout11346.xml" ContentType="application/vnd.openxmlformats-officedocument.presentationml.slideLayout+xml"/>
  <Override PartName="/ppt/slideLayouts/slideLayout11347.xml" ContentType="application/vnd.openxmlformats-officedocument.presentationml.slideLayout+xml"/>
  <Override PartName="/ppt/slideLayouts/slideLayout11348.xml" ContentType="application/vnd.openxmlformats-officedocument.presentationml.slideLayout+xml"/>
  <Override PartName="/ppt/slideLayouts/slideLayout11349.xml" ContentType="application/vnd.openxmlformats-officedocument.presentationml.slideLayout+xml"/>
  <Override PartName="/ppt/slideLayouts/slideLayout11350.xml" ContentType="application/vnd.openxmlformats-officedocument.presentationml.slideLayout+xml"/>
  <Override PartName="/ppt/slideLayouts/slideLayout11351.xml" ContentType="application/vnd.openxmlformats-officedocument.presentationml.slideLayout+xml"/>
  <Override PartName="/ppt/slideLayouts/slideLayout11352.xml" ContentType="application/vnd.openxmlformats-officedocument.presentationml.slideLayout+xml"/>
  <Override PartName="/ppt/slideLayouts/slideLayout11353.xml" ContentType="application/vnd.openxmlformats-officedocument.presentationml.slideLayout+xml"/>
  <Override PartName="/ppt/slideLayouts/slideLayout11354.xml" ContentType="application/vnd.openxmlformats-officedocument.presentationml.slideLayout+xml"/>
  <Override PartName="/ppt/slideLayouts/slideLayout11355.xml" ContentType="application/vnd.openxmlformats-officedocument.presentationml.slideLayout+xml"/>
  <Override PartName="/ppt/slideLayouts/slideLayout11356.xml" ContentType="application/vnd.openxmlformats-officedocument.presentationml.slideLayout+xml"/>
  <Override PartName="/ppt/slideLayouts/slideLayout11357.xml" ContentType="application/vnd.openxmlformats-officedocument.presentationml.slideLayout+xml"/>
  <Override PartName="/ppt/slideLayouts/slideLayout11358.xml" ContentType="application/vnd.openxmlformats-officedocument.presentationml.slideLayout+xml"/>
  <Override PartName="/ppt/slideLayouts/slideLayout11359.xml" ContentType="application/vnd.openxmlformats-officedocument.presentationml.slideLayout+xml"/>
  <Override PartName="/ppt/slideLayouts/slideLayout11360.xml" ContentType="application/vnd.openxmlformats-officedocument.presentationml.slideLayout+xml"/>
  <Override PartName="/ppt/slideLayouts/slideLayout11361.xml" ContentType="application/vnd.openxmlformats-officedocument.presentationml.slideLayout+xml"/>
  <Override PartName="/ppt/slideLayouts/slideLayout11362.xml" ContentType="application/vnd.openxmlformats-officedocument.presentationml.slideLayout+xml"/>
  <Override PartName="/ppt/slideLayouts/slideLayout11363.xml" ContentType="application/vnd.openxmlformats-officedocument.presentationml.slideLayout+xml"/>
  <Override PartName="/ppt/slideLayouts/slideLayout11364.xml" ContentType="application/vnd.openxmlformats-officedocument.presentationml.slideLayout+xml"/>
  <Override PartName="/ppt/slideLayouts/slideLayout11365.xml" ContentType="application/vnd.openxmlformats-officedocument.presentationml.slideLayout+xml"/>
  <Override PartName="/ppt/slideLayouts/slideLayout11366.xml" ContentType="application/vnd.openxmlformats-officedocument.presentationml.slideLayout+xml"/>
  <Override PartName="/ppt/slideLayouts/slideLayout11367.xml" ContentType="application/vnd.openxmlformats-officedocument.presentationml.slideLayout+xml"/>
  <Override PartName="/ppt/slideLayouts/slideLayout11368.xml" ContentType="application/vnd.openxmlformats-officedocument.presentationml.slideLayout+xml"/>
  <Override PartName="/ppt/slideLayouts/slideLayout11369.xml" ContentType="application/vnd.openxmlformats-officedocument.presentationml.slideLayout+xml"/>
  <Override PartName="/ppt/slideLayouts/slideLayout11370.xml" ContentType="application/vnd.openxmlformats-officedocument.presentationml.slideLayout+xml"/>
  <Override PartName="/ppt/slideLayouts/slideLayout11371.xml" ContentType="application/vnd.openxmlformats-officedocument.presentationml.slideLayout+xml"/>
  <Override PartName="/ppt/slideLayouts/slideLayout11372.xml" ContentType="application/vnd.openxmlformats-officedocument.presentationml.slideLayout+xml"/>
  <Override PartName="/ppt/slideLayouts/slideLayout11373.xml" ContentType="application/vnd.openxmlformats-officedocument.presentationml.slideLayout+xml"/>
  <Override PartName="/ppt/slideLayouts/slideLayout11374.xml" ContentType="application/vnd.openxmlformats-officedocument.presentationml.slideLayout+xml"/>
  <Override PartName="/ppt/slideLayouts/slideLayout11375.xml" ContentType="application/vnd.openxmlformats-officedocument.presentationml.slideLayout+xml"/>
  <Override PartName="/ppt/slideLayouts/slideLayout11376.xml" ContentType="application/vnd.openxmlformats-officedocument.presentationml.slideLayout+xml"/>
  <Override PartName="/ppt/slideLayouts/slideLayout11377.xml" ContentType="application/vnd.openxmlformats-officedocument.presentationml.slideLayout+xml"/>
  <Override PartName="/ppt/slideLayouts/slideLayout11378.xml" ContentType="application/vnd.openxmlformats-officedocument.presentationml.slideLayout+xml"/>
  <Override PartName="/ppt/slideLayouts/slideLayout11379.xml" ContentType="application/vnd.openxmlformats-officedocument.presentationml.slideLayout+xml"/>
  <Override PartName="/ppt/slideLayouts/slideLayout11380.xml" ContentType="application/vnd.openxmlformats-officedocument.presentationml.slideLayout+xml"/>
  <Override PartName="/ppt/slideLayouts/slideLayout11381.xml" ContentType="application/vnd.openxmlformats-officedocument.presentationml.slideLayout+xml"/>
  <Override PartName="/ppt/slideLayouts/slideLayout11382.xml" ContentType="application/vnd.openxmlformats-officedocument.presentationml.slideLayout+xml"/>
  <Override PartName="/ppt/slideLayouts/slideLayout11383.xml" ContentType="application/vnd.openxmlformats-officedocument.presentationml.slideLayout+xml"/>
  <Override PartName="/ppt/slideLayouts/slideLayout11384.xml" ContentType="application/vnd.openxmlformats-officedocument.presentationml.slideLayout+xml"/>
  <Override PartName="/ppt/slideLayouts/slideLayout11385.xml" ContentType="application/vnd.openxmlformats-officedocument.presentationml.slideLayout+xml"/>
  <Override PartName="/ppt/slideLayouts/slideLayout11386.xml" ContentType="application/vnd.openxmlformats-officedocument.presentationml.slideLayout+xml"/>
  <Override PartName="/ppt/slideLayouts/slideLayout11387.xml" ContentType="application/vnd.openxmlformats-officedocument.presentationml.slideLayout+xml"/>
  <Override PartName="/ppt/slideLayouts/slideLayout11388.xml" ContentType="application/vnd.openxmlformats-officedocument.presentationml.slideLayout+xml"/>
  <Override PartName="/ppt/slideLayouts/slideLayout11389.xml" ContentType="application/vnd.openxmlformats-officedocument.presentationml.slideLayout+xml"/>
  <Override PartName="/ppt/slideLayouts/slideLayout11390.xml" ContentType="application/vnd.openxmlformats-officedocument.presentationml.slideLayout+xml"/>
  <Override PartName="/ppt/slideLayouts/slideLayout11391.xml" ContentType="application/vnd.openxmlformats-officedocument.presentationml.slideLayout+xml"/>
  <Override PartName="/ppt/slideLayouts/slideLayout11392.xml" ContentType="application/vnd.openxmlformats-officedocument.presentationml.slideLayout+xml"/>
  <Override PartName="/ppt/slideLayouts/slideLayout11393.xml" ContentType="application/vnd.openxmlformats-officedocument.presentationml.slideLayout+xml"/>
  <Override PartName="/ppt/slideLayouts/slideLayout11394.xml" ContentType="application/vnd.openxmlformats-officedocument.presentationml.slideLayout+xml"/>
  <Override PartName="/ppt/slideLayouts/slideLayout11395.xml" ContentType="application/vnd.openxmlformats-officedocument.presentationml.slideLayout+xml"/>
  <Override PartName="/ppt/slideLayouts/slideLayout11396.xml" ContentType="application/vnd.openxmlformats-officedocument.presentationml.slideLayout+xml"/>
  <Override PartName="/ppt/slideLayouts/slideLayout11397.xml" ContentType="application/vnd.openxmlformats-officedocument.presentationml.slideLayout+xml"/>
  <Override PartName="/ppt/slideLayouts/slideLayout11398.xml" ContentType="application/vnd.openxmlformats-officedocument.presentationml.slideLayout+xml"/>
  <Override PartName="/ppt/slideLayouts/slideLayout11399.xml" ContentType="application/vnd.openxmlformats-officedocument.presentationml.slideLayout+xml"/>
  <Override PartName="/ppt/slideLayouts/slideLayout11400.xml" ContentType="application/vnd.openxmlformats-officedocument.presentationml.slideLayout+xml"/>
  <Override PartName="/ppt/slideLayouts/slideLayout11401.xml" ContentType="application/vnd.openxmlformats-officedocument.presentationml.slideLayout+xml"/>
  <Override PartName="/ppt/slideLayouts/slideLayout11402.xml" ContentType="application/vnd.openxmlformats-officedocument.presentationml.slideLayout+xml"/>
  <Override PartName="/ppt/slideLayouts/slideLayout11403.xml" ContentType="application/vnd.openxmlformats-officedocument.presentationml.slideLayout+xml"/>
  <Override PartName="/ppt/slideLayouts/slideLayout11404.xml" ContentType="application/vnd.openxmlformats-officedocument.presentationml.slideLayout+xml"/>
  <Override PartName="/ppt/slideLayouts/slideLayout11405.xml" ContentType="application/vnd.openxmlformats-officedocument.presentationml.slideLayout+xml"/>
  <Override PartName="/ppt/slideLayouts/slideLayout11406.xml" ContentType="application/vnd.openxmlformats-officedocument.presentationml.slideLayout+xml"/>
  <Override PartName="/ppt/slideLayouts/slideLayout11407.xml" ContentType="application/vnd.openxmlformats-officedocument.presentationml.slideLayout+xml"/>
  <Override PartName="/ppt/slideLayouts/slideLayout11408.xml" ContentType="application/vnd.openxmlformats-officedocument.presentationml.slideLayout+xml"/>
  <Override PartName="/ppt/slideLayouts/slideLayout11409.xml" ContentType="application/vnd.openxmlformats-officedocument.presentationml.slideLayout+xml"/>
  <Override PartName="/ppt/slideLayouts/slideLayout11410.xml" ContentType="application/vnd.openxmlformats-officedocument.presentationml.slideLayout+xml"/>
  <Override PartName="/ppt/slideLayouts/slideLayout11411.xml" ContentType="application/vnd.openxmlformats-officedocument.presentationml.slideLayout+xml"/>
  <Override PartName="/ppt/slideLayouts/slideLayout11412.xml" ContentType="application/vnd.openxmlformats-officedocument.presentationml.slideLayout+xml"/>
  <Override PartName="/ppt/slideLayouts/slideLayout11413.xml" ContentType="application/vnd.openxmlformats-officedocument.presentationml.slideLayout+xml"/>
  <Override PartName="/ppt/slideLayouts/slideLayout11414.xml" ContentType="application/vnd.openxmlformats-officedocument.presentationml.slideLayout+xml"/>
  <Override PartName="/ppt/slideLayouts/slideLayout11415.xml" ContentType="application/vnd.openxmlformats-officedocument.presentationml.slideLayout+xml"/>
  <Override PartName="/ppt/slideLayouts/slideLayout11416.xml" ContentType="application/vnd.openxmlformats-officedocument.presentationml.slideLayout+xml"/>
  <Override PartName="/ppt/slideLayouts/slideLayout11417.xml" ContentType="application/vnd.openxmlformats-officedocument.presentationml.slideLayout+xml"/>
  <Override PartName="/ppt/slideLayouts/slideLayout11418.xml" ContentType="application/vnd.openxmlformats-officedocument.presentationml.slideLayout+xml"/>
  <Override PartName="/ppt/slideLayouts/slideLayout11419.xml" ContentType="application/vnd.openxmlformats-officedocument.presentationml.slideLayout+xml"/>
  <Override PartName="/ppt/slideLayouts/slideLayout11420.xml" ContentType="application/vnd.openxmlformats-officedocument.presentationml.slideLayout+xml"/>
  <Override PartName="/ppt/slideLayouts/slideLayout11421.xml" ContentType="application/vnd.openxmlformats-officedocument.presentationml.slideLayout+xml"/>
  <Override PartName="/ppt/slideLayouts/slideLayout11422.xml" ContentType="application/vnd.openxmlformats-officedocument.presentationml.slideLayout+xml"/>
  <Override PartName="/ppt/slideLayouts/slideLayout11423.xml" ContentType="application/vnd.openxmlformats-officedocument.presentationml.slideLayout+xml"/>
  <Override PartName="/ppt/slideLayouts/slideLayout11424.xml" ContentType="application/vnd.openxmlformats-officedocument.presentationml.slideLayout+xml"/>
  <Override PartName="/ppt/slideLayouts/slideLayout11425.xml" ContentType="application/vnd.openxmlformats-officedocument.presentationml.slideLayout+xml"/>
  <Override PartName="/ppt/slideLayouts/slideLayout11426.xml" ContentType="application/vnd.openxmlformats-officedocument.presentationml.slideLayout+xml"/>
  <Override PartName="/ppt/slideLayouts/slideLayout11427.xml" ContentType="application/vnd.openxmlformats-officedocument.presentationml.slideLayout+xml"/>
  <Override PartName="/ppt/slideLayouts/slideLayout11428.xml" ContentType="application/vnd.openxmlformats-officedocument.presentationml.slideLayout+xml"/>
  <Override PartName="/ppt/slideLayouts/slideLayout11429.xml" ContentType="application/vnd.openxmlformats-officedocument.presentationml.slideLayout+xml"/>
  <Override PartName="/ppt/slideLayouts/slideLayout11430.xml" ContentType="application/vnd.openxmlformats-officedocument.presentationml.slideLayout+xml"/>
  <Override PartName="/ppt/slideLayouts/slideLayout11431.xml" ContentType="application/vnd.openxmlformats-officedocument.presentationml.slideLayout+xml"/>
  <Override PartName="/ppt/slideLayouts/slideLayout11432.xml" ContentType="application/vnd.openxmlformats-officedocument.presentationml.slideLayout+xml"/>
  <Override PartName="/ppt/slideLayouts/slideLayout11433.xml" ContentType="application/vnd.openxmlformats-officedocument.presentationml.slideLayout+xml"/>
  <Override PartName="/ppt/slideLayouts/slideLayout11434.xml" ContentType="application/vnd.openxmlformats-officedocument.presentationml.slideLayout+xml"/>
  <Override PartName="/ppt/slideLayouts/slideLayout11435.xml" ContentType="application/vnd.openxmlformats-officedocument.presentationml.slideLayout+xml"/>
  <Override PartName="/ppt/slideLayouts/slideLayout11436.xml" ContentType="application/vnd.openxmlformats-officedocument.presentationml.slideLayout+xml"/>
  <Override PartName="/ppt/slideLayouts/slideLayout11437.xml" ContentType="application/vnd.openxmlformats-officedocument.presentationml.slideLayout+xml"/>
  <Override PartName="/ppt/slideLayouts/slideLayout11438.xml" ContentType="application/vnd.openxmlformats-officedocument.presentationml.slideLayout+xml"/>
  <Override PartName="/ppt/slideLayouts/slideLayout11439.xml" ContentType="application/vnd.openxmlformats-officedocument.presentationml.slideLayout+xml"/>
  <Override PartName="/ppt/slideLayouts/slideLayout11440.xml" ContentType="application/vnd.openxmlformats-officedocument.presentationml.slideLayout+xml"/>
  <Override PartName="/ppt/slideLayouts/slideLayout11441.xml" ContentType="application/vnd.openxmlformats-officedocument.presentationml.slideLayout+xml"/>
  <Override PartName="/ppt/slideLayouts/slideLayout11442.xml" ContentType="application/vnd.openxmlformats-officedocument.presentationml.slideLayout+xml"/>
  <Override PartName="/ppt/slideLayouts/slideLayout11443.xml" ContentType="application/vnd.openxmlformats-officedocument.presentationml.slideLayout+xml"/>
  <Override PartName="/ppt/slideLayouts/slideLayout11444.xml" ContentType="application/vnd.openxmlformats-officedocument.presentationml.slideLayout+xml"/>
  <Override PartName="/ppt/slideLayouts/slideLayout11445.xml" ContentType="application/vnd.openxmlformats-officedocument.presentationml.slideLayout+xml"/>
  <Override PartName="/ppt/slideLayouts/slideLayout11446.xml" ContentType="application/vnd.openxmlformats-officedocument.presentationml.slideLayout+xml"/>
  <Override PartName="/ppt/slideLayouts/slideLayout11447.xml" ContentType="application/vnd.openxmlformats-officedocument.presentationml.slideLayout+xml"/>
  <Override PartName="/ppt/slideLayouts/slideLayout11448.xml" ContentType="application/vnd.openxmlformats-officedocument.presentationml.slideLayout+xml"/>
  <Override PartName="/ppt/slideLayouts/slideLayout11449.xml" ContentType="application/vnd.openxmlformats-officedocument.presentationml.slideLayout+xml"/>
  <Override PartName="/ppt/slideLayouts/slideLayout11450.xml" ContentType="application/vnd.openxmlformats-officedocument.presentationml.slideLayout+xml"/>
  <Override PartName="/ppt/slideLayouts/slideLayout11451.xml" ContentType="application/vnd.openxmlformats-officedocument.presentationml.slideLayout+xml"/>
  <Override PartName="/ppt/slideLayouts/slideLayout11452.xml" ContentType="application/vnd.openxmlformats-officedocument.presentationml.slideLayout+xml"/>
  <Override PartName="/ppt/slideLayouts/slideLayout11453.xml" ContentType="application/vnd.openxmlformats-officedocument.presentationml.slideLayout+xml"/>
  <Override PartName="/ppt/slideLayouts/slideLayout11454.xml" ContentType="application/vnd.openxmlformats-officedocument.presentationml.slideLayout+xml"/>
  <Override PartName="/ppt/slideLayouts/slideLayout11455.xml" ContentType="application/vnd.openxmlformats-officedocument.presentationml.slideLayout+xml"/>
  <Override PartName="/ppt/slideLayouts/slideLayout11456.xml" ContentType="application/vnd.openxmlformats-officedocument.presentationml.slideLayout+xml"/>
  <Override PartName="/ppt/slideLayouts/slideLayout11457.xml" ContentType="application/vnd.openxmlformats-officedocument.presentationml.slideLayout+xml"/>
  <Override PartName="/ppt/slideLayouts/slideLayout11458.xml" ContentType="application/vnd.openxmlformats-officedocument.presentationml.slideLayout+xml"/>
  <Override PartName="/ppt/slideLayouts/slideLayout11459.xml" ContentType="application/vnd.openxmlformats-officedocument.presentationml.slideLayout+xml"/>
  <Override PartName="/ppt/slideLayouts/slideLayout11460.xml" ContentType="application/vnd.openxmlformats-officedocument.presentationml.slideLayout+xml"/>
  <Override PartName="/ppt/slideLayouts/slideLayout11461.xml" ContentType="application/vnd.openxmlformats-officedocument.presentationml.slideLayout+xml"/>
  <Override PartName="/ppt/slideLayouts/slideLayout11462.xml" ContentType="application/vnd.openxmlformats-officedocument.presentationml.slideLayout+xml"/>
  <Override PartName="/ppt/slideLayouts/slideLayout11463.xml" ContentType="application/vnd.openxmlformats-officedocument.presentationml.slideLayout+xml"/>
  <Override PartName="/ppt/slideLayouts/slideLayout11464.xml" ContentType="application/vnd.openxmlformats-officedocument.presentationml.slideLayout+xml"/>
  <Override PartName="/ppt/slideLayouts/slideLayout11465.xml" ContentType="application/vnd.openxmlformats-officedocument.presentationml.slideLayout+xml"/>
  <Override PartName="/ppt/slideLayouts/slideLayout11466.xml" ContentType="application/vnd.openxmlformats-officedocument.presentationml.slideLayout+xml"/>
  <Override PartName="/ppt/slideLayouts/slideLayout11467.xml" ContentType="application/vnd.openxmlformats-officedocument.presentationml.slideLayout+xml"/>
  <Override PartName="/ppt/slideLayouts/slideLayout11468.xml" ContentType="application/vnd.openxmlformats-officedocument.presentationml.slideLayout+xml"/>
  <Override PartName="/ppt/slideLayouts/slideLayout11469.xml" ContentType="application/vnd.openxmlformats-officedocument.presentationml.slideLayout+xml"/>
  <Override PartName="/ppt/slideLayouts/slideLayout11470.xml" ContentType="application/vnd.openxmlformats-officedocument.presentationml.slideLayout+xml"/>
  <Override PartName="/ppt/slideLayouts/slideLayout11471.xml" ContentType="application/vnd.openxmlformats-officedocument.presentationml.slideLayout+xml"/>
  <Override PartName="/ppt/slideLayouts/slideLayout11472.xml" ContentType="application/vnd.openxmlformats-officedocument.presentationml.slideLayout+xml"/>
  <Override PartName="/ppt/slideLayouts/slideLayout11473.xml" ContentType="application/vnd.openxmlformats-officedocument.presentationml.slideLayout+xml"/>
  <Override PartName="/ppt/slideLayouts/slideLayout11474.xml" ContentType="application/vnd.openxmlformats-officedocument.presentationml.slideLayout+xml"/>
  <Override PartName="/ppt/slideLayouts/slideLayout11475.xml" ContentType="application/vnd.openxmlformats-officedocument.presentationml.slideLayout+xml"/>
  <Override PartName="/ppt/slideLayouts/slideLayout11476.xml" ContentType="application/vnd.openxmlformats-officedocument.presentationml.slideLayout+xml"/>
  <Override PartName="/ppt/slideLayouts/slideLayout11477.xml" ContentType="application/vnd.openxmlformats-officedocument.presentationml.slideLayout+xml"/>
  <Override PartName="/ppt/slideLayouts/slideLayout11478.xml" ContentType="application/vnd.openxmlformats-officedocument.presentationml.slideLayout+xml"/>
  <Override PartName="/ppt/slideLayouts/slideLayout11479.xml" ContentType="application/vnd.openxmlformats-officedocument.presentationml.slideLayout+xml"/>
  <Override PartName="/ppt/slideLayouts/slideLayout11480.xml" ContentType="application/vnd.openxmlformats-officedocument.presentationml.slideLayout+xml"/>
  <Override PartName="/ppt/slideLayouts/slideLayout11481.xml" ContentType="application/vnd.openxmlformats-officedocument.presentationml.slideLayout+xml"/>
  <Override PartName="/ppt/slideLayouts/slideLayout11482.xml" ContentType="application/vnd.openxmlformats-officedocument.presentationml.slideLayout+xml"/>
  <Override PartName="/ppt/slideLayouts/slideLayout11483.xml" ContentType="application/vnd.openxmlformats-officedocument.presentationml.slideLayout+xml"/>
  <Override PartName="/ppt/slideLayouts/slideLayout11484.xml" ContentType="application/vnd.openxmlformats-officedocument.presentationml.slideLayout+xml"/>
  <Override PartName="/ppt/slideLayouts/slideLayout11485.xml" ContentType="application/vnd.openxmlformats-officedocument.presentationml.slideLayout+xml"/>
  <Override PartName="/ppt/slideLayouts/slideLayout11486.xml" ContentType="application/vnd.openxmlformats-officedocument.presentationml.slideLayout+xml"/>
  <Override PartName="/ppt/slideLayouts/slideLayout11487.xml" ContentType="application/vnd.openxmlformats-officedocument.presentationml.slideLayout+xml"/>
  <Override PartName="/ppt/slideLayouts/slideLayout11488.xml" ContentType="application/vnd.openxmlformats-officedocument.presentationml.slideLayout+xml"/>
  <Override PartName="/ppt/slideLayouts/slideLayout11489.xml" ContentType="application/vnd.openxmlformats-officedocument.presentationml.slideLayout+xml"/>
  <Override PartName="/ppt/slideLayouts/slideLayout11490.xml" ContentType="application/vnd.openxmlformats-officedocument.presentationml.slideLayout+xml"/>
  <Override PartName="/ppt/slideLayouts/slideLayout11491.xml" ContentType="application/vnd.openxmlformats-officedocument.presentationml.slideLayout+xml"/>
  <Override PartName="/ppt/slideLayouts/slideLayout11492.xml" ContentType="application/vnd.openxmlformats-officedocument.presentationml.slideLayout+xml"/>
  <Override PartName="/ppt/slideLayouts/slideLayout11493.xml" ContentType="application/vnd.openxmlformats-officedocument.presentationml.slideLayout+xml"/>
  <Override PartName="/ppt/slideLayouts/slideLayout11494.xml" ContentType="application/vnd.openxmlformats-officedocument.presentationml.slideLayout+xml"/>
  <Override PartName="/ppt/slideLayouts/slideLayout11495.xml" ContentType="application/vnd.openxmlformats-officedocument.presentationml.slideLayout+xml"/>
  <Override PartName="/ppt/slideLayouts/slideLayout11496.xml" ContentType="application/vnd.openxmlformats-officedocument.presentationml.slideLayout+xml"/>
  <Override PartName="/ppt/slideLayouts/slideLayout11497.xml" ContentType="application/vnd.openxmlformats-officedocument.presentationml.slideLayout+xml"/>
  <Override PartName="/ppt/slideLayouts/slideLayout11498.xml" ContentType="application/vnd.openxmlformats-officedocument.presentationml.slideLayout+xml"/>
  <Override PartName="/ppt/slideLayouts/slideLayout11499.xml" ContentType="application/vnd.openxmlformats-officedocument.presentationml.slideLayout+xml"/>
  <Override PartName="/ppt/slideLayouts/slideLayout11500.xml" ContentType="application/vnd.openxmlformats-officedocument.presentationml.slideLayout+xml"/>
  <Override PartName="/ppt/slideLayouts/slideLayout11501.xml" ContentType="application/vnd.openxmlformats-officedocument.presentationml.slideLayout+xml"/>
  <Override PartName="/ppt/slideLayouts/slideLayout11502.xml" ContentType="application/vnd.openxmlformats-officedocument.presentationml.slideLayout+xml"/>
  <Override PartName="/ppt/slideLayouts/slideLayout11503.xml" ContentType="application/vnd.openxmlformats-officedocument.presentationml.slideLayout+xml"/>
  <Override PartName="/ppt/slideLayouts/slideLayout11504.xml" ContentType="application/vnd.openxmlformats-officedocument.presentationml.slideLayout+xml"/>
  <Override PartName="/ppt/slideLayouts/slideLayout11505.xml" ContentType="application/vnd.openxmlformats-officedocument.presentationml.slideLayout+xml"/>
  <Override PartName="/ppt/slideLayouts/slideLayout11506.xml" ContentType="application/vnd.openxmlformats-officedocument.presentationml.slideLayout+xml"/>
  <Override PartName="/ppt/slideLayouts/slideLayout11507.xml" ContentType="application/vnd.openxmlformats-officedocument.presentationml.slideLayout+xml"/>
  <Override PartName="/ppt/slideLayouts/slideLayout11508.xml" ContentType="application/vnd.openxmlformats-officedocument.presentationml.slideLayout+xml"/>
  <Override PartName="/ppt/slideLayouts/slideLayout11509.xml" ContentType="application/vnd.openxmlformats-officedocument.presentationml.slideLayout+xml"/>
  <Override PartName="/ppt/slideLayouts/slideLayout11510.xml" ContentType="application/vnd.openxmlformats-officedocument.presentationml.slideLayout+xml"/>
  <Override PartName="/ppt/slideLayouts/slideLayout11511.xml" ContentType="application/vnd.openxmlformats-officedocument.presentationml.slideLayout+xml"/>
  <Override PartName="/ppt/slideLayouts/slideLayout11512.xml" ContentType="application/vnd.openxmlformats-officedocument.presentationml.slideLayout+xml"/>
  <Override PartName="/ppt/slideLayouts/slideLayout11513.xml" ContentType="application/vnd.openxmlformats-officedocument.presentationml.slideLayout+xml"/>
  <Override PartName="/ppt/slideLayouts/slideLayout11514.xml" ContentType="application/vnd.openxmlformats-officedocument.presentationml.slideLayout+xml"/>
  <Override PartName="/ppt/slideLayouts/slideLayout11515.xml" ContentType="application/vnd.openxmlformats-officedocument.presentationml.slideLayout+xml"/>
  <Override PartName="/ppt/slideLayouts/slideLayout11516.xml" ContentType="application/vnd.openxmlformats-officedocument.presentationml.slideLayout+xml"/>
  <Override PartName="/ppt/slideLayouts/slideLayout11517.xml" ContentType="application/vnd.openxmlformats-officedocument.presentationml.slideLayout+xml"/>
  <Override PartName="/ppt/slideLayouts/slideLayout11518.xml" ContentType="application/vnd.openxmlformats-officedocument.presentationml.slideLayout+xml"/>
  <Override PartName="/ppt/slideLayouts/slideLayout11519.xml" ContentType="application/vnd.openxmlformats-officedocument.presentationml.slideLayout+xml"/>
  <Override PartName="/ppt/slideLayouts/slideLayout11520.xml" ContentType="application/vnd.openxmlformats-officedocument.presentationml.slideLayout+xml"/>
  <Override PartName="/ppt/slideLayouts/slideLayout11521.xml" ContentType="application/vnd.openxmlformats-officedocument.presentationml.slideLayout+xml"/>
  <Override PartName="/ppt/slideLayouts/slideLayout11522.xml" ContentType="application/vnd.openxmlformats-officedocument.presentationml.slideLayout+xml"/>
  <Override PartName="/ppt/slideLayouts/slideLayout11523.xml" ContentType="application/vnd.openxmlformats-officedocument.presentationml.slideLayout+xml"/>
  <Override PartName="/ppt/slideLayouts/slideLayout11524.xml" ContentType="application/vnd.openxmlformats-officedocument.presentationml.slideLayout+xml"/>
  <Override PartName="/ppt/slideLayouts/slideLayout11525.xml" ContentType="application/vnd.openxmlformats-officedocument.presentationml.slideLayout+xml"/>
  <Override PartName="/ppt/slideLayouts/slideLayout11526.xml" ContentType="application/vnd.openxmlformats-officedocument.presentationml.slideLayout+xml"/>
  <Override PartName="/ppt/slideLayouts/slideLayout11527.xml" ContentType="application/vnd.openxmlformats-officedocument.presentationml.slideLayout+xml"/>
  <Override PartName="/ppt/slideLayouts/slideLayout11528.xml" ContentType="application/vnd.openxmlformats-officedocument.presentationml.slideLayout+xml"/>
  <Override PartName="/ppt/slideLayouts/slideLayout11529.xml" ContentType="application/vnd.openxmlformats-officedocument.presentationml.slideLayout+xml"/>
  <Override PartName="/ppt/slideLayouts/slideLayout11530.xml" ContentType="application/vnd.openxmlformats-officedocument.presentationml.slideLayout+xml"/>
  <Override PartName="/ppt/slideLayouts/slideLayout11531.xml" ContentType="application/vnd.openxmlformats-officedocument.presentationml.slideLayout+xml"/>
  <Override PartName="/ppt/slideLayouts/slideLayout11532.xml" ContentType="application/vnd.openxmlformats-officedocument.presentationml.slideLayout+xml"/>
  <Override PartName="/ppt/slideLayouts/slideLayout11533.xml" ContentType="application/vnd.openxmlformats-officedocument.presentationml.slideLayout+xml"/>
  <Override PartName="/ppt/slideLayouts/slideLayout11534.xml" ContentType="application/vnd.openxmlformats-officedocument.presentationml.slideLayout+xml"/>
  <Override PartName="/ppt/slideLayouts/slideLayout11535.xml" ContentType="application/vnd.openxmlformats-officedocument.presentationml.slideLayout+xml"/>
  <Override PartName="/ppt/slideLayouts/slideLayout11536.xml" ContentType="application/vnd.openxmlformats-officedocument.presentationml.slideLayout+xml"/>
  <Override PartName="/ppt/slideLayouts/slideLayout11537.xml" ContentType="application/vnd.openxmlformats-officedocument.presentationml.slideLayout+xml"/>
  <Override PartName="/ppt/slideLayouts/slideLayout11538.xml" ContentType="application/vnd.openxmlformats-officedocument.presentationml.slideLayout+xml"/>
  <Override PartName="/ppt/slideLayouts/slideLayout11539.xml" ContentType="application/vnd.openxmlformats-officedocument.presentationml.slideLayout+xml"/>
  <Override PartName="/ppt/slideLayouts/slideLayout11540.xml" ContentType="application/vnd.openxmlformats-officedocument.presentationml.slideLayout+xml"/>
  <Override PartName="/ppt/slideLayouts/slideLayout11541.xml" ContentType="application/vnd.openxmlformats-officedocument.presentationml.slideLayout+xml"/>
  <Override PartName="/ppt/slideLayouts/slideLayout11542.xml" ContentType="application/vnd.openxmlformats-officedocument.presentationml.slideLayout+xml"/>
  <Override PartName="/ppt/slideLayouts/slideLayout11543.xml" ContentType="application/vnd.openxmlformats-officedocument.presentationml.slideLayout+xml"/>
  <Override PartName="/ppt/slideLayouts/slideLayout11544.xml" ContentType="application/vnd.openxmlformats-officedocument.presentationml.slideLayout+xml"/>
  <Override PartName="/ppt/slideLayouts/slideLayout11545.xml" ContentType="application/vnd.openxmlformats-officedocument.presentationml.slideLayout+xml"/>
  <Override PartName="/ppt/slideLayouts/slideLayout11546.xml" ContentType="application/vnd.openxmlformats-officedocument.presentationml.slideLayout+xml"/>
  <Override PartName="/ppt/slideLayouts/slideLayout11547.xml" ContentType="application/vnd.openxmlformats-officedocument.presentationml.slideLayout+xml"/>
  <Override PartName="/ppt/slideLayouts/slideLayout11548.xml" ContentType="application/vnd.openxmlformats-officedocument.presentationml.slideLayout+xml"/>
  <Override PartName="/ppt/slideLayouts/slideLayout11549.xml" ContentType="application/vnd.openxmlformats-officedocument.presentationml.slideLayout+xml"/>
  <Override PartName="/ppt/slideLayouts/slideLayout11550.xml" ContentType="application/vnd.openxmlformats-officedocument.presentationml.slideLayout+xml"/>
  <Override PartName="/ppt/slideLayouts/slideLayout11551.xml" ContentType="application/vnd.openxmlformats-officedocument.presentationml.slideLayout+xml"/>
  <Override PartName="/ppt/slideLayouts/slideLayout11552.xml" ContentType="application/vnd.openxmlformats-officedocument.presentationml.slideLayout+xml"/>
  <Override PartName="/ppt/slideLayouts/slideLayout11553.xml" ContentType="application/vnd.openxmlformats-officedocument.presentationml.slideLayout+xml"/>
  <Override PartName="/ppt/slideLayouts/slideLayout11554.xml" ContentType="application/vnd.openxmlformats-officedocument.presentationml.slideLayout+xml"/>
  <Override PartName="/ppt/slideLayouts/slideLayout11555.xml" ContentType="application/vnd.openxmlformats-officedocument.presentationml.slideLayout+xml"/>
  <Override PartName="/ppt/slideLayouts/slideLayout11556.xml" ContentType="application/vnd.openxmlformats-officedocument.presentationml.slideLayout+xml"/>
  <Override PartName="/ppt/slideLayouts/slideLayout11557.xml" ContentType="application/vnd.openxmlformats-officedocument.presentationml.slideLayout+xml"/>
  <Override PartName="/ppt/slideLayouts/slideLayout11558.xml" ContentType="application/vnd.openxmlformats-officedocument.presentationml.slideLayout+xml"/>
  <Override PartName="/ppt/slideLayouts/slideLayout11559.xml" ContentType="application/vnd.openxmlformats-officedocument.presentationml.slideLayout+xml"/>
  <Override PartName="/ppt/slideLayouts/slideLayout11560.xml" ContentType="application/vnd.openxmlformats-officedocument.presentationml.slideLayout+xml"/>
  <Override PartName="/ppt/slideLayouts/slideLayout11561.xml" ContentType="application/vnd.openxmlformats-officedocument.presentationml.slideLayout+xml"/>
  <Override PartName="/ppt/slideLayouts/slideLayout11562.xml" ContentType="application/vnd.openxmlformats-officedocument.presentationml.slideLayout+xml"/>
  <Override PartName="/ppt/slideLayouts/slideLayout11563.xml" ContentType="application/vnd.openxmlformats-officedocument.presentationml.slideLayout+xml"/>
  <Override PartName="/ppt/slideLayouts/slideLayout11564.xml" ContentType="application/vnd.openxmlformats-officedocument.presentationml.slideLayout+xml"/>
  <Override PartName="/ppt/slideLayouts/slideLayout11565.xml" ContentType="application/vnd.openxmlformats-officedocument.presentationml.slideLayout+xml"/>
  <Override PartName="/ppt/slideLayouts/slideLayout11566.xml" ContentType="application/vnd.openxmlformats-officedocument.presentationml.slideLayout+xml"/>
  <Override PartName="/ppt/slideLayouts/slideLayout11567.xml" ContentType="application/vnd.openxmlformats-officedocument.presentationml.slideLayout+xml"/>
  <Override PartName="/ppt/slideLayouts/slideLayout11568.xml" ContentType="application/vnd.openxmlformats-officedocument.presentationml.slideLayout+xml"/>
  <Override PartName="/ppt/slideLayouts/slideLayout11569.xml" ContentType="application/vnd.openxmlformats-officedocument.presentationml.slideLayout+xml"/>
  <Override PartName="/ppt/slideLayouts/slideLayout11570.xml" ContentType="application/vnd.openxmlformats-officedocument.presentationml.slideLayout+xml"/>
  <Override PartName="/ppt/slideLayouts/slideLayout11571.xml" ContentType="application/vnd.openxmlformats-officedocument.presentationml.slideLayout+xml"/>
  <Override PartName="/ppt/slideLayouts/slideLayout11572.xml" ContentType="application/vnd.openxmlformats-officedocument.presentationml.slideLayout+xml"/>
  <Override PartName="/ppt/slideLayouts/slideLayout11573.xml" ContentType="application/vnd.openxmlformats-officedocument.presentationml.slideLayout+xml"/>
  <Override PartName="/ppt/slideLayouts/slideLayout11574.xml" ContentType="application/vnd.openxmlformats-officedocument.presentationml.slideLayout+xml"/>
  <Override PartName="/ppt/slideLayouts/slideLayout11575.xml" ContentType="application/vnd.openxmlformats-officedocument.presentationml.slideLayout+xml"/>
  <Override PartName="/ppt/slideLayouts/slideLayout11576.xml" ContentType="application/vnd.openxmlformats-officedocument.presentationml.slideLayout+xml"/>
  <Override PartName="/ppt/slideLayouts/slideLayout11577.xml" ContentType="application/vnd.openxmlformats-officedocument.presentationml.slideLayout+xml"/>
  <Override PartName="/ppt/slideLayouts/slideLayout11578.xml" ContentType="application/vnd.openxmlformats-officedocument.presentationml.slideLayout+xml"/>
  <Override PartName="/ppt/slideLayouts/slideLayout11579.xml" ContentType="application/vnd.openxmlformats-officedocument.presentationml.slideLayout+xml"/>
  <Override PartName="/ppt/slideLayouts/slideLayout11580.xml" ContentType="application/vnd.openxmlformats-officedocument.presentationml.slideLayout+xml"/>
  <Override PartName="/ppt/slideLayouts/slideLayout11581.xml" ContentType="application/vnd.openxmlformats-officedocument.presentationml.slideLayout+xml"/>
  <Override PartName="/ppt/slideLayouts/slideLayout11582.xml" ContentType="application/vnd.openxmlformats-officedocument.presentationml.slideLayout+xml"/>
  <Override PartName="/ppt/slideLayouts/slideLayout11583.xml" ContentType="application/vnd.openxmlformats-officedocument.presentationml.slideLayout+xml"/>
  <Override PartName="/ppt/slideLayouts/slideLayout11584.xml" ContentType="application/vnd.openxmlformats-officedocument.presentationml.slideLayout+xml"/>
  <Override PartName="/ppt/slideLayouts/slideLayout11585.xml" ContentType="application/vnd.openxmlformats-officedocument.presentationml.slideLayout+xml"/>
  <Override PartName="/ppt/slideLayouts/slideLayout11586.xml" ContentType="application/vnd.openxmlformats-officedocument.presentationml.slideLayout+xml"/>
  <Override PartName="/ppt/slideLayouts/slideLayout11587.xml" ContentType="application/vnd.openxmlformats-officedocument.presentationml.slideLayout+xml"/>
  <Override PartName="/ppt/slideLayouts/slideLayout11588.xml" ContentType="application/vnd.openxmlformats-officedocument.presentationml.slideLayout+xml"/>
  <Override PartName="/ppt/slideLayouts/slideLayout11589.xml" ContentType="application/vnd.openxmlformats-officedocument.presentationml.slideLayout+xml"/>
  <Override PartName="/ppt/slideLayouts/slideLayout11590.xml" ContentType="application/vnd.openxmlformats-officedocument.presentationml.slideLayout+xml"/>
  <Override PartName="/ppt/slideLayouts/slideLayout11591.xml" ContentType="application/vnd.openxmlformats-officedocument.presentationml.slideLayout+xml"/>
  <Override PartName="/ppt/slideLayouts/slideLayout11592.xml" ContentType="application/vnd.openxmlformats-officedocument.presentationml.slideLayout+xml"/>
  <Override PartName="/ppt/slideLayouts/slideLayout11593.xml" ContentType="application/vnd.openxmlformats-officedocument.presentationml.slideLayout+xml"/>
  <Override PartName="/ppt/slideLayouts/slideLayout11594.xml" ContentType="application/vnd.openxmlformats-officedocument.presentationml.slideLayout+xml"/>
  <Override PartName="/ppt/slideLayouts/slideLayout11595.xml" ContentType="application/vnd.openxmlformats-officedocument.presentationml.slideLayout+xml"/>
  <Override PartName="/ppt/slideLayouts/slideLayout11596.xml" ContentType="application/vnd.openxmlformats-officedocument.presentationml.slideLayout+xml"/>
  <Override PartName="/ppt/slideLayouts/slideLayout11597.xml" ContentType="application/vnd.openxmlformats-officedocument.presentationml.slideLayout+xml"/>
  <Override PartName="/ppt/slideLayouts/slideLayout11598.xml" ContentType="application/vnd.openxmlformats-officedocument.presentationml.slideLayout+xml"/>
  <Override PartName="/ppt/slideLayouts/slideLayout11599.xml" ContentType="application/vnd.openxmlformats-officedocument.presentationml.slideLayout+xml"/>
  <Override PartName="/ppt/slideLayouts/slideLayout11600.xml" ContentType="application/vnd.openxmlformats-officedocument.presentationml.slideLayout+xml"/>
  <Override PartName="/ppt/slideLayouts/slideLayout11601.xml" ContentType="application/vnd.openxmlformats-officedocument.presentationml.slideLayout+xml"/>
  <Override PartName="/ppt/slideLayouts/slideLayout11602.xml" ContentType="application/vnd.openxmlformats-officedocument.presentationml.slideLayout+xml"/>
  <Override PartName="/ppt/slideLayouts/slideLayout11603.xml" ContentType="application/vnd.openxmlformats-officedocument.presentationml.slideLayout+xml"/>
  <Override PartName="/ppt/slideLayouts/slideLayout11604.xml" ContentType="application/vnd.openxmlformats-officedocument.presentationml.slideLayout+xml"/>
  <Override PartName="/ppt/slideLayouts/slideLayout11605.xml" ContentType="application/vnd.openxmlformats-officedocument.presentationml.slideLayout+xml"/>
  <Override PartName="/ppt/slideLayouts/slideLayout11606.xml" ContentType="application/vnd.openxmlformats-officedocument.presentationml.slideLayout+xml"/>
  <Override PartName="/ppt/slideLayouts/slideLayout11607.xml" ContentType="application/vnd.openxmlformats-officedocument.presentationml.slideLayout+xml"/>
  <Override PartName="/ppt/slideLayouts/slideLayout11608.xml" ContentType="application/vnd.openxmlformats-officedocument.presentationml.slideLayout+xml"/>
  <Override PartName="/ppt/slideLayouts/slideLayout11609.xml" ContentType="application/vnd.openxmlformats-officedocument.presentationml.slideLayout+xml"/>
  <Override PartName="/ppt/slideLayouts/slideLayout11610.xml" ContentType="application/vnd.openxmlformats-officedocument.presentationml.slideLayout+xml"/>
  <Override PartName="/ppt/slideLayouts/slideLayout11611.xml" ContentType="application/vnd.openxmlformats-officedocument.presentationml.slideLayout+xml"/>
  <Override PartName="/ppt/slideLayouts/slideLayout11612.xml" ContentType="application/vnd.openxmlformats-officedocument.presentationml.slideLayout+xml"/>
  <Override PartName="/ppt/slideLayouts/slideLayout11613.xml" ContentType="application/vnd.openxmlformats-officedocument.presentationml.slideLayout+xml"/>
  <Override PartName="/ppt/slideLayouts/slideLayout11614.xml" ContentType="application/vnd.openxmlformats-officedocument.presentationml.slideLayout+xml"/>
  <Override PartName="/ppt/slideLayouts/slideLayout11615.xml" ContentType="application/vnd.openxmlformats-officedocument.presentationml.slideLayout+xml"/>
  <Override PartName="/ppt/slideLayouts/slideLayout11616.xml" ContentType="application/vnd.openxmlformats-officedocument.presentationml.slideLayout+xml"/>
  <Override PartName="/ppt/slideLayouts/slideLayout11617.xml" ContentType="application/vnd.openxmlformats-officedocument.presentationml.slideLayout+xml"/>
  <Override PartName="/ppt/slideLayouts/slideLayout11618.xml" ContentType="application/vnd.openxmlformats-officedocument.presentationml.slideLayout+xml"/>
  <Override PartName="/ppt/slideLayouts/slideLayout11619.xml" ContentType="application/vnd.openxmlformats-officedocument.presentationml.slideLayout+xml"/>
  <Override PartName="/ppt/slideLayouts/slideLayout11620.xml" ContentType="application/vnd.openxmlformats-officedocument.presentationml.slideLayout+xml"/>
  <Override PartName="/ppt/slideLayouts/slideLayout11621.xml" ContentType="application/vnd.openxmlformats-officedocument.presentationml.slideLayout+xml"/>
  <Override PartName="/ppt/slideLayouts/slideLayout11622.xml" ContentType="application/vnd.openxmlformats-officedocument.presentationml.slideLayout+xml"/>
  <Override PartName="/ppt/slideLayouts/slideLayout11623.xml" ContentType="application/vnd.openxmlformats-officedocument.presentationml.slideLayout+xml"/>
  <Override PartName="/ppt/slideLayouts/slideLayout11624.xml" ContentType="application/vnd.openxmlformats-officedocument.presentationml.slideLayout+xml"/>
  <Override PartName="/ppt/slideLayouts/slideLayout11625.xml" ContentType="application/vnd.openxmlformats-officedocument.presentationml.slideLayout+xml"/>
  <Override PartName="/ppt/slideLayouts/slideLayout11626.xml" ContentType="application/vnd.openxmlformats-officedocument.presentationml.slideLayout+xml"/>
  <Override PartName="/ppt/slideLayouts/slideLayout11627.xml" ContentType="application/vnd.openxmlformats-officedocument.presentationml.slideLayout+xml"/>
  <Override PartName="/ppt/slideLayouts/slideLayout11628.xml" ContentType="application/vnd.openxmlformats-officedocument.presentationml.slideLayout+xml"/>
  <Override PartName="/ppt/slideLayouts/slideLayout11629.xml" ContentType="application/vnd.openxmlformats-officedocument.presentationml.slideLayout+xml"/>
  <Override PartName="/ppt/slideLayouts/slideLayout11630.xml" ContentType="application/vnd.openxmlformats-officedocument.presentationml.slideLayout+xml"/>
  <Override PartName="/ppt/slideLayouts/slideLayout11631.xml" ContentType="application/vnd.openxmlformats-officedocument.presentationml.slideLayout+xml"/>
  <Override PartName="/ppt/slideLayouts/slideLayout11632.xml" ContentType="application/vnd.openxmlformats-officedocument.presentationml.slideLayout+xml"/>
  <Override PartName="/ppt/slideLayouts/slideLayout11633.xml" ContentType="application/vnd.openxmlformats-officedocument.presentationml.slideLayout+xml"/>
  <Override PartName="/ppt/slideLayouts/slideLayout11634.xml" ContentType="application/vnd.openxmlformats-officedocument.presentationml.slideLayout+xml"/>
  <Override PartName="/ppt/slideLayouts/slideLayout11635.xml" ContentType="application/vnd.openxmlformats-officedocument.presentationml.slideLayout+xml"/>
  <Override PartName="/ppt/slideLayouts/slideLayout11636.xml" ContentType="application/vnd.openxmlformats-officedocument.presentationml.slideLayout+xml"/>
  <Override PartName="/ppt/slideLayouts/slideLayout11637.xml" ContentType="application/vnd.openxmlformats-officedocument.presentationml.slideLayout+xml"/>
  <Override PartName="/ppt/slideLayouts/slideLayout11638.xml" ContentType="application/vnd.openxmlformats-officedocument.presentationml.slideLayout+xml"/>
  <Override PartName="/ppt/slideLayouts/slideLayout11639.xml" ContentType="application/vnd.openxmlformats-officedocument.presentationml.slideLayout+xml"/>
  <Override PartName="/ppt/slideLayouts/slideLayout11640.xml" ContentType="application/vnd.openxmlformats-officedocument.presentationml.slideLayout+xml"/>
  <Override PartName="/ppt/slideLayouts/slideLayout11641.xml" ContentType="application/vnd.openxmlformats-officedocument.presentationml.slideLayout+xml"/>
  <Override PartName="/ppt/slideLayouts/slideLayout11642.xml" ContentType="application/vnd.openxmlformats-officedocument.presentationml.slideLayout+xml"/>
  <Override PartName="/ppt/slideLayouts/slideLayout11643.xml" ContentType="application/vnd.openxmlformats-officedocument.presentationml.slideLayout+xml"/>
  <Override PartName="/ppt/slideLayouts/slideLayout11644.xml" ContentType="application/vnd.openxmlformats-officedocument.presentationml.slideLayout+xml"/>
  <Override PartName="/ppt/slideLayouts/slideLayout11645.xml" ContentType="application/vnd.openxmlformats-officedocument.presentationml.slideLayout+xml"/>
  <Override PartName="/ppt/slideLayouts/slideLayout11646.xml" ContentType="application/vnd.openxmlformats-officedocument.presentationml.slideLayout+xml"/>
  <Override PartName="/ppt/slideLayouts/slideLayout11647.xml" ContentType="application/vnd.openxmlformats-officedocument.presentationml.slideLayout+xml"/>
  <Override PartName="/ppt/slideLayouts/slideLayout11648.xml" ContentType="application/vnd.openxmlformats-officedocument.presentationml.slideLayout+xml"/>
  <Override PartName="/ppt/slideLayouts/slideLayout11649.xml" ContentType="application/vnd.openxmlformats-officedocument.presentationml.slideLayout+xml"/>
  <Override PartName="/ppt/slideLayouts/slideLayout11650.xml" ContentType="application/vnd.openxmlformats-officedocument.presentationml.slideLayout+xml"/>
  <Override PartName="/ppt/slideLayouts/slideLayout11651.xml" ContentType="application/vnd.openxmlformats-officedocument.presentationml.slideLayout+xml"/>
  <Override PartName="/ppt/slideLayouts/slideLayout11652.xml" ContentType="application/vnd.openxmlformats-officedocument.presentationml.slideLayout+xml"/>
  <Override PartName="/ppt/slideLayouts/slideLayout11653.xml" ContentType="application/vnd.openxmlformats-officedocument.presentationml.slideLayout+xml"/>
  <Override PartName="/ppt/slideLayouts/slideLayout11654.xml" ContentType="application/vnd.openxmlformats-officedocument.presentationml.slideLayout+xml"/>
  <Override PartName="/ppt/slideLayouts/slideLayout11655.xml" ContentType="application/vnd.openxmlformats-officedocument.presentationml.slideLayout+xml"/>
  <Override PartName="/ppt/slideLayouts/slideLayout11656.xml" ContentType="application/vnd.openxmlformats-officedocument.presentationml.slideLayout+xml"/>
  <Override PartName="/ppt/slideLayouts/slideLayout11657.xml" ContentType="application/vnd.openxmlformats-officedocument.presentationml.slideLayout+xml"/>
  <Override PartName="/ppt/slideLayouts/slideLayout11658.xml" ContentType="application/vnd.openxmlformats-officedocument.presentationml.slideLayout+xml"/>
  <Override PartName="/ppt/slideLayouts/slideLayout11659.xml" ContentType="application/vnd.openxmlformats-officedocument.presentationml.slideLayout+xml"/>
  <Override PartName="/ppt/slideLayouts/slideLayout11660.xml" ContentType="application/vnd.openxmlformats-officedocument.presentationml.slideLayout+xml"/>
  <Override PartName="/ppt/slideLayouts/slideLayout11661.xml" ContentType="application/vnd.openxmlformats-officedocument.presentationml.slideLayout+xml"/>
  <Override PartName="/ppt/slideLayouts/slideLayout11662.xml" ContentType="application/vnd.openxmlformats-officedocument.presentationml.slideLayout+xml"/>
  <Override PartName="/ppt/slideLayouts/slideLayout11663.xml" ContentType="application/vnd.openxmlformats-officedocument.presentationml.slideLayout+xml"/>
  <Override PartName="/ppt/slideLayouts/slideLayout11664.xml" ContentType="application/vnd.openxmlformats-officedocument.presentationml.slideLayout+xml"/>
  <Override PartName="/ppt/slideLayouts/slideLayout11665.xml" ContentType="application/vnd.openxmlformats-officedocument.presentationml.slideLayout+xml"/>
  <Override PartName="/ppt/slideLayouts/slideLayout11666.xml" ContentType="application/vnd.openxmlformats-officedocument.presentationml.slideLayout+xml"/>
  <Override PartName="/ppt/slideLayouts/slideLayout11667.xml" ContentType="application/vnd.openxmlformats-officedocument.presentationml.slideLayout+xml"/>
  <Override PartName="/ppt/slideLayouts/slideLayout11668.xml" ContentType="application/vnd.openxmlformats-officedocument.presentationml.slideLayout+xml"/>
  <Override PartName="/ppt/slideLayouts/slideLayout11669.xml" ContentType="application/vnd.openxmlformats-officedocument.presentationml.slideLayout+xml"/>
  <Override PartName="/ppt/slideLayouts/slideLayout11670.xml" ContentType="application/vnd.openxmlformats-officedocument.presentationml.slideLayout+xml"/>
  <Override PartName="/ppt/slideLayouts/slideLayout11671.xml" ContentType="application/vnd.openxmlformats-officedocument.presentationml.slideLayout+xml"/>
  <Override PartName="/ppt/slideLayouts/slideLayout11672.xml" ContentType="application/vnd.openxmlformats-officedocument.presentationml.slideLayout+xml"/>
  <Override PartName="/ppt/slideLayouts/slideLayout11673.xml" ContentType="application/vnd.openxmlformats-officedocument.presentationml.slideLayout+xml"/>
  <Override PartName="/ppt/slideLayouts/slideLayout11674.xml" ContentType="application/vnd.openxmlformats-officedocument.presentationml.slideLayout+xml"/>
  <Override PartName="/ppt/slideLayouts/slideLayout11675.xml" ContentType="application/vnd.openxmlformats-officedocument.presentationml.slideLayout+xml"/>
  <Override PartName="/ppt/slideLayouts/slideLayout11676.xml" ContentType="application/vnd.openxmlformats-officedocument.presentationml.slideLayout+xml"/>
  <Override PartName="/ppt/slideLayouts/slideLayout11677.xml" ContentType="application/vnd.openxmlformats-officedocument.presentationml.slideLayout+xml"/>
  <Override PartName="/ppt/slideLayouts/slideLayout11678.xml" ContentType="application/vnd.openxmlformats-officedocument.presentationml.slideLayout+xml"/>
  <Override PartName="/ppt/slideLayouts/slideLayout11679.xml" ContentType="application/vnd.openxmlformats-officedocument.presentationml.slideLayout+xml"/>
  <Override PartName="/ppt/slideLayouts/slideLayout11680.xml" ContentType="application/vnd.openxmlformats-officedocument.presentationml.slideLayout+xml"/>
  <Override PartName="/ppt/slideLayouts/slideLayout11681.xml" ContentType="application/vnd.openxmlformats-officedocument.presentationml.slideLayout+xml"/>
  <Override PartName="/ppt/slideLayouts/slideLayout11682.xml" ContentType="application/vnd.openxmlformats-officedocument.presentationml.slideLayout+xml"/>
  <Override PartName="/ppt/slideLayouts/slideLayout11683.xml" ContentType="application/vnd.openxmlformats-officedocument.presentationml.slideLayout+xml"/>
  <Override PartName="/ppt/slideLayouts/slideLayout11684.xml" ContentType="application/vnd.openxmlformats-officedocument.presentationml.slideLayout+xml"/>
  <Override PartName="/ppt/slideLayouts/slideLayout11685.xml" ContentType="application/vnd.openxmlformats-officedocument.presentationml.slideLayout+xml"/>
  <Override PartName="/ppt/slideLayouts/slideLayout11686.xml" ContentType="application/vnd.openxmlformats-officedocument.presentationml.slideLayout+xml"/>
  <Override PartName="/ppt/slideLayouts/slideLayout11687.xml" ContentType="application/vnd.openxmlformats-officedocument.presentationml.slideLayout+xml"/>
  <Override PartName="/ppt/slideLayouts/slideLayout11688.xml" ContentType="application/vnd.openxmlformats-officedocument.presentationml.slideLayout+xml"/>
  <Override PartName="/ppt/slideLayouts/slideLayout11689.xml" ContentType="application/vnd.openxmlformats-officedocument.presentationml.slideLayout+xml"/>
  <Override PartName="/ppt/slideLayouts/slideLayout11690.xml" ContentType="application/vnd.openxmlformats-officedocument.presentationml.slideLayout+xml"/>
  <Override PartName="/ppt/slideLayouts/slideLayout11691.xml" ContentType="application/vnd.openxmlformats-officedocument.presentationml.slideLayout+xml"/>
  <Override PartName="/ppt/slideLayouts/slideLayout11692.xml" ContentType="application/vnd.openxmlformats-officedocument.presentationml.slideLayout+xml"/>
  <Override PartName="/ppt/slideLayouts/slideLayout11693.xml" ContentType="application/vnd.openxmlformats-officedocument.presentationml.slideLayout+xml"/>
  <Override PartName="/ppt/slideLayouts/slideLayout11694.xml" ContentType="application/vnd.openxmlformats-officedocument.presentationml.slideLayout+xml"/>
  <Override PartName="/ppt/slideLayouts/slideLayout11695.xml" ContentType="application/vnd.openxmlformats-officedocument.presentationml.slideLayout+xml"/>
  <Override PartName="/ppt/slideLayouts/slideLayout11696.xml" ContentType="application/vnd.openxmlformats-officedocument.presentationml.slideLayout+xml"/>
  <Override PartName="/ppt/slideLayouts/slideLayout11697.xml" ContentType="application/vnd.openxmlformats-officedocument.presentationml.slideLayout+xml"/>
  <Override PartName="/ppt/slideLayouts/slideLayout11698.xml" ContentType="application/vnd.openxmlformats-officedocument.presentationml.slideLayout+xml"/>
  <Override PartName="/ppt/slideLayouts/slideLayout11699.xml" ContentType="application/vnd.openxmlformats-officedocument.presentationml.slideLayout+xml"/>
  <Override PartName="/ppt/slideLayouts/slideLayout11700.xml" ContentType="application/vnd.openxmlformats-officedocument.presentationml.slideLayout+xml"/>
  <Override PartName="/ppt/slideLayouts/slideLayout11701.xml" ContentType="application/vnd.openxmlformats-officedocument.presentationml.slideLayout+xml"/>
  <Override PartName="/ppt/slideLayouts/slideLayout11702.xml" ContentType="application/vnd.openxmlformats-officedocument.presentationml.slideLayout+xml"/>
  <Override PartName="/ppt/slideLayouts/slideLayout11703.xml" ContentType="application/vnd.openxmlformats-officedocument.presentationml.slideLayout+xml"/>
  <Override PartName="/ppt/slideLayouts/slideLayout11704.xml" ContentType="application/vnd.openxmlformats-officedocument.presentationml.slideLayout+xml"/>
  <Override PartName="/ppt/slideLayouts/slideLayout11705.xml" ContentType="application/vnd.openxmlformats-officedocument.presentationml.slideLayout+xml"/>
  <Override PartName="/ppt/slideLayouts/slideLayout11706.xml" ContentType="application/vnd.openxmlformats-officedocument.presentationml.slideLayout+xml"/>
  <Override PartName="/ppt/slideLayouts/slideLayout11707.xml" ContentType="application/vnd.openxmlformats-officedocument.presentationml.slideLayout+xml"/>
  <Override PartName="/ppt/slideLayouts/slideLayout11708.xml" ContentType="application/vnd.openxmlformats-officedocument.presentationml.slideLayout+xml"/>
  <Override PartName="/ppt/slideLayouts/slideLayout11709.xml" ContentType="application/vnd.openxmlformats-officedocument.presentationml.slideLayout+xml"/>
  <Override PartName="/ppt/slideLayouts/slideLayout11710.xml" ContentType="application/vnd.openxmlformats-officedocument.presentationml.slideLayout+xml"/>
  <Override PartName="/ppt/slideLayouts/slideLayout11711.xml" ContentType="application/vnd.openxmlformats-officedocument.presentationml.slideLayout+xml"/>
  <Override PartName="/ppt/slideLayouts/slideLayout11712.xml" ContentType="application/vnd.openxmlformats-officedocument.presentationml.slideLayout+xml"/>
  <Override PartName="/ppt/slideLayouts/slideLayout11713.xml" ContentType="application/vnd.openxmlformats-officedocument.presentationml.slideLayout+xml"/>
  <Override PartName="/ppt/slideLayouts/slideLayout11714.xml" ContentType="application/vnd.openxmlformats-officedocument.presentationml.slideLayout+xml"/>
  <Override PartName="/ppt/slideLayouts/slideLayout11715.xml" ContentType="application/vnd.openxmlformats-officedocument.presentationml.slideLayout+xml"/>
  <Override PartName="/ppt/slideLayouts/slideLayout11716.xml" ContentType="application/vnd.openxmlformats-officedocument.presentationml.slideLayout+xml"/>
  <Override PartName="/ppt/slideLayouts/slideLayout11717.xml" ContentType="application/vnd.openxmlformats-officedocument.presentationml.slideLayout+xml"/>
  <Override PartName="/ppt/slideLayouts/slideLayout11718.xml" ContentType="application/vnd.openxmlformats-officedocument.presentationml.slideLayout+xml"/>
  <Override PartName="/ppt/slideLayouts/slideLayout11719.xml" ContentType="application/vnd.openxmlformats-officedocument.presentationml.slideLayout+xml"/>
  <Override PartName="/ppt/slideLayouts/slideLayout11720.xml" ContentType="application/vnd.openxmlformats-officedocument.presentationml.slideLayout+xml"/>
  <Override PartName="/ppt/slideLayouts/slideLayout11721.xml" ContentType="application/vnd.openxmlformats-officedocument.presentationml.slideLayout+xml"/>
  <Override PartName="/ppt/slideLayouts/slideLayout11722.xml" ContentType="application/vnd.openxmlformats-officedocument.presentationml.slideLayout+xml"/>
  <Override PartName="/ppt/slideLayouts/slideLayout11723.xml" ContentType="application/vnd.openxmlformats-officedocument.presentationml.slideLayout+xml"/>
  <Override PartName="/ppt/slideLayouts/slideLayout11724.xml" ContentType="application/vnd.openxmlformats-officedocument.presentationml.slideLayout+xml"/>
  <Override PartName="/ppt/slideLayouts/slideLayout11725.xml" ContentType="application/vnd.openxmlformats-officedocument.presentationml.slideLayout+xml"/>
  <Override PartName="/ppt/slideLayouts/slideLayout11726.xml" ContentType="application/vnd.openxmlformats-officedocument.presentationml.slideLayout+xml"/>
  <Override PartName="/ppt/slideLayouts/slideLayout11727.xml" ContentType="application/vnd.openxmlformats-officedocument.presentationml.slideLayout+xml"/>
  <Override PartName="/ppt/slideLayouts/slideLayout11728.xml" ContentType="application/vnd.openxmlformats-officedocument.presentationml.slideLayout+xml"/>
  <Override PartName="/ppt/slideLayouts/slideLayout11729.xml" ContentType="application/vnd.openxmlformats-officedocument.presentationml.slideLayout+xml"/>
  <Override PartName="/ppt/slideLayouts/slideLayout11730.xml" ContentType="application/vnd.openxmlformats-officedocument.presentationml.slideLayout+xml"/>
  <Override PartName="/ppt/slideLayouts/slideLayout11731.xml" ContentType="application/vnd.openxmlformats-officedocument.presentationml.slideLayout+xml"/>
  <Override PartName="/ppt/slideLayouts/slideLayout11732.xml" ContentType="application/vnd.openxmlformats-officedocument.presentationml.slideLayout+xml"/>
  <Override PartName="/ppt/slideLayouts/slideLayout11733.xml" ContentType="application/vnd.openxmlformats-officedocument.presentationml.slideLayout+xml"/>
  <Override PartName="/ppt/slideLayouts/slideLayout11734.xml" ContentType="application/vnd.openxmlformats-officedocument.presentationml.slideLayout+xml"/>
  <Override PartName="/ppt/slideLayouts/slideLayout11735.xml" ContentType="application/vnd.openxmlformats-officedocument.presentationml.slideLayout+xml"/>
  <Override PartName="/ppt/slideLayouts/slideLayout11736.xml" ContentType="application/vnd.openxmlformats-officedocument.presentationml.slideLayout+xml"/>
  <Override PartName="/ppt/slideLayouts/slideLayout11737.xml" ContentType="application/vnd.openxmlformats-officedocument.presentationml.slideLayout+xml"/>
  <Override PartName="/ppt/slideLayouts/slideLayout11738.xml" ContentType="application/vnd.openxmlformats-officedocument.presentationml.slideLayout+xml"/>
  <Override PartName="/ppt/slideLayouts/slideLayout11739.xml" ContentType="application/vnd.openxmlformats-officedocument.presentationml.slideLayout+xml"/>
  <Override PartName="/ppt/slideLayouts/slideLayout11740.xml" ContentType="application/vnd.openxmlformats-officedocument.presentationml.slideLayout+xml"/>
  <Override PartName="/ppt/slideLayouts/slideLayout11741.xml" ContentType="application/vnd.openxmlformats-officedocument.presentationml.slideLayout+xml"/>
  <Override PartName="/ppt/slideLayouts/slideLayout11742.xml" ContentType="application/vnd.openxmlformats-officedocument.presentationml.slideLayout+xml"/>
  <Override PartName="/ppt/slideLayouts/slideLayout11743.xml" ContentType="application/vnd.openxmlformats-officedocument.presentationml.slideLayout+xml"/>
  <Override PartName="/ppt/slideLayouts/slideLayout11744.xml" ContentType="application/vnd.openxmlformats-officedocument.presentationml.slideLayout+xml"/>
  <Override PartName="/ppt/slideLayouts/slideLayout11745.xml" ContentType="application/vnd.openxmlformats-officedocument.presentationml.slideLayout+xml"/>
  <Override PartName="/ppt/slideLayouts/slideLayout11746.xml" ContentType="application/vnd.openxmlformats-officedocument.presentationml.slideLayout+xml"/>
  <Override PartName="/ppt/slideLayouts/slideLayout11747.xml" ContentType="application/vnd.openxmlformats-officedocument.presentationml.slideLayout+xml"/>
  <Override PartName="/ppt/slideLayouts/slideLayout11748.xml" ContentType="application/vnd.openxmlformats-officedocument.presentationml.slideLayout+xml"/>
  <Override PartName="/ppt/slideLayouts/slideLayout11749.xml" ContentType="application/vnd.openxmlformats-officedocument.presentationml.slideLayout+xml"/>
  <Override PartName="/ppt/slideLayouts/slideLayout11750.xml" ContentType="application/vnd.openxmlformats-officedocument.presentationml.slideLayout+xml"/>
  <Override PartName="/ppt/slideLayouts/slideLayout11751.xml" ContentType="application/vnd.openxmlformats-officedocument.presentationml.slideLayout+xml"/>
  <Override PartName="/ppt/slideLayouts/slideLayout11752.xml" ContentType="application/vnd.openxmlformats-officedocument.presentationml.slideLayout+xml"/>
  <Override PartName="/ppt/slideLayouts/slideLayout11753.xml" ContentType="application/vnd.openxmlformats-officedocument.presentationml.slideLayout+xml"/>
  <Override PartName="/ppt/slideLayouts/slideLayout11754.xml" ContentType="application/vnd.openxmlformats-officedocument.presentationml.slideLayout+xml"/>
  <Override PartName="/ppt/slideLayouts/slideLayout11755.xml" ContentType="application/vnd.openxmlformats-officedocument.presentationml.slideLayout+xml"/>
  <Override PartName="/ppt/slideLayouts/slideLayout11756.xml" ContentType="application/vnd.openxmlformats-officedocument.presentationml.slideLayout+xml"/>
  <Override PartName="/ppt/slideLayouts/slideLayout11757.xml" ContentType="application/vnd.openxmlformats-officedocument.presentationml.slideLayout+xml"/>
  <Override PartName="/ppt/slideLayouts/slideLayout11758.xml" ContentType="application/vnd.openxmlformats-officedocument.presentationml.slideLayout+xml"/>
  <Override PartName="/ppt/slideLayouts/slideLayout11759.xml" ContentType="application/vnd.openxmlformats-officedocument.presentationml.slideLayout+xml"/>
  <Override PartName="/ppt/slideLayouts/slideLayout11760.xml" ContentType="application/vnd.openxmlformats-officedocument.presentationml.slideLayout+xml"/>
  <Override PartName="/ppt/slideLayouts/slideLayout11761.xml" ContentType="application/vnd.openxmlformats-officedocument.presentationml.slideLayout+xml"/>
  <Override PartName="/ppt/slideLayouts/slideLayout11762.xml" ContentType="application/vnd.openxmlformats-officedocument.presentationml.slideLayout+xml"/>
  <Override PartName="/ppt/slideLayouts/slideLayout11763.xml" ContentType="application/vnd.openxmlformats-officedocument.presentationml.slideLayout+xml"/>
  <Override PartName="/ppt/slideLayouts/slideLayout11764.xml" ContentType="application/vnd.openxmlformats-officedocument.presentationml.slideLayout+xml"/>
  <Override PartName="/ppt/slideLayouts/slideLayout11765.xml" ContentType="application/vnd.openxmlformats-officedocument.presentationml.slideLayout+xml"/>
  <Override PartName="/ppt/slideLayouts/slideLayout11766.xml" ContentType="application/vnd.openxmlformats-officedocument.presentationml.slideLayout+xml"/>
  <Override PartName="/ppt/slideLayouts/slideLayout11767.xml" ContentType="application/vnd.openxmlformats-officedocument.presentationml.slideLayout+xml"/>
  <Override PartName="/ppt/slideLayouts/slideLayout11768.xml" ContentType="application/vnd.openxmlformats-officedocument.presentationml.slideLayout+xml"/>
  <Override PartName="/ppt/slideLayouts/slideLayout11769.xml" ContentType="application/vnd.openxmlformats-officedocument.presentationml.slideLayout+xml"/>
  <Override PartName="/ppt/slideLayouts/slideLayout11770.xml" ContentType="application/vnd.openxmlformats-officedocument.presentationml.slideLayout+xml"/>
  <Override PartName="/ppt/slideLayouts/slideLayout11771.xml" ContentType="application/vnd.openxmlformats-officedocument.presentationml.slideLayout+xml"/>
  <Override PartName="/ppt/slideLayouts/slideLayout11772.xml" ContentType="application/vnd.openxmlformats-officedocument.presentationml.slideLayout+xml"/>
  <Override PartName="/ppt/slideLayouts/slideLayout11773.xml" ContentType="application/vnd.openxmlformats-officedocument.presentationml.slideLayout+xml"/>
  <Override PartName="/ppt/slideLayouts/slideLayout11774.xml" ContentType="application/vnd.openxmlformats-officedocument.presentationml.slideLayout+xml"/>
  <Override PartName="/ppt/slideLayouts/slideLayout11775.xml" ContentType="application/vnd.openxmlformats-officedocument.presentationml.slideLayout+xml"/>
  <Override PartName="/ppt/slideLayouts/slideLayout11776.xml" ContentType="application/vnd.openxmlformats-officedocument.presentationml.slideLayout+xml"/>
  <Override PartName="/ppt/slideLayouts/slideLayout11777.xml" ContentType="application/vnd.openxmlformats-officedocument.presentationml.slideLayout+xml"/>
  <Override PartName="/ppt/slideLayouts/slideLayout11778.xml" ContentType="application/vnd.openxmlformats-officedocument.presentationml.slideLayout+xml"/>
  <Override PartName="/ppt/slideLayouts/slideLayout11779.xml" ContentType="application/vnd.openxmlformats-officedocument.presentationml.slideLayout+xml"/>
  <Override PartName="/ppt/slideLayouts/slideLayout11780.xml" ContentType="application/vnd.openxmlformats-officedocument.presentationml.slideLayout+xml"/>
  <Override PartName="/ppt/slideLayouts/slideLayout11781.xml" ContentType="application/vnd.openxmlformats-officedocument.presentationml.slideLayout+xml"/>
  <Override PartName="/ppt/slideLayouts/slideLayout11782.xml" ContentType="application/vnd.openxmlformats-officedocument.presentationml.slideLayout+xml"/>
  <Override PartName="/ppt/slideLayouts/slideLayout11783.xml" ContentType="application/vnd.openxmlformats-officedocument.presentationml.slideLayout+xml"/>
  <Override PartName="/ppt/slideLayouts/slideLayout11784.xml" ContentType="application/vnd.openxmlformats-officedocument.presentationml.slideLayout+xml"/>
  <Override PartName="/ppt/slideLayouts/slideLayout11785.xml" ContentType="application/vnd.openxmlformats-officedocument.presentationml.slideLayout+xml"/>
  <Override PartName="/ppt/slideLayouts/slideLayout11786.xml" ContentType="application/vnd.openxmlformats-officedocument.presentationml.slideLayout+xml"/>
  <Override PartName="/ppt/slideLayouts/slideLayout11787.xml" ContentType="application/vnd.openxmlformats-officedocument.presentationml.slideLayout+xml"/>
  <Override PartName="/ppt/slideLayouts/slideLayout11788.xml" ContentType="application/vnd.openxmlformats-officedocument.presentationml.slideLayout+xml"/>
  <Override PartName="/ppt/slideLayouts/slideLayout11789.xml" ContentType="application/vnd.openxmlformats-officedocument.presentationml.slideLayout+xml"/>
  <Override PartName="/ppt/slideLayouts/slideLayout11790.xml" ContentType="application/vnd.openxmlformats-officedocument.presentationml.slideLayout+xml"/>
  <Override PartName="/ppt/slideLayouts/slideLayout11791.xml" ContentType="application/vnd.openxmlformats-officedocument.presentationml.slideLayout+xml"/>
  <Override PartName="/ppt/slideLayouts/slideLayout11792.xml" ContentType="application/vnd.openxmlformats-officedocument.presentationml.slideLayout+xml"/>
  <Override PartName="/ppt/slideLayouts/slideLayout11793.xml" ContentType="application/vnd.openxmlformats-officedocument.presentationml.slideLayout+xml"/>
  <Override PartName="/ppt/slideLayouts/slideLayout11794.xml" ContentType="application/vnd.openxmlformats-officedocument.presentationml.slideLayout+xml"/>
  <Override PartName="/ppt/slideLayouts/slideLayout11795.xml" ContentType="application/vnd.openxmlformats-officedocument.presentationml.slideLayout+xml"/>
  <Override PartName="/ppt/slideLayouts/slideLayout11796.xml" ContentType="application/vnd.openxmlformats-officedocument.presentationml.slideLayout+xml"/>
  <Override PartName="/ppt/slideLayouts/slideLayout11797.xml" ContentType="application/vnd.openxmlformats-officedocument.presentationml.slideLayout+xml"/>
  <Override PartName="/ppt/slideLayouts/slideLayout11798.xml" ContentType="application/vnd.openxmlformats-officedocument.presentationml.slideLayout+xml"/>
  <Override PartName="/ppt/slideLayouts/slideLayout11799.xml" ContentType="application/vnd.openxmlformats-officedocument.presentationml.slideLayout+xml"/>
  <Override PartName="/ppt/slideLayouts/slideLayout11800.xml" ContentType="application/vnd.openxmlformats-officedocument.presentationml.slideLayout+xml"/>
  <Override PartName="/ppt/slideLayouts/slideLayout11801.xml" ContentType="application/vnd.openxmlformats-officedocument.presentationml.slideLayout+xml"/>
  <Override PartName="/ppt/slideLayouts/slideLayout11802.xml" ContentType="application/vnd.openxmlformats-officedocument.presentationml.slideLayout+xml"/>
  <Override PartName="/ppt/slideLayouts/slideLayout11803.xml" ContentType="application/vnd.openxmlformats-officedocument.presentationml.slideLayout+xml"/>
  <Override PartName="/ppt/slideLayouts/slideLayout11804.xml" ContentType="application/vnd.openxmlformats-officedocument.presentationml.slideLayout+xml"/>
  <Override PartName="/ppt/slideLayouts/slideLayout11805.xml" ContentType="application/vnd.openxmlformats-officedocument.presentationml.slideLayout+xml"/>
  <Override PartName="/ppt/slideLayouts/slideLayout11806.xml" ContentType="application/vnd.openxmlformats-officedocument.presentationml.slideLayout+xml"/>
  <Override PartName="/ppt/slideLayouts/slideLayout11807.xml" ContentType="application/vnd.openxmlformats-officedocument.presentationml.slideLayout+xml"/>
  <Override PartName="/ppt/slideLayouts/slideLayout11808.xml" ContentType="application/vnd.openxmlformats-officedocument.presentationml.slideLayout+xml"/>
  <Override PartName="/ppt/slideLayouts/slideLayout11809.xml" ContentType="application/vnd.openxmlformats-officedocument.presentationml.slideLayout+xml"/>
  <Override PartName="/ppt/slideLayouts/slideLayout11810.xml" ContentType="application/vnd.openxmlformats-officedocument.presentationml.slideLayout+xml"/>
  <Override PartName="/ppt/slideLayouts/slideLayout11811.xml" ContentType="application/vnd.openxmlformats-officedocument.presentationml.slideLayout+xml"/>
  <Override PartName="/ppt/slideLayouts/slideLayout11812.xml" ContentType="application/vnd.openxmlformats-officedocument.presentationml.slideLayout+xml"/>
  <Override PartName="/ppt/slideLayouts/slideLayout11813.xml" ContentType="application/vnd.openxmlformats-officedocument.presentationml.slideLayout+xml"/>
  <Override PartName="/ppt/slideLayouts/slideLayout11814.xml" ContentType="application/vnd.openxmlformats-officedocument.presentationml.slideLayout+xml"/>
  <Override PartName="/ppt/slideLayouts/slideLayout11815.xml" ContentType="application/vnd.openxmlformats-officedocument.presentationml.slideLayout+xml"/>
  <Override PartName="/ppt/slideLayouts/slideLayout11816.xml" ContentType="application/vnd.openxmlformats-officedocument.presentationml.slideLayout+xml"/>
  <Override PartName="/ppt/slideLayouts/slideLayout11817.xml" ContentType="application/vnd.openxmlformats-officedocument.presentationml.slideLayout+xml"/>
  <Override PartName="/ppt/slideLayouts/slideLayout11818.xml" ContentType="application/vnd.openxmlformats-officedocument.presentationml.slideLayout+xml"/>
  <Override PartName="/ppt/slideLayouts/slideLayout11819.xml" ContentType="application/vnd.openxmlformats-officedocument.presentationml.slideLayout+xml"/>
  <Override PartName="/ppt/slideLayouts/slideLayout11820.xml" ContentType="application/vnd.openxmlformats-officedocument.presentationml.slideLayout+xml"/>
  <Override PartName="/ppt/slideLayouts/slideLayout11821.xml" ContentType="application/vnd.openxmlformats-officedocument.presentationml.slideLayout+xml"/>
  <Override PartName="/ppt/slideLayouts/slideLayout11822.xml" ContentType="application/vnd.openxmlformats-officedocument.presentationml.slideLayout+xml"/>
  <Override PartName="/ppt/slideLayouts/slideLayout11823.xml" ContentType="application/vnd.openxmlformats-officedocument.presentationml.slideLayout+xml"/>
  <Override PartName="/ppt/slideLayouts/slideLayout11824.xml" ContentType="application/vnd.openxmlformats-officedocument.presentationml.slideLayout+xml"/>
  <Override PartName="/ppt/slideLayouts/slideLayout11825.xml" ContentType="application/vnd.openxmlformats-officedocument.presentationml.slideLayout+xml"/>
  <Override PartName="/ppt/slideLayouts/slideLayout11826.xml" ContentType="application/vnd.openxmlformats-officedocument.presentationml.slideLayout+xml"/>
  <Override PartName="/ppt/slideLayouts/slideLayout11827.xml" ContentType="application/vnd.openxmlformats-officedocument.presentationml.slideLayout+xml"/>
  <Override PartName="/ppt/slideLayouts/slideLayout11828.xml" ContentType="application/vnd.openxmlformats-officedocument.presentationml.slideLayout+xml"/>
  <Override PartName="/ppt/slideLayouts/slideLayout11829.xml" ContentType="application/vnd.openxmlformats-officedocument.presentationml.slideLayout+xml"/>
  <Override PartName="/ppt/slideLayouts/slideLayout11830.xml" ContentType="application/vnd.openxmlformats-officedocument.presentationml.slideLayout+xml"/>
  <Override PartName="/ppt/slideLayouts/slideLayout11831.xml" ContentType="application/vnd.openxmlformats-officedocument.presentationml.slideLayout+xml"/>
  <Override PartName="/ppt/slideLayouts/slideLayout11832.xml" ContentType="application/vnd.openxmlformats-officedocument.presentationml.slideLayout+xml"/>
  <Override PartName="/ppt/slideLayouts/slideLayout11833.xml" ContentType="application/vnd.openxmlformats-officedocument.presentationml.slideLayout+xml"/>
  <Override PartName="/ppt/slideLayouts/slideLayout11834.xml" ContentType="application/vnd.openxmlformats-officedocument.presentationml.slideLayout+xml"/>
  <Override PartName="/ppt/slideLayouts/slideLayout11835.xml" ContentType="application/vnd.openxmlformats-officedocument.presentationml.slideLayout+xml"/>
  <Override PartName="/ppt/slideLayouts/slideLayout11836.xml" ContentType="application/vnd.openxmlformats-officedocument.presentationml.slideLayout+xml"/>
  <Override PartName="/ppt/slideLayouts/slideLayout11837.xml" ContentType="application/vnd.openxmlformats-officedocument.presentationml.slideLayout+xml"/>
  <Override PartName="/ppt/slideLayouts/slideLayout11838.xml" ContentType="application/vnd.openxmlformats-officedocument.presentationml.slideLayout+xml"/>
  <Override PartName="/ppt/slideLayouts/slideLayout11839.xml" ContentType="application/vnd.openxmlformats-officedocument.presentationml.slideLayout+xml"/>
  <Override PartName="/ppt/slideLayouts/slideLayout11840.xml" ContentType="application/vnd.openxmlformats-officedocument.presentationml.slideLayout+xml"/>
  <Override PartName="/ppt/slideLayouts/slideLayout11841.xml" ContentType="application/vnd.openxmlformats-officedocument.presentationml.slideLayout+xml"/>
  <Override PartName="/ppt/slideLayouts/slideLayout11842.xml" ContentType="application/vnd.openxmlformats-officedocument.presentationml.slideLayout+xml"/>
  <Override PartName="/ppt/slideLayouts/slideLayout11843.xml" ContentType="application/vnd.openxmlformats-officedocument.presentationml.slideLayout+xml"/>
  <Override PartName="/ppt/slideLayouts/slideLayout11844.xml" ContentType="application/vnd.openxmlformats-officedocument.presentationml.slideLayout+xml"/>
  <Override PartName="/ppt/slideLayouts/slideLayout11845.xml" ContentType="application/vnd.openxmlformats-officedocument.presentationml.slideLayout+xml"/>
  <Override PartName="/ppt/slideLayouts/slideLayout11846.xml" ContentType="application/vnd.openxmlformats-officedocument.presentationml.slideLayout+xml"/>
  <Override PartName="/ppt/slideLayouts/slideLayout11847.xml" ContentType="application/vnd.openxmlformats-officedocument.presentationml.slideLayout+xml"/>
  <Override PartName="/ppt/slideLayouts/slideLayout11848.xml" ContentType="application/vnd.openxmlformats-officedocument.presentationml.slideLayout+xml"/>
  <Override PartName="/ppt/slideLayouts/slideLayout11849.xml" ContentType="application/vnd.openxmlformats-officedocument.presentationml.slideLayout+xml"/>
  <Override PartName="/ppt/slideLayouts/slideLayout11850.xml" ContentType="application/vnd.openxmlformats-officedocument.presentationml.slideLayout+xml"/>
  <Override PartName="/ppt/slideLayouts/slideLayout11851.xml" ContentType="application/vnd.openxmlformats-officedocument.presentationml.slideLayout+xml"/>
  <Override PartName="/ppt/slideLayouts/slideLayout11852.xml" ContentType="application/vnd.openxmlformats-officedocument.presentationml.slideLayout+xml"/>
  <Override PartName="/ppt/slideLayouts/slideLayout11853.xml" ContentType="application/vnd.openxmlformats-officedocument.presentationml.slideLayout+xml"/>
  <Override PartName="/ppt/slideLayouts/slideLayout11854.xml" ContentType="application/vnd.openxmlformats-officedocument.presentationml.slideLayout+xml"/>
  <Override PartName="/ppt/slideLayouts/slideLayout11855.xml" ContentType="application/vnd.openxmlformats-officedocument.presentationml.slideLayout+xml"/>
  <Override PartName="/ppt/slideLayouts/slideLayout11856.xml" ContentType="application/vnd.openxmlformats-officedocument.presentationml.slideLayout+xml"/>
  <Override PartName="/ppt/slideLayouts/slideLayout11857.xml" ContentType="application/vnd.openxmlformats-officedocument.presentationml.slideLayout+xml"/>
  <Override PartName="/ppt/slideLayouts/slideLayout11858.xml" ContentType="application/vnd.openxmlformats-officedocument.presentationml.slideLayout+xml"/>
  <Override PartName="/ppt/slideLayouts/slideLayout11859.xml" ContentType="application/vnd.openxmlformats-officedocument.presentationml.slideLayout+xml"/>
  <Override PartName="/ppt/slideLayouts/slideLayout11860.xml" ContentType="application/vnd.openxmlformats-officedocument.presentationml.slideLayout+xml"/>
  <Override PartName="/ppt/slideLayouts/slideLayout11861.xml" ContentType="application/vnd.openxmlformats-officedocument.presentationml.slideLayout+xml"/>
  <Override PartName="/ppt/slideLayouts/slideLayout11862.xml" ContentType="application/vnd.openxmlformats-officedocument.presentationml.slideLayout+xml"/>
  <Override PartName="/ppt/slideLayouts/slideLayout11863.xml" ContentType="application/vnd.openxmlformats-officedocument.presentationml.slideLayout+xml"/>
  <Override PartName="/ppt/slideLayouts/slideLayout11864.xml" ContentType="application/vnd.openxmlformats-officedocument.presentationml.slideLayout+xml"/>
  <Override PartName="/ppt/slideLayouts/slideLayout11865.xml" ContentType="application/vnd.openxmlformats-officedocument.presentationml.slideLayout+xml"/>
  <Override PartName="/ppt/slideLayouts/slideLayout11866.xml" ContentType="application/vnd.openxmlformats-officedocument.presentationml.slideLayout+xml"/>
  <Override PartName="/ppt/slideLayouts/slideLayout11867.xml" ContentType="application/vnd.openxmlformats-officedocument.presentationml.slideLayout+xml"/>
  <Override PartName="/ppt/slideLayouts/slideLayout11868.xml" ContentType="application/vnd.openxmlformats-officedocument.presentationml.slideLayout+xml"/>
  <Override PartName="/ppt/slideLayouts/slideLayout11869.xml" ContentType="application/vnd.openxmlformats-officedocument.presentationml.slideLayout+xml"/>
  <Override PartName="/ppt/slideLayouts/slideLayout11870.xml" ContentType="application/vnd.openxmlformats-officedocument.presentationml.slideLayout+xml"/>
  <Override PartName="/ppt/slideLayouts/slideLayout11871.xml" ContentType="application/vnd.openxmlformats-officedocument.presentationml.slideLayout+xml"/>
  <Override PartName="/ppt/slideLayouts/slideLayout11872.xml" ContentType="application/vnd.openxmlformats-officedocument.presentationml.slideLayout+xml"/>
  <Override PartName="/ppt/slideLayouts/slideLayout11873.xml" ContentType="application/vnd.openxmlformats-officedocument.presentationml.slideLayout+xml"/>
  <Override PartName="/ppt/slideLayouts/slideLayout11874.xml" ContentType="application/vnd.openxmlformats-officedocument.presentationml.slideLayout+xml"/>
  <Override PartName="/ppt/slideLayouts/slideLayout11875.xml" ContentType="application/vnd.openxmlformats-officedocument.presentationml.slideLayout+xml"/>
  <Override PartName="/ppt/slideLayouts/slideLayout11876.xml" ContentType="application/vnd.openxmlformats-officedocument.presentationml.slideLayout+xml"/>
  <Override PartName="/ppt/slideLayouts/slideLayout11877.xml" ContentType="application/vnd.openxmlformats-officedocument.presentationml.slideLayout+xml"/>
  <Override PartName="/ppt/slideLayouts/slideLayout11878.xml" ContentType="application/vnd.openxmlformats-officedocument.presentationml.slideLayout+xml"/>
  <Override PartName="/ppt/slideLayouts/slideLayout11879.xml" ContentType="application/vnd.openxmlformats-officedocument.presentationml.slideLayout+xml"/>
  <Override PartName="/ppt/slideLayouts/slideLayout11880.xml" ContentType="application/vnd.openxmlformats-officedocument.presentationml.slideLayout+xml"/>
  <Override PartName="/ppt/slideLayouts/slideLayout11881.xml" ContentType="application/vnd.openxmlformats-officedocument.presentationml.slideLayout+xml"/>
  <Override PartName="/ppt/slideLayouts/slideLayout11882.xml" ContentType="application/vnd.openxmlformats-officedocument.presentationml.slideLayout+xml"/>
  <Override PartName="/ppt/slideLayouts/slideLayout11883.xml" ContentType="application/vnd.openxmlformats-officedocument.presentationml.slideLayout+xml"/>
  <Override PartName="/ppt/slideLayouts/slideLayout11884.xml" ContentType="application/vnd.openxmlformats-officedocument.presentationml.slideLayout+xml"/>
  <Override PartName="/ppt/slideLayouts/slideLayout11885.xml" ContentType="application/vnd.openxmlformats-officedocument.presentationml.slideLayout+xml"/>
  <Override PartName="/ppt/slideLayouts/slideLayout11886.xml" ContentType="application/vnd.openxmlformats-officedocument.presentationml.slideLayout+xml"/>
  <Override PartName="/ppt/slideLayouts/slideLayout11887.xml" ContentType="application/vnd.openxmlformats-officedocument.presentationml.slideLayout+xml"/>
  <Override PartName="/ppt/slideLayouts/slideLayout11888.xml" ContentType="application/vnd.openxmlformats-officedocument.presentationml.slideLayout+xml"/>
  <Override PartName="/ppt/slideLayouts/slideLayout11889.xml" ContentType="application/vnd.openxmlformats-officedocument.presentationml.slideLayout+xml"/>
  <Override PartName="/ppt/slideLayouts/slideLayout11890.xml" ContentType="application/vnd.openxmlformats-officedocument.presentationml.slideLayout+xml"/>
  <Override PartName="/ppt/slideLayouts/slideLayout11891.xml" ContentType="application/vnd.openxmlformats-officedocument.presentationml.slideLayout+xml"/>
  <Override PartName="/ppt/slideLayouts/slideLayout11892.xml" ContentType="application/vnd.openxmlformats-officedocument.presentationml.slideLayout+xml"/>
  <Override PartName="/ppt/slideLayouts/slideLayout11893.xml" ContentType="application/vnd.openxmlformats-officedocument.presentationml.slideLayout+xml"/>
  <Override PartName="/ppt/slideLayouts/slideLayout11894.xml" ContentType="application/vnd.openxmlformats-officedocument.presentationml.slideLayout+xml"/>
  <Override PartName="/ppt/slideLayouts/slideLayout11895.xml" ContentType="application/vnd.openxmlformats-officedocument.presentationml.slideLayout+xml"/>
  <Override PartName="/ppt/slideLayouts/slideLayout11896.xml" ContentType="application/vnd.openxmlformats-officedocument.presentationml.slideLayout+xml"/>
  <Override PartName="/ppt/slideLayouts/slideLayout11897.xml" ContentType="application/vnd.openxmlformats-officedocument.presentationml.slideLayout+xml"/>
  <Override PartName="/ppt/slideLayouts/slideLayout11898.xml" ContentType="application/vnd.openxmlformats-officedocument.presentationml.slideLayout+xml"/>
  <Override PartName="/ppt/slideLayouts/slideLayout11899.xml" ContentType="application/vnd.openxmlformats-officedocument.presentationml.slideLayout+xml"/>
  <Override PartName="/ppt/slideLayouts/slideLayout11900.xml" ContentType="application/vnd.openxmlformats-officedocument.presentationml.slideLayout+xml"/>
  <Override PartName="/ppt/slideLayouts/slideLayout11901.xml" ContentType="application/vnd.openxmlformats-officedocument.presentationml.slideLayout+xml"/>
  <Override PartName="/ppt/slideLayouts/slideLayout11902.xml" ContentType="application/vnd.openxmlformats-officedocument.presentationml.slideLayout+xml"/>
  <Override PartName="/ppt/slideLayouts/slideLayout11903.xml" ContentType="application/vnd.openxmlformats-officedocument.presentationml.slideLayout+xml"/>
  <Override PartName="/ppt/slideLayouts/slideLayout11904.xml" ContentType="application/vnd.openxmlformats-officedocument.presentationml.slideLayout+xml"/>
  <Override PartName="/ppt/slideLayouts/slideLayout11905.xml" ContentType="application/vnd.openxmlformats-officedocument.presentationml.slideLayout+xml"/>
  <Override PartName="/ppt/slideLayouts/slideLayout11906.xml" ContentType="application/vnd.openxmlformats-officedocument.presentationml.slideLayout+xml"/>
  <Override PartName="/ppt/slideLayouts/slideLayout11907.xml" ContentType="application/vnd.openxmlformats-officedocument.presentationml.slideLayout+xml"/>
  <Override PartName="/ppt/slideLayouts/slideLayout11908.xml" ContentType="application/vnd.openxmlformats-officedocument.presentationml.slideLayout+xml"/>
  <Override PartName="/ppt/slideLayouts/slideLayout11909.xml" ContentType="application/vnd.openxmlformats-officedocument.presentationml.slideLayout+xml"/>
  <Override PartName="/ppt/slideLayouts/slideLayout11910.xml" ContentType="application/vnd.openxmlformats-officedocument.presentationml.slideLayout+xml"/>
  <Override PartName="/ppt/slideLayouts/slideLayout11911.xml" ContentType="application/vnd.openxmlformats-officedocument.presentationml.slideLayout+xml"/>
  <Override PartName="/ppt/slideLayouts/slideLayout11912.xml" ContentType="application/vnd.openxmlformats-officedocument.presentationml.slideLayout+xml"/>
  <Override PartName="/ppt/slideLayouts/slideLayout11913.xml" ContentType="application/vnd.openxmlformats-officedocument.presentationml.slideLayout+xml"/>
  <Override PartName="/ppt/slideLayouts/slideLayout11914.xml" ContentType="application/vnd.openxmlformats-officedocument.presentationml.slideLayout+xml"/>
  <Override PartName="/ppt/slideLayouts/slideLayout11915.xml" ContentType="application/vnd.openxmlformats-officedocument.presentationml.slideLayout+xml"/>
  <Override PartName="/ppt/slideLayouts/slideLayout11916.xml" ContentType="application/vnd.openxmlformats-officedocument.presentationml.slideLayout+xml"/>
  <Override PartName="/ppt/slideLayouts/slideLayout11917.xml" ContentType="application/vnd.openxmlformats-officedocument.presentationml.slideLayout+xml"/>
  <Override PartName="/ppt/slideLayouts/slideLayout11918.xml" ContentType="application/vnd.openxmlformats-officedocument.presentationml.slideLayout+xml"/>
  <Override PartName="/ppt/slideLayouts/slideLayout11919.xml" ContentType="application/vnd.openxmlformats-officedocument.presentationml.slideLayout+xml"/>
  <Override PartName="/ppt/slideLayouts/slideLayout11920.xml" ContentType="application/vnd.openxmlformats-officedocument.presentationml.slideLayout+xml"/>
  <Override PartName="/ppt/slideLayouts/slideLayout11921.xml" ContentType="application/vnd.openxmlformats-officedocument.presentationml.slideLayout+xml"/>
  <Override PartName="/ppt/slideLayouts/slideLayout11922.xml" ContentType="application/vnd.openxmlformats-officedocument.presentationml.slideLayout+xml"/>
  <Override PartName="/ppt/slideLayouts/slideLayout11923.xml" ContentType="application/vnd.openxmlformats-officedocument.presentationml.slideLayout+xml"/>
  <Override PartName="/ppt/slideLayouts/slideLayout11924.xml" ContentType="application/vnd.openxmlformats-officedocument.presentationml.slideLayout+xml"/>
  <Override PartName="/ppt/slideLayouts/slideLayout11925.xml" ContentType="application/vnd.openxmlformats-officedocument.presentationml.slideLayout+xml"/>
  <Override PartName="/ppt/slideLayouts/slideLayout11926.xml" ContentType="application/vnd.openxmlformats-officedocument.presentationml.slideLayout+xml"/>
  <Override PartName="/ppt/slideLayouts/slideLayout11927.xml" ContentType="application/vnd.openxmlformats-officedocument.presentationml.slideLayout+xml"/>
  <Override PartName="/ppt/slideLayouts/slideLayout11928.xml" ContentType="application/vnd.openxmlformats-officedocument.presentationml.slideLayout+xml"/>
  <Override PartName="/ppt/slideLayouts/slideLayout11929.xml" ContentType="application/vnd.openxmlformats-officedocument.presentationml.slideLayout+xml"/>
  <Override PartName="/ppt/slideLayouts/slideLayout11930.xml" ContentType="application/vnd.openxmlformats-officedocument.presentationml.slideLayout+xml"/>
  <Override PartName="/ppt/slideLayouts/slideLayout11931.xml" ContentType="application/vnd.openxmlformats-officedocument.presentationml.slideLayout+xml"/>
  <Override PartName="/ppt/slideLayouts/slideLayout11932.xml" ContentType="application/vnd.openxmlformats-officedocument.presentationml.slideLayout+xml"/>
  <Override PartName="/ppt/slideLayouts/slideLayout11933.xml" ContentType="application/vnd.openxmlformats-officedocument.presentationml.slideLayout+xml"/>
  <Override PartName="/ppt/slideLayouts/slideLayout11934.xml" ContentType="application/vnd.openxmlformats-officedocument.presentationml.slideLayout+xml"/>
  <Override PartName="/ppt/slideLayouts/slideLayout11935.xml" ContentType="application/vnd.openxmlformats-officedocument.presentationml.slideLayout+xml"/>
  <Override PartName="/ppt/slideLayouts/slideLayout11936.xml" ContentType="application/vnd.openxmlformats-officedocument.presentationml.slideLayout+xml"/>
  <Override PartName="/ppt/slideLayouts/slideLayout11937.xml" ContentType="application/vnd.openxmlformats-officedocument.presentationml.slideLayout+xml"/>
  <Override PartName="/ppt/slideLayouts/slideLayout11938.xml" ContentType="application/vnd.openxmlformats-officedocument.presentationml.slideLayout+xml"/>
  <Override PartName="/ppt/slideLayouts/slideLayout11939.xml" ContentType="application/vnd.openxmlformats-officedocument.presentationml.slideLayout+xml"/>
  <Override PartName="/ppt/slideLayouts/slideLayout11940.xml" ContentType="application/vnd.openxmlformats-officedocument.presentationml.slideLayout+xml"/>
  <Override PartName="/ppt/slideLayouts/slideLayout11941.xml" ContentType="application/vnd.openxmlformats-officedocument.presentationml.slideLayout+xml"/>
  <Override PartName="/ppt/slideLayouts/slideLayout11942.xml" ContentType="application/vnd.openxmlformats-officedocument.presentationml.slideLayout+xml"/>
  <Override PartName="/ppt/slideLayouts/slideLayout11943.xml" ContentType="application/vnd.openxmlformats-officedocument.presentationml.slideLayout+xml"/>
  <Override PartName="/ppt/slideLayouts/slideLayout11944.xml" ContentType="application/vnd.openxmlformats-officedocument.presentationml.slideLayout+xml"/>
  <Override PartName="/ppt/slideLayouts/slideLayout11945.xml" ContentType="application/vnd.openxmlformats-officedocument.presentationml.slideLayout+xml"/>
  <Override PartName="/ppt/slideLayouts/slideLayout11946.xml" ContentType="application/vnd.openxmlformats-officedocument.presentationml.slideLayout+xml"/>
  <Override PartName="/ppt/slideLayouts/slideLayout11947.xml" ContentType="application/vnd.openxmlformats-officedocument.presentationml.slideLayout+xml"/>
  <Override PartName="/ppt/slideLayouts/slideLayout11948.xml" ContentType="application/vnd.openxmlformats-officedocument.presentationml.slideLayout+xml"/>
  <Override PartName="/ppt/slideLayouts/slideLayout11949.xml" ContentType="application/vnd.openxmlformats-officedocument.presentationml.slideLayout+xml"/>
  <Override PartName="/ppt/slideLayouts/slideLayout11950.xml" ContentType="application/vnd.openxmlformats-officedocument.presentationml.slideLayout+xml"/>
  <Override PartName="/ppt/slideLayouts/slideLayout11951.xml" ContentType="application/vnd.openxmlformats-officedocument.presentationml.slideLayout+xml"/>
  <Override PartName="/ppt/slideLayouts/slideLayout11952.xml" ContentType="application/vnd.openxmlformats-officedocument.presentationml.slideLayout+xml"/>
  <Override PartName="/ppt/slideLayouts/slideLayout11953.xml" ContentType="application/vnd.openxmlformats-officedocument.presentationml.slideLayout+xml"/>
  <Override PartName="/ppt/slideLayouts/slideLayout11954.xml" ContentType="application/vnd.openxmlformats-officedocument.presentationml.slideLayout+xml"/>
  <Override PartName="/ppt/slideLayouts/slideLayout11955.xml" ContentType="application/vnd.openxmlformats-officedocument.presentationml.slideLayout+xml"/>
  <Override PartName="/ppt/slideLayouts/slideLayout11956.xml" ContentType="application/vnd.openxmlformats-officedocument.presentationml.slideLayout+xml"/>
  <Override PartName="/ppt/slideLayouts/slideLayout11957.xml" ContentType="application/vnd.openxmlformats-officedocument.presentationml.slideLayout+xml"/>
  <Override PartName="/ppt/slideLayouts/slideLayout11958.xml" ContentType="application/vnd.openxmlformats-officedocument.presentationml.slideLayout+xml"/>
  <Override PartName="/ppt/slideLayouts/slideLayout11959.xml" ContentType="application/vnd.openxmlformats-officedocument.presentationml.slideLayout+xml"/>
  <Override PartName="/ppt/slideLayouts/slideLayout11960.xml" ContentType="application/vnd.openxmlformats-officedocument.presentationml.slideLayout+xml"/>
  <Override PartName="/ppt/slideLayouts/slideLayout11961.xml" ContentType="application/vnd.openxmlformats-officedocument.presentationml.slideLayout+xml"/>
  <Override PartName="/ppt/slideLayouts/slideLayout11962.xml" ContentType="application/vnd.openxmlformats-officedocument.presentationml.slideLayout+xml"/>
  <Override PartName="/ppt/slideLayouts/slideLayout11963.xml" ContentType="application/vnd.openxmlformats-officedocument.presentationml.slideLayout+xml"/>
  <Override PartName="/ppt/slideLayouts/slideLayout11964.xml" ContentType="application/vnd.openxmlformats-officedocument.presentationml.slideLayout+xml"/>
  <Override PartName="/ppt/slideLayouts/slideLayout11965.xml" ContentType="application/vnd.openxmlformats-officedocument.presentationml.slideLayout+xml"/>
  <Override PartName="/ppt/slideLayouts/slideLayout11966.xml" ContentType="application/vnd.openxmlformats-officedocument.presentationml.slideLayout+xml"/>
  <Override PartName="/ppt/slideLayouts/slideLayout11967.xml" ContentType="application/vnd.openxmlformats-officedocument.presentationml.slideLayout+xml"/>
  <Override PartName="/ppt/slideLayouts/slideLayout11968.xml" ContentType="application/vnd.openxmlformats-officedocument.presentationml.slideLayout+xml"/>
  <Override PartName="/ppt/slideLayouts/slideLayout11969.xml" ContentType="application/vnd.openxmlformats-officedocument.presentationml.slideLayout+xml"/>
  <Override PartName="/ppt/slideLayouts/slideLayout11970.xml" ContentType="application/vnd.openxmlformats-officedocument.presentationml.slideLayout+xml"/>
  <Override PartName="/ppt/slideLayouts/slideLayout11971.xml" ContentType="application/vnd.openxmlformats-officedocument.presentationml.slideLayout+xml"/>
  <Override PartName="/ppt/slideLayouts/slideLayout11972.xml" ContentType="application/vnd.openxmlformats-officedocument.presentationml.slideLayout+xml"/>
  <Override PartName="/ppt/slideLayouts/slideLayout11973.xml" ContentType="application/vnd.openxmlformats-officedocument.presentationml.slideLayout+xml"/>
  <Override PartName="/ppt/slideLayouts/slideLayout11974.xml" ContentType="application/vnd.openxmlformats-officedocument.presentationml.slideLayout+xml"/>
  <Override PartName="/ppt/slideLayouts/slideLayout11975.xml" ContentType="application/vnd.openxmlformats-officedocument.presentationml.slideLayout+xml"/>
  <Override PartName="/ppt/slideLayouts/slideLayout11976.xml" ContentType="application/vnd.openxmlformats-officedocument.presentationml.slideLayout+xml"/>
  <Override PartName="/ppt/slideLayouts/slideLayout11977.xml" ContentType="application/vnd.openxmlformats-officedocument.presentationml.slideLayout+xml"/>
  <Override PartName="/ppt/slideLayouts/slideLayout11978.xml" ContentType="application/vnd.openxmlformats-officedocument.presentationml.slideLayout+xml"/>
  <Override PartName="/ppt/slideLayouts/slideLayout11979.xml" ContentType="application/vnd.openxmlformats-officedocument.presentationml.slideLayout+xml"/>
  <Override PartName="/ppt/slideLayouts/slideLayout11980.xml" ContentType="application/vnd.openxmlformats-officedocument.presentationml.slideLayout+xml"/>
  <Override PartName="/ppt/slideLayouts/slideLayout11981.xml" ContentType="application/vnd.openxmlformats-officedocument.presentationml.slideLayout+xml"/>
  <Override PartName="/ppt/slideLayouts/slideLayout11982.xml" ContentType="application/vnd.openxmlformats-officedocument.presentationml.slideLayout+xml"/>
  <Override PartName="/ppt/slideLayouts/slideLayout11983.xml" ContentType="application/vnd.openxmlformats-officedocument.presentationml.slideLayout+xml"/>
  <Override PartName="/ppt/slideLayouts/slideLayout11984.xml" ContentType="application/vnd.openxmlformats-officedocument.presentationml.slideLayout+xml"/>
  <Override PartName="/ppt/slideLayouts/slideLayout11985.xml" ContentType="application/vnd.openxmlformats-officedocument.presentationml.slideLayout+xml"/>
  <Override PartName="/ppt/slideLayouts/slideLayout11986.xml" ContentType="application/vnd.openxmlformats-officedocument.presentationml.slideLayout+xml"/>
  <Override PartName="/ppt/slideLayouts/slideLayout11987.xml" ContentType="application/vnd.openxmlformats-officedocument.presentationml.slideLayout+xml"/>
  <Override PartName="/ppt/slideLayouts/slideLayout11988.xml" ContentType="application/vnd.openxmlformats-officedocument.presentationml.slideLayout+xml"/>
  <Override PartName="/ppt/slideLayouts/slideLayout11989.xml" ContentType="application/vnd.openxmlformats-officedocument.presentationml.slideLayout+xml"/>
  <Override PartName="/ppt/slideLayouts/slideLayout11990.xml" ContentType="application/vnd.openxmlformats-officedocument.presentationml.slideLayout+xml"/>
  <Override PartName="/ppt/slideLayouts/slideLayout11991.xml" ContentType="application/vnd.openxmlformats-officedocument.presentationml.slideLayout+xml"/>
  <Override PartName="/ppt/slideLayouts/slideLayout11992.xml" ContentType="application/vnd.openxmlformats-officedocument.presentationml.slideLayout+xml"/>
  <Override PartName="/ppt/slideLayouts/slideLayout11993.xml" ContentType="application/vnd.openxmlformats-officedocument.presentationml.slideLayout+xml"/>
  <Override PartName="/ppt/slideLayouts/slideLayout11994.xml" ContentType="application/vnd.openxmlformats-officedocument.presentationml.slideLayout+xml"/>
  <Override PartName="/ppt/slideLayouts/slideLayout11995.xml" ContentType="application/vnd.openxmlformats-officedocument.presentationml.slideLayout+xml"/>
  <Override PartName="/ppt/slideLayouts/slideLayout11996.xml" ContentType="application/vnd.openxmlformats-officedocument.presentationml.slideLayout+xml"/>
  <Override PartName="/ppt/slideLayouts/slideLayout11997.xml" ContentType="application/vnd.openxmlformats-officedocument.presentationml.slideLayout+xml"/>
  <Override PartName="/ppt/slideLayouts/slideLayout11998.xml" ContentType="application/vnd.openxmlformats-officedocument.presentationml.slideLayout+xml"/>
  <Override PartName="/ppt/slideLayouts/slideLayout11999.xml" ContentType="application/vnd.openxmlformats-officedocument.presentationml.slideLayout+xml"/>
  <Override PartName="/ppt/slideLayouts/slideLayout12000.xml" ContentType="application/vnd.openxmlformats-officedocument.presentationml.slideLayout+xml"/>
  <Override PartName="/ppt/slideLayouts/slideLayout12001.xml" ContentType="application/vnd.openxmlformats-officedocument.presentationml.slideLayout+xml"/>
  <Override PartName="/ppt/slideLayouts/slideLayout12002.xml" ContentType="application/vnd.openxmlformats-officedocument.presentationml.slideLayout+xml"/>
  <Override PartName="/ppt/slideLayouts/slideLayout12003.xml" ContentType="application/vnd.openxmlformats-officedocument.presentationml.slideLayout+xml"/>
  <Override PartName="/ppt/slideLayouts/slideLayout12004.xml" ContentType="application/vnd.openxmlformats-officedocument.presentationml.slideLayout+xml"/>
  <Override PartName="/ppt/slideLayouts/slideLayout12005.xml" ContentType="application/vnd.openxmlformats-officedocument.presentationml.slideLayout+xml"/>
  <Override PartName="/ppt/slideLayouts/slideLayout12006.xml" ContentType="application/vnd.openxmlformats-officedocument.presentationml.slideLayout+xml"/>
  <Override PartName="/ppt/slideLayouts/slideLayout12007.xml" ContentType="application/vnd.openxmlformats-officedocument.presentationml.slideLayout+xml"/>
  <Override PartName="/ppt/slideLayouts/slideLayout12008.xml" ContentType="application/vnd.openxmlformats-officedocument.presentationml.slideLayout+xml"/>
  <Override PartName="/ppt/slideLayouts/slideLayout12009.xml" ContentType="application/vnd.openxmlformats-officedocument.presentationml.slideLayout+xml"/>
  <Override PartName="/ppt/slideLayouts/slideLayout12010.xml" ContentType="application/vnd.openxmlformats-officedocument.presentationml.slideLayout+xml"/>
  <Override PartName="/ppt/slideLayouts/slideLayout12011.xml" ContentType="application/vnd.openxmlformats-officedocument.presentationml.slideLayout+xml"/>
  <Override PartName="/ppt/slideLayouts/slideLayout12012.xml" ContentType="application/vnd.openxmlformats-officedocument.presentationml.slideLayout+xml"/>
  <Override PartName="/ppt/slideLayouts/slideLayout12013.xml" ContentType="application/vnd.openxmlformats-officedocument.presentationml.slideLayout+xml"/>
  <Override PartName="/ppt/slideLayouts/slideLayout12014.xml" ContentType="application/vnd.openxmlformats-officedocument.presentationml.slideLayout+xml"/>
  <Override PartName="/ppt/slideLayouts/slideLayout12015.xml" ContentType="application/vnd.openxmlformats-officedocument.presentationml.slideLayout+xml"/>
  <Override PartName="/ppt/slideLayouts/slideLayout12016.xml" ContentType="application/vnd.openxmlformats-officedocument.presentationml.slideLayout+xml"/>
  <Override PartName="/ppt/slideLayouts/slideLayout12017.xml" ContentType="application/vnd.openxmlformats-officedocument.presentationml.slideLayout+xml"/>
  <Override PartName="/ppt/slideLayouts/slideLayout12018.xml" ContentType="application/vnd.openxmlformats-officedocument.presentationml.slideLayout+xml"/>
  <Override PartName="/ppt/slideLayouts/slideLayout12019.xml" ContentType="application/vnd.openxmlformats-officedocument.presentationml.slideLayout+xml"/>
  <Override PartName="/ppt/slideLayouts/slideLayout12020.xml" ContentType="application/vnd.openxmlformats-officedocument.presentationml.slideLayout+xml"/>
  <Override PartName="/ppt/slideLayouts/slideLayout12021.xml" ContentType="application/vnd.openxmlformats-officedocument.presentationml.slideLayout+xml"/>
  <Override PartName="/ppt/slideLayouts/slideLayout12022.xml" ContentType="application/vnd.openxmlformats-officedocument.presentationml.slideLayout+xml"/>
  <Override PartName="/ppt/slideLayouts/slideLayout12023.xml" ContentType="application/vnd.openxmlformats-officedocument.presentationml.slideLayout+xml"/>
  <Override PartName="/ppt/slideLayouts/slideLayout12024.xml" ContentType="application/vnd.openxmlformats-officedocument.presentationml.slideLayout+xml"/>
  <Override PartName="/ppt/slideLayouts/slideLayout12025.xml" ContentType="application/vnd.openxmlformats-officedocument.presentationml.slideLayout+xml"/>
  <Override PartName="/ppt/slideLayouts/slideLayout12026.xml" ContentType="application/vnd.openxmlformats-officedocument.presentationml.slideLayout+xml"/>
  <Override PartName="/ppt/slideLayouts/slideLayout12027.xml" ContentType="application/vnd.openxmlformats-officedocument.presentationml.slideLayout+xml"/>
  <Override PartName="/ppt/slideLayouts/slideLayout12028.xml" ContentType="application/vnd.openxmlformats-officedocument.presentationml.slideLayout+xml"/>
  <Override PartName="/ppt/slideLayouts/slideLayout12029.xml" ContentType="application/vnd.openxmlformats-officedocument.presentationml.slideLayout+xml"/>
  <Override PartName="/ppt/slideLayouts/slideLayout12030.xml" ContentType="application/vnd.openxmlformats-officedocument.presentationml.slideLayout+xml"/>
  <Override PartName="/ppt/slideLayouts/slideLayout12031.xml" ContentType="application/vnd.openxmlformats-officedocument.presentationml.slideLayout+xml"/>
  <Override PartName="/ppt/slideLayouts/slideLayout12032.xml" ContentType="application/vnd.openxmlformats-officedocument.presentationml.slideLayout+xml"/>
  <Override PartName="/ppt/slideLayouts/slideLayout12033.xml" ContentType="application/vnd.openxmlformats-officedocument.presentationml.slideLayout+xml"/>
  <Override PartName="/ppt/slideLayouts/slideLayout12034.xml" ContentType="application/vnd.openxmlformats-officedocument.presentationml.slideLayout+xml"/>
  <Override PartName="/ppt/slideLayouts/slideLayout12035.xml" ContentType="application/vnd.openxmlformats-officedocument.presentationml.slideLayout+xml"/>
  <Override PartName="/ppt/slideLayouts/slideLayout12036.xml" ContentType="application/vnd.openxmlformats-officedocument.presentationml.slideLayout+xml"/>
  <Override PartName="/ppt/slideLayouts/slideLayout12037.xml" ContentType="application/vnd.openxmlformats-officedocument.presentationml.slideLayout+xml"/>
  <Override PartName="/ppt/slideLayouts/slideLayout12038.xml" ContentType="application/vnd.openxmlformats-officedocument.presentationml.slideLayout+xml"/>
  <Override PartName="/ppt/slideLayouts/slideLayout12039.xml" ContentType="application/vnd.openxmlformats-officedocument.presentationml.slideLayout+xml"/>
  <Override PartName="/ppt/slideLayouts/slideLayout12040.xml" ContentType="application/vnd.openxmlformats-officedocument.presentationml.slideLayout+xml"/>
  <Override PartName="/ppt/slideLayouts/slideLayout12041.xml" ContentType="application/vnd.openxmlformats-officedocument.presentationml.slideLayout+xml"/>
  <Override PartName="/ppt/slideLayouts/slideLayout12042.xml" ContentType="application/vnd.openxmlformats-officedocument.presentationml.slideLayout+xml"/>
  <Override PartName="/ppt/slideLayouts/slideLayout12043.xml" ContentType="application/vnd.openxmlformats-officedocument.presentationml.slideLayout+xml"/>
  <Override PartName="/ppt/slideLayouts/slideLayout12044.xml" ContentType="application/vnd.openxmlformats-officedocument.presentationml.slideLayout+xml"/>
  <Override PartName="/ppt/slideLayouts/slideLayout12045.xml" ContentType="application/vnd.openxmlformats-officedocument.presentationml.slideLayout+xml"/>
  <Override PartName="/ppt/slideLayouts/slideLayout12046.xml" ContentType="application/vnd.openxmlformats-officedocument.presentationml.slideLayout+xml"/>
  <Override PartName="/ppt/slideLayouts/slideLayout12047.xml" ContentType="application/vnd.openxmlformats-officedocument.presentationml.slideLayout+xml"/>
  <Override PartName="/ppt/slideLayouts/slideLayout12048.xml" ContentType="application/vnd.openxmlformats-officedocument.presentationml.slideLayout+xml"/>
  <Override PartName="/ppt/slideLayouts/slideLayout12049.xml" ContentType="application/vnd.openxmlformats-officedocument.presentationml.slideLayout+xml"/>
  <Override PartName="/ppt/slideLayouts/slideLayout12050.xml" ContentType="application/vnd.openxmlformats-officedocument.presentationml.slideLayout+xml"/>
  <Override PartName="/ppt/slideLayouts/slideLayout12051.xml" ContentType="application/vnd.openxmlformats-officedocument.presentationml.slideLayout+xml"/>
  <Override PartName="/ppt/slideLayouts/slideLayout12052.xml" ContentType="application/vnd.openxmlformats-officedocument.presentationml.slideLayout+xml"/>
  <Override PartName="/ppt/slideLayouts/slideLayout12053.xml" ContentType="application/vnd.openxmlformats-officedocument.presentationml.slideLayout+xml"/>
  <Override PartName="/ppt/slideLayouts/slideLayout12054.xml" ContentType="application/vnd.openxmlformats-officedocument.presentationml.slideLayout+xml"/>
  <Override PartName="/ppt/slideLayouts/slideLayout12055.xml" ContentType="application/vnd.openxmlformats-officedocument.presentationml.slideLayout+xml"/>
  <Override PartName="/ppt/slideLayouts/slideLayout12056.xml" ContentType="application/vnd.openxmlformats-officedocument.presentationml.slideLayout+xml"/>
  <Override PartName="/ppt/slideLayouts/slideLayout12057.xml" ContentType="application/vnd.openxmlformats-officedocument.presentationml.slideLayout+xml"/>
  <Override PartName="/ppt/slideLayouts/slideLayout12058.xml" ContentType="application/vnd.openxmlformats-officedocument.presentationml.slideLayout+xml"/>
  <Override PartName="/ppt/slideLayouts/slideLayout12059.xml" ContentType="application/vnd.openxmlformats-officedocument.presentationml.slideLayout+xml"/>
  <Override PartName="/ppt/slideLayouts/slideLayout12060.xml" ContentType="application/vnd.openxmlformats-officedocument.presentationml.slideLayout+xml"/>
  <Override PartName="/ppt/slideLayouts/slideLayout12061.xml" ContentType="application/vnd.openxmlformats-officedocument.presentationml.slideLayout+xml"/>
  <Override PartName="/ppt/slideLayouts/slideLayout12062.xml" ContentType="application/vnd.openxmlformats-officedocument.presentationml.slideLayout+xml"/>
  <Override PartName="/ppt/slideLayouts/slideLayout12063.xml" ContentType="application/vnd.openxmlformats-officedocument.presentationml.slideLayout+xml"/>
  <Override PartName="/ppt/slideLayouts/slideLayout12064.xml" ContentType="application/vnd.openxmlformats-officedocument.presentationml.slideLayout+xml"/>
  <Override PartName="/ppt/slideLayouts/slideLayout12065.xml" ContentType="application/vnd.openxmlformats-officedocument.presentationml.slideLayout+xml"/>
  <Override PartName="/ppt/slideLayouts/slideLayout12066.xml" ContentType="application/vnd.openxmlformats-officedocument.presentationml.slideLayout+xml"/>
  <Override PartName="/ppt/slideLayouts/slideLayout12067.xml" ContentType="application/vnd.openxmlformats-officedocument.presentationml.slideLayout+xml"/>
  <Override PartName="/ppt/slideLayouts/slideLayout12068.xml" ContentType="application/vnd.openxmlformats-officedocument.presentationml.slideLayout+xml"/>
  <Override PartName="/ppt/slideLayouts/slideLayout12069.xml" ContentType="application/vnd.openxmlformats-officedocument.presentationml.slideLayout+xml"/>
  <Override PartName="/ppt/slideLayouts/slideLayout12070.xml" ContentType="application/vnd.openxmlformats-officedocument.presentationml.slideLayout+xml"/>
  <Override PartName="/ppt/slideLayouts/slideLayout12071.xml" ContentType="application/vnd.openxmlformats-officedocument.presentationml.slideLayout+xml"/>
  <Override PartName="/ppt/slideLayouts/slideLayout12072.xml" ContentType="application/vnd.openxmlformats-officedocument.presentationml.slideLayout+xml"/>
  <Override PartName="/ppt/slideLayouts/slideLayout12073.xml" ContentType="application/vnd.openxmlformats-officedocument.presentationml.slideLayout+xml"/>
  <Override PartName="/ppt/slideLayouts/slideLayout12074.xml" ContentType="application/vnd.openxmlformats-officedocument.presentationml.slideLayout+xml"/>
  <Override PartName="/ppt/slideLayouts/slideLayout12075.xml" ContentType="application/vnd.openxmlformats-officedocument.presentationml.slideLayout+xml"/>
  <Override PartName="/ppt/slideLayouts/slideLayout12076.xml" ContentType="application/vnd.openxmlformats-officedocument.presentationml.slideLayout+xml"/>
  <Override PartName="/ppt/slideLayouts/slideLayout12077.xml" ContentType="application/vnd.openxmlformats-officedocument.presentationml.slideLayout+xml"/>
  <Override PartName="/ppt/slideLayouts/slideLayout12078.xml" ContentType="application/vnd.openxmlformats-officedocument.presentationml.slideLayout+xml"/>
  <Override PartName="/ppt/slideLayouts/slideLayout12079.xml" ContentType="application/vnd.openxmlformats-officedocument.presentationml.slideLayout+xml"/>
  <Override PartName="/ppt/slideLayouts/slideLayout12080.xml" ContentType="application/vnd.openxmlformats-officedocument.presentationml.slideLayout+xml"/>
  <Override PartName="/ppt/slideLayouts/slideLayout12081.xml" ContentType="application/vnd.openxmlformats-officedocument.presentationml.slideLayout+xml"/>
  <Override PartName="/ppt/slideLayouts/slideLayout12082.xml" ContentType="application/vnd.openxmlformats-officedocument.presentationml.slideLayout+xml"/>
  <Override PartName="/ppt/slideLayouts/slideLayout12083.xml" ContentType="application/vnd.openxmlformats-officedocument.presentationml.slideLayout+xml"/>
  <Override PartName="/ppt/slideLayouts/slideLayout12084.xml" ContentType="application/vnd.openxmlformats-officedocument.presentationml.slideLayout+xml"/>
  <Override PartName="/ppt/slideLayouts/slideLayout12085.xml" ContentType="application/vnd.openxmlformats-officedocument.presentationml.slideLayout+xml"/>
  <Override PartName="/ppt/slideLayouts/slideLayout12086.xml" ContentType="application/vnd.openxmlformats-officedocument.presentationml.slideLayout+xml"/>
  <Override PartName="/ppt/slideLayouts/slideLayout12087.xml" ContentType="application/vnd.openxmlformats-officedocument.presentationml.slideLayout+xml"/>
  <Override PartName="/ppt/slideLayouts/slideLayout12088.xml" ContentType="application/vnd.openxmlformats-officedocument.presentationml.slideLayout+xml"/>
  <Override PartName="/ppt/slideLayouts/slideLayout12089.xml" ContentType="application/vnd.openxmlformats-officedocument.presentationml.slideLayout+xml"/>
  <Override PartName="/ppt/slideLayouts/slideLayout12090.xml" ContentType="application/vnd.openxmlformats-officedocument.presentationml.slideLayout+xml"/>
  <Override PartName="/ppt/slideLayouts/slideLayout12091.xml" ContentType="application/vnd.openxmlformats-officedocument.presentationml.slideLayout+xml"/>
  <Override PartName="/ppt/slideLayouts/slideLayout12092.xml" ContentType="application/vnd.openxmlformats-officedocument.presentationml.slideLayout+xml"/>
  <Override PartName="/ppt/slideLayouts/slideLayout12093.xml" ContentType="application/vnd.openxmlformats-officedocument.presentationml.slideLayout+xml"/>
  <Override PartName="/ppt/slideLayouts/slideLayout12094.xml" ContentType="application/vnd.openxmlformats-officedocument.presentationml.slideLayout+xml"/>
  <Override PartName="/ppt/slideLayouts/slideLayout12095.xml" ContentType="application/vnd.openxmlformats-officedocument.presentationml.slideLayout+xml"/>
  <Override PartName="/ppt/slideLayouts/slideLayout12096.xml" ContentType="application/vnd.openxmlformats-officedocument.presentationml.slideLayout+xml"/>
  <Override PartName="/ppt/slideLayouts/slideLayout12097.xml" ContentType="application/vnd.openxmlformats-officedocument.presentationml.slideLayout+xml"/>
  <Override PartName="/ppt/slideLayouts/slideLayout12098.xml" ContentType="application/vnd.openxmlformats-officedocument.presentationml.slideLayout+xml"/>
  <Override PartName="/ppt/slideLayouts/slideLayout12099.xml" ContentType="application/vnd.openxmlformats-officedocument.presentationml.slideLayout+xml"/>
  <Override PartName="/ppt/slideLayouts/slideLayout12100.xml" ContentType="application/vnd.openxmlformats-officedocument.presentationml.slideLayout+xml"/>
  <Override PartName="/ppt/slideLayouts/slideLayout12101.xml" ContentType="application/vnd.openxmlformats-officedocument.presentationml.slideLayout+xml"/>
  <Override PartName="/ppt/slideLayouts/slideLayout12102.xml" ContentType="application/vnd.openxmlformats-officedocument.presentationml.slideLayout+xml"/>
  <Override PartName="/ppt/slideLayouts/slideLayout12103.xml" ContentType="application/vnd.openxmlformats-officedocument.presentationml.slideLayout+xml"/>
  <Override PartName="/ppt/slideLayouts/slideLayout12104.xml" ContentType="application/vnd.openxmlformats-officedocument.presentationml.slideLayout+xml"/>
  <Override PartName="/ppt/slideLayouts/slideLayout12105.xml" ContentType="application/vnd.openxmlformats-officedocument.presentationml.slideLayout+xml"/>
  <Override PartName="/ppt/slideLayouts/slideLayout12106.xml" ContentType="application/vnd.openxmlformats-officedocument.presentationml.slideLayout+xml"/>
  <Override PartName="/ppt/slideLayouts/slideLayout12107.xml" ContentType="application/vnd.openxmlformats-officedocument.presentationml.slideLayout+xml"/>
  <Override PartName="/ppt/slideLayouts/slideLayout12108.xml" ContentType="application/vnd.openxmlformats-officedocument.presentationml.slideLayout+xml"/>
  <Override PartName="/ppt/slideLayouts/slideLayout12109.xml" ContentType="application/vnd.openxmlformats-officedocument.presentationml.slideLayout+xml"/>
  <Override PartName="/ppt/slideLayouts/slideLayout12110.xml" ContentType="application/vnd.openxmlformats-officedocument.presentationml.slideLayout+xml"/>
  <Override PartName="/ppt/slideLayouts/slideLayout12111.xml" ContentType="application/vnd.openxmlformats-officedocument.presentationml.slideLayout+xml"/>
  <Override PartName="/ppt/slideLayouts/slideLayout12112.xml" ContentType="application/vnd.openxmlformats-officedocument.presentationml.slideLayout+xml"/>
  <Override PartName="/ppt/slideLayouts/slideLayout12113.xml" ContentType="application/vnd.openxmlformats-officedocument.presentationml.slideLayout+xml"/>
  <Override PartName="/ppt/slideLayouts/slideLayout12114.xml" ContentType="application/vnd.openxmlformats-officedocument.presentationml.slideLayout+xml"/>
  <Override PartName="/ppt/slideLayouts/slideLayout12115.xml" ContentType="application/vnd.openxmlformats-officedocument.presentationml.slideLayout+xml"/>
  <Override PartName="/ppt/slideLayouts/slideLayout12116.xml" ContentType="application/vnd.openxmlformats-officedocument.presentationml.slideLayout+xml"/>
  <Override PartName="/ppt/slideLayouts/slideLayout12117.xml" ContentType="application/vnd.openxmlformats-officedocument.presentationml.slideLayout+xml"/>
  <Override PartName="/ppt/slideLayouts/slideLayout12118.xml" ContentType="application/vnd.openxmlformats-officedocument.presentationml.slideLayout+xml"/>
  <Override PartName="/ppt/slideLayouts/slideLayout12119.xml" ContentType="application/vnd.openxmlformats-officedocument.presentationml.slideLayout+xml"/>
  <Override PartName="/ppt/slideLayouts/slideLayout12120.xml" ContentType="application/vnd.openxmlformats-officedocument.presentationml.slideLayout+xml"/>
  <Override PartName="/ppt/slideLayouts/slideLayout12121.xml" ContentType="application/vnd.openxmlformats-officedocument.presentationml.slideLayout+xml"/>
  <Override PartName="/ppt/slideLayouts/slideLayout12122.xml" ContentType="application/vnd.openxmlformats-officedocument.presentationml.slideLayout+xml"/>
  <Override PartName="/ppt/slideLayouts/slideLayout12123.xml" ContentType="application/vnd.openxmlformats-officedocument.presentationml.slideLayout+xml"/>
  <Override PartName="/ppt/slideLayouts/slideLayout12124.xml" ContentType="application/vnd.openxmlformats-officedocument.presentationml.slideLayout+xml"/>
  <Override PartName="/ppt/slideLayouts/slideLayout12125.xml" ContentType="application/vnd.openxmlformats-officedocument.presentationml.slideLayout+xml"/>
  <Override PartName="/ppt/slideLayouts/slideLayout12126.xml" ContentType="application/vnd.openxmlformats-officedocument.presentationml.slideLayout+xml"/>
  <Override PartName="/ppt/slideLayouts/slideLayout12127.xml" ContentType="application/vnd.openxmlformats-officedocument.presentationml.slideLayout+xml"/>
  <Override PartName="/ppt/slideLayouts/slideLayout12128.xml" ContentType="application/vnd.openxmlformats-officedocument.presentationml.slideLayout+xml"/>
  <Override PartName="/ppt/slideLayouts/slideLayout12129.xml" ContentType="application/vnd.openxmlformats-officedocument.presentationml.slideLayout+xml"/>
  <Override PartName="/ppt/slideLayouts/slideLayout12130.xml" ContentType="application/vnd.openxmlformats-officedocument.presentationml.slideLayout+xml"/>
  <Override PartName="/ppt/slideLayouts/slideLayout12131.xml" ContentType="application/vnd.openxmlformats-officedocument.presentationml.slideLayout+xml"/>
  <Override PartName="/ppt/slideLayouts/slideLayout12132.xml" ContentType="application/vnd.openxmlformats-officedocument.presentationml.slideLayout+xml"/>
  <Override PartName="/ppt/slideLayouts/slideLayout12133.xml" ContentType="application/vnd.openxmlformats-officedocument.presentationml.slideLayout+xml"/>
  <Override PartName="/ppt/slideLayouts/slideLayout12134.xml" ContentType="application/vnd.openxmlformats-officedocument.presentationml.slideLayout+xml"/>
  <Override PartName="/ppt/slideLayouts/slideLayout12135.xml" ContentType="application/vnd.openxmlformats-officedocument.presentationml.slideLayout+xml"/>
  <Override PartName="/ppt/slideLayouts/slideLayout12136.xml" ContentType="application/vnd.openxmlformats-officedocument.presentationml.slideLayout+xml"/>
  <Override PartName="/ppt/slideLayouts/slideLayout12137.xml" ContentType="application/vnd.openxmlformats-officedocument.presentationml.slideLayout+xml"/>
  <Override PartName="/ppt/slideLayouts/slideLayout12138.xml" ContentType="application/vnd.openxmlformats-officedocument.presentationml.slideLayout+xml"/>
  <Override PartName="/ppt/slideLayouts/slideLayout12139.xml" ContentType="application/vnd.openxmlformats-officedocument.presentationml.slideLayout+xml"/>
  <Override PartName="/ppt/slideLayouts/slideLayout12140.xml" ContentType="application/vnd.openxmlformats-officedocument.presentationml.slideLayout+xml"/>
  <Override PartName="/ppt/slideLayouts/slideLayout12141.xml" ContentType="application/vnd.openxmlformats-officedocument.presentationml.slideLayout+xml"/>
  <Override PartName="/ppt/slideLayouts/slideLayout12142.xml" ContentType="application/vnd.openxmlformats-officedocument.presentationml.slideLayout+xml"/>
  <Override PartName="/ppt/slideLayouts/slideLayout12143.xml" ContentType="application/vnd.openxmlformats-officedocument.presentationml.slideLayout+xml"/>
  <Override PartName="/ppt/slideLayouts/slideLayout12144.xml" ContentType="application/vnd.openxmlformats-officedocument.presentationml.slideLayout+xml"/>
  <Override PartName="/ppt/slideLayouts/slideLayout12145.xml" ContentType="application/vnd.openxmlformats-officedocument.presentationml.slideLayout+xml"/>
  <Override PartName="/ppt/slideLayouts/slideLayout12146.xml" ContentType="application/vnd.openxmlformats-officedocument.presentationml.slideLayout+xml"/>
  <Override PartName="/ppt/slideLayouts/slideLayout12147.xml" ContentType="application/vnd.openxmlformats-officedocument.presentationml.slideLayout+xml"/>
  <Override PartName="/ppt/slideLayouts/slideLayout12148.xml" ContentType="application/vnd.openxmlformats-officedocument.presentationml.slideLayout+xml"/>
  <Override PartName="/ppt/slideLayouts/slideLayout12149.xml" ContentType="application/vnd.openxmlformats-officedocument.presentationml.slideLayout+xml"/>
  <Override PartName="/ppt/slideLayouts/slideLayout12150.xml" ContentType="application/vnd.openxmlformats-officedocument.presentationml.slideLayout+xml"/>
  <Override PartName="/ppt/slideLayouts/slideLayout12151.xml" ContentType="application/vnd.openxmlformats-officedocument.presentationml.slideLayout+xml"/>
  <Override PartName="/ppt/slideLayouts/slideLayout12152.xml" ContentType="application/vnd.openxmlformats-officedocument.presentationml.slideLayout+xml"/>
  <Override PartName="/ppt/slideLayouts/slideLayout12153.xml" ContentType="application/vnd.openxmlformats-officedocument.presentationml.slideLayout+xml"/>
  <Override PartName="/ppt/slideLayouts/slideLayout12154.xml" ContentType="application/vnd.openxmlformats-officedocument.presentationml.slideLayout+xml"/>
  <Override PartName="/ppt/slideLayouts/slideLayout12155.xml" ContentType="application/vnd.openxmlformats-officedocument.presentationml.slideLayout+xml"/>
  <Override PartName="/ppt/slideLayouts/slideLayout12156.xml" ContentType="application/vnd.openxmlformats-officedocument.presentationml.slideLayout+xml"/>
  <Override PartName="/ppt/slideLayouts/slideLayout12157.xml" ContentType="application/vnd.openxmlformats-officedocument.presentationml.slideLayout+xml"/>
  <Override PartName="/ppt/slideLayouts/slideLayout12158.xml" ContentType="application/vnd.openxmlformats-officedocument.presentationml.slideLayout+xml"/>
  <Override PartName="/ppt/slideLayouts/slideLayout12159.xml" ContentType="application/vnd.openxmlformats-officedocument.presentationml.slideLayout+xml"/>
  <Override PartName="/ppt/slideLayouts/slideLayout12160.xml" ContentType="application/vnd.openxmlformats-officedocument.presentationml.slideLayout+xml"/>
  <Override PartName="/ppt/slideLayouts/slideLayout12161.xml" ContentType="application/vnd.openxmlformats-officedocument.presentationml.slideLayout+xml"/>
  <Override PartName="/ppt/slideLayouts/slideLayout12162.xml" ContentType="application/vnd.openxmlformats-officedocument.presentationml.slideLayout+xml"/>
  <Override PartName="/ppt/slideLayouts/slideLayout12163.xml" ContentType="application/vnd.openxmlformats-officedocument.presentationml.slideLayout+xml"/>
  <Override PartName="/ppt/slideLayouts/slideLayout12164.xml" ContentType="application/vnd.openxmlformats-officedocument.presentationml.slideLayout+xml"/>
  <Override PartName="/ppt/slideLayouts/slideLayout12165.xml" ContentType="application/vnd.openxmlformats-officedocument.presentationml.slideLayout+xml"/>
  <Override PartName="/ppt/slideLayouts/slideLayout12166.xml" ContentType="application/vnd.openxmlformats-officedocument.presentationml.slideLayout+xml"/>
  <Override PartName="/ppt/slideLayouts/slideLayout12167.xml" ContentType="application/vnd.openxmlformats-officedocument.presentationml.slideLayout+xml"/>
  <Override PartName="/ppt/slideLayouts/slideLayout12168.xml" ContentType="application/vnd.openxmlformats-officedocument.presentationml.slideLayout+xml"/>
  <Override PartName="/ppt/slideLayouts/slideLayout12169.xml" ContentType="application/vnd.openxmlformats-officedocument.presentationml.slideLayout+xml"/>
  <Override PartName="/ppt/slideLayouts/slideLayout12170.xml" ContentType="application/vnd.openxmlformats-officedocument.presentationml.slideLayout+xml"/>
  <Override PartName="/ppt/slideLayouts/slideLayout12171.xml" ContentType="application/vnd.openxmlformats-officedocument.presentationml.slideLayout+xml"/>
  <Override PartName="/ppt/slideLayouts/slideLayout12172.xml" ContentType="application/vnd.openxmlformats-officedocument.presentationml.slideLayout+xml"/>
  <Override PartName="/ppt/slideLayouts/slideLayout12173.xml" ContentType="application/vnd.openxmlformats-officedocument.presentationml.slideLayout+xml"/>
  <Override PartName="/ppt/slideLayouts/slideLayout12174.xml" ContentType="application/vnd.openxmlformats-officedocument.presentationml.slideLayout+xml"/>
  <Override PartName="/ppt/slideLayouts/slideLayout12175.xml" ContentType="application/vnd.openxmlformats-officedocument.presentationml.slideLayout+xml"/>
  <Override PartName="/ppt/slideLayouts/slideLayout12176.xml" ContentType="application/vnd.openxmlformats-officedocument.presentationml.slideLayout+xml"/>
  <Override PartName="/ppt/slideLayouts/slideLayout12177.xml" ContentType="application/vnd.openxmlformats-officedocument.presentationml.slideLayout+xml"/>
  <Override PartName="/ppt/slideLayouts/slideLayout12178.xml" ContentType="application/vnd.openxmlformats-officedocument.presentationml.slideLayout+xml"/>
  <Override PartName="/ppt/slideLayouts/slideLayout12179.xml" ContentType="application/vnd.openxmlformats-officedocument.presentationml.slideLayout+xml"/>
  <Override PartName="/ppt/slideLayouts/slideLayout12180.xml" ContentType="application/vnd.openxmlformats-officedocument.presentationml.slideLayout+xml"/>
  <Override PartName="/ppt/slideLayouts/slideLayout12181.xml" ContentType="application/vnd.openxmlformats-officedocument.presentationml.slideLayout+xml"/>
  <Override PartName="/ppt/slideLayouts/slideLayout12182.xml" ContentType="application/vnd.openxmlformats-officedocument.presentationml.slideLayout+xml"/>
  <Override PartName="/ppt/slideLayouts/slideLayout12183.xml" ContentType="application/vnd.openxmlformats-officedocument.presentationml.slideLayout+xml"/>
  <Override PartName="/ppt/slideLayouts/slideLayout12184.xml" ContentType="application/vnd.openxmlformats-officedocument.presentationml.slideLayout+xml"/>
  <Override PartName="/ppt/slideLayouts/slideLayout12185.xml" ContentType="application/vnd.openxmlformats-officedocument.presentationml.slideLayout+xml"/>
  <Override PartName="/ppt/slideLayouts/slideLayout12186.xml" ContentType="application/vnd.openxmlformats-officedocument.presentationml.slideLayout+xml"/>
  <Override PartName="/ppt/slideLayouts/slideLayout12187.xml" ContentType="application/vnd.openxmlformats-officedocument.presentationml.slideLayout+xml"/>
  <Override PartName="/ppt/slideLayouts/slideLayout12188.xml" ContentType="application/vnd.openxmlformats-officedocument.presentationml.slideLayout+xml"/>
  <Override PartName="/ppt/slideLayouts/slideLayout12189.xml" ContentType="application/vnd.openxmlformats-officedocument.presentationml.slideLayout+xml"/>
  <Override PartName="/ppt/slideLayouts/slideLayout12190.xml" ContentType="application/vnd.openxmlformats-officedocument.presentationml.slideLayout+xml"/>
  <Override PartName="/ppt/slideLayouts/slideLayout12191.xml" ContentType="application/vnd.openxmlformats-officedocument.presentationml.slideLayout+xml"/>
  <Override PartName="/ppt/slideLayouts/slideLayout12192.xml" ContentType="application/vnd.openxmlformats-officedocument.presentationml.slideLayout+xml"/>
  <Override PartName="/ppt/slideLayouts/slideLayout12193.xml" ContentType="application/vnd.openxmlformats-officedocument.presentationml.slideLayout+xml"/>
  <Override PartName="/ppt/slideLayouts/slideLayout12194.xml" ContentType="application/vnd.openxmlformats-officedocument.presentationml.slideLayout+xml"/>
  <Override PartName="/ppt/slideLayouts/slideLayout12195.xml" ContentType="application/vnd.openxmlformats-officedocument.presentationml.slideLayout+xml"/>
  <Override PartName="/ppt/slideLayouts/slideLayout12196.xml" ContentType="application/vnd.openxmlformats-officedocument.presentationml.slideLayout+xml"/>
  <Override PartName="/ppt/slideLayouts/slideLayout12197.xml" ContentType="application/vnd.openxmlformats-officedocument.presentationml.slideLayout+xml"/>
  <Override PartName="/ppt/slideLayouts/slideLayout12198.xml" ContentType="application/vnd.openxmlformats-officedocument.presentationml.slideLayout+xml"/>
  <Override PartName="/ppt/slideLayouts/slideLayout12199.xml" ContentType="application/vnd.openxmlformats-officedocument.presentationml.slideLayout+xml"/>
  <Override PartName="/ppt/slideLayouts/slideLayout12200.xml" ContentType="application/vnd.openxmlformats-officedocument.presentationml.slideLayout+xml"/>
  <Override PartName="/ppt/slideLayouts/slideLayout12201.xml" ContentType="application/vnd.openxmlformats-officedocument.presentationml.slideLayout+xml"/>
  <Override PartName="/ppt/slideLayouts/slideLayout12202.xml" ContentType="application/vnd.openxmlformats-officedocument.presentationml.slideLayout+xml"/>
  <Override PartName="/ppt/slideLayouts/slideLayout12203.xml" ContentType="application/vnd.openxmlformats-officedocument.presentationml.slideLayout+xml"/>
  <Override PartName="/ppt/slideLayouts/slideLayout12204.xml" ContentType="application/vnd.openxmlformats-officedocument.presentationml.slideLayout+xml"/>
  <Override PartName="/ppt/slideLayouts/slideLayout12205.xml" ContentType="application/vnd.openxmlformats-officedocument.presentationml.slideLayout+xml"/>
  <Override PartName="/ppt/slideLayouts/slideLayout12206.xml" ContentType="application/vnd.openxmlformats-officedocument.presentationml.slideLayout+xml"/>
  <Override PartName="/ppt/slideLayouts/slideLayout12207.xml" ContentType="application/vnd.openxmlformats-officedocument.presentationml.slideLayout+xml"/>
  <Override PartName="/ppt/slideLayouts/slideLayout12208.xml" ContentType="application/vnd.openxmlformats-officedocument.presentationml.slideLayout+xml"/>
  <Override PartName="/ppt/slideLayouts/slideLayout12209.xml" ContentType="application/vnd.openxmlformats-officedocument.presentationml.slideLayout+xml"/>
  <Override PartName="/ppt/slideLayouts/slideLayout12210.xml" ContentType="application/vnd.openxmlformats-officedocument.presentationml.slideLayout+xml"/>
  <Override PartName="/ppt/slideLayouts/slideLayout12211.xml" ContentType="application/vnd.openxmlformats-officedocument.presentationml.slideLayout+xml"/>
  <Override PartName="/ppt/slideLayouts/slideLayout12212.xml" ContentType="application/vnd.openxmlformats-officedocument.presentationml.slideLayout+xml"/>
  <Override PartName="/ppt/slideLayouts/slideLayout12213.xml" ContentType="application/vnd.openxmlformats-officedocument.presentationml.slideLayout+xml"/>
  <Override PartName="/ppt/slideLayouts/slideLayout12214.xml" ContentType="application/vnd.openxmlformats-officedocument.presentationml.slideLayout+xml"/>
  <Override PartName="/ppt/slideLayouts/slideLayout12215.xml" ContentType="application/vnd.openxmlformats-officedocument.presentationml.slideLayout+xml"/>
  <Override PartName="/ppt/slideLayouts/slideLayout12216.xml" ContentType="application/vnd.openxmlformats-officedocument.presentationml.slideLayout+xml"/>
  <Override PartName="/ppt/slideLayouts/slideLayout12217.xml" ContentType="application/vnd.openxmlformats-officedocument.presentationml.slideLayout+xml"/>
  <Override PartName="/ppt/slideLayouts/slideLayout12218.xml" ContentType="application/vnd.openxmlformats-officedocument.presentationml.slideLayout+xml"/>
  <Override PartName="/ppt/slideLayouts/slideLayout12219.xml" ContentType="application/vnd.openxmlformats-officedocument.presentationml.slideLayout+xml"/>
  <Override PartName="/ppt/slideLayouts/slideLayout12220.xml" ContentType="application/vnd.openxmlformats-officedocument.presentationml.slideLayout+xml"/>
  <Override PartName="/ppt/slideLayouts/slideLayout12221.xml" ContentType="application/vnd.openxmlformats-officedocument.presentationml.slideLayout+xml"/>
  <Override PartName="/ppt/slideLayouts/slideLayout12222.xml" ContentType="application/vnd.openxmlformats-officedocument.presentationml.slideLayout+xml"/>
  <Override PartName="/ppt/slideLayouts/slideLayout12223.xml" ContentType="application/vnd.openxmlformats-officedocument.presentationml.slideLayout+xml"/>
  <Override PartName="/ppt/slideLayouts/slideLayout12224.xml" ContentType="application/vnd.openxmlformats-officedocument.presentationml.slideLayout+xml"/>
  <Override PartName="/ppt/slideLayouts/slideLayout12225.xml" ContentType="application/vnd.openxmlformats-officedocument.presentationml.slideLayout+xml"/>
  <Override PartName="/ppt/slideLayouts/slideLayout12226.xml" ContentType="application/vnd.openxmlformats-officedocument.presentationml.slideLayout+xml"/>
  <Override PartName="/ppt/slideLayouts/slideLayout12227.xml" ContentType="application/vnd.openxmlformats-officedocument.presentationml.slideLayout+xml"/>
  <Override PartName="/ppt/slideLayouts/slideLayout12228.xml" ContentType="application/vnd.openxmlformats-officedocument.presentationml.slideLayout+xml"/>
  <Override PartName="/ppt/slideLayouts/slideLayout12229.xml" ContentType="application/vnd.openxmlformats-officedocument.presentationml.slideLayout+xml"/>
  <Override PartName="/ppt/slideLayouts/slideLayout12230.xml" ContentType="application/vnd.openxmlformats-officedocument.presentationml.slideLayout+xml"/>
  <Override PartName="/ppt/slideLayouts/slideLayout12231.xml" ContentType="application/vnd.openxmlformats-officedocument.presentationml.slideLayout+xml"/>
  <Override PartName="/ppt/slideLayouts/slideLayout12232.xml" ContentType="application/vnd.openxmlformats-officedocument.presentationml.slideLayout+xml"/>
  <Override PartName="/ppt/slideLayouts/slideLayout12233.xml" ContentType="application/vnd.openxmlformats-officedocument.presentationml.slideLayout+xml"/>
  <Override PartName="/ppt/slideLayouts/slideLayout12234.xml" ContentType="application/vnd.openxmlformats-officedocument.presentationml.slideLayout+xml"/>
  <Override PartName="/ppt/slideLayouts/slideLayout12235.xml" ContentType="application/vnd.openxmlformats-officedocument.presentationml.slideLayout+xml"/>
  <Override PartName="/ppt/slideLayouts/slideLayout12236.xml" ContentType="application/vnd.openxmlformats-officedocument.presentationml.slideLayout+xml"/>
  <Override PartName="/ppt/slideLayouts/slideLayout12237.xml" ContentType="application/vnd.openxmlformats-officedocument.presentationml.slideLayout+xml"/>
  <Override PartName="/ppt/slideLayouts/slideLayout12238.xml" ContentType="application/vnd.openxmlformats-officedocument.presentationml.slideLayout+xml"/>
  <Override PartName="/ppt/slideLayouts/slideLayout12239.xml" ContentType="application/vnd.openxmlformats-officedocument.presentationml.slideLayout+xml"/>
  <Override PartName="/ppt/slideLayouts/slideLayout12240.xml" ContentType="application/vnd.openxmlformats-officedocument.presentationml.slideLayout+xml"/>
  <Override PartName="/ppt/slideLayouts/slideLayout12241.xml" ContentType="application/vnd.openxmlformats-officedocument.presentationml.slideLayout+xml"/>
  <Override PartName="/ppt/slideLayouts/slideLayout12242.xml" ContentType="application/vnd.openxmlformats-officedocument.presentationml.slideLayout+xml"/>
  <Override PartName="/ppt/slideLayouts/slideLayout12243.xml" ContentType="application/vnd.openxmlformats-officedocument.presentationml.slideLayout+xml"/>
  <Override PartName="/ppt/slideLayouts/slideLayout12244.xml" ContentType="application/vnd.openxmlformats-officedocument.presentationml.slideLayout+xml"/>
  <Override PartName="/ppt/slideLayouts/slideLayout12245.xml" ContentType="application/vnd.openxmlformats-officedocument.presentationml.slideLayout+xml"/>
  <Override PartName="/ppt/slideLayouts/slideLayout12246.xml" ContentType="application/vnd.openxmlformats-officedocument.presentationml.slideLayout+xml"/>
  <Override PartName="/ppt/slideLayouts/slideLayout12247.xml" ContentType="application/vnd.openxmlformats-officedocument.presentationml.slideLayout+xml"/>
  <Override PartName="/ppt/slideLayouts/slideLayout12248.xml" ContentType="application/vnd.openxmlformats-officedocument.presentationml.slideLayout+xml"/>
  <Override PartName="/ppt/slideLayouts/slideLayout12249.xml" ContentType="application/vnd.openxmlformats-officedocument.presentationml.slideLayout+xml"/>
  <Override PartName="/ppt/slideLayouts/slideLayout12250.xml" ContentType="application/vnd.openxmlformats-officedocument.presentationml.slideLayout+xml"/>
  <Override PartName="/ppt/slideLayouts/slideLayout12251.xml" ContentType="application/vnd.openxmlformats-officedocument.presentationml.slideLayout+xml"/>
  <Override PartName="/ppt/slideLayouts/slideLayout12252.xml" ContentType="application/vnd.openxmlformats-officedocument.presentationml.slideLayout+xml"/>
  <Override PartName="/ppt/slideLayouts/slideLayout12253.xml" ContentType="application/vnd.openxmlformats-officedocument.presentationml.slideLayout+xml"/>
  <Override PartName="/ppt/slideLayouts/slideLayout12254.xml" ContentType="application/vnd.openxmlformats-officedocument.presentationml.slideLayout+xml"/>
  <Override PartName="/ppt/slideLayouts/slideLayout12255.xml" ContentType="application/vnd.openxmlformats-officedocument.presentationml.slideLayout+xml"/>
  <Override PartName="/ppt/slideLayouts/slideLayout12256.xml" ContentType="application/vnd.openxmlformats-officedocument.presentationml.slideLayout+xml"/>
  <Override PartName="/ppt/slideLayouts/slideLayout12257.xml" ContentType="application/vnd.openxmlformats-officedocument.presentationml.slideLayout+xml"/>
  <Override PartName="/ppt/slideLayouts/slideLayout12258.xml" ContentType="application/vnd.openxmlformats-officedocument.presentationml.slideLayout+xml"/>
  <Override PartName="/ppt/slideLayouts/slideLayout12259.xml" ContentType="application/vnd.openxmlformats-officedocument.presentationml.slideLayout+xml"/>
  <Override PartName="/ppt/slideLayouts/slideLayout12260.xml" ContentType="application/vnd.openxmlformats-officedocument.presentationml.slideLayout+xml"/>
  <Override PartName="/ppt/slideLayouts/slideLayout12261.xml" ContentType="application/vnd.openxmlformats-officedocument.presentationml.slideLayout+xml"/>
  <Override PartName="/ppt/slideLayouts/slideLayout12262.xml" ContentType="application/vnd.openxmlformats-officedocument.presentationml.slideLayout+xml"/>
  <Override PartName="/ppt/slideLayouts/slideLayout12263.xml" ContentType="application/vnd.openxmlformats-officedocument.presentationml.slideLayout+xml"/>
  <Override PartName="/ppt/slideLayouts/slideLayout12264.xml" ContentType="application/vnd.openxmlformats-officedocument.presentationml.slideLayout+xml"/>
  <Override PartName="/ppt/slideLayouts/slideLayout12265.xml" ContentType="application/vnd.openxmlformats-officedocument.presentationml.slideLayout+xml"/>
  <Override PartName="/ppt/slideLayouts/slideLayout12266.xml" ContentType="application/vnd.openxmlformats-officedocument.presentationml.slideLayout+xml"/>
  <Override PartName="/ppt/slideLayouts/slideLayout12267.xml" ContentType="application/vnd.openxmlformats-officedocument.presentationml.slideLayout+xml"/>
  <Override PartName="/ppt/slideLayouts/slideLayout12268.xml" ContentType="application/vnd.openxmlformats-officedocument.presentationml.slideLayout+xml"/>
  <Override PartName="/ppt/slideLayouts/slideLayout12269.xml" ContentType="application/vnd.openxmlformats-officedocument.presentationml.slideLayout+xml"/>
  <Override PartName="/ppt/slideLayouts/slideLayout12270.xml" ContentType="application/vnd.openxmlformats-officedocument.presentationml.slideLayout+xml"/>
  <Override PartName="/ppt/slideLayouts/slideLayout12271.xml" ContentType="application/vnd.openxmlformats-officedocument.presentationml.slideLayout+xml"/>
  <Override PartName="/ppt/slideLayouts/slideLayout12272.xml" ContentType="application/vnd.openxmlformats-officedocument.presentationml.slideLayout+xml"/>
  <Override PartName="/ppt/slideLayouts/slideLayout12273.xml" ContentType="application/vnd.openxmlformats-officedocument.presentationml.slideLayout+xml"/>
  <Override PartName="/ppt/slideLayouts/slideLayout12274.xml" ContentType="application/vnd.openxmlformats-officedocument.presentationml.slideLayout+xml"/>
  <Override PartName="/ppt/slideLayouts/slideLayout12275.xml" ContentType="application/vnd.openxmlformats-officedocument.presentationml.slideLayout+xml"/>
  <Override PartName="/ppt/slideLayouts/slideLayout12276.xml" ContentType="application/vnd.openxmlformats-officedocument.presentationml.slideLayout+xml"/>
  <Override PartName="/ppt/slideLayouts/slideLayout12277.xml" ContentType="application/vnd.openxmlformats-officedocument.presentationml.slideLayout+xml"/>
  <Override PartName="/ppt/slideLayouts/slideLayout12278.xml" ContentType="application/vnd.openxmlformats-officedocument.presentationml.slideLayout+xml"/>
  <Override PartName="/ppt/slideLayouts/slideLayout12279.xml" ContentType="application/vnd.openxmlformats-officedocument.presentationml.slideLayout+xml"/>
  <Override PartName="/ppt/slideLayouts/slideLayout12280.xml" ContentType="application/vnd.openxmlformats-officedocument.presentationml.slideLayout+xml"/>
  <Override PartName="/ppt/slideLayouts/slideLayout12281.xml" ContentType="application/vnd.openxmlformats-officedocument.presentationml.slideLayout+xml"/>
  <Override PartName="/ppt/slideLayouts/slideLayout12282.xml" ContentType="application/vnd.openxmlformats-officedocument.presentationml.slideLayout+xml"/>
  <Override PartName="/ppt/slideLayouts/slideLayout12283.xml" ContentType="application/vnd.openxmlformats-officedocument.presentationml.slideLayout+xml"/>
  <Override PartName="/ppt/slideLayouts/slideLayout12284.xml" ContentType="application/vnd.openxmlformats-officedocument.presentationml.slideLayout+xml"/>
  <Override PartName="/ppt/slideLayouts/slideLayout12285.xml" ContentType="application/vnd.openxmlformats-officedocument.presentationml.slideLayout+xml"/>
  <Override PartName="/ppt/slideLayouts/slideLayout12286.xml" ContentType="application/vnd.openxmlformats-officedocument.presentationml.slideLayout+xml"/>
  <Override PartName="/ppt/slideLayouts/slideLayout12287.xml" ContentType="application/vnd.openxmlformats-officedocument.presentationml.slideLayout+xml"/>
  <Override PartName="/ppt/slideLayouts/slideLayout12288.xml" ContentType="application/vnd.openxmlformats-officedocument.presentationml.slideLayout+xml"/>
  <Override PartName="/ppt/slideLayouts/slideLayout12289.xml" ContentType="application/vnd.openxmlformats-officedocument.presentationml.slideLayout+xml"/>
  <Override PartName="/ppt/slideLayouts/slideLayout12290.xml" ContentType="application/vnd.openxmlformats-officedocument.presentationml.slideLayout+xml"/>
  <Override PartName="/ppt/slideLayouts/slideLayout12291.xml" ContentType="application/vnd.openxmlformats-officedocument.presentationml.slideLayout+xml"/>
  <Override PartName="/ppt/slideLayouts/slideLayout12292.xml" ContentType="application/vnd.openxmlformats-officedocument.presentationml.slideLayout+xml"/>
  <Override PartName="/ppt/slideLayouts/slideLayout12293.xml" ContentType="application/vnd.openxmlformats-officedocument.presentationml.slideLayout+xml"/>
  <Override PartName="/ppt/slideLayouts/slideLayout12294.xml" ContentType="application/vnd.openxmlformats-officedocument.presentationml.slideLayout+xml"/>
  <Override PartName="/ppt/slideLayouts/slideLayout12295.xml" ContentType="application/vnd.openxmlformats-officedocument.presentationml.slideLayout+xml"/>
  <Override PartName="/ppt/slideLayouts/slideLayout12296.xml" ContentType="application/vnd.openxmlformats-officedocument.presentationml.slideLayout+xml"/>
  <Override PartName="/ppt/slideLayouts/slideLayout12297.xml" ContentType="application/vnd.openxmlformats-officedocument.presentationml.slideLayout+xml"/>
  <Override PartName="/ppt/slideLayouts/slideLayout12298.xml" ContentType="application/vnd.openxmlformats-officedocument.presentationml.slideLayout+xml"/>
  <Override PartName="/ppt/slideLayouts/slideLayout12299.xml" ContentType="application/vnd.openxmlformats-officedocument.presentationml.slideLayout+xml"/>
  <Override PartName="/ppt/slideLayouts/slideLayout12300.xml" ContentType="application/vnd.openxmlformats-officedocument.presentationml.slideLayout+xml"/>
  <Override PartName="/ppt/slideLayouts/slideLayout12301.xml" ContentType="application/vnd.openxmlformats-officedocument.presentationml.slideLayout+xml"/>
  <Override PartName="/ppt/slideLayouts/slideLayout12302.xml" ContentType="application/vnd.openxmlformats-officedocument.presentationml.slideLayout+xml"/>
  <Override PartName="/ppt/slideLayouts/slideLayout12303.xml" ContentType="application/vnd.openxmlformats-officedocument.presentationml.slideLayout+xml"/>
  <Override PartName="/ppt/slideLayouts/slideLayout12304.xml" ContentType="application/vnd.openxmlformats-officedocument.presentationml.slideLayout+xml"/>
  <Override PartName="/ppt/slideLayouts/slideLayout12305.xml" ContentType="application/vnd.openxmlformats-officedocument.presentationml.slideLayout+xml"/>
  <Override PartName="/ppt/slideLayouts/slideLayout12306.xml" ContentType="application/vnd.openxmlformats-officedocument.presentationml.slideLayout+xml"/>
  <Override PartName="/ppt/slideLayouts/slideLayout12307.xml" ContentType="application/vnd.openxmlformats-officedocument.presentationml.slideLayout+xml"/>
  <Override PartName="/ppt/slideLayouts/slideLayout12308.xml" ContentType="application/vnd.openxmlformats-officedocument.presentationml.slideLayout+xml"/>
  <Override PartName="/ppt/slideLayouts/slideLayout12309.xml" ContentType="application/vnd.openxmlformats-officedocument.presentationml.slideLayout+xml"/>
  <Override PartName="/ppt/slideLayouts/slideLayout12310.xml" ContentType="application/vnd.openxmlformats-officedocument.presentationml.slideLayout+xml"/>
  <Override PartName="/ppt/slideLayouts/slideLayout12311.xml" ContentType="application/vnd.openxmlformats-officedocument.presentationml.slideLayout+xml"/>
  <Override PartName="/ppt/slideLayouts/slideLayout12312.xml" ContentType="application/vnd.openxmlformats-officedocument.presentationml.slideLayout+xml"/>
  <Override PartName="/ppt/slideLayouts/slideLayout12313.xml" ContentType="application/vnd.openxmlformats-officedocument.presentationml.slideLayout+xml"/>
  <Override PartName="/ppt/slideLayouts/slideLayout12314.xml" ContentType="application/vnd.openxmlformats-officedocument.presentationml.slideLayout+xml"/>
  <Override PartName="/ppt/slideLayouts/slideLayout12315.xml" ContentType="application/vnd.openxmlformats-officedocument.presentationml.slideLayout+xml"/>
  <Override PartName="/ppt/slideLayouts/slideLayout12316.xml" ContentType="application/vnd.openxmlformats-officedocument.presentationml.slideLayout+xml"/>
  <Override PartName="/ppt/slideLayouts/slideLayout12317.xml" ContentType="application/vnd.openxmlformats-officedocument.presentationml.slideLayout+xml"/>
  <Override PartName="/ppt/slideLayouts/slideLayout12318.xml" ContentType="application/vnd.openxmlformats-officedocument.presentationml.slideLayout+xml"/>
  <Override PartName="/ppt/slideLayouts/slideLayout12319.xml" ContentType="application/vnd.openxmlformats-officedocument.presentationml.slideLayout+xml"/>
  <Override PartName="/ppt/slideLayouts/slideLayout12320.xml" ContentType="application/vnd.openxmlformats-officedocument.presentationml.slideLayout+xml"/>
  <Override PartName="/ppt/slideLayouts/slideLayout12321.xml" ContentType="application/vnd.openxmlformats-officedocument.presentationml.slideLayout+xml"/>
  <Override PartName="/ppt/slideLayouts/slideLayout12322.xml" ContentType="application/vnd.openxmlformats-officedocument.presentationml.slideLayout+xml"/>
  <Override PartName="/ppt/slideLayouts/slideLayout12323.xml" ContentType="application/vnd.openxmlformats-officedocument.presentationml.slideLayout+xml"/>
  <Override PartName="/ppt/slideLayouts/slideLayout12324.xml" ContentType="application/vnd.openxmlformats-officedocument.presentationml.slideLayout+xml"/>
  <Override PartName="/ppt/slideLayouts/slideLayout12325.xml" ContentType="application/vnd.openxmlformats-officedocument.presentationml.slideLayout+xml"/>
  <Override PartName="/ppt/slideLayouts/slideLayout12326.xml" ContentType="application/vnd.openxmlformats-officedocument.presentationml.slideLayout+xml"/>
  <Override PartName="/ppt/slideLayouts/slideLayout12327.xml" ContentType="application/vnd.openxmlformats-officedocument.presentationml.slideLayout+xml"/>
  <Override PartName="/ppt/slideLayouts/slideLayout12328.xml" ContentType="application/vnd.openxmlformats-officedocument.presentationml.slideLayout+xml"/>
  <Override PartName="/ppt/slideLayouts/slideLayout12329.xml" ContentType="application/vnd.openxmlformats-officedocument.presentationml.slideLayout+xml"/>
  <Override PartName="/ppt/slideLayouts/slideLayout12330.xml" ContentType="application/vnd.openxmlformats-officedocument.presentationml.slideLayout+xml"/>
  <Override PartName="/ppt/slideLayouts/slideLayout12331.xml" ContentType="application/vnd.openxmlformats-officedocument.presentationml.slideLayout+xml"/>
  <Override PartName="/ppt/slideLayouts/slideLayout12332.xml" ContentType="application/vnd.openxmlformats-officedocument.presentationml.slideLayout+xml"/>
  <Override PartName="/ppt/slideLayouts/slideLayout12333.xml" ContentType="application/vnd.openxmlformats-officedocument.presentationml.slideLayout+xml"/>
  <Override PartName="/ppt/slideLayouts/slideLayout12334.xml" ContentType="application/vnd.openxmlformats-officedocument.presentationml.slideLayout+xml"/>
  <Override PartName="/ppt/slideLayouts/slideLayout12335.xml" ContentType="application/vnd.openxmlformats-officedocument.presentationml.slideLayout+xml"/>
  <Override PartName="/ppt/slideLayouts/slideLayout12336.xml" ContentType="application/vnd.openxmlformats-officedocument.presentationml.slideLayout+xml"/>
  <Override PartName="/ppt/slideLayouts/slideLayout12337.xml" ContentType="application/vnd.openxmlformats-officedocument.presentationml.slideLayout+xml"/>
  <Override PartName="/ppt/slideLayouts/slideLayout12338.xml" ContentType="application/vnd.openxmlformats-officedocument.presentationml.slideLayout+xml"/>
  <Override PartName="/ppt/slideLayouts/slideLayout12339.xml" ContentType="application/vnd.openxmlformats-officedocument.presentationml.slideLayout+xml"/>
  <Override PartName="/ppt/slideLayouts/slideLayout12340.xml" ContentType="application/vnd.openxmlformats-officedocument.presentationml.slideLayout+xml"/>
  <Override PartName="/ppt/slideLayouts/slideLayout12341.xml" ContentType="application/vnd.openxmlformats-officedocument.presentationml.slideLayout+xml"/>
  <Override PartName="/ppt/slideLayouts/slideLayout12342.xml" ContentType="application/vnd.openxmlformats-officedocument.presentationml.slideLayout+xml"/>
  <Override PartName="/ppt/slideLayouts/slideLayout12343.xml" ContentType="application/vnd.openxmlformats-officedocument.presentationml.slideLayout+xml"/>
  <Override PartName="/ppt/slideLayouts/slideLayout12344.xml" ContentType="application/vnd.openxmlformats-officedocument.presentationml.slideLayout+xml"/>
  <Override PartName="/ppt/slideLayouts/slideLayout12345.xml" ContentType="application/vnd.openxmlformats-officedocument.presentationml.slideLayout+xml"/>
  <Override PartName="/ppt/slideLayouts/slideLayout12346.xml" ContentType="application/vnd.openxmlformats-officedocument.presentationml.slideLayout+xml"/>
  <Override PartName="/ppt/slideLayouts/slideLayout12347.xml" ContentType="application/vnd.openxmlformats-officedocument.presentationml.slideLayout+xml"/>
  <Override PartName="/ppt/slideLayouts/slideLayout12348.xml" ContentType="application/vnd.openxmlformats-officedocument.presentationml.slideLayout+xml"/>
  <Override PartName="/ppt/slideLayouts/slideLayout12349.xml" ContentType="application/vnd.openxmlformats-officedocument.presentationml.slideLayout+xml"/>
  <Override PartName="/ppt/slideLayouts/slideLayout12350.xml" ContentType="application/vnd.openxmlformats-officedocument.presentationml.slideLayout+xml"/>
  <Override PartName="/ppt/slideLayouts/slideLayout12351.xml" ContentType="application/vnd.openxmlformats-officedocument.presentationml.slideLayout+xml"/>
  <Override PartName="/ppt/slideLayouts/slideLayout12352.xml" ContentType="application/vnd.openxmlformats-officedocument.presentationml.slideLayout+xml"/>
  <Override PartName="/ppt/slideLayouts/slideLayout12353.xml" ContentType="application/vnd.openxmlformats-officedocument.presentationml.slideLayout+xml"/>
  <Override PartName="/ppt/slideLayouts/slideLayout12354.xml" ContentType="application/vnd.openxmlformats-officedocument.presentationml.slideLayout+xml"/>
  <Override PartName="/ppt/slideLayouts/slideLayout12355.xml" ContentType="application/vnd.openxmlformats-officedocument.presentationml.slideLayout+xml"/>
  <Override PartName="/ppt/slideLayouts/slideLayout12356.xml" ContentType="application/vnd.openxmlformats-officedocument.presentationml.slideLayout+xml"/>
  <Override PartName="/ppt/slideLayouts/slideLayout12357.xml" ContentType="application/vnd.openxmlformats-officedocument.presentationml.slideLayout+xml"/>
  <Override PartName="/ppt/slideLayouts/slideLayout12358.xml" ContentType="application/vnd.openxmlformats-officedocument.presentationml.slideLayout+xml"/>
  <Override PartName="/ppt/slideLayouts/slideLayout12359.xml" ContentType="application/vnd.openxmlformats-officedocument.presentationml.slideLayout+xml"/>
  <Override PartName="/ppt/slideLayouts/slideLayout12360.xml" ContentType="application/vnd.openxmlformats-officedocument.presentationml.slideLayout+xml"/>
  <Override PartName="/ppt/slideLayouts/slideLayout12361.xml" ContentType="application/vnd.openxmlformats-officedocument.presentationml.slideLayout+xml"/>
  <Override PartName="/ppt/slideLayouts/slideLayout12362.xml" ContentType="application/vnd.openxmlformats-officedocument.presentationml.slideLayout+xml"/>
  <Override PartName="/ppt/slideLayouts/slideLayout12363.xml" ContentType="application/vnd.openxmlformats-officedocument.presentationml.slideLayout+xml"/>
  <Override PartName="/ppt/slideLayouts/slideLayout12364.xml" ContentType="application/vnd.openxmlformats-officedocument.presentationml.slideLayout+xml"/>
  <Override PartName="/ppt/slideLayouts/slideLayout12365.xml" ContentType="application/vnd.openxmlformats-officedocument.presentationml.slideLayout+xml"/>
  <Override PartName="/ppt/slideLayouts/slideLayout12366.xml" ContentType="application/vnd.openxmlformats-officedocument.presentationml.slideLayout+xml"/>
  <Override PartName="/ppt/slideLayouts/slideLayout12367.xml" ContentType="application/vnd.openxmlformats-officedocument.presentationml.slideLayout+xml"/>
  <Override PartName="/ppt/slideLayouts/slideLayout12368.xml" ContentType="application/vnd.openxmlformats-officedocument.presentationml.slideLayout+xml"/>
  <Override PartName="/ppt/slideLayouts/slideLayout12369.xml" ContentType="application/vnd.openxmlformats-officedocument.presentationml.slideLayout+xml"/>
  <Override PartName="/ppt/slideLayouts/slideLayout12370.xml" ContentType="application/vnd.openxmlformats-officedocument.presentationml.slideLayout+xml"/>
  <Override PartName="/ppt/slideLayouts/slideLayout12371.xml" ContentType="application/vnd.openxmlformats-officedocument.presentationml.slideLayout+xml"/>
  <Override PartName="/ppt/slideLayouts/slideLayout12372.xml" ContentType="application/vnd.openxmlformats-officedocument.presentationml.slideLayout+xml"/>
  <Override PartName="/ppt/slideLayouts/slideLayout12373.xml" ContentType="application/vnd.openxmlformats-officedocument.presentationml.slideLayout+xml"/>
  <Override PartName="/ppt/slideLayouts/slideLayout12374.xml" ContentType="application/vnd.openxmlformats-officedocument.presentationml.slideLayout+xml"/>
  <Override PartName="/ppt/slideLayouts/slideLayout12375.xml" ContentType="application/vnd.openxmlformats-officedocument.presentationml.slideLayout+xml"/>
  <Override PartName="/ppt/slideLayouts/slideLayout12376.xml" ContentType="application/vnd.openxmlformats-officedocument.presentationml.slideLayout+xml"/>
  <Override PartName="/ppt/slideLayouts/slideLayout12377.xml" ContentType="application/vnd.openxmlformats-officedocument.presentationml.slideLayout+xml"/>
  <Override PartName="/ppt/slideLayouts/slideLayout12378.xml" ContentType="application/vnd.openxmlformats-officedocument.presentationml.slideLayout+xml"/>
  <Override PartName="/ppt/slideLayouts/slideLayout12379.xml" ContentType="application/vnd.openxmlformats-officedocument.presentationml.slideLayout+xml"/>
  <Override PartName="/ppt/slideLayouts/slideLayout12380.xml" ContentType="application/vnd.openxmlformats-officedocument.presentationml.slideLayout+xml"/>
  <Override PartName="/ppt/slideLayouts/slideLayout12381.xml" ContentType="application/vnd.openxmlformats-officedocument.presentationml.slideLayout+xml"/>
  <Override PartName="/ppt/slideLayouts/slideLayout12382.xml" ContentType="application/vnd.openxmlformats-officedocument.presentationml.slideLayout+xml"/>
  <Override PartName="/ppt/slideLayouts/slideLayout12383.xml" ContentType="application/vnd.openxmlformats-officedocument.presentationml.slideLayout+xml"/>
  <Override PartName="/ppt/slideLayouts/slideLayout12384.xml" ContentType="application/vnd.openxmlformats-officedocument.presentationml.slideLayout+xml"/>
  <Override PartName="/ppt/slideLayouts/slideLayout12385.xml" ContentType="application/vnd.openxmlformats-officedocument.presentationml.slideLayout+xml"/>
  <Override PartName="/ppt/slideLayouts/slideLayout12386.xml" ContentType="application/vnd.openxmlformats-officedocument.presentationml.slideLayout+xml"/>
  <Override PartName="/ppt/slideLayouts/slideLayout12387.xml" ContentType="application/vnd.openxmlformats-officedocument.presentationml.slideLayout+xml"/>
  <Override PartName="/ppt/slideLayouts/slideLayout12388.xml" ContentType="application/vnd.openxmlformats-officedocument.presentationml.slideLayout+xml"/>
  <Override PartName="/ppt/slideLayouts/slideLayout12389.xml" ContentType="application/vnd.openxmlformats-officedocument.presentationml.slideLayout+xml"/>
  <Override PartName="/ppt/slideLayouts/slideLayout12390.xml" ContentType="application/vnd.openxmlformats-officedocument.presentationml.slideLayout+xml"/>
  <Override PartName="/ppt/slideLayouts/slideLayout12391.xml" ContentType="application/vnd.openxmlformats-officedocument.presentationml.slideLayout+xml"/>
  <Override PartName="/ppt/slideLayouts/slideLayout12392.xml" ContentType="application/vnd.openxmlformats-officedocument.presentationml.slideLayout+xml"/>
  <Override PartName="/ppt/slideLayouts/slideLayout12393.xml" ContentType="application/vnd.openxmlformats-officedocument.presentationml.slideLayout+xml"/>
  <Override PartName="/ppt/slideLayouts/slideLayout12394.xml" ContentType="application/vnd.openxmlformats-officedocument.presentationml.slideLayout+xml"/>
  <Override PartName="/ppt/slideLayouts/slideLayout12395.xml" ContentType="application/vnd.openxmlformats-officedocument.presentationml.slideLayout+xml"/>
  <Override PartName="/ppt/slideLayouts/slideLayout12396.xml" ContentType="application/vnd.openxmlformats-officedocument.presentationml.slideLayout+xml"/>
  <Override PartName="/ppt/slideLayouts/slideLayout12397.xml" ContentType="application/vnd.openxmlformats-officedocument.presentationml.slideLayout+xml"/>
  <Override PartName="/ppt/slideLayouts/slideLayout12398.xml" ContentType="application/vnd.openxmlformats-officedocument.presentationml.slideLayout+xml"/>
  <Override PartName="/ppt/slideLayouts/slideLayout12399.xml" ContentType="application/vnd.openxmlformats-officedocument.presentationml.slideLayout+xml"/>
  <Override PartName="/ppt/slideLayouts/slideLayout12400.xml" ContentType="application/vnd.openxmlformats-officedocument.presentationml.slideLayout+xml"/>
  <Override PartName="/ppt/slideLayouts/slideLayout12401.xml" ContentType="application/vnd.openxmlformats-officedocument.presentationml.slideLayout+xml"/>
  <Override PartName="/ppt/slideLayouts/slideLayout12402.xml" ContentType="application/vnd.openxmlformats-officedocument.presentationml.slideLayout+xml"/>
  <Override PartName="/ppt/slideLayouts/slideLayout12403.xml" ContentType="application/vnd.openxmlformats-officedocument.presentationml.slideLayout+xml"/>
  <Override PartName="/ppt/slideLayouts/slideLayout12404.xml" ContentType="application/vnd.openxmlformats-officedocument.presentationml.slideLayout+xml"/>
  <Override PartName="/ppt/slideLayouts/slideLayout12405.xml" ContentType="application/vnd.openxmlformats-officedocument.presentationml.slideLayout+xml"/>
  <Override PartName="/ppt/slideLayouts/slideLayout12406.xml" ContentType="application/vnd.openxmlformats-officedocument.presentationml.slideLayout+xml"/>
  <Override PartName="/ppt/slideLayouts/slideLayout12407.xml" ContentType="application/vnd.openxmlformats-officedocument.presentationml.slideLayout+xml"/>
  <Override PartName="/ppt/slideLayouts/slideLayout12408.xml" ContentType="application/vnd.openxmlformats-officedocument.presentationml.slideLayout+xml"/>
  <Override PartName="/ppt/slideLayouts/slideLayout12409.xml" ContentType="application/vnd.openxmlformats-officedocument.presentationml.slideLayout+xml"/>
  <Override PartName="/ppt/slideLayouts/slideLayout12410.xml" ContentType="application/vnd.openxmlformats-officedocument.presentationml.slideLayout+xml"/>
  <Override PartName="/ppt/slideLayouts/slideLayout12411.xml" ContentType="application/vnd.openxmlformats-officedocument.presentationml.slideLayout+xml"/>
  <Override PartName="/ppt/slideLayouts/slideLayout12412.xml" ContentType="application/vnd.openxmlformats-officedocument.presentationml.slideLayout+xml"/>
  <Override PartName="/ppt/slideLayouts/slideLayout12413.xml" ContentType="application/vnd.openxmlformats-officedocument.presentationml.slideLayout+xml"/>
  <Override PartName="/ppt/slideLayouts/slideLayout12414.xml" ContentType="application/vnd.openxmlformats-officedocument.presentationml.slideLayout+xml"/>
  <Override PartName="/ppt/slideLayouts/slideLayout12415.xml" ContentType="application/vnd.openxmlformats-officedocument.presentationml.slideLayout+xml"/>
  <Override PartName="/ppt/slideLayouts/slideLayout12416.xml" ContentType="application/vnd.openxmlformats-officedocument.presentationml.slideLayout+xml"/>
  <Override PartName="/ppt/slideLayouts/slideLayout12417.xml" ContentType="application/vnd.openxmlformats-officedocument.presentationml.slideLayout+xml"/>
  <Override PartName="/ppt/slideLayouts/slideLayout12418.xml" ContentType="application/vnd.openxmlformats-officedocument.presentationml.slideLayout+xml"/>
  <Override PartName="/ppt/slideLayouts/slideLayout12419.xml" ContentType="application/vnd.openxmlformats-officedocument.presentationml.slideLayout+xml"/>
  <Override PartName="/ppt/slideLayouts/slideLayout12420.xml" ContentType="application/vnd.openxmlformats-officedocument.presentationml.slideLayout+xml"/>
  <Override PartName="/ppt/slideLayouts/slideLayout12421.xml" ContentType="application/vnd.openxmlformats-officedocument.presentationml.slideLayout+xml"/>
  <Override PartName="/ppt/slideLayouts/slideLayout12422.xml" ContentType="application/vnd.openxmlformats-officedocument.presentationml.slideLayout+xml"/>
  <Override PartName="/ppt/slideLayouts/slideLayout12423.xml" ContentType="application/vnd.openxmlformats-officedocument.presentationml.slideLayout+xml"/>
  <Override PartName="/ppt/slideLayouts/slideLayout12424.xml" ContentType="application/vnd.openxmlformats-officedocument.presentationml.slideLayout+xml"/>
  <Override PartName="/ppt/slideLayouts/slideLayout12425.xml" ContentType="application/vnd.openxmlformats-officedocument.presentationml.slideLayout+xml"/>
  <Override PartName="/ppt/slideLayouts/slideLayout12426.xml" ContentType="application/vnd.openxmlformats-officedocument.presentationml.slideLayout+xml"/>
  <Override PartName="/ppt/slideLayouts/slideLayout12427.xml" ContentType="application/vnd.openxmlformats-officedocument.presentationml.slideLayout+xml"/>
  <Override PartName="/ppt/slideLayouts/slideLayout12428.xml" ContentType="application/vnd.openxmlformats-officedocument.presentationml.slideLayout+xml"/>
  <Override PartName="/ppt/slideLayouts/slideLayout12429.xml" ContentType="application/vnd.openxmlformats-officedocument.presentationml.slideLayout+xml"/>
  <Override PartName="/ppt/slideLayouts/slideLayout12430.xml" ContentType="application/vnd.openxmlformats-officedocument.presentationml.slideLayout+xml"/>
  <Override PartName="/ppt/slideLayouts/slideLayout12431.xml" ContentType="application/vnd.openxmlformats-officedocument.presentationml.slideLayout+xml"/>
  <Override PartName="/ppt/slideLayouts/slideLayout12432.xml" ContentType="application/vnd.openxmlformats-officedocument.presentationml.slideLayout+xml"/>
  <Override PartName="/ppt/slideLayouts/slideLayout12433.xml" ContentType="application/vnd.openxmlformats-officedocument.presentationml.slideLayout+xml"/>
  <Override PartName="/ppt/slideLayouts/slideLayout12434.xml" ContentType="application/vnd.openxmlformats-officedocument.presentationml.slideLayout+xml"/>
  <Override PartName="/ppt/slideLayouts/slideLayout12435.xml" ContentType="application/vnd.openxmlformats-officedocument.presentationml.slideLayout+xml"/>
  <Override PartName="/ppt/slideLayouts/slideLayout12436.xml" ContentType="application/vnd.openxmlformats-officedocument.presentationml.slideLayout+xml"/>
  <Override PartName="/ppt/slideLayouts/slideLayout12437.xml" ContentType="application/vnd.openxmlformats-officedocument.presentationml.slideLayout+xml"/>
  <Override PartName="/ppt/slideLayouts/slideLayout12438.xml" ContentType="application/vnd.openxmlformats-officedocument.presentationml.slideLayout+xml"/>
  <Override PartName="/ppt/slideLayouts/slideLayout12439.xml" ContentType="application/vnd.openxmlformats-officedocument.presentationml.slideLayout+xml"/>
  <Override PartName="/ppt/slideLayouts/slideLayout12440.xml" ContentType="application/vnd.openxmlformats-officedocument.presentationml.slideLayout+xml"/>
  <Override PartName="/ppt/slideLayouts/slideLayout12441.xml" ContentType="application/vnd.openxmlformats-officedocument.presentationml.slideLayout+xml"/>
  <Override PartName="/ppt/slideLayouts/slideLayout12442.xml" ContentType="application/vnd.openxmlformats-officedocument.presentationml.slideLayout+xml"/>
  <Override PartName="/ppt/slideLayouts/slideLayout12443.xml" ContentType="application/vnd.openxmlformats-officedocument.presentationml.slideLayout+xml"/>
  <Override PartName="/ppt/slideLayouts/slideLayout12444.xml" ContentType="application/vnd.openxmlformats-officedocument.presentationml.slideLayout+xml"/>
  <Override PartName="/ppt/slideLayouts/slideLayout12445.xml" ContentType="application/vnd.openxmlformats-officedocument.presentationml.slideLayout+xml"/>
  <Override PartName="/ppt/slideLayouts/slideLayout12446.xml" ContentType="application/vnd.openxmlformats-officedocument.presentationml.slideLayout+xml"/>
  <Override PartName="/ppt/slideLayouts/slideLayout12447.xml" ContentType="application/vnd.openxmlformats-officedocument.presentationml.slideLayout+xml"/>
  <Override PartName="/ppt/slideLayouts/slideLayout12448.xml" ContentType="application/vnd.openxmlformats-officedocument.presentationml.slideLayout+xml"/>
  <Override PartName="/ppt/slideLayouts/slideLayout12449.xml" ContentType="application/vnd.openxmlformats-officedocument.presentationml.slideLayout+xml"/>
  <Override PartName="/ppt/slideLayouts/slideLayout12450.xml" ContentType="application/vnd.openxmlformats-officedocument.presentationml.slideLayout+xml"/>
  <Override PartName="/ppt/slideLayouts/slideLayout12451.xml" ContentType="application/vnd.openxmlformats-officedocument.presentationml.slideLayout+xml"/>
  <Override PartName="/ppt/slideLayouts/slideLayout12452.xml" ContentType="application/vnd.openxmlformats-officedocument.presentationml.slideLayout+xml"/>
  <Override PartName="/ppt/slideLayouts/slideLayout12453.xml" ContentType="application/vnd.openxmlformats-officedocument.presentationml.slideLayout+xml"/>
  <Override PartName="/ppt/slideLayouts/slideLayout12454.xml" ContentType="application/vnd.openxmlformats-officedocument.presentationml.slideLayout+xml"/>
  <Override PartName="/ppt/slideLayouts/slideLayout12455.xml" ContentType="application/vnd.openxmlformats-officedocument.presentationml.slideLayout+xml"/>
  <Override PartName="/ppt/slideLayouts/slideLayout12456.xml" ContentType="application/vnd.openxmlformats-officedocument.presentationml.slideLayout+xml"/>
  <Override PartName="/ppt/slideLayouts/slideLayout12457.xml" ContentType="application/vnd.openxmlformats-officedocument.presentationml.slideLayout+xml"/>
  <Override PartName="/ppt/slideLayouts/slideLayout12458.xml" ContentType="application/vnd.openxmlformats-officedocument.presentationml.slideLayout+xml"/>
  <Override PartName="/ppt/slideLayouts/slideLayout12459.xml" ContentType="application/vnd.openxmlformats-officedocument.presentationml.slideLayout+xml"/>
  <Override PartName="/ppt/slideLayouts/slideLayout12460.xml" ContentType="application/vnd.openxmlformats-officedocument.presentationml.slideLayout+xml"/>
  <Override PartName="/ppt/slideLayouts/slideLayout12461.xml" ContentType="application/vnd.openxmlformats-officedocument.presentationml.slideLayout+xml"/>
  <Override PartName="/ppt/slideLayouts/slideLayout12462.xml" ContentType="application/vnd.openxmlformats-officedocument.presentationml.slideLayout+xml"/>
  <Override PartName="/ppt/slideLayouts/slideLayout12463.xml" ContentType="application/vnd.openxmlformats-officedocument.presentationml.slideLayout+xml"/>
  <Override PartName="/ppt/slideLayouts/slideLayout12464.xml" ContentType="application/vnd.openxmlformats-officedocument.presentationml.slideLayout+xml"/>
  <Override PartName="/ppt/slideLayouts/slideLayout12465.xml" ContentType="application/vnd.openxmlformats-officedocument.presentationml.slideLayout+xml"/>
  <Override PartName="/ppt/slideLayouts/slideLayout12466.xml" ContentType="application/vnd.openxmlformats-officedocument.presentationml.slideLayout+xml"/>
  <Override PartName="/ppt/slideLayouts/slideLayout12467.xml" ContentType="application/vnd.openxmlformats-officedocument.presentationml.slideLayout+xml"/>
  <Override PartName="/ppt/slideLayouts/slideLayout12468.xml" ContentType="application/vnd.openxmlformats-officedocument.presentationml.slideLayout+xml"/>
  <Override PartName="/ppt/slideLayouts/slideLayout12469.xml" ContentType="application/vnd.openxmlformats-officedocument.presentationml.slideLayout+xml"/>
  <Override PartName="/ppt/slideLayouts/slideLayout12470.xml" ContentType="application/vnd.openxmlformats-officedocument.presentationml.slideLayout+xml"/>
  <Override PartName="/ppt/slideLayouts/slideLayout12471.xml" ContentType="application/vnd.openxmlformats-officedocument.presentationml.slideLayout+xml"/>
  <Override PartName="/ppt/slideLayouts/slideLayout12472.xml" ContentType="application/vnd.openxmlformats-officedocument.presentationml.slideLayout+xml"/>
  <Override PartName="/ppt/slideLayouts/slideLayout12473.xml" ContentType="application/vnd.openxmlformats-officedocument.presentationml.slideLayout+xml"/>
  <Override PartName="/ppt/slideLayouts/slideLayout12474.xml" ContentType="application/vnd.openxmlformats-officedocument.presentationml.slideLayout+xml"/>
  <Override PartName="/ppt/slideLayouts/slideLayout12475.xml" ContentType="application/vnd.openxmlformats-officedocument.presentationml.slideLayout+xml"/>
  <Override PartName="/ppt/slideLayouts/slideLayout12476.xml" ContentType="application/vnd.openxmlformats-officedocument.presentationml.slideLayout+xml"/>
  <Override PartName="/ppt/slideLayouts/slideLayout12477.xml" ContentType="application/vnd.openxmlformats-officedocument.presentationml.slideLayout+xml"/>
  <Override PartName="/ppt/slideLayouts/slideLayout12478.xml" ContentType="application/vnd.openxmlformats-officedocument.presentationml.slideLayout+xml"/>
  <Override PartName="/ppt/slideLayouts/slideLayout12479.xml" ContentType="application/vnd.openxmlformats-officedocument.presentationml.slideLayout+xml"/>
  <Override PartName="/ppt/slideLayouts/slideLayout12480.xml" ContentType="application/vnd.openxmlformats-officedocument.presentationml.slideLayout+xml"/>
  <Override PartName="/ppt/slideLayouts/slideLayout12481.xml" ContentType="application/vnd.openxmlformats-officedocument.presentationml.slideLayout+xml"/>
  <Override PartName="/ppt/slideLayouts/slideLayout12482.xml" ContentType="application/vnd.openxmlformats-officedocument.presentationml.slideLayout+xml"/>
  <Override PartName="/ppt/slideLayouts/slideLayout12483.xml" ContentType="application/vnd.openxmlformats-officedocument.presentationml.slideLayout+xml"/>
  <Override PartName="/ppt/slideLayouts/slideLayout12484.xml" ContentType="application/vnd.openxmlformats-officedocument.presentationml.slideLayout+xml"/>
  <Override PartName="/ppt/slideLayouts/slideLayout12485.xml" ContentType="application/vnd.openxmlformats-officedocument.presentationml.slideLayout+xml"/>
  <Override PartName="/ppt/slideLayouts/slideLayout12486.xml" ContentType="application/vnd.openxmlformats-officedocument.presentationml.slideLayout+xml"/>
  <Override PartName="/ppt/slideLayouts/slideLayout12487.xml" ContentType="application/vnd.openxmlformats-officedocument.presentationml.slideLayout+xml"/>
  <Override PartName="/ppt/slideLayouts/slideLayout12488.xml" ContentType="application/vnd.openxmlformats-officedocument.presentationml.slideLayout+xml"/>
  <Override PartName="/ppt/slideLayouts/slideLayout12489.xml" ContentType="application/vnd.openxmlformats-officedocument.presentationml.slideLayout+xml"/>
  <Override PartName="/ppt/slideLayouts/slideLayout12490.xml" ContentType="application/vnd.openxmlformats-officedocument.presentationml.slideLayout+xml"/>
  <Override PartName="/ppt/slideLayouts/slideLayout12491.xml" ContentType="application/vnd.openxmlformats-officedocument.presentationml.slideLayout+xml"/>
  <Override PartName="/ppt/slideLayouts/slideLayout12492.xml" ContentType="application/vnd.openxmlformats-officedocument.presentationml.slideLayout+xml"/>
  <Override PartName="/ppt/slideLayouts/slideLayout12493.xml" ContentType="application/vnd.openxmlformats-officedocument.presentationml.slideLayout+xml"/>
  <Override PartName="/ppt/slideLayouts/slideLayout12494.xml" ContentType="application/vnd.openxmlformats-officedocument.presentationml.slideLayout+xml"/>
  <Override PartName="/ppt/slideLayouts/slideLayout12495.xml" ContentType="application/vnd.openxmlformats-officedocument.presentationml.slideLayout+xml"/>
  <Override PartName="/ppt/slideLayouts/slideLayout12496.xml" ContentType="application/vnd.openxmlformats-officedocument.presentationml.slideLayout+xml"/>
  <Override PartName="/ppt/slideLayouts/slideLayout12497.xml" ContentType="application/vnd.openxmlformats-officedocument.presentationml.slideLayout+xml"/>
  <Override PartName="/ppt/slideLayouts/slideLayout12498.xml" ContentType="application/vnd.openxmlformats-officedocument.presentationml.slideLayout+xml"/>
  <Override PartName="/ppt/slideLayouts/slideLayout12499.xml" ContentType="application/vnd.openxmlformats-officedocument.presentationml.slideLayout+xml"/>
  <Override PartName="/ppt/slideLayouts/slideLayout12500.xml" ContentType="application/vnd.openxmlformats-officedocument.presentationml.slideLayout+xml"/>
  <Override PartName="/ppt/slideLayouts/slideLayout12501.xml" ContentType="application/vnd.openxmlformats-officedocument.presentationml.slideLayout+xml"/>
  <Override PartName="/ppt/slideLayouts/slideLayout12502.xml" ContentType="application/vnd.openxmlformats-officedocument.presentationml.slideLayout+xml"/>
  <Override PartName="/ppt/slideLayouts/slideLayout12503.xml" ContentType="application/vnd.openxmlformats-officedocument.presentationml.slideLayout+xml"/>
  <Override PartName="/ppt/slideLayouts/slideLayout12504.xml" ContentType="application/vnd.openxmlformats-officedocument.presentationml.slideLayout+xml"/>
  <Override PartName="/ppt/slideLayouts/slideLayout12505.xml" ContentType="application/vnd.openxmlformats-officedocument.presentationml.slideLayout+xml"/>
  <Override PartName="/ppt/slideLayouts/slideLayout12506.xml" ContentType="application/vnd.openxmlformats-officedocument.presentationml.slideLayout+xml"/>
  <Override PartName="/ppt/slideLayouts/slideLayout12507.xml" ContentType="application/vnd.openxmlformats-officedocument.presentationml.slideLayout+xml"/>
  <Override PartName="/ppt/slideLayouts/slideLayout12508.xml" ContentType="application/vnd.openxmlformats-officedocument.presentationml.slideLayout+xml"/>
  <Override PartName="/ppt/slideLayouts/slideLayout12509.xml" ContentType="application/vnd.openxmlformats-officedocument.presentationml.slideLayout+xml"/>
  <Override PartName="/ppt/slideLayouts/slideLayout12510.xml" ContentType="application/vnd.openxmlformats-officedocument.presentationml.slideLayout+xml"/>
  <Override PartName="/ppt/slideLayouts/slideLayout12511.xml" ContentType="application/vnd.openxmlformats-officedocument.presentationml.slideLayout+xml"/>
  <Override PartName="/ppt/slideLayouts/slideLayout12512.xml" ContentType="application/vnd.openxmlformats-officedocument.presentationml.slideLayout+xml"/>
  <Override PartName="/ppt/slideLayouts/slideLayout12513.xml" ContentType="application/vnd.openxmlformats-officedocument.presentationml.slideLayout+xml"/>
  <Override PartName="/ppt/slideLayouts/slideLayout12514.xml" ContentType="application/vnd.openxmlformats-officedocument.presentationml.slideLayout+xml"/>
  <Override PartName="/ppt/slideLayouts/slideLayout12515.xml" ContentType="application/vnd.openxmlformats-officedocument.presentationml.slideLayout+xml"/>
  <Override PartName="/ppt/slideLayouts/slideLayout12516.xml" ContentType="application/vnd.openxmlformats-officedocument.presentationml.slideLayout+xml"/>
  <Override PartName="/ppt/slideLayouts/slideLayout12517.xml" ContentType="application/vnd.openxmlformats-officedocument.presentationml.slideLayout+xml"/>
  <Override PartName="/ppt/slideLayouts/slideLayout12518.xml" ContentType="application/vnd.openxmlformats-officedocument.presentationml.slideLayout+xml"/>
  <Override PartName="/ppt/slideLayouts/slideLayout12519.xml" ContentType="application/vnd.openxmlformats-officedocument.presentationml.slideLayout+xml"/>
  <Override PartName="/ppt/slideLayouts/slideLayout12520.xml" ContentType="application/vnd.openxmlformats-officedocument.presentationml.slideLayout+xml"/>
  <Override PartName="/ppt/slideLayouts/slideLayout12521.xml" ContentType="application/vnd.openxmlformats-officedocument.presentationml.slideLayout+xml"/>
  <Override PartName="/ppt/slideLayouts/slideLayout12522.xml" ContentType="application/vnd.openxmlformats-officedocument.presentationml.slideLayout+xml"/>
  <Override PartName="/ppt/slideLayouts/slideLayout12523.xml" ContentType="application/vnd.openxmlformats-officedocument.presentationml.slideLayout+xml"/>
  <Override PartName="/ppt/slideLayouts/slideLayout12524.xml" ContentType="application/vnd.openxmlformats-officedocument.presentationml.slideLayout+xml"/>
  <Override PartName="/ppt/slideLayouts/slideLayout12525.xml" ContentType="application/vnd.openxmlformats-officedocument.presentationml.slideLayout+xml"/>
  <Override PartName="/ppt/slideLayouts/slideLayout12526.xml" ContentType="application/vnd.openxmlformats-officedocument.presentationml.slideLayout+xml"/>
  <Override PartName="/ppt/slideLayouts/slideLayout12527.xml" ContentType="application/vnd.openxmlformats-officedocument.presentationml.slideLayout+xml"/>
  <Override PartName="/ppt/slideLayouts/slideLayout12528.xml" ContentType="application/vnd.openxmlformats-officedocument.presentationml.slideLayout+xml"/>
  <Override PartName="/ppt/slideLayouts/slideLayout12529.xml" ContentType="application/vnd.openxmlformats-officedocument.presentationml.slideLayout+xml"/>
  <Override PartName="/ppt/slideLayouts/slideLayout12530.xml" ContentType="application/vnd.openxmlformats-officedocument.presentationml.slideLayout+xml"/>
  <Override PartName="/ppt/slideLayouts/slideLayout12531.xml" ContentType="application/vnd.openxmlformats-officedocument.presentationml.slideLayout+xml"/>
  <Override PartName="/ppt/slideLayouts/slideLayout12532.xml" ContentType="application/vnd.openxmlformats-officedocument.presentationml.slideLayout+xml"/>
  <Override PartName="/ppt/slideLayouts/slideLayout12533.xml" ContentType="application/vnd.openxmlformats-officedocument.presentationml.slideLayout+xml"/>
  <Override PartName="/ppt/slideLayouts/slideLayout12534.xml" ContentType="application/vnd.openxmlformats-officedocument.presentationml.slideLayout+xml"/>
  <Override PartName="/ppt/slideLayouts/slideLayout12535.xml" ContentType="application/vnd.openxmlformats-officedocument.presentationml.slideLayout+xml"/>
  <Override PartName="/ppt/slideLayouts/slideLayout12536.xml" ContentType="application/vnd.openxmlformats-officedocument.presentationml.slideLayout+xml"/>
  <Override PartName="/ppt/slideLayouts/slideLayout12537.xml" ContentType="application/vnd.openxmlformats-officedocument.presentationml.slideLayout+xml"/>
  <Override PartName="/ppt/slideLayouts/slideLayout12538.xml" ContentType="application/vnd.openxmlformats-officedocument.presentationml.slideLayout+xml"/>
  <Override PartName="/ppt/slideLayouts/slideLayout12539.xml" ContentType="application/vnd.openxmlformats-officedocument.presentationml.slideLayout+xml"/>
  <Override PartName="/ppt/slideLayouts/slideLayout12540.xml" ContentType="application/vnd.openxmlformats-officedocument.presentationml.slideLayout+xml"/>
  <Override PartName="/ppt/slideLayouts/slideLayout12541.xml" ContentType="application/vnd.openxmlformats-officedocument.presentationml.slideLayout+xml"/>
  <Override PartName="/ppt/slideLayouts/slideLayout12542.xml" ContentType="application/vnd.openxmlformats-officedocument.presentationml.slideLayout+xml"/>
  <Override PartName="/ppt/slideLayouts/slideLayout12543.xml" ContentType="application/vnd.openxmlformats-officedocument.presentationml.slideLayout+xml"/>
  <Override PartName="/ppt/slideLayouts/slideLayout12544.xml" ContentType="application/vnd.openxmlformats-officedocument.presentationml.slideLayout+xml"/>
  <Override PartName="/ppt/slideLayouts/slideLayout12545.xml" ContentType="application/vnd.openxmlformats-officedocument.presentationml.slideLayout+xml"/>
  <Override PartName="/ppt/slideLayouts/slideLayout12546.xml" ContentType="application/vnd.openxmlformats-officedocument.presentationml.slideLayout+xml"/>
  <Override PartName="/ppt/slideLayouts/slideLayout12547.xml" ContentType="application/vnd.openxmlformats-officedocument.presentationml.slideLayout+xml"/>
  <Override PartName="/ppt/slideLayouts/slideLayout12548.xml" ContentType="application/vnd.openxmlformats-officedocument.presentationml.slideLayout+xml"/>
  <Override PartName="/ppt/slideLayouts/slideLayout12549.xml" ContentType="application/vnd.openxmlformats-officedocument.presentationml.slideLayout+xml"/>
  <Override PartName="/ppt/slideLayouts/slideLayout12550.xml" ContentType="application/vnd.openxmlformats-officedocument.presentationml.slideLayout+xml"/>
  <Override PartName="/ppt/slideLayouts/slideLayout12551.xml" ContentType="application/vnd.openxmlformats-officedocument.presentationml.slideLayout+xml"/>
  <Override PartName="/ppt/slideLayouts/slideLayout12552.xml" ContentType="application/vnd.openxmlformats-officedocument.presentationml.slideLayout+xml"/>
  <Override PartName="/ppt/slideLayouts/slideLayout12553.xml" ContentType="application/vnd.openxmlformats-officedocument.presentationml.slideLayout+xml"/>
  <Override PartName="/ppt/slideLayouts/slideLayout12554.xml" ContentType="application/vnd.openxmlformats-officedocument.presentationml.slideLayout+xml"/>
  <Override PartName="/ppt/slideLayouts/slideLayout12555.xml" ContentType="application/vnd.openxmlformats-officedocument.presentationml.slideLayout+xml"/>
  <Override PartName="/ppt/slideLayouts/slideLayout12556.xml" ContentType="application/vnd.openxmlformats-officedocument.presentationml.slideLayout+xml"/>
  <Override PartName="/ppt/slideLayouts/slideLayout12557.xml" ContentType="application/vnd.openxmlformats-officedocument.presentationml.slideLayout+xml"/>
  <Override PartName="/ppt/slideLayouts/slideLayout12558.xml" ContentType="application/vnd.openxmlformats-officedocument.presentationml.slideLayout+xml"/>
  <Override PartName="/ppt/slideLayouts/slideLayout12559.xml" ContentType="application/vnd.openxmlformats-officedocument.presentationml.slideLayout+xml"/>
  <Override PartName="/ppt/slideLayouts/slideLayout12560.xml" ContentType="application/vnd.openxmlformats-officedocument.presentationml.slideLayout+xml"/>
  <Override PartName="/ppt/slideLayouts/slideLayout12561.xml" ContentType="application/vnd.openxmlformats-officedocument.presentationml.slideLayout+xml"/>
  <Override PartName="/ppt/slideLayouts/slideLayout12562.xml" ContentType="application/vnd.openxmlformats-officedocument.presentationml.slideLayout+xml"/>
  <Override PartName="/ppt/slideLayouts/slideLayout12563.xml" ContentType="application/vnd.openxmlformats-officedocument.presentationml.slideLayout+xml"/>
  <Override PartName="/ppt/slideLayouts/slideLayout12564.xml" ContentType="application/vnd.openxmlformats-officedocument.presentationml.slideLayout+xml"/>
  <Override PartName="/ppt/slideLayouts/slideLayout12565.xml" ContentType="application/vnd.openxmlformats-officedocument.presentationml.slideLayout+xml"/>
  <Override PartName="/ppt/slideLayouts/slideLayout12566.xml" ContentType="application/vnd.openxmlformats-officedocument.presentationml.slideLayout+xml"/>
  <Override PartName="/ppt/slideLayouts/slideLayout12567.xml" ContentType="application/vnd.openxmlformats-officedocument.presentationml.slideLayout+xml"/>
  <Override PartName="/ppt/slideLayouts/slideLayout12568.xml" ContentType="application/vnd.openxmlformats-officedocument.presentationml.slideLayout+xml"/>
  <Override PartName="/ppt/slideLayouts/slideLayout12569.xml" ContentType="application/vnd.openxmlformats-officedocument.presentationml.slideLayout+xml"/>
  <Override PartName="/ppt/slideLayouts/slideLayout12570.xml" ContentType="application/vnd.openxmlformats-officedocument.presentationml.slideLayout+xml"/>
  <Override PartName="/ppt/slideLayouts/slideLayout12571.xml" ContentType="application/vnd.openxmlformats-officedocument.presentationml.slideLayout+xml"/>
  <Override PartName="/ppt/slideLayouts/slideLayout12572.xml" ContentType="application/vnd.openxmlformats-officedocument.presentationml.slideLayout+xml"/>
  <Override PartName="/ppt/slideLayouts/slideLayout12573.xml" ContentType="application/vnd.openxmlformats-officedocument.presentationml.slideLayout+xml"/>
  <Override PartName="/ppt/slideLayouts/slideLayout12574.xml" ContentType="application/vnd.openxmlformats-officedocument.presentationml.slideLayout+xml"/>
  <Override PartName="/ppt/slideLayouts/slideLayout12575.xml" ContentType="application/vnd.openxmlformats-officedocument.presentationml.slideLayout+xml"/>
  <Override PartName="/ppt/slideLayouts/slideLayout12576.xml" ContentType="application/vnd.openxmlformats-officedocument.presentationml.slideLayout+xml"/>
  <Override PartName="/ppt/slideLayouts/slideLayout12577.xml" ContentType="application/vnd.openxmlformats-officedocument.presentationml.slideLayout+xml"/>
  <Override PartName="/ppt/slideLayouts/slideLayout12578.xml" ContentType="application/vnd.openxmlformats-officedocument.presentationml.slideLayout+xml"/>
  <Override PartName="/ppt/slideLayouts/slideLayout12579.xml" ContentType="application/vnd.openxmlformats-officedocument.presentationml.slideLayout+xml"/>
  <Override PartName="/ppt/slideLayouts/slideLayout12580.xml" ContentType="application/vnd.openxmlformats-officedocument.presentationml.slideLayout+xml"/>
  <Override PartName="/ppt/slideLayouts/slideLayout12581.xml" ContentType="application/vnd.openxmlformats-officedocument.presentationml.slideLayout+xml"/>
  <Override PartName="/ppt/slideLayouts/slideLayout12582.xml" ContentType="application/vnd.openxmlformats-officedocument.presentationml.slideLayout+xml"/>
  <Override PartName="/ppt/slideLayouts/slideLayout12583.xml" ContentType="application/vnd.openxmlformats-officedocument.presentationml.slideLayout+xml"/>
  <Override PartName="/ppt/slideLayouts/slideLayout12584.xml" ContentType="application/vnd.openxmlformats-officedocument.presentationml.slideLayout+xml"/>
  <Override PartName="/ppt/slideLayouts/slideLayout12585.xml" ContentType="application/vnd.openxmlformats-officedocument.presentationml.slideLayout+xml"/>
  <Override PartName="/ppt/slideLayouts/slideLayout12586.xml" ContentType="application/vnd.openxmlformats-officedocument.presentationml.slideLayout+xml"/>
  <Override PartName="/ppt/slideLayouts/slideLayout12587.xml" ContentType="application/vnd.openxmlformats-officedocument.presentationml.slideLayout+xml"/>
  <Override PartName="/ppt/slideLayouts/slideLayout12588.xml" ContentType="application/vnd.openxmlformats-officedocument.presentationml.slideLayout+xml"/>
  <Override PartName="/ppt/slideLayouts/slideLayout12589.xml" ContentType="application/vnd.openxmlformats-officedocument.presentationml.slideLayout+xml"/>
  <Override PartName="/ppt/slideLayouts/slideLayout12590.xml" ContentType="application/vnd.openxmlformats-officedocument.presentationml.slideLayout+xml"/>
  <Override PartName="/ppt/slideLayouts/slideLayout12591.xml" ContentType="application/vnd.openxmlformats-officedocument.presentationml.slideLayout+xml"/>
  <Override PartName="/ppt/slideLayouts/slideLayout12592.xml" ContentType="application/vnd.openxmlformats-officedocument.presentationml.slideLayout+xml"/>
  <Override PartName="/ppt/slideLayouts/slideLayout12593.xml" ContentType="application/vnd.openxmlformats-officedocument.presentationml.slideLayout+xml"/>
  <Override PartName="/ppt/slideLayouts/slideLayout12594.xml" ContentType="application/vnd.openxmlformats-officedocument.presentationml.slideLayout+xml"/>
  <Override PartName="/ppt/slideLayouts/slideLayout12595.xml" ContentType="application/vnd.openxmlformats-officedocument.presentationml.slideLayout+xml"/>
  <Override PartName="/ppt/slideLayouts/slideLayout12596.xml" ContentType="application/vnd.openxmlformats-officedocument.presentationml.slideLayout+xml"/>
  <Override PartName="/ppt/slideLayouts/slideLayout12597.xml" ContentType="application/vnd.openxmlformats-officedocument.presentationml.slideLayout+xml"/>
  <Override PartName="/ppt/slideLayouts/slideLayout12598.xml" ContentType="application/vnd.openxmlformats-officedocument.presentationml.slideLayout+xml"/>
  <Override PartName="/ppt/slideLayouts/slideLayout12599.xml" ContentType="application/vnd.openxmlformats-officedocument.presentationml.slideLayout+xml"/>
  <Override PartName="/ppt/slideLayouts/slideLayout12600.xml" ContentType="application/vnd.openxmlformats-officedocument.presentationml.slideLayout+xml"/>
  <Override PartName="/ppt/slideLayouts/slideLayout12601.xml" ContentType="application/vnd.openxmlformats-officedocument.presentationml.slideLayout+xml"/>
  <Override PartName="/ppt/slideLayouts/slideLayout12602.xml" ContentType="application/vnd.openxmlformats-officedocument.presentationml.slideLayout+xml"/>
  <Override PartName="/ppt/slideLayouts/slideLayout12603.xml" ContentType="application/vnd.openxmlformats-officedocument.presentationml.slideLayout+xml"/>
  <Override PartName="/ppt/slideLayouts/slideLayout12604.xml" ContentType="application/vnd.openxmlformats-officedocument.presentationml.slideLayout+xml"/>
  <Override PartName="/ppt/slideLayouts/slideLayout12605.xml" ContentType="application/vnd.openxmlformats-officedocument.presentationml.slideLayout+xml"/>
  <Override PartName="/ppt/slideLayouts/slideLayout12606.xml" ContentType="application/vnd.openxmlformats-officedocument.presentationml.slideLayout+xml"/>
  <Override PartName="/ppt/slideLayouts/slideLayout12607.xml" ContentType="application/vnd.openxmlformats-officedocument.presentationml.slideLayout+xml"/>
  <Override PartName="/ppt/slideLayouts/slideLayout12608.xml" ContentType="application/vnd.openxmlformats-officedocument.presentationml.slideLayout+xml"/>
  <Override PartName="/ppt/slideLayouts/slideLayout12609.xml" ContentType="application/vnd.openxmlformats-officedocument.presentationml.slideLayout+xml"/>
  <Override PartName="/ppt/slideLayouts/slideLayout12610.xml" ContentType="application/vnd.openxmlformats-officedocument.presentationml.slideLayout+xml"/>
  <Override PartName="/ppt/slideLayouts/slideLayout12611.xml" ContentType="application/vnd.openxmlformats-officedocument.presentationml.slideLayout+xml"/>
  <Override PartName="/ppt/slideLayouts/slideLayout12612.xml" ContentType="application/vnd.openxmlformats-officedocument.presentationml.slideLayout+xml"/>
  <Override PartName="/ppt/slideLayouts/slideLayout12613.xml" ContentType="application/vnd.openxmlformats-officedocument.presentationml.slideLayout+xml"/>
  <Override PartName="/ppt/slideLayouts/slideLayout12614.xml" ContentType="application/vnd.openxmlformats-officedocument.presentationml.slideLayout+xml"/>
  <Override PartName="/ppt/slideLayouts/slideLayout12615.xml" ContentType="application/vnd.openxmlformats-officedocument.presentationml.slideLayout+xml"/>
  <Override PartName="/ppt/slideLayouts/slideLayout12616.xml" ContentType="application/vnd.openxmlformats-officedocument.presentationml.slideLayout+xml"/>
  <Override PartName="/ppt/slideLayouts/slideLayout12617.xml" ContentType="application/vnd.openxmlformats-officedocument.presentationml.slideLayout+xml"/>
  <Override PartName="/ppt/slideLayouts/slideLayout12618.xml" ContentType="application/vnd.openxmlformats-officedocument.presentationml.slideLayout+xml"/>
  <Override PartName="/ppt/slideLayouts/slideLayout12619.xml" ContentType="application/vnd.openxmlformats-officedocument.presentationml.slideLayout+xml"/>
  <Override PartName="/ppt/slideLayouts/slideLayout12620.xml" ContentType="application/vnd.openxmlformats-officedocument.presentationml.slideLayout+xml"/>
  <Override PartName="/ppt/slideLayouts/slideLayout12621.xml" ContentType="application/vnd.openxmlformats-officedocument.presentationml.slideLayout+xml"/>
  <Override PartName="/ppt/slideLayouts/slideLayout12622.xml" ContentType="application/vnd.openxmlformats-officedocument.presentationml.slideLayout+xml"/>
  <Override PartName="/ppt/slideLayouts/slideLayout12623.xml" ContentType="application/vnd.openxmlformats-officedocument.presentationml.slideLayout+xml"/>
  <Override PartName="/ppt/slideLayouts/slideLayout12624.xml" ContentType="application/vnd.openxmlformats-officedocument.presentationml.slideLayout+xml"/>
  <Override PartName="/ppt/slideLayouts/slideLayout12625.xml" ContentType="application/vnd.openxmlformats-officedocument.presentationml.slideLayout+xml"/>
  <Override PartName="/ppt/slideLayouts/slideLayout12626.xml" ContentType="application/vnd.openxmlformats-officedocument.presentationml.slideLayout+xml"/>
  <Override PartName="/ppt/slideLayouts/slideLayout12627.xml" ContentType="application/vnd.openxmlformats-officedocument.presentationml.slideLayout+xml"/>
  <Override PartName="/ppt/slideLayouts/slideLayout12628.xml" ContentType="application/vnd.openxmlformats-officedocument.presentationml.slideLayout+xml"/>
  <Override PartName="/ppt/slideLayouts/slideLayout12629.xml" ContentType="application/vnd.openxmlformats-officedocument.presentationml.slideLayout+xml"/>
  <Override PartName="/ppt/slideLayouts/slideLayout12630.xml" ContentType="application/vnd.openxmlformats-officedocument.presentationml.slideLayout+xml"/>
  <Override PartName="/ppt/slideLayouts/slideLayout12631.xml" ContentType="application/vnd.openxmlformats-officedocument.presentationml.slideLayout+xml"/>
  <Override PartName="/ppt/slideLayouts/slideLayout12632.xml" ContentType="application/vnd.openxmlformats-officedocument.presentationml.slideLayout+xml"/>
  <Override PartName="/ppt/slideLayouts/slideLayout12633.xml" ContentType="application/vnd.openxmlformats-officedocument.presentationml.slideLayout+xml"/>
  <Override PartName="/ppt/slideLayouts/slideLayout12634.xml" ContentType="application/vnd.openxmlformats-officedocument.presentationml.slideLayout+xml"/>
  <Override PartName="/ppt/slideLayouts/slideLayout12635.xml" ContentType="application/vnd.openxmlformats-officedocument.presentationml.slideLayout+xml"/>
  <Override PartName="/ppt/slideLayouts/slideLayout12636.xml" ContentType="application/vnd.openxmlformats-officedocument.presentationml.slideLayout+xml"/>
  <Override PartName="/ppt/slideLayouts/slideLayout12637.xml" ContentType="application/vnd.openxmlformats-officedocument.presentationml.slideLayout+xml"/>
  <Override PartName="/ppt/slideLayouts/slideLayout12638.xml" ContentType="application/vnd.openxmlformats-officedocument.presentationml.slideLayout+xml"/>
  <Override PartName="/ppt/slideLayouts/slideLayout12639.xml" ContentType="application/vnd.openxmlformats-officedocument.presentationml.slideLayout+xml"/>
  <Override PartName="/ppt/slideLayouts/slideLayout12640.xml" ContentType="application/vnd.openxmlformats-officedocument.presentationml.slideLayout+xml"/>
  <Override PartName="/ppt/slideLayouts/slideLayout12641.xml" ContentType="application/vnd.openxmlformats-officedocument.presentationml.slideLayout+xml"/>
  <Override PartName="/ppt/slideLayouts/slideLayout12642.xml" ContentType="application/vnd.openxmlformats-officedocument.presentationml.slideLayout+xml"/>
  <Override PartName="/ppt/slideLayouts/slideLayout12643.xml" ContentType="application/vnd.openxmlformats-officedocument.presentationml.slideLayout+xml"/>
  <Override PartName="/ppt/slideLayouts/slideLayout12644.xml" ContentType="application/vnd.openxmlformats-officedocument.presentationml.slideLayout+xml"/>
  <Override PartName="/ppt/slideLayouts/slideLayout12645.xml" ContentType="application/vnd.openxmlformats-officedocument.presentationml.slideLayout+xml"/>
  <Override PartName="/ppt/slideLayouts/slideLayout12646.xml" ContentType="application/vnd.openxmlformats-officedocument.presentationml.slideLayout+xml"/>
  <Override PartName="/ppt/slideLayouts/slideLayout12647.xml" ContentType="application/vnd.openxmlformats-officedocument.presentationml.slideLayout+xml"/>
  <Override PartName="/ppt/slideLayouts/slideLayout12648.xml" ContentType="application/vnd.openxmlformats-officedocument.presentationml.slideLayout+xml"/>
  <Override PartName="/ppt/slideLayouts/slideLayout12649.xml" ContentType="application/vnd.openxmlformats-officedocument.presentationml.slideLayout+xml"/>
  <Override PartName="/ppt/slideLayouts/slideLayout12650.xml" ContentType="application/vnd.openxmlformats-officedocument.presentationml.slideLayout+xml"/>
  <Override PartName="/ppt/slideLayouts/slideLayout12651.xml" ContentType="application/vnd.openxmlformats-officedocument.presentationml.slideLayout+xml"/>
  <Override PartName="/ppt/slideLayouts/slideLayout12652.xml" ContentType="application/vnd.openxmlformats-officedocument.presentationml.slideLayout+xml"/>
  <Override PartName="/ppt/slideLayouts/slideLayout12653.xml" ContentType="application/vnd.openxmlformats-officedocument.presentationml.slideLayout+xml"/>
  <Override PartName="/ppt/slideLayouts/slideLayout12654.xml" ContentType="application/vnd.openxmlformats-officedocument.presentationml.slideLayout+xml"/>
  <Override PartName="/ppt/slideLayouts/slideLayout12655.xml" ContentType="application/vnd.openxmlformats-officedocument.presentationml.slideLayout+xml"/>
  <Override PartName="/ppt/slideLayouts/slideLayout12656.xml" ContentType="application/vnd.openxmlformats-officedocument.presentationml.slideLayout+xml"/>
  <Override PartName="/ppt/slideLayouts/slideLayout12657.xml" ContentType="application/vnd.openxmlformats-officedocument.presentationml.slideLayout+xml"/>
  <Override PartName="/ppt/slideLayouts/slideLayout12658.xml" ContentType="application/vnd.openxmlformats-officedocument.presentationml.slideLayout+xml"/>
  <Override PartName="/ppt/slideLayouts/slideLayout12659.xml" ContentType="application/vnd.openxmlformats-officedocument.presentationml.slideLayout+xml"/>
  <Override PartName="/ppt/slideLayouts/slideLayout12660.xml" ContentType="application/vnd.openxmlformats-officedocument.presentationml.slideLayout+xml"/>
  <Override PartName="/ppt/slideLayouts/slideLayout12661.xml" ContentType="application/vnd.openxmlformats-officedocument.presentationml.slideLayout+xml"/>
  <Override PartName="/ppt/slideLayouts/slideLayout12662.xml" ContentType="application/vnd.openxmlformats-officedocument.presentationml.slideLayout+xml"/>
  <Override PartName="/ppt/slideLayouts/slideLayout12663.xml" ContentType="application/vnd.openxmlformats-officedocument.presentationml.slideLayout+xml"/>
  <Override PartName="/ppt/slideLayouts/slideLayout12664.xml" ContentType="application/vnd.openxmlformats-officedocument.presentationml.slideLayout+xml"/>
  <Override PartName="/ppt/slideLayouts/slideLayout12665.xml" ContentType="application/vnd.openxmlformats-officedocument.presentationml.slideLayout+xml"/>
  <Override PartName="/ppt/slideLayouts/slideLayout12666.xml" ContentType="application/vnd.openxmlformats-officedocument.presentationml.slideLayout+xml"/>
  <Override PartName="/ppt/slideLayouts/slideLayout12667.xml" ContentType="application/vnd.openxmlformats-officedocument.presentationml.slideLayout+xml"/>
  <Override PartName="/ppt/slideLayouts/slideLayout12668.xml" ContentType="application/vnd.openxmlformats-officedocument.presentationml.slideLayout+xml"/>
  <Override PartName="/ppt/slideLayouts/slideLayout12669.xml" ContentType="application/vnd.openxmlformats-officedocument.presentationml.slideLayout+xml"/>
  <Override PartName="/ppt/slideLayouts/slideLayout12670.xml" ContentType="application/vnd.openxmlformats-officedocument.presentationml.slideLayout+xml"/>
  <Override PartName="/ppt/slideLayouts/slideLayout12671.xml" ContentType="application/vnd.openxmlformats-officedocument.presentationml.slideLayout+xml"/>
  <Override PartName="/ppt/slideLayouts/slideLayout12672.xml" ContentType="application/vnd.openxmlformats-officedocument.presentationml.slideLayout+xml"/>
  <Override PartName="/ppt/slideLayouts/slideLayout12673.xml" ContentType="application/vnd.openxmlformats-officedocument.presentationml.slideLayout+xml"/>
  <Override PartName="/ppt/slideLayouts/slideLayout12674.xml" ContentType="application/vnd.openxmlformats-officedocument.presentationml.slideLayout+xml"/>
  <Override PartName="/ppt/slideLayouts/slideLayout12675.xml" ContentType="application/vnd.openxmlformats-officedocument.presentationml.slideLayout+xml"/>
  <Override PartName="/ppt/slideLayouts/slideLayout12676.xml" ContentType="application/vnd.openxmlformats-officedocument.presentationml.slideLayout+xml"/>
  <Override PartName="/ppt/slideLayouts/slideLayout12677.xml" ContentType="application/vnd.openxmlformats-officedocument.presentationml.slideLayout+xml"/>
  <Override PartName="/ppt/slideLayouts/slideLayout12678.xml" ContentType="application/vnd.openxmlformats-officedocument.presentationml.slideLayout+xml"/>
  <Override PartName="/ppt/slideLayouts/slideLayout12679.xml" ContentType="application/vnd.openxmlformats-officedocument.presentationml.slideLayout+xml"/>
  <Override PartName="/ppt/slideLayouts/slideLayout12680.xml" ContentType="application/vnd.openxmlformats-officedocument.presentationml.slideLayout+xml"/>
  <Override PartName="/ppt/slideLayouts/slideLayout12681.xml" ContentType="application/vnd.openxmlformats-officedocument.presentationml.slideLayout+xml"/>
  <Override PartName="/ppt/slideLayouts/slideLayout12682.xml" ContentType="application/vnd.openxmlformats-officedocument.presentationml.slideLayout+xml"/>
  <Override PartName="/ppt/slideLayouts/slideLayout12683.xml" ContentType="application/vnd.openxmlformats-officedocument.presentationml.slideLayout+xml"/>
  <Override PartName="/ppt/slideLayouts/slideLayout12684.xml" ContentType="application/vnd.openxmlformats-officedocument.presentationml.slideLayout+xml"/>
  <Override PartName="/ppt/slideLayouts/slideLayout12685.xml" ContentType="application/vnd.openxmlformats-officedocument.presentationml.slideLayout+xml"/>
  <Override PartName="/ppt/slideLayouts/slideLayout12686.xml" ContentType="application/vnd.openxmlformats-officedocument.presentationml.slideLayout+xml"/>
  <Override PartName="/ppt/slideLayouts/slideLayout12687.xml" ContentType="application/vnd.openxmlformats-officedocument.presentationml.slideLayout+xml"/>
  <Override PartName="/ppt/slideLayouts/slideLayout12688.xml" ContentType="application/vnd.openxmlformats-officedocument.presentationml.slideLayout+xml"/>
  <Override PartName="/ppt/slideLayouts/slideLayout12689.xml" ContentType="application/vnd.openxmlformats-officedocument.presentationml.slideLayout+xml"/>
  <Override PartName="/ppt/slideLayouts/slideLayout12690.xml" ContentType="application/vnd.openxmlformats-officedocument.presentationml.slideLayout+xml"/>
  <Override PartName="/ppt/slideLayouts/slideLayout12691.xml" ContentType="application/vnd.openxmlformats-officedocument.presentationml.slideLayout+xml"/>
  <Override PartName="/ppt/slideLayouts/slideLayout12692.xml" ContentType="application/vnd.openxmlformats-officedocument.presentationml.slideLayout+xml"/>
  <Override PartName="/ppt/slideLayouts/slideLayout12693.xml" ContentType="application/vnd.openxmlformats-officedocument.presentationml.slideLayout+xml"/>
  <Override PartName="/ppt/slideLayouts/slideLayout12694.xml" ContentType="application/vnd.openxmlformats-officedocument.presentationml.slideLayout+xml"/>
  <Override PartName="/ppt/slideLayouts/slideLayout12695.xml" ContentType="application/vnd.openxmlformats-officedocument.presentationml.slideLayout+xml"/>
  <Override PartName="/ppt/slideLayouts/slideLayout12696.xml" ContentType="application/vnd.openxmlformats-officedocument.presentationml.slideLayout+xml"/>
  <Override PartName="/ppt/slideLayouts/slideLayout12697.xml" ContentType="application/vnd.openxmlformats-officedocument.presentationml.slideLayout+xml"/>
  <Override PartName="/ppt/slideLayouts/slideLayout12698.xml" ContentType="application/vnd.openxmlformats-officedocument.presentationml.slideLayout+xml"/>
  <Override PartName="/ppt/slideLayouts/slideLayout12699.xml" ContentType="application/vnd.openxmlformats-officedocument.presentationml.slideLayout+xml"/>
  <Override PartName="/ppt/slideLayouts/slideLayout12700.xml" ContentType="application/vnd.openxmlformats-officedocument.presentationml.slideLayout+xml"/>
  <Override PartName="/ppt/slideLayouts/slideLayout12701.xml" ContentType="application/vnd.openxmlformats-officedocument.presentationml.slideLayout+xml"/>
  <Override PartName="/ppt/slideLayouts/slideLayout12702.xml" ContentType="application/vnd.openxmlformats-officedocument.presentationml.slideLayout+xml"/>
  <Override PartName="/ppt/slideLayouts/slideLayout12703.xml" ContentType="application/vnd.openxmlformats-officedocument.presentationml.slideLayout+xml"/>
  <Override PartName="/ppt/slideLayouts/slideLayout12704.xml" ContentType="application/vnd.openxmlformats-officedocument.presentationml.slideLayout+xml"/>
  <Override PartName="/ppt/slideLayouts/slideLayout12705.xml" ContentType="application/vnd.openxmlformats-officedocument.presentationml.slideLayout+xml"/>
  <Override PartName="/ppt/slideLayouts/slideLayout12706.xml" ContentType="application/vnd.openxmlformats-officedocument.presentationml.slideLayout+xml"/>
  <Override PartName="/ppt/slideLayouts/slideLayout12707.xml" ContentType="application/vnd.openxmlformats-officedocument.presentationml.slideLayout+xml"/>
  <Override PartName="/ppt/slideLayouts/slideLayout12708.xml" ContentType="application/vnd.openxmlformats-officedocument.presentationml.slideLayout+xml"/>
  <Override PartName="/ppt/slideLayouts/slideLayout12709.xml" ContentType="application/vnd.openxmlformats-officedocument.presentationml.slideLayout+xml"/>
  <Override PartName="/ppt/slideLayouts/slideLayout12710.xml" ContentType="application/vnd.openxmlformats-officedocument.presentationml.slideLayout+xml"/>
  <Override PartName="/ppt/slideLayouts/slideLayout12711.xml" ContentType="application/vnd.openxmlformats-officedocument.presentationml.slideLayout+xml"/>
  <Override PartName="/ppt/slideLayouts/slideLayout12712.xml" ContentType="application/vnd.openxmlformats-officedocument.presentationml.slideLayout+xml"/>
  <Override PartName="/ppt/slideLayouts/slideLayout12713.xml" ContentType="application/vnd.openxmlformats-officedocument.presentationml.slideLayout+xml"/>
  <Override PartName="/ppt/slideLayouts/slideLayout12714.xml" ContentType="application/vnd.openxmlformats-officedocument.presentationml.slideLayout+xml"/>
  <Override PartName="/ppt/slideLayouts/slideLayout12715.xml" ContentType="application/vnd.openxmlformats-officedocument.presentationml.slideLayout+xml"/>
  <Override PartName="/ppt/slideLayouts/slideLayout12716.xml" ContentType="application/vnd.openxmlformats-officedocument.presentationml.slideLayout+xml"/>
  <Override PartName="/ppt/slideLayouts/slideLayout12717.xml" ContentType="application/vnd.openxmlformats-officedocument.presentationml.slideLayout+xml"/>
  <Override PartName="/ppt/slideLayouts/slideLayout12718.xml" ContentType="application/vnd.openxmlformats-officedocument.presentationml.slideLayout+xml"/>
  <Override PartName="/ppt/slideLayouts/slideLayout12719.xml" ContentType="application/vnd.openxmlformats-officedocument.presentationml.slideLayout+xml"/>
  <Override PartName="/ppt/slideLayouts/slideLayout12720.xml" ContentType="application/vnd.openxmlformats-officedocument.presentationml.slideLayout+xml"/>
  <Override PartName="/ppt/slideLayouts/slideLayout12721.xml" ContentType="application/vnd.openxmlformats-officedocument.presentationml.slideLayout+xml"/>
  <Override PartName="/ppt/slideLayouts/slideLayout12722.xml" ContentType="application/vnd.openxmlformats-officedocument.presentationml.slideLayout+xml"/>
  <Override PartName="/ppt/slideLayouts/slideLayout12723.xml" ContentType="application/vnd.openxmlformats-officedocument.presentationml.slideLayout+xml"/>
  <Override PartName="/ppt/slideLayouts/slideLayout12724.xml" ContentType="application/vnd.openxmlformats-officedocument.presentationml.slideLayout+xml"/>
  <Override PartName="/ppt/slideLayouts/slideLayout12725.xml" ContentType="application/vnd.openxmlformats-officedocument.presentationml.slideLayout+xml"/>
  <Override PartName="/ppt/slideLayouts/slideLayout12726.xml" ContentType="application/vnd.openxmlformats-officedocument.presentationml.slideLayout+xml"/>
  <Override PartName="/ppt/slideLayouts/slideLayout12727.xml" ContentType="application/vnd.openxmlformats-officedocument.presentationml.slideLayout+xml"/>
  <Override PartName="/ppt/slideLayouts/slideLayout12728.xml" ContentType="application/vnd.openxmlformats-officedocument.presentationml.slideLayout+xml"/>
  <Override PartName="/ppt/slideLayouts/slideLayout12729.xml" ContentType="application/vnd.openxmlformats-officedocument.presentationml.slideLayout+xml"/>
  <Override PartName="/ppt/slideLayouts/slideLayout12730.xml" ContentType="application/vnd.openxmlformats-officedocument.presentationml.slideLayout+xml"/>
  <Override PartName="/ppt/slideLayouts/slideLayout12731.xml" ContentType="application/vnd.openxmlformats-officedocument.presentationml.slideLayout+xml"/>
  <Override PartName="/ppt/slideLayouts/slideLayout12732.xml" ContentType="application/vnd.openxmlformats-officedocument.presentationml.slideLayout+xml"/>
  <Override PartName="/ppt/slideLayouts/slideLayout12733.xml" ContentType="application/vnd.openxmlformats-officedocument.presentationml.slideLayout+xml"/>
  <Override PartName="/ppt/slideLayouts/slideLayout12734.xml" ContentType="application/vnd.openxmlformats-officedocument.presentationml.slideLayout+xml"/>
  <Override PartName="/ppt/slideLayouts/slideLayout12735.xml" ContentType="application/vnd.openxmlformats-officedocument.presentationml.slideLayout+xml"/>
  <Override PartName="/ppt/slideLayouts/slideLayout12736.xml" ContentType="application/vnd.openxmlformats-officedocument.presentationml.slideLayout+xml"/>
  <Override PartName="/ppt/slideLayouts/slideLayout12737.xml" ContentType="application/vnd.openxmlformats-officedocument.presentationml.slideLayout+xml"/>
  <Override PartName="/ppt/slideLayouts/slideLayout12738.xml" ContentType="application/vnd.openxmlformats-officedocument.presentationml.slideLayout+xml"/>
  <Override PartName="/ppt/slideLayouts/slideLayout12739.xml" ContentType="application/vnd.openxmlformats-officedocument.presentationml.slideLayout+xml"/>
  <Override PartName="/ppt/slideLayouts/slideLayout12740.xml" ContentType="application/vnd.openxmlformats-officedocument.presentationml.slideLayout+xml"/>
  <Override PartName="/ppt/slideLayouts/slideLayout12741.xml" ContentType="application/vnd.openxmlformats-officedocument.presentationml.slideLayout+xml"/>
  <Override PartName="/ppt/slideLayouts/slideLayout12742.xml" ContentType="application/vnd.openxmlformats-officedocument.presentationml.slideLayout+xml"/>
  <Override PartName="/ppt/slideLayouts/slideLayout12743.xml" ContentType="application/vnd.openxmlformats-officedocument.presentationml.slideLayout+xml"/>
  <Override PartName="/ppt/slideLayouts/slideLayout12744.xml" ContentType="application/vnd.openxmlformats-officedocument.presentationml.slideLayout+xml"/>
  <Override PartName="/ppt/slideLayouts/slideLayout12745.xml" ContentType="application/vnd.openxmlformats-officedocument.presentationml.slideLayout+xml"/>
  <Override PartName="/ppt/slideLayouts/slideLayout12746.xml" ContentType="application/vnd.openxmlformats-officedocument.presentationml.slideLayout+xml"/>
  <Override PartName="/ppt/slideLayouts/slideLayout12747.xml" ContentType="application/vnd.openxmlformats-officedocument.presentationml.slideLayout+xml"/>
  <Override PartName="/ppt/slideLayouts/slideLayout12748.xml" ContentType="application/vnd.openxmlformats-officedocument.presentationml.slideLayout+xml"/>
  <Override PartName="/ppt/slideLayouts/slideLayout12749.xml" ContentType="application/vnd.openxmlformats-officedocument.presentationml.slideLayout+xml"/>
  <Override PartName="/ppt/slideLayouts/slideLayout12750.xml" ContentType="application/vnd.openxmlformats-officedocument.presentationml.slideLayout+xml"/>
  <Override PartName="/ppt/slideLayouts/slideLayout12751.xml" ContentType="application/vnd.openxmlformats-officedocument.presentationml.slideLayout+xml"/>
  <Override PartName="/ppt/slideLayouts/slideLayout12752.xml" ContentType="application/vnd.openxmlformats-officedocument.presentationml.slideLayout+xml"/>
  <Override PartName="/ppt/slideLayouts/slideLayout12753.xml" ContentType="application/vnd.openxmlformats-officedocument.presentationml.slideLayout+xml"/>
  <Override PartName="/ppt/slideLayouts/slideLayout12754.xml" ContentType="application/vnd.openxmlformats-officedocument.presentationml.slideLayout+xml"/>
  <Override PartName="/ppt/slideLayouts/slideLayout12755.xml" ContentType="application/vnd.openxmlformats-officedocument.presentationml.slideLayout+xml"/>
  <Override PartName="/ppt/slideLayouts/slideLayout12756.xml" ContentType="application/vnd.openxmlformats-officedocument.presentationml.slideLayout+xml"/>
  <Override PartName="/ppt/slideLayouts/slideLayout12757.xml" ContentType="application/vnd.openxmlformats-officedocument.presentationml.slideLayout+xml"/>
  <Override PartName="/ppt/slideLayouts/slideLayout12758.xml" ContentType="application/vnd.openxmlformats-officedocument.presentationml.slideLayout+xml"/>
  <Override PartName="/ppt/slideLayouts/slideLayout12759.xml" ContentType="application/vnd.openxmlformats-officedocument.presentationml.slideLayout+xml"/>
  <Override PartName="/ppt/slideLayouts/slideLayout12760.xml" ContentType="application/vnd.openxmlformats-officedocument.presentationml.slideLayout+xml"/>
  <Override PartName="/ppt/slideLayouts/slideLayout12761.xml" ContentType="application/vnd.openxmlformats-officedocument.presentationml.slideLayout+xml"/>
  <Override PartName="/ppt/slideLayouts/slideLayout12762.xml" ContentType="application/vnd.openxmlformats-officedocument.presentationml.slideLayout+xml"/>
  <Override PartName="/ppt/slideLayouts/slideLayout12763.xml" ContentType="application/vnd.openxmlformats-officedocument.presentationml.slideLayout+xml"/>
  <Override PartName="/ppt/slideLayouts/slideLayout12764.xml" ContentType="application/vnd.openxmlformats-officedocument.presentationml.slideLayout+xml"/>
  <Override PartName="/ppt/slideLayouts/slideLayout12765.xml" ContentType="application/vnd.openxmlformats-officedocument.presentationml.slideLayout+xml"/>
  <Override PartName="/ppt/slideLayouts/slideLayout12766.xml" ContentType="application/vnd.openxmlformats-officedocument.presentationml.slideLayout+xml"/>
  <Override PartName="/ppt/slideLayouts/slideLayout12767.xml" ContentType="application/vnd.openxmlformats-officedocument.presentationml.slideLayout+xml"/>
  <Override PartName="/ppt/slideLayouts/slideLayout12768.xml" ContentType="application/vnd.openxmlformats-officedocument.presentationml.slideLayout+xml"/>
  <Override PartName="/ppt/slideLayouts/slideLayout12769.xml" ContentType="application/vnd.openxmlformats-officedocument.presentationml.slideLayout+xml"/>
  <Override PartName="/ppt/slideLayouts/slideLayout12770.xml" ContentType="application/vnd.openxmlformats-officedocument.presentationml.slideLayout+xml"/>
  <Override PartName="/ppt/slideLayouts/slideLayout12771.xml" ContentType="application/vnd.openxmlformats-officedocument.presentationml.slideLayout+xml"/>
  <Override PartName="/ppt/slideLayouts/slideLayout12772.xml" ContentType="application/vnd.openxmlformats-officedocument.presentationml.slideLayout+xml"/>
  <Override PartName="/ppt/slideLayouts/slideLayout12773.xml" ContentType="application/vnd.openxmlformats-officedocument.presentationml.slideLayout+xml"/>
  <Override PartName="/ppt/slideLayouts/slideLayout12774.xml" ContentType="application/vnd.openxmlformats-officedocument.presentationml.slideLayout+xml"/>
  <Override PartName="/ppt/slideLayouts/slideLayout12775.xml" ContentType="application/vnd.openxmlformats-officedocument.presentationml.slideLayout+xml"/>
  <Override PartName="/ppt/slideLayouts/slideLayout12776.xml" ContentType="application/vnd.openxmlformats-officedocument.presentationml.slideLayout+xml"/>
  <Override PartName="/ppt/slideLayouts/slideLayout12777.xml" ContentType="application/vnd.openxmlformats-officedocument.presentationml.slideLayout+xml"/>
  <Override PartName="/ppt/slideLayouts/slideLayout12778.xml" ContentType="application/vnd.openxmlformats-officedocument.presentationml.slideLayout+xml"/>
  <Override PartName="/ppt/slideLayouts/slideLayout12779.xml" ContentType="application/vnd.openxmlformats-officedocument.presentationml.slideLayout+xml"/>
  <Override PartName="/ppt/slideLayouts/slideLayout12780.xml" ContentType="application/vnd.openxmlformats-officedocument.presentationml.slideLayout+xml"/>
  <Override PartName="/ppt/slideLayouts/slideLayout12781.xml" ContentType="application/vnd.openxmlformats-officedocument.presentationml.slideLayout+xml"/>
  <Override PartName="/ppt/slideLayouts/slideLayout12782.xml" ContentType="application/vnd.openxmlformats-officedocument.presentationml.slideLayout+xml"/>
  <Override PartName="/ppt/slideLayouts/slideLayout12783.xml" ContentType="application/vnd.openxmlformats-officedocument.presentationml.slideLayout+xml"/>
  <Override PartName="/ppt/slideLayouts/slideLayout12784.xml" ContentType="application/vnd.openxmlformats-officedocument.presentationml.slideLayout+xml"/>
  <Override PartName="/ppt/slideLayouts/slideLayout12785.xml" ContentType="application/vnd.openxmlformats-officedocument.presentationml.slideLayout+xml"/>
  <Override PartName="/ppt/slideLayouts/slideLayout12786.xml" ContentType="application/vnd.openxmlformats-officedocument.presentationml.slideLayout+xml"/>
  <Override PartName="/ppt/slideLayouts/slideLayout12787.xml" ContentType="application/vnd.openxmlformats-officedocument.presentationml.slideLayout+xml"/>
  <Override PartName="/ppt/slideLayouts/slideLayout12788.xml" ContentType="application/vnd.openxmlformats-officedocument.presentationml.slideLayout+xml"/>
  <Override PartName="/ppt/slideLayouts/slideLayout12789.xml" ContentType="application/vnd.openxmlformats-officedocument.presentationml.slideLayout+xml"/>
  <Override PartName="/ppt/slideLayouts/slideLayout12790.xml" ContentType="application/vnd.openxmlformats-officedocument.presentationml.slideLayout+xml"/>
  <Override PartName="/ppt/slideLayouts/slideLayout12791.xml" ContentType="application/vnd.openxmlformats-officedocument.presentationml.slideLayout+xml"/>
  <Override PartName="/ppt/slideLayouts/slideLayout12792.xml" ContentType="application/vnd.openxmlformats-officedocument.presentationml.slideLayout+xml"/>
  <Override PartName="/ppt/slideLayouts/slideLayout12793.xml" ContentType="application/vnd.openxmlformats-officedocument.presentationml.slideLayout+xml"/>
  <Override PartName="/ppt/slideLayouts/slideLayout12794.xml" ContentType="application/vnd.openxmlformats-officedocument.presentationml.slideLayout+xml"/>
  <Override PartName="/ppt/slideLayouts/slideLayout12795.xml" ContentType="application/vnd.openxmlformats-officedocument.presentationml.slideLayout+xml"/>
  <Override PartName="/ppt/slideLayouts/slideLayout12796.xml" ContentType="application/vnd.openxmlformats-officedocument.presentationml.slideLayout+xml"/>
  <Override PartName="/ppt/slideLayouts/slideLayout12797.xml" ContentType="application/vnd.openxmlformats-officedocument.presentationml.slideLayout+xml"/>
  <Override PartName="/ppt/slideLayouts/slideLayout12798.xml" ContentType="application/vnd.openxmlformats-officedocument.presentationml.slideLayout+xml"/>
  <Override PartName="/ppt/slideLayouts/slideLayout12799.xml" ContentType="application/vnd.openxmlformats-officedocument.presentationml.slideLayout+xml"/>
  <Override PartName="/ppt/slideLayouts/slideLayout12800.xml" ContentType="application/vnd.openxmlformats-officedocument.presentationml.slideLayout+xml"/>
  <Override PartName="/ppt/slideLayouts/slideLayout12801.xml" ContentType="application/vnd.openxmlformats-officedocument.presentationml.slideLayout+xml"/>
  <Override PartName="/ppt/slideLayouts/slideLayout12802.xml" ContentType="application/vnd.openxmlformats-officedocument.presentationml.slideLayout+xml"/>
  <Override PartName="/ppt/slideLayouts/slideLayout12803.xml" ContentType="application/vnd.openxmlformats-officedocument.presentationml.slideLayout+xml"/>
  <Override PartName="/ppt/slideLayouts/slideLayout12804.xml" ContentType="application/vnd.openxmlformats-officedocument.presentationml.slideLayout+xml"/>
  <Override PartName="/ppt/slideLayouts/slideLayout12805.xml" ContentType="application/vnd.openxmlformats-officedocument.presentationml.slideLayout+xml"/>
  <Override PartName="/ppt/slideLayouts/slideLayout12806.xml" ContentType="application/vnd.openxmlformats-officedocument.presentationml.slideLayout+xml"/>
  <Override PartName="/ppt/slideLayouts/slideLayout12807.xml" ContentType="application/vnd.openxmlformats-officedocument.presentationml.slideLayout+xml"/>
  <Override PartName="/ppt/slideLayouts/slideLayout12808.xml" ContentType="application/vnd.openxmlformats-officedocument.presentationml.slideLayout+xml"/>
  <Override PartName="/ppt/slideLayouts/slideLayout12809.xml" ContentType="application/vnd.openxmlformats-officedocument.presentationml.slideLayout+xml"/>
  <Override PartName="/ppt/slideLayouts/slideLayout12810.xml" ContentType="application/vnd.openxmlformats-officedocument.presentationml.slideLayout+xml"/>
  <Override PartName="/ppt/slideLayouts/slideLayout12811.xml" ContentType="application/vnd.openxmlformats-officedocument.presentationml.slideLayout+xml"/>
  <Override PartName="/ppt/slideLayouts/slideLayout12812.xml" ContentType="application/vnd.openxmlformats-officedocument.presentationml.slideLayout+xml"/>
  <Override PartName="/ppt/slideLayouts/slideLayout12813.xml" ContentType="application/vnd.openxmlformats-officedocument.presentationml.slideLayout+xml"/>
  <Override PartName="/ppt/slideLayouts/slideLayout12814.xml" ContentType="application/vnd.openxmlformats-officedocument.presentationml.slideLayout+xml"/>
  <Override PartName="/ppt/slideLayouts/slideLayout12815.xml" ContentType="application/vnd.openxmlformats-officedocument.presentationml.slideLayout+xml"/>
  <Override PartName="/ppt/slideLayouts/slideLayout12816.xml" ContentType="application/vnd.openxmlformats-officedocument.presentationml.slideLayout+xml"/>
  <Override PartName="/ppt/slideLayouts/slideLayout12817.xml" ContentType="application/vnd.openxmlformats-officedocument.presentationml.slideLayout+xml"/>
  <Override PartName="/ppt/slideLayouts/slideLayout12818.xml" ContentType="application/vnd.openxmlformats-officedocument.presentationml.slideLayout+xml"/>
  <Override PartName="/ppt/slideLayouts/slideLayout12819.xml" ContentType="application/vnd.openxmlformats-officedocument.presentationml.slideLayout+xml"/>
  <Override PartName="/ppt/slideLayouts/slideLayout12820.xml" ContentType="application/vnd.openxmlformats-officedocument.presentationml.slideLayout+xml"/>
  <Override PartName="/ppt/slideLayouts/slideLayout12821.xml" ContentType="application/vnd.openxmlformats-officedocument.presentationml.slideLayout+xml"/>
  <Override PartName="/ppt/slideLayouts/slideLayout12822.xml" ContentType="application/vnd.openxmlformats-officedocument.presentationml.slideLayout+xml"/>
  <Override PartName="/ppt/slideLayouts/slideLayout12823.xml" ContentType="application/vnd.openxmlformats-officedocument.presentationml.slideLayout+xml"/>
  <Override PartName="/ppt/slideLayouts/slideLayout12824.xml" ContentType="application/vnd.openxmlformats-officedocument.presentationml.slideLayout+xml"/>
  <Override PartName="/ppt/slideLayouts/slideLayout12825.xml" ContentType="application/vnd.openxmlformats-officedocument.presentationml.slideLayout+xml"/>
  <Override PartName="/ppt/slideLayouts/slideLayout12826.xml" ContentType="application/vnd.openxmlformats-officedocument.presentationml.slideLayout+xml"/>
  <Override PartName="/ppt/slideLayouts/slideLayout12827.xml" ContentType="application/vnd.openxmlformats-officedocument.presentationml.slideLayout+xml"/>
  <Override PartName="/ppt/slideLayouts/slideLayout12828.xml" ContentType="application/vnd.openxmlformats-officedocument.presentationml.slideLayout+xml"/>
  <Override PartName="/ppt/slideLayouts/slideLayout12829.xml" ContentType="application/vnd.openxmlformats-officedocument.presentationml.slideLayout+xml"/>
  <Override PartName="/ppt/slideLayouts/slideLayout12830.xml" ContentType="application/vnd.openxmlformats-officedocument.presentationml.slideLayout+xml"/>
  <Override PartName="/ppt/slideLayouts/slideLayout12831.xml" ContentType="application/vnd.openxmlformats-officedocument.presentationml.slideLayout+xml"/>
  <Override PartName="/ppt/slideLayouts/slideLayout12832.xml" ContentType="application/vnd.openxmlformats-officedocument.presentationml.slideLayout+xml"/>
  <Override PartName="/ppt/slideLayouts/slideLayout12833.xml" ContentType="application/vnd.openxmlformats-officedocument.presentationml.slideLayout+xml"/>
  <Override PartName="/ppt/slideLayouts/slideLayout12834.xml" ContentType="application/vnd.openxmlformats-officedocument.presentationml.slideLayout+xml"/>
  <Override PartName="/ppt/slideLayouts/slideLayout12835.xml" ContentType="application/vnd.openxmlformats-officedocument.presentationml.slideLayout+xml"/>
  <Override PartName="/ppt/slideLayouts/slideLayout12836.xml" ContentType="application/vnd.openxmlformats-officedocument.presentationml.slideLayout+xml"/>
  <Override PartName="/ppt/slideLayouts/slideLayout12837.xml" ContentType="application/vnd.openxmlformats-officedocument.presentationml.slideLayout+xml"/>
  <Override PartName="/ppt/slideLayouts/slideLayout12838.xml" ContentType="application/vnd.openxmlformats-officedocument.presentationml.slideLayout+xml"/>
  <Override PartName="/ppt/slideLayouts/slideLayout12839.xml" ContentType="application/vnd.openxmlformats-officedocument.presentationml.slideLayout+xml"/>
  <Override PartName="/ppt/slideLayouts/slideLayout12840.xml" ContentType="application/vnd.openxmlformats-officedocument.presentationml.slideLayout+xml"/>
  <Override PartName="/ppt/slideLayouts/slideLayout12841.xml" ContentType="application/vnd.openxmlformats-officedocument.presentationml.slideLayout+xml"/>
  <Override PartName="/ppt/slideLayouts/slideLayout12842.xml" ContentType="application/vnd.openxmlformats-officedocument.presentationml.slideLayout+xml"/>
  <Override PartName="/ppt/slideLayouts/slideLayout12843.xml" ContentType="application/vnd.openxmlformats-officedocument.presentationml.slideLayout+xml"/>
  <Override PartName="/ppt/slideLayouts/slideLayout12844.xml" ContentType="application/vnd.openxmlformats-officedocument.presentationml.slideLayout+xml"/>
  <Override PartName="/ppt/slideLayouts/slideLayout12845.xml" ContentType="application/vnd.openxmlformats-officedocument.presentationml.slideLayout+xml"/>
  <Override PartName="/ppt/slideLayouts/slideLayout12846.xml" ContentType="application/vnd.openxmlformats-officedocument.presentationml.slideLayout+xml"/>
  <Override PartName="/ppt/slideLayouts/slideLayout12847.xml" ContentType="application/vnd.openxmlformats-officedocument.presentationml.slideLayout+xml"/>
  <Override PartName="/ppt/slideLayouts/slideLayout12848.xml" ContentType="application/vnd.openxmlformats-officedocument.presentationml.slideLayout+xml"/>
  <Override PartName="/ppt/slideLayouts/slideLayout12849.xml" ContentType="application/vnd.openxmlformats-officedocument.presentationml.slideLayout+xml"/>
  <Override PartName="/ppt/slideLayouts/slideLayout12850.xml" ContentType="application/vnd.openxmlformats-officedocument.presentationml.slideLayout+xml"/>
  <Override PartName="/ppt/slideLayouts/slideLayout12851.xml" ContentType="application/vnd.openxmlformats-officedocument.presentationml.slideLayout+xml"/>
  <Override PartName="/ppt/slideLayouts/slideLayout12852.xml" ContentType="application/vnd.openxmlformats-officedocument.presentationml.slideLayout+xml"/>
  <Override PartName="/ppt/slideLayouts/slideLayout12853.xml" ContentType="application/vnd.openxmlformats-officedocument.presentationml.slideLayout+xml"/>
  <Override PartName="/ppt/slideLayouts/slideLayout12854.xml" ContentType="application/vnd.openxmlformats-officedocument.presentationml.slideLayout+xml"/>
  <Override PartName="/ppt/slideLayouts/slideLayout12855.xml" ContentType="application/vnd.openxmlformats-officedocument.presentationml.slideLayout+xml"/>
  <Override PartName="/ppt/slideLayouts/slideLayout12856.xml" ContentType="application/vnd.openxmlformats-officedocument.presentationml.slideLayout+xml"/>
  <Override PartName="/ppt/slideLayouts/slideLayout12857.xml" ContentType="application/vnd.openxmlformats-officedocument.presentationml.slideLayout+xml"/>
  <Override PartName="/ppt/slideLayouts/slideLayout12858.xml" ContentType="application/vnd.openxmlformats-officedocument.presentationml.slideLayout+xml"/>
  <Override PartName="/ppt/slideLayouts/slideLayout12859.xml" ContentType="application/vnd.openxmlformats-officedocument.presentationml.slideLayout+xml"/>
  <Override PartName="/ppt/slideLayouts/slideLayout12860.xml" ContentType="application/vnd.openxmlformats-officedocument.presentationml.slideLayout+xml"/>
  <Override PartName="/ppt/slideLayouts/slideLayout12861.xml" ContentType="application/vnd.openxmlformats-officedocument.presentationml.slideLayout+xml"/>
  <Override PartName="/ppt/slideLayouts/slideLayout12862.xml" ContentType="application/vnd.openxmlformats-officedocument.presentationml.slideLayout+xml"/>
  <Override PartName="/ppt/slideLayouts/slideLayout12863.xml" ContentType="application/vnd.openxmlformats-officedocument.presentationml.slideLayout+xml"/>
  <Override PartName="/ppt/slideLayouts/slideLayout12864.xml" ContentType="application/vnd.openxmlformats-officedocument.presentationml.slideLayout+xml"/>
  <Override PartName="/ppt/slideLayouts/slideLayout12865.xml" ContentType="application/vnd.openxmlformats-officedocument.presentationml.slideLayout+xml"/>
  <Override PartName="/ppt/slideLayouts/slideLayout12866.xml" ContentType="application/vnd.openxmlformats-officedocument.presentationml.slideLayout+xml"/>
  <Override PartName="/ppt/slideLayouts/slideLayout12867.xml" ContentType="application/vnd.openxmlformats-officedocument.presentationml.slideLayout+xml"/>
  <Override PartName="/ppt/slideLayouts/slideLayout12868.xml" ContentType="application/vnd.openxmlformats-officedocument.presentationml.slideLayout+xml"/>
  <Override PartName="/ppt/slideLayouts/slideLayout12869.xml" ContentType="application/vnd.openxmlformats-officedocument.presentationml.slideLayout+xml"/>
  <Override PartName="/ppt/slideLayouts/slideLayout12870.xml" ContentType="application/vnd.openxmlformats-officedocument.presentationml.slideLayout+xml"/>
  <Override PartName="/ppt/slideLayouts/slideLayout12871.xml" ContentType="application/vnd.openxmlformats-officedocument.presentationml.slideLayout+xml"/>
  <Override PartName="/ppt/slideLayouts/slideLayout12872.xml" ContentType="application/vnd.openxmlformats-officedocument.presentationml.slideLayout+xml"/>
  <Override PartName="/ppt/slideLayouts/slideLayout12873.xml" ContentType="application/vnd.openxmlformats-officedocument.presentationml.slideLayout+xml"/>
  <Override PartName="/ppt/slideLayouts/slideLayout12874.xml" ContentType="application/vnd.openxmlformats-officedocument.presentationml.slideLayout+xml"/>
  <Override PartName="/ppt/slideLayouts/slideLayout12875.xml" ContentType="application/vnd.openxmlformats-officedocument.presentationml.slideLayout+xml"/>
  <Override PartName="/ppt/slideLayouts/slideLayout12876.xml" ContentType="application/vnd.openxmlformats-officedocument.presentationml.slideLayout+xml"/>
  <Override PartName="/ppt/slideLayouts/slideLayout12877.xml" ContentType="application/vnd.openxmlformats-officedocument.presentationml.slideLayout+xml"/>
  <Override PartName="/ppt/slideLayouts/slideLayout12878.xml" ContentType="application/vnd.openxmlformats-officedocument.presentationml.slideLayout+xml"/>
  <Override PartName="/ppt/slideLayouts/slideLayout12879.xml" ContentType="application/vnd.openxmlformats-officedocument.presentationml.slideLayout+xml"/>
  <Override PartName="/ppt/slideLayouts/slideLayout12880.xml" ContentType="application/vnd.openxmlformats-officedocument.presentationml.slideLayout+xml"/>
  <Override PartName="/ppt/slideLayouts/slideLayout12881.xml" ContentType="application/vnd.openxmlformats-officedocument.presentationml.slideLayout+xml"/>
  <Override PartName="/ppt/slideLayouts/slideLayout12882.xml" ContentType="application/vnd.openxmlformats-officedocument.presentationml.slideLayout+xml"/>
  <Override PartName="/ppt/slideLayouts/slideLayout12883.xml" ContentType="application/vnd.openxmlformats-officedocument.presentationml.slideLayout+xml"/>
  <Override PartName="/ppt/slideLayouts/slideLayout12884.xml" ContentType="application/vnd.openxmlformats-officedocument.presentationml.slideLayout+xml"/>
  <Override PartName="/ppt/slideLayouts/slideLayout12885.xml" ContentType="application/vnd.openxmlformats-officedocument.presentationml.slideLayout+xml"/>
  <Override PartName="/ppt/slideLayouts/slideLayout12886.xml" ContentType="application/vnd.openxmlformats-officedocument.presentationml.slideLayout+xml"/>
  <Override PartName="/ppt/slideLayouts/slideLayout12887.xml" ContentType="application/vnd.openxmlformats-officedocument.presentationml.slideLayout+xml"/>
  <Override PartName="/ppt/slideLayouts/slideLayout12888.xml" ContentType="application/vnd.openxmlformats-officedocument.presentationml.slideLayout+xml"/>
  <Override PartName="/ppt/slideLayouts/slideLayout12889.xml" ContentType="application/vnd.openxmlformats-officedocument.presentationml.slideLayout+xml"/>
  <Override PartName="/ppt/slideLayouts/slideLayout12890.xml" ContentType="application/vnd.openxmlformats-officedocument.presentationml.slideLayout+xml"/>
  <Override PartName="/ppt/slideLayouts/slideLayout12891.xml" ContentType="application/vnd.openxmlformats-officedocument.presentationml.slideLayout+xml"/>
  <Override PartName="/ppt/slideLayouts/slideLayout12892.xml" ContentType="application/vnd.openxmlformats-officedocument.presentationml.slideLayout+xml"/>
  <Override PartName="/ppt/slideLayouts/slideLayout12893.xml" ContentType="application/vnd.openxmlformats-officedocument.presentationml.slideLayout+xml"/>
  <Override PartName="/ppt/slideLayouts/slideLayout12894.xml" ContentType="application/vnd.openxmlformats-officedocument.presentationml.slideLayout+xml"/>
  <Override PartName="/ppt/slideLayouts/slideLayout12895.xml" ContentType="application/vnd.openxmlformats-officedocument.presentationml.slideLayout+xml"/>
  <Override PartName="/ppt/slideLayouts/slideLayout12896.xml" ContentType="application/vnd.openxmlformats-officedocument.presentationml.slideLayout+xml"/>
  <Override PartName="/ppt/slideLayouts/slideLayout12897.xml" ContentType="application/vnd.openxmlformats-officedocument.presentationml.slideLayout+xml"/>
  <Override PartName="/ppt/slideLayouts/slideLayout12898.xml" ContentType="application/vnd.openxmlformats-officedocument.presentationml.slideLayout+xml"/>
  <Override PartName="/ppt/slideLayouts/slideLayout12899.xml" ContentType="application/vnd.openxmlformats-officedocument.presentationml.slideLayout+xml"/>
  <Override PartName="/ppt/slideLayouts/slideLayout12900.xml" ContentType="application/vnd.openxmlformats-officedocument.presentationml.slideLayout+xml"/>
  <Override PartName="/ppt/slideLayouts/slideLayout12901.xml" ContentType="application/vnd.openxmlformats-officedocument.presentationml.slideLayout+xml"/>
  <Override PartName="/ppt/slideLayouts/slideLayout12902.xml" ContentType="application/vnd.openxmlformats-officedocument.presentationml.slideLayout+xml"/>
  <Override PartName="/ppt/slideLayouts/slideLayout12903.xml" ContentType="application/vnd.openxmlformats-officedocument.presentationml.slideLayout+xml"/>
  <Override PartName="/ppt/slideLayouts/slideLayout12904.xml" ContentType="application/vnd.openxmlformats-officedocument.presentationml.slideLayout+xml"/>
  <Override PartName="/ppt/slideLayouts/slideLayout12905.xml" ContentType="application/vnd.openxmlformats-officedocument.presentationml.slideLayout+xml"/>
  <Override PartName="/ppt/slideLayouts/slideLayout12906.xml" ContentType="application/vnd.openxmlformats-officedocument.presentationml.slideLayout+xml"/>
  <Override PartName="/ppt/slideLayouts/slideLayout12907.xml" ContentType="application/vnd.openxmlformats-officedocument.presentationml.slideLayout+xml"/>
  <Override PartName="/ppt/slideLayouts/slideLayout12908.xml" ContentType="application/vnd.openxmlformats-officedocument.presentationml.slideLayout+xml"/>
  <Override PartName="/ppt/slideLayouts/slideLayout12909.xml" ContentType="application/vnd.openxmlformats-officedocument.presentationml.slideLayout+xml"/>
  <Override PartName="/ppt/slideLayouts/slideLayout12910.xml" ContentType="application/vnd.openxmlformats-officedocument.presentationml.slideLayout+xml"/>
  <Override PartName="/ppt/slideLayouts/slideLayout12911.xml" ContentType="application/vnd.openxmlformats-officedocument.presentationml.slideLayout+xml"/>
  <Override PartName="/ppt/slideLayouts/slideLayout12912.xml" ContentType="application/vnd.openxmlformats-officedocument.presentationml.slideLayout+xml"/>
  <Override PartName="/ppt/slideLayouts/slideLayout12913.xml" ContentType="application/vnd.openxmlformats-officedocument.presentationml.slideLayout+xml"/>
  <Override PartName="/ppt/slideLayouts/slideLayout12914.xml" ContentType="application/vnd.openxmlformats-officedocument.presentationml.slideLayout+xml"/>
  <Override PartName="/ppt/slideLayouts/slideLayout12915.xml" ContentType="application/vnd.openxmlformats-officedocument.presentationml.slideLayout+xml"/>
  <Override PartName="/ppt/slideLayouts/slideLayout12916.xml" ContentType="application/vnd.openxmlformats-officedocument.presentationml.slideLayout+xml"/>
  <Override PartName="/ppt/slideLayouts/slideLayout12917.xml" ContentType="application/vnd.openxmlformats-officedocument.presentationml.slideLayout+xml"/>
  <Override PartName="/ppt/slideLayouts/slideLayout12918.xml" ContentType="application/vnd.openxmlformats-officedocument.presentationml.slideLayout+xml"/>
  <Override PartName="/ppt/slideLayouts/slideLayout12919.xml" ContentType="application/vnd.openxmlformats-officedocument.presentationml.slideLayout+xml"/>
  <Override PartName="/ppt/slideLayouts/slideLayout12920.xml" ContentType="application/vnd.openxmlformats-officedocument.presentationml.slideLayout+xml"/>
  <Override PartName="/ppt/slideLayouts/slideLayout12921.xml" ContentType="application/vnd.openxmlformats-officedocument.presentationml.slideLayout+xml"/>
  <Override PartName="/ppt/slideLayouts/slideLayout12922.xml" ContentType="application/vnd.openxmlformats-officedocument.presentationml.slideLayout+xml"/>
  <Override PartName="/ppt/slideLayouts/slideLayout12923.xml" ContentType="application/vnd.openxmlformats-officedocument.presentationml.slideLayout+xml"/>
  <Override PartName="/ppt/slideLayouts/slideLayout12924.xml" ContentType="application/vnd.openxmlformats-officedocument.presentationml.slideLayout+xml"/>
  <Override PartName="/ppt/slideLayouts/slideLayout12925.xml" ContentType="application/vnd.openxmlformats-officedocument.presentationml.slideLayout+xml"/>
  <Override PartName="/ppt/slideLayouts/slideLayout12926.xml" ContentType="application/vnd.openxmlformats-officedocument.presentationml.slideLayout+xml"/>
  <Override PartName="/ppt/slideLayouts/slideLayout12927.xml" ContentType="application/vnd.openxmlformats-officedocument.presentationml.slideLayout+xml"/>
  <Override PartName="/ppt/slideLayouts/slideLayout12928.xml" ContentType="application/vnd.openxmlformats-officedocument.presentationml.slideLayout+xml"/>
  <Override PartName="/ppt/slideLayouts/slideLayout12929.xml" ContentType="application/vnd.openxmlformats-officedocument.presentationml.slideLayout+xml"/>
  <Override PartName="/ppt/slideLayouts/slideLayout12930.xml" ContentType="application/vnd.openxmlformats-officedocument.presentationml.slideLayout+xml"/>
  <Override PartName="/ppt/slideLayouts/slideLayout12931.xml" ContentType="application/vnd.openxmlformats-officedocument.presentationml.slideLayout+xml"/>
  <Override PartName="/ppt/slideLayouts/slideLayout12932.xml" ContentType="application/vnd.openxmlformats-officedocument.presentationml.slideLayout+xml"/>
  <Override PartName="/ppt/slideLayouts/slideLayout12933.xml" ContentType="application/vnd.openxmlformats-officedocument.presentationml.slideLayout+xml"/>
  <Override PartName="/ppt/slideLayouts/slideLayout12934.xml" ContentType="application/vnd.openxmlformats-officedocument.presentationml.slideLayout+xml"/>
  <Override PartName="/ppt/slideLayouts/slideLayout12935.xml" ContentType="application/vnd.openxmlformats-officedocument.presentationml.slideLayout+xml"/>
  <Override PartName="/ppt/slideLayouts/slideLayout12936.xml" ContentType="application/vnd.openxmlformats-officedocument.presentationml.slideLayout+xml"/>
  <Override PartName="/ppt/slideLayouts/slideLayout12937.xml" ContentType="application/vnd.openxmlformats-officedocument.presentationml.slideLayout+xml"/>
  <Override PartName="/ppt/slideLayouts/slideLayout12938.xml" ContentType="application/vnd.openxmlformats-officedocument.presentationml.slideLayout+xml"/>
  <Override PartName="/ppt/slideLayouts/slideLayout12939.xml" ContentType="application/vnd.openxmlformats-officedocument.presentationml.slideLayout+xml"/>
  <Override PartName="/ppt/slideLayouts/slideLayout12940.xml" ContentType="application/vnd.openxmlformats-officedocument.presentationml.slideLayout+xml"/>
  <Override PartName="/ppt/slideLayouts/slideLayout12941.xml" ContentType="application/vnd.openxmlformats-officedocument.presentationml.slideLayout+xml"/>
  <Override PartName="/ppt/slideLayouts/slideLayout12942.xml" ContentType="application/vnd.openxmlformats-officedocument.presentationml.slideLayout+xml"/>
  <Override PartName="/ppt/slideLayouts/slideLayout12943.xml" ContentType="application/vnd.openxmlformats-officedocument.presentationml.slideLayout+xml"/>
  <Override PartName="/ppt/slideLayouts/slideLayout12944.xml" ContentType="application/vnd.openxmlformats-officedocument.presentationml.slideLayout+xml"/>
  <Override PartName="/ppt/slideLayouts/slideLayout12945.xml" ContentType="application/vnd.openxmlformats-officedocument.presentationml.slideLayout+xml"/>
  <Override PartName="/ppt/slideLayouts/slideLayout12946.xml" ContentType="application/vnd.openxmlformats-officedocument.presentationml.slideLayout+xml"/>
  <Override PartName="/ppt/slideLayouts/slideLayout12947.xml" ContentType="application/vnd.openxmlformats-officedocument.presentationml.slideLayout+xml"/>
  <Override PartName="/ppt/slideLayouts/slideLayout12948.xml" ContentType="application/vnd.openxmlformats-officedocument.presentationml.slideLayout+xml"/>
  <Override PartName="/ppt/slideLayouts/slideLayout12949.xml" ContentType="application/vnd.openxmlformats-officedocument.presentationml.slideLayout+xml"/>
  <Override PartName="/ppt/slideLayouts/slideLayout12950.xml" ContentType="application/vnd.openxmlformats-officedocument.presentationml.slideLayout+xml"/>
  <Override PartName="/ppt/slideLayouts/slideLayout12951.xml" ContentType="application/vnd.openxmlformats-officedocument.presentationml.slideLayout+xml"/>
  <Override PartName="/ppt/slideLayouts/slideLayout12952.xml" ContentType="application/vnd.openxmlformats-officedocument.presentationml.slideLayout+xml"/>
  <Override PartName="/ppt/slideLayouts/slideLayout12953.xml" ContentType="application/vnd.openxmlformats-officedocument.presentationml.slideLayout+xml"/>
  <Override PartName="/ppt/slideLayouts/slideLayout12954.xml" ContentType="application/vnd.openxmlformats-officedocument.presentationml.slideLayout+xml"/>
  <Override PartName="/ppt/slideLayouts/slideLayout12955.xml" ContentType="application/vnd.openxmlformats-officedocument.presentationml.slideLayout+xml"/>
  <Override PartName="/ppt/slideLayouts/slideLayout12956.xml" ContentType="application/vnd.openxmlformats-officedocument.presentationml.slideLayout+xml"/>
  <Override PartName="/ppt/slideLayouts/slideLayout12957.xml" ContentType="application/vnd.openxmlformats-officedocument.presentationml.slideLayout+xml"/>
  <Override PartName="/ppt/slideLayouts/slideLayout12958.xml" ContentType="application/vnd.openxmlformats-officedocument.presentationml.slideLayout+xml"/>
  <Override PartName="/ppt/slideLayouts/slideLayout12959.xml" ContentType="application/vnd.openxmlformats-officedocument.presentationml.slideLayout+xml"/>
  <Override PartName="/ppt/slideLayouts/slideLayout12960.xml" ContentType="application/vnd.openxmlformats-officedocument.presentationml.slideLayout+xml"/>
  <Override PartName="/ppt/slideLayouts/slideLayout12961.xml" ContentType="application/vnd.openxmlformats-officedocument.presentationml.slideLayout+xml"/>
  <Override PartName="/ppt/slideLayouts/slideLayout12962.xml" ContentType="application/vnd.openxmlformats-officedocument.presentationml.slideLayout+xml"/>
  <Override PartName="/ppt/slideLayouts/slideLayout12963.xml" ContentType="application/vnd.openxmlformats-officedocument.presentationml.slideLayout+xml"/>
  <Override PartName="/ppt/slideLayouts/slideLayout12964.xml" ContentType="application/vnd.openxmlformats-officedocument.presentationml.slideLayout+xml"/>
  <Override PartName="/ppt/slideLayouts/slideLayout12965.xml" ContentType="application/vnd.openxmlformats-officedocument.presentationml.slideLayout+xml"/>
  <Override PartName="/ppt/slideLayouts/slideLayout12966.xml" ContentType="application/vnd.openxmlformats-officedocument.presentationml.slideLayout+xml"/>
  <Override PartName="/ppt/slideLayouts/slideLayout12967.xml" ContentType="application/vnd.openxmlformats-officedocument.presentationml.slideLayout+xml"/>
  <Override PartName="/ppt/slideLayouts/slideLayout12968.xml" ContentType="application/vnd.openxmlformats-officedocument.presentationml.slideLayout+xml"/>
  <Override PartName="/ppt/slideLayouts/slideLayout12969.xml" ContentType="application/vnd.openxmlformats-officedocument.presentationml.slideLayout+xml"/>
  <Override PartName="/ppt/slideLayouts/slideLayout12970.xml" ContentType="application/vnd.openxmlformats-officedocument.presentationml.slideLayout+xml"/>
  <Override PartName="/ppt/slideLayouts/slideLayout12971.xml" ContentType="application/vnd.openxmlformats-officedocument.presentationml.slideLayout+xml"/>
  <Override PartName="/ppt/slideLayouts/slideLayout12972.xml" ContentType="application/vnd.openxmlformats-officedocument.presentationml.slideLayout+xml"/>
  <Override PartName="/ppt/slideLayouts/slideLayout12973.xml" ContentType="application/vnd.openxmlformats-officedocument.presentationml.slideLayout+xml"/>
  <Override PartName="/ppt/slideLayouts/slideLayout12974.xml" ContentType="application/vnd.openxmlformats-officedocument.presentationml.slideLayout+xml"/>
  <Override PartName="/ppt/slideLayouts/slideLayout12975.xml" ContentType="application/vnd.openxmlformats-officedocument.presentationml.slideLayout+xml"/>
  <Override PartName="/ppt/slideLayouts/slideLayout12976.xml" ContentType="application/vnd.openxmlformats-officedocument.presentationml.slideLayout+xml"/>
  <Override PartName="/ppt/slideLayouts/slideLayout12977.xml" ContentType="application/vnd.openxmlformats-officedocument.presentationml.slideLayout+xml"/>
  <Override PartName="/ppt/slideLayouts/slideLayout12978.xml" ContentType="application/vnd.openxmlformats-officedocument.presentationml.slideLayout+xml"/>
  <Override PartName="/ppt/slideLayouts/slideLayout12979.xml" ContentType="application/vnd.openxmlformats-officedocument.presentationml.slideLayout+xml"/>
  <Override PartName="/ppt/slideLayouts/slideLayout12980.xml" ContentType="application/vnd.openxmlformats-officedocument.presentationml.slideLayout+xml"/>
  <Override PartName="/ppt/slideLayouts/slideLayout12981.xml" ContentType="application/vnd.openxmlformats-officedocument.presentationml.slideLayout+xml"/>
  <Override PartName="/ppt/slideLayouts/slideLayout12982.xml" ContentType="application/vnd.openxmlformats-officedocument.presentationml.slideLayout+xml"/>
  <Override PartName="/ppt/slideLayouts/slideLayout12983.xml" ContentType="application/vnd.openxmlformats-officedocument.presentationml.slideLayout+xml"/>
  <Override PartName="/ppt/slideLayouts/slideLayout12984.xml" ContentType="application/vnd.openxmlformats-officedocument.presentationml.slideLayout+xml"/>
  <Override PartName="/ppt/slideLayouts/slideLayout12985.xml" ContentType="application/vnd.openxmlformats-officedocument.presentationml.slideLayout+xml"/>
  <Override PartName="/ppt/slideLayouts/slideLayout12986.xml" ContentType="application/vnd.openxmlformats-officedocument.presentationml.slideLayout+xml"/>
  <Override PartName="/ppt/slideLayouts/slideLayout12987.xml" ContentType="application/vnd.openxmlformats-officedocument.presentationml.slideLayout+xml"/>
  <Override PartName="/ppt/slideLayouts/slideLayout12988.xml" ContentType="application/vnd.openxmlformats-officedocument.presentationml.slideLayout+xml"/>
  <Override PartName="/ppt/slideLayouts/slideLayout12989.xml" ContentType="application/vnd.openxmlformats-officedocument.presentationml.slideLayout+xml"/>
  <Override PartName="/ppt/slideLayouts/slideLayout12990.xml" ContentType="application/vnd.openxmlformats-officedocument.presentationml.slideLayout+xml"/>
  <Override PartName="/ppt/slideLayouts/slideLayout12991.xml" ContentType="application/vnd.openxmlformats-officedocument.presentationml.slideLayout+xml"/>
  <Override PartName="/ppt/slideLayouts/slideLayout12992.xml" ContentType="application/vnd.openxmlformats-officedocument.presentationml.slideLayout+xml"/>
  <Override PartName="/ppt/slideLayouts/slideLayout12993.xml" ContentType="application/vnd.openxmlformats-officedocument.presentationml.slideLayout+xml"/>
  <Override PartName="/ppt/slideLayouts/slideLayout12994.xml" ContentType="application/vnd.openxmlformats-officedocument.presentationml.slideLayout+xml"/>
  <Override PartName="/ppt/slideLayouts/slideLayout12995.xml" ContentType="application/vnd.openxmlformats-officedocument.presentationml.slideLayout+xml"/>
  <Override PartName="/ppt/slideLayouts/slideLayout12996.xml" ContentType="application/vnd.openxmlformats-officedocument.presentationml.slideLayout+xml"/>
  <Override PartName="/ppt/slideLayouts/slideLayout12997.xml" ContentType="application/vnd.openxmlformats-officedocument.presentationml.slideLayout+xml"/>
  <Override PartName="/ppt/slideLayouts/slideLayout12998.xml" ContentType="application/vnd.openxmlformats-officedocument.presentationml.slideLayout+xml"/>
  <Override PartName="/ppt/slideLayouts/slideLayout12999.xml" ContentType="application/vnd.openxmlformats-officedocument.presentationml.slideLayout+xml"/>
  <Override PartName="/ppt/slideLayouts/slideLayout13000.xml" ContentType="application/vnd.openxmlformats-officedocument.presentationml.slideLayout+xml"/>
  <Override PartName="/ppt/slideLayouts/slideLayout13001.xml" ContentType="application/vnd.openxmlformats-officedocument.presentationml.slideLayout+xml"/>
  <Override PartName="/ppt/slideLayouts/slideLayout13002.xml" ContentType="application/vnd.openxmlformats-officedocument.presentationml.slideLayout+xml"/>
  <Override PartName="/ppt/slideLayouts/slideLayout13003.xml" ContentType="application/vnd.openxmlformats-officedocument.presentationml.slideLayout+xml"/>
  <Override PartName="/ppt/slideLayouts/slideLayout13004.xml" ContentType="application/vnd.openxmlformats-officedocument.presentationml.slideLayout+xml"/>
  <Override PartName="/ppt/slideLayouts/slideLayout13005.xml" ContentType="application/vnd.openxmlformats-officedocument.presentationml.slideLayout+xml"/>
  <Override PartName="/ppt/slideLayouts/slideLayout13006.xml" ContentType="application/vnd.openxmlformats-officedocument.presentationml.slideLayout+xml"/>
  <Override PartName="/ppt/slideLayouts/slideLayout13007.xml" ContentType="application/vnd.openxmlformats-officedocument.presentationml.slideLayout+xml"/>
  <Override PartName="/ppt/slideLayouts/slideLayout13008.xml" ContentType="application/vnd.openxmlformats-officedocument.presentationml.slideLayout+xml"/>
  <Override PartName="/ppt/slideLayouts/slideLayout13009.xml" ContentType="application/vnd.openxmlformats-officedocument.presentationml.slideLayout+xml"/>
  <Override PartName="/ppt/slideLayouts/slideLayout13010.xml" ContentType="application/vnd.openxmlformats-officedocument.presentationml.slideLayout+xml"/>
  <Override PartName="/ppt/slideLayouts/slideLayout13011.xml" ContentType="application/vnd.openxmlformats-officedocument.presentationml.slideLayout+xml"/>
  <Override PartName="/ppt/slideLayouts/slideLayout13012.xml" ContentType="application/vnd.openxmlformats-officedocument.presentationml.slideLayout+xml"/>
  <Override PartName="/ppt/slideLayouts/slideLayout13013.xml" ContentType="application/vnd.openxmlformats-officedocument.presentationml.slideLayout+xml"/>
  <Override PartName="/ppt/slideLayouts/slideLayout13014.xml" ContentType="application/vnd.openxmlformats-officedocument.presentationml.slideLayout+xml"/>
  <Override PartName="/ppt/slideLayouts/slideLayout13015.xml" ContentType="application/vnd.openxmlformats-officedocument.presentationml.slideLayout+xml"/>
  <Override PartName="/ppt/slideLayouts/slideLayout13016.xml" ContentType="application/vnd.openxmlformats-officedocument.presentationml.slideLayout+xml"/>
  <Override PartName="/ppt/slideLayouts/slideLayout13017.xml" ContentType="application/vnd.openxmlformats-officedocument.presentationml.slideLayout+xml"/>
  <Override PartName="/ppt/slideLayouts/slideLayout13018.xml" ContentType="application/vnd.openxmlformats-officedocument.presentationml.slideLayout+xml"/>
  <Override PartName="/ppt/slideLayouts/slideLayout13019.xml" ContentType="application/vnd.openxmlformats-officedocument.presentationml.slideLayout+xml"/>
  <Override PartName="/ppt/slideLayouts/slideLayout13020.xml" ContentType="application/vnd.openxmlformats-officedocument.presentationml.slideLayout+xml"/>
  <Override PartName="/ppt/slideLayouts/slideLayout13021.xml" ContentType="application/vnd.openxmlformats-officedocument.presentationml.slideLayout+xml"/>
  <Override PartName="/ppt/slideLayouts/slideLayout13022.xml" ContentType="application/vnd.openxmlformats-officedocument.presentationml.slideLayout+xml"/>
  <Override PartName="/ppt/slideLayouts/slideLayout13023.xml" ContentType="application/vnd.openxmlformats-officedocument.presentationml.slideLayout+xml"/>
  <Override PartName="/ppt/slideLayouts/slideLayout13024.xml" ContentType="application/vnd.openxmlformats-officedocument.presentationml.slideLayout+xml"/>
  <Override PartName="/ppt/slideLayouts/slideLayout13025.xml" ContentType="application/vnd.openxmlformats-officedocument.presentationml.slideLayout+xml"/>
  <Override PartName="/ppt/slideLayouts/slideLayout13026.xml" ContentType="application/vnd.openxmlformats-officedocument.presentationml.slideLayout+xml"/>
  <Override PartName="/ppt/slideLayouts/slideLayout13027.xml" ContentType="application/vnd.openxmlformats-officedocument.presentationml.slideLayout+xml"/>
  <Override PartName="/ppt/slideLayouts/slideLayout13028.xml" ContentType="application/vnd.openxmlformats-officedocument.presentationml.slideLayout+xml"/>
  <Override PartName="/ppt/slideLayouts/slideLayout13029.xml" ContentType="application/vnd.openxmlformats-officedocument.presentationml.slideLayout+xml"/>
  <Override PartName="/ppt/slideLayouts/slideLayout13030.xml" ContentType="application/vnd.openxmlformats-officedocument.presentationml.slideLayout+xml"/>
  <Override PartName="/ppt/slideLayouts/slideLayout13031.xml" ContentType="application/vnd.openxmlformats-officedocument.presentationml.slideLayout+xml"/>
  <Override PartName="/ppt/slideLayouts/slideLayout13032.xml" ContentType="application/vnd.openxmlformats-officedocument.presentationml.slideLayout+xml"/>
  <Override PartName="/ppt/slideLayouts/slideLayout13033.xml" ContentType="application/vnd.openxmlformats-officedocument.presentationml.slideLayout+xml"/>
  <Override PartName="/ppt/slideLayouts/slideLayout13034.xml" ContentType="application/vnd.openxmlformats-officedocument.presentationml.slideLayout+xml"/>
  <Override PartName="/ppt/slideLayouts/slideLayout13035.xml" ContentType="application/vnd.openxmlformats-officedocument.presentationml.slideLayout+xml"/>
  <Override PartName="/ppt/slideLayouts/slideLayout13036.xml" ContentType="application/vnd.openxmlformats-officedocument.presentationml.slideLayout+xml"/>
  <Override PartName="/ppt/slideLayouts/slideLayout13037.xml" ContentType="application/vnd.openxmlformats-officedocument.presentationml.slideLayout+xml"/>
  <Override PartName="/ppt/slideLayouts/slideLayout13038.xml" ContentType="application/vnd.openxmlformats-officedocument.presentationml.slideLayout+xml"/>
  <Override PartName="/ppt/slideLayouts/slideLayout13039.xml" ContentType="application/vnd.openxmlformats-officedocument.presentationml.slideLayout+xml"/>
  <Override PartName="/ppt/slideLayouts/slideLayout13040.xml" ContentType="application/vnd.openxmlformats-officedocument.presentationml.slideLayout+xml"/>
  <Override PartName="/ppt/slideLayouts/slideLayout13041.xml" ContentType="application/vnd.openxmlformats-officedocument.presentationml.slideLayout+xml"/>
  <Override PartName="/ppt/slideLayouts/slideLayout13042.xml" ContentType="application/vnd.openxmlformats-officedocument.presentationml.slideLayout+xml"/>
  <Override PartName="/ppt/slideLayouts/slideLayout13043.xml" ContentType="application/vnd.openxmlformats-officedocument.presentationml.slideLayout+xml"/>
  <Override PartName="/ppt/slideLayouts/slideLayout13044.xml" ContentType="application/vnd.openxmlformats-officedocument.presentationml.slideLayout+xml"/>
  <Override PartName="/ppt/slideLayouts/slideLayout13045.xml" ContentType="application/vnd.openxmlformats-officedocument.presentationml.slideLayout+xml"/>
  <Override PartName="/ppt/slideLayouts/slideLayout13046.xml" ContentType="application/vnd.openxmlformats-officedocument.presentationml.slideLayout+xml"/>
  <Override PartName="/ppt/slideLayouts/slideLayout13047.xml" ContentType="application/vnd.openxmlformats-officedocument.presentationml.slideLayout+xml"/>
  <Override PartName="/ppt/slideLayouts/slideLayout13048.xml" ContentType="application/vnd.openxmlformats-officedocument.presentationml.slideLayout+xml"/>
  <Override PartName="/ppt/slideLayouts/slideLayout13049.xml" ContentType="application/vnd.openxmlformats-officedocument.presentationml.slideLayout+xml"/>
  <Override PartName="/ppt/slideLayouts/slideLayout13050.xml" ContentType="application/vnd.openxmlformats-officedocument.presentationml.slideLayout+xml"/>
  <Override PartName="/ppt/slideLayouts/slideLayout13051.xml" ContentType="application/vnd.openxmlformats-officedocument.presentationml.slideLayout+xml"/>
  <Override PartName="/ppt/slideLayouts/slideLayout13052.xml" ContentType="application/vnd.openxmlformats-officedocument.presentationml.slideLayout+xml"/>
  <Override PartName="/ppt/slideLayouts/slideLayout13053.xml" ContentType="application/vnd.openxmlformats-officedocument.presentationml.slideLayout+xml"/>
  <Override PartName="/ppt/slideLayouts/slideLayout13054.xml" ContentType="application/vnd.openxmlformats-officedocument.presentationml.slideLayout+xml"/>
  <Override PartName="/ppt/slideLayouts/slideLayout13055.xml" ContentType="application/vnd.openxmlformats-officedocument.presentationml.slideLayout+xml"/>
  <Override PartName="/ppt/slideLayouts/slideLayout13056.xml" ContentType="application/vnd.openxmlformats-officedocument.presentationml.slideLayout+xml"/>
  <Override PartName="/ppt/slideLayouts/slideLayout13057.xml" ContentType="application/vnd.openxmlformats-officedocument.presentationml.slideLayout+xml"/>
  <Override PartName="/ppt/slideLayouts/slideLayout13058.xml" ContentType="application/vnd.openxmlformats-officedocument.presentationml.slideLayout+xml"/>
  <Override PartName="/ppt/slideLayouts/slideLayout13059.xml" ContentType="application/vnd.openxmlformats-officedocument.presentationml.slideLayout+xml"/>
  <Override PartName="/ppt/slideLayouts/slideLayout13060.xml" ContentType="application/vnd.openxmlformats-officedocument.presentationml.slideLayout+xml"/>
  <Override PartName="/ppt/slideLayouts/slideLayout13061.xml" ContentType="application/vnd.openxmlformats-officedocument.presentationml.slideLayout+xml"/>
  <Override PartName="/ppt/slideLayouts/slideLayout13062.xml" ContentType="application/vnd.openxmlformats-officedocument.presentationml.slideLayout+xml"/>
  <Override PartName="/ppt/slideLayouts/slideLayout13063.xml" ContentType="application/vnd.openxmlformats-officedocument.presentationml.slideLayout+xml"/>
  <Override PartName="/ppt/slideLayouts/slideLayout13064.xml" ContentType="application/vnd.openxmlformats-officedocument.presentationml.slideLayout+xml"/>
  <Override PartName="/ppt/slideLayouts/slideLayout13065.xml" ContentType="application/vnd.openxmlformats-officedocument.presentationml.slideLayout+xml"/>
  <Override PartName="/ppt/slideLayouts/slideLayout13066.xml" ContentType="application/vnd.openxmlformats-officedocument.presentationml.slideLayout+xml"/>
  <Override PartName="/ppt/slideLayouts/slideLayout13067.xml" ContentType="application/vnd.openxmlformats-officedocument.presentationml.slideLayout+xml"/>
  <Override PartName="/ppt/slideLayouts/slideLayout13068.xml" ContentType="application/vnd.openxmlformats-officedocument.presentationml.slideLayout+xml"/>
  <Override PartName="/ppt/slideLayouts/slideLayout13069.xml" ContentType="application/vnd.openxmlformats-officedocument.presentationml.slideLayout+xml"/>
  <Override PartName="/ppt/slideLayouts/slideLayout13070.xml" ContentType="application/vnd.openxmlformats-officedocument.presentationml.slideLayout+xml"/>
  <Override PartName="/ppt/slideLayouts/slideLayout13071.xml" ContentType="application/vnd.openxmlformats-officedocument.presentationml.slideLayout+xml"/>
  <Override PartName="/ppt/slideLayouts/slideLayout13072.xml" ContentType="application/vnd.openxmlformats-officedocument.presentationml.slideLayout+xml"/>
  <Override PartName="/ppt/slideLayouts/slideLayout13073.xml" ContentType="application/vnd.openxmlformats-officedocument.presentationml.slideLayout+xml"/>
  <Override PartName="/ppt/slideLayouts/slideLayout13074.xml" ContentType="application/vnd.openxmlformats-officedocument.presentationml.slideLayout+xml"/>
  <Override PartName="/ppt/slideLayouts/slideLayout13075.xml" ContentType="application/vnd.openxmlformats-officedocument.presentationml.slideLayout+xml"/>
  <Override PartName="/ppt/slideLayouts/slideLayout13076.xml" ContentType="application/vnd.openxmlformats-officedocument.presentationml.slideLayout+xml"/>
  <Override PartName="/ppt/slideLayouts/slideLayout13077.xml" ContentType="application/vnd.openxmlformats-officedocument.presentationml.slideLayout+xml"/>
  <Override PartName="/ppt/slideLayouts/slideLayout13078.xml" ContentType="application/vnd.openxmlformats-officedocument.presentationml.slideLayout+xml"/>
  <Override PartName="/ppt/slideLayouts/slideLayout13079.xml" ContentType="application/vnd.openxmlformats-officedocument.presentationml.slideLayout+xml"/>
  <Override PartName="/ppt/slideLayouts/slideLayout13080.xml" ContentType="application/vnd.openxmlformats-officedocument.presentationml.slideLayout+xml"/>
  <Override PartName="/ppt/slideLayouts/slideLayout13081.xml" ContentType="application/vnd.openxmlformats-officedocument.presentationml.slideLayout+xml"/>
  <Override PartName="/ppt/slideLayouts/slideLayout13082.xml" ContentType="application/vnd.openxmlformats-officedocument.presentationml.slideLayout+xml"/>
  <Override PartName="/ppt/slideLayouts/slideLayout13083.xml" ContentType="application/vnd.openxmlformats-officedocument.presentationml.slideLayout+xml"/>
  <Override PartName="/ppt/slideLayouts/slideLayout13084.xml" ContentType="application/vnd.openxmlformats-officedocument.presentationml.slideLayout+xml"/>
  <Override PartName="/ppt/slideLayouts/slideLayout13085.xml" ContentType="application/vnd.openxmlformats-officedocument.presentationml.slideLayout+xml"/>
  <Override PartName="/ppt/slideLayouts/slideLayout13086.xml" ContentType="application/vnd.openxmlformats-officedocument.presentationml.slideLayout+xml"/>
  <Override PartName="/ppt/slideLayouts/slideLayout13087.xml" ContentType="application/vnd.openxmlformats-officedocument.presentationml.slideLayout+xml"/>
  <Override PartName="/ppt/slideLayouts/slideLayout13088.xml" ContentType="application/vnd.openxmlformats-officedocument.presentationml.slideLayout+xml"/>
  <Override PartName="/ppt/slideLayouts/slideLayout13089.xml" ContentType="application/vnd.openxmlformats-officedocument.presentationml.slideLayout+xml"/>
  <Override PartName="/ppt/slideLayouts/slideLayout13090.xml" ContentType="application/vnd.openxmlformats-officedocument.presentationml.slideLayout+xml"/>
  <Override PartName="/ppt/slideLayouts/slideLayout13091.xml" ContentType="application/vnd.openxmlformats-officedocument.presentationml.slideLayout+xml"/>
  <Override PartName="/ppt/slideLayouts/slideLayout13092.xml" ContentType="application/vnd.openxmlformats-officedocument.presentationml.slideLayout+xml"/>
  <Override PartName="/ppt/slideLayouts/slideLayout13093.xml" ContentType="application/vnd.openxmlformats-officedocument.presentationml.slideLayout+xml"/>
  <Override PartName="/ppt/slideLayouts/slideLayout13094.xml" ContentType="application/vnd.openxmlformats-officedocument.presentationml.slideLayout+xml"/>
  <Override PartName="/ppt/slideLayouts/slideLayout13095.xml" ContentType="application/vnd.openxmlformats-officedocument.presentationml.slideLayout+xml"/>
  <Override PartName="/ppt/slideLayouts/slideLayout13096.xml" ContentType="application/vnd.openxmlformats-officedocument.presentationml.slideLayout+xml"/>
  <Override PartName="/ppt/slideLayouts/slideLayout13097.xml" ContentType="application/vnd.openxmlformats-officedocument.presentationml.slideLayout+xml"/>
  <Override PartName="/ppt/slideLayouts/slideLayout13098.xml" ContentType="application/vnd.openxmlformats-officedocument.presentationml.slideLayout+xml"/>
  <Override PartName="/ppt/slideLayouts/slideLayout13099.xml" ContentType="application/vnd.openxmlformats-officedocument.presentationml.slideLayout+xml"/>
  <Override PartName="/ppt/slideLayouts/slideLayout13100.xml" ContentType="application/vnd.openxmlformats-officedocument.presentationml.slideLayout+xml"/>
  <Override PartName="/ppt/slideLayouts/slideLayout13101.xml" ContentType="application/vnd.openxmlformats-officedocument.presentationml.slideLayout+xml"/>
  <Override PartName="/ppt/slideLayouts/slideLayout13102.xml" ContentType="application/vnd.openxmlformats-officedocument.presentationml.slideLayout+xml"/>
  <Override PartName="/ppt/slideLayouts/slideLayout13103.xml" ContentType="application/vnd.openxmlformats-officedocument.presentationml.slideLayout+xml"/>
  <Override PartName="/ppt/slideLayouts/slideLayout13104.xml" ContentType="application/vnd.openxmlformats-officedocument.presentationml.slideLayout+xml"/>
  <Override PartName="/ppt/slideLayouts/slideLayout13105.xml" ContentType="application/vnd.openxmlformats-officedocument.presentationml.slideLayout+xml"/>
  <Override PartName="/ppt/slideLayouts/slideLayout13106.xml" ContentType="application/vnd.openxmlformats-officedocument.presentationml.slideLayout+xml"/>
  <Override PartName="/ppt/slideLayouts/slideLayout13107.xml" ContentType="application/vnd.openxmlformats-officedocument.presentationml.slideLayout+xml"/>
  <Override PartName="/ppt/slideLayouts/slideLayout13108.xml" ContentType="application/vnd.openxmlformats-officedocument.presentationml.slideLayout+xml"/>
  <Override PartName="/ppt/slideLayouts/slideLayout13109.xml" ContentType="application/vnd.openxmlformats-officedocument.presentationml.slideLayout+xml"/>
  <Override PartName="/ppt/slideLayouts/slideLayout13110.xml" ContentType="application/vnd.openxmlformats-officedocument.presentationml.slideLayout+xml"/>
  <Override PartName="/ppt/slideLayouts/slideLayout13111.xml" ContentType="application/vnd.openxmlformats-officedocument.presentationml.slideLayout+xml"/>
  <Override PartName="/ppt/slideLayouts/slideLayout13112.xml" ContentType="application/vnd.openxmlformats-officedocument.presentationml.slideLayout+xml"/>
  <Override PartName="/ppt/slideLayouts/slideLayout13113.xml" ContentType="application/vnd.openxmlformats-officedocument.presentationml.slideLayout+xml"/>
  <Override PartName="/ppt/slideLayouts/slideLayout13114.xml" ContentType="application/vnd.openxmlformats-officedocument.presentationml.slideLayout+xml"/>
  <Override PartName="/ppt/slideLayouts/slideLayout13115.xml" ContentType="application/vnd.openxmlformats-officedocument.presentationml.slideLayout+xml"/>
  <Override PartName="/ppt/slideLayouts/slideLayout13116.xml" ContentType="application/vnd.openxmlformats-officedocument.presentationml.slideLayout+xml"/>
  <Override PartName="/ppt/slideLayouts/slideLayout13117.xml" ContentType="application/vnd.openxmlformats-officedocument.presentationml.slideLayout+xml"/>
  <Override PartName="/ppt/slideLayouts/slideLayout13118.xml" ContentType="application/vnd.openxmlformats-officedocument.presentationml.slideLayout+xml"/>
  <Override PartName="/ppt/slideLayouts/slideLayout13119.xml" ContentType="application/vnd.openxmlformats-officedocument.presentationml.slideLayout+xml"/>
  <Override PartName="/ppt/slideLayouts/slideLayout13120.xml" ContentType="application/vnd.openxmlformats-officedocument.presentationml.slideLayout+xml"/>
  <Override PartName="/ppt/slideLayouts/slideLayout13121.xml" ContentType="application/vnd.openxmlformats-officedocument.presentationml.slideLayout+xml"/>
  <Override PartName="/ppt/slideLayouts/slideLayout13122.xml" ContentType="application/vnd.openxmlformats-officedocument.presentationml.slideLayout+xml"/>
  <Override PartName="/ppt/slideLayouts/slideLayout13123.xml" ContentType="application/vnd.openxmlformats-officedocument.presentationml.slideLayout+xml"/>
  <Override PartName="/ppt/slideLayouts/slideLayout13124.xml" ContentType="application/vnd.openxmlformats-officedocument.presentationml.slideLayout+xml"/>
  <Override PartName="/ppt/slideLayouts/slideLayout13125.xml" ContentType="application/vnd.openxmlformats-officedocument.presentationml.slideLayout+xml"/>
  <Override PartName="/ppt/slideLayouts/slideLayout13126.xml" ContentType="application/vnd.openxmlformats-officedocument.presentationml.slideLayout+xml"/>
  <Override PartName="/ppt/slideLayouts/slideLayout13127.xml" ContentType="application/vnd.openxmlformats-officedocument.presentationml.slideLayout+xml"/>
  <Override PartName="/ppt/slideLayouts/slideLayout13128.xml" ContentType="application/vnd.openxmlformats-officedocument.presentationml.slideLayout+xml"/>
  <Override PartName="/ppt/slideLayouts/slideLayout13129.xml" ContentType="application/vnd.openxmlformats-officedocument.presentationml.slideLayout+xml"/>
  <Override PartName="/ppt/slideLayouts/slideLayout13130.xml" ContentType="application/vnd.openxmlformats-officedocument.presentationml.slideLayout+xml"/>
  <Override PartName="/ppt/slideLayouts/slideLayout13131.xml" ContentType="application/vnd.openxmlformats-officedocument.presentationml.slideLayout+xml"/>
  <Override PartName="/ppt/slideLayouts/slideLayout13132.xml" ContentType="application/vnd.openxmlformats-officedocument.presentationml.slideLayout+xml"/>
  <Override PartName="/ppt/slideLayouts/slideLayout13133.xml" ContentType="application/vnd.openxmlformats-officedocument.presentationml.slideLayout+xml"/>
  <Override PartName="/ppt/slideLayouts/slideLayout13134.xml" ContentType="application/vnd.openxmlformats-officedocument.presentationml.slideLayout+xml"/>
  <Override PartName="/ppt/slideLayouts/slideLayout13135.xml" ContentType="application/vnd.openxmlformats-officedocument.presentationml.slideLayout+xml"/>
  <Override PartName="/ppt/slideLayouts/slideLayout13136.xml" ContentType="application/vnd.openxmlformats-officedocument.presentationml.slideLayout+xml"/>
  <Override PartName="/ppt/slideLayouts/slideLayout13137.xml" ContentType="application/vnd.openxmlformats-officedocument.presentationml.slideLayout+xml"/>
  <Override PartName="/ppt/slideLayouts/slideLayout13138.xml" ContentType="application/vnd.openxmlformats-officedocument.presentationml.slideLayout+xml"/>
  <Override PartName="/ppt/slideLayouts/slideLayout13139.xml" ContentType="application/vnd.openxmlformats-officedocument.presentationml.slideLayout+xml"/>
  <Override PartName="/ppt/slideLayouts/slideLayout13140.xml" ContentType="application/vnd.openxmlformats-officedocument.presentationml.slideLayout+xml"/>
  <Override PartName="/ppt/slideLayouts/slideLayout13141.xml" ContentType="application/vnd.openxmlformats-officedocument.presentationml.slideLayout+xml"/>
  <Override PartName="/ppt/slideLayouts/slideLayout13142.xml" ContentType="application/vnd.openxmlformats-officedocument.presentationml.slideLayout+xml"/>
  <Override PartName="/ppt/slideLayouts/slideLayout13143.xml" ContentType="application/vnd.openxmlformats-officedocument.presentationml.slideLayout+xml"/>
  <Override PartName="/ppt/slideLayouts/slideLayout13144.xml" ContentType="application/vnd.openxmlformats-officedocument.presentationml.slideLayout+xml"/>
  <Override PartName="/ppt/slideLayouts/slideLayout13145.xml" ContentType="application/vnd.openxmlformats-officedocument.presentationml.slideLayout+xml"/>
  <Override PartName="/ppt/slideLayouts/slideLayout13146.xml" ContentType="application/vnd.openxmlformats-officedocument.presentationml.slideLayout+xml"/>
  <Override PartName="/ppt/slideLayouts/slideLayout13147.xml" ContentType="application/vnd.openxmlformats-officedocument.presentationml.slideLayout+xml"/>
  <Override PartName="/ppt/slideLayouts/slideLayout13148.xml" ContentType="application/vnd.openxmlformats-officedocument.presentationml.slideLayout+xml"/>
  <Override PartName="/ppt/slideLayouts/slideLayout13149.xml" ContentType="application/vnd.openxmlformats-officedocument.presentationml.slideLayout+xml"/>
  <Override PartName="/ppt/slideLayouts/slideLayout13150.xml" ContentType="application/vnd.openxmlformats-officedocument.presentationml.slideLayout+xml"/>
  <Override PartName="/ppt/slideLayouts/slideLayout13151.xml" ContentType="application/vnd.openxmlformats-officedocument.presentationml.slideLayout+xml"/>
  <Override PartName="/ppt/slideLayouts/slideLayout13152.xml" ContentType="application/vnd.openxmlformats-officedocument.presentationml.slideLayout+xml"/>
  <Override PartName="/ppt/slideLayouts/slideLayout13153.xml" ContentType="application/vnd.openxmlformats-officedocument.presentationml.slideLayout+xml"/>
  <Override PartName="/ppt/slideLayouts/slideLayout13154.xml" ContentType="application/vnd.openxmlformats-officedocument.presentationml.slideLayout+xml"/>
  <Override PartName="/ppt/slideLayouts/slideLayout13155.xml" ContentType="application/vnd.openxmlformats-officedocument.presentationml.slideLayout+xml"/>
  <Override PartName="/ppt/slideLayouts/slideLayout13156.xml" ContentType="application/vnd.openxmlformats-officedocument.presentationml.slideLayout+xml"/>
  <Override PartName="/ppt/slideLayouts/slideLayout13157.xml" ContentType="application/vnd.openxmlformats-officedocument.presentationml.slideLayout+xml"/>
  <Override PartName="/ppt/slideLayouts/slideLayout13158.xml" ContentType="application/vnd.openxmlformats-officedocument.presentationml.slideLayout+xml"/>
  <Override PartName="/ppt/slideLayouts/slideLayout13159.xml" ContentType="application/vnd.openxmlformats-officedocument.presentationml.slideLayout+xml"/>
  <Override PartName="/ppt/slideLayouts/slideLayout13160.xml" ContentType="application/vnd.openxmlformats-officedocument.presentationml.slideLayout+xml"/>
  <Override PartName="/ppt/slideLayouts/slideLayout13161.xml" ContentType="application/vnd.openxmlformats-officedocument.presentationml.slideLayout+xml"/>
  <Override PartName="/ppt/slideLayouts/slideLayout13162.xml" ContentType="application/vnd.openxmlformats-officedocument.presentationml.slideLayout+xml"/>
  <Override PartName="/ppt/slideLayouts/slideLayout13163.xml" ContentType="application/vnd.openxmlformats-officedocument.presentationml.slideLayout+xml"/>
  <Override PartName="/ppt/slideLayouts/slideLayout13164.xml" ContentType="application/vnd.openxmlformats-officedocument.presentationml.slideLayout+xml"/>
  <Override PartName="/ppt/slideLayouts/slideLayout13165.xml" ContentType="application/vnd.openxmlformats-officedocument.presentationml.slideLayout+xml"/>
  <Override PartName="/ppt/slideLayouts/slideLayout13166.xml" ContentType="application/vnd.openxmlformats-officedocument.presentationml.slideLayout+xml"/>
  <Override PartName="/ppt/slideLayouts/slideLayout13167.xml" ContentType="application/vnd.openxmlformats-officedocument.presentationml.slideLayout+xml"/>
  <Override PartName="/ppt/slideLayouts/slideLayout13168.xml" ContentType="application/vnd.openxmlformats-officedocument.presentationml.slideLayout+xml"/>
  <Override PartName="/ppt/slideLayouts/slideLayout13169.xml" ContentType="application/vnd.openxmlformats-officedocument.presentationml.slideLayout+xml"/>
  <Override PartName="/ppt/slideLayouts/slideLayout13170.xml" ContentType="application/vnd.openxmlformats-officedocument.presentationml.slideLayout+xml"/>
  <Override PartName="/ppt/slideLayouts/slideLayout13171.xml" ContentType="application/vnd.openxmlformats-officedocument.presentationml.slideLayout+xml"/>
  <Override PartName="/ppt/slideLayouts/slideLayout13172.xml" ContentType="application/vnd.openxmlformats-officedocument.presentationml.slideLayout+xml"/>
  <Override PartName="/ppt/slideLayouts/slideLayout13173.xml" ContentType="application/vnd.openxmlformats-officedocument.presentationml.slideLayout+xml"/>
  <Override PartName="/ppt/slideLayouts/slideLayout13174.xml" ContentType="application/vnd.openxmlformats-officedocument.presentationml.slideLayout+xml"/>
  <Override PartName="/ppt/slideLayouts/slideLayout13175.xml" ContentType="application/vnd.openxmlformats-officedocument.presentationml.slideLayout+xml"/>
  <Override PartName="/ppt/slideLayouts/slideLayout13176.xml" ContentType="application/vnd.openxmlformats-officedocument.presentationml.slideLayout+xml"/>
  <Override PartName="/ppt/slideLayouts/slideLayout13177.xml" ContentType="application/vnd.openxmlformats-officedocument.presentationml.slideLayout+xml"/>
  <Override PartName="/ppt/slideLayouts/slideLayout13178.xml" ContentType="application/vnd.openxmlformats-officedocument.presentationml.slideLayout+xml"/>
  <Override PartName="/ppt/slideLayouts/slideLayout13179.xml" ContentType="application/vnd.openxmlformats-officedocument.presentationml.slideLayout+xml"/>
  <Override PartName="/ppt/slideLayouts/slideLayout13180.xml" ContentType="application/vnd.openxmlformats-officedocument.presentationml.slideLayout+xml"/>
  <Override PartName="/ppt/slideLayouts/slideLayout13181.xml" ContentType="application/vnd.openxmlformats-officedocument.presentationml.slideLayout+xml"/>
  <Override PartName="/ppt/slideLayouts/slideLayout13182.xml" ContentType="application/vnd.openxmlformats-officedocument.presentationml.slideLayout+xml"/>
  <Override PartName="/ppt/slideLayouts/slideLayout13183.xml" ContentType="application/vnd.openxmlformats-officedocument.presentationml.slideLayout+xml"/>
  <Override PartName="/ppt/slideLayouts/slideLayout13184.xml" ContentType="application/vnd.openxmlformats-officedocument.presentationml.slideLayout+xml"/>
  <Override PartName="/ppt/slideLayouts/slideLayout13185.xml" ContentType="application/vnd.openxmlformats-officedocument.presentationml.slideLayout+xml"/>
  <Override PartName="/ppt/slideLayouts/slideLayout13186.xml" ContentType="application/vnd.openxmlformats-officedocument.presentationml.slideLayout+xml"/>
  <Override PartName="/ppt/slideLayouts/slideLayout13187.xml" ContentType="application/vnd.openxmlformats-officedocument.presentationml.slideLayout+xml"/>
  <Override PartName="/ppt/slideLayouts/slideLayout13188.xml" ContentType="application/vnd.openxmlformats-officedocument.presentationml.slideLayout+xml"/>
  <Override PartName="/ppt/slideLayouts/slideLayout13189.xml" ContentType="application/vnd.openxmlformats-officedocument.presentationml.slideLayout+xml"/>
  <Override PartName="/ppt/slideLayouts/slideLayout13190.xml" ContentType="application/vnd.openxmlformats-officedocument.presentationml.slideLayout+xml"/>
  <Override PartName="/ppt/slideLayouts/slideLayout13191.xml" ContentType="application/vnd.openxmlformats-officedocument.presentationml.slideLayout+xml"/>
  <Override PartName="/ppt/slideLayouts/slideLayout13192.xml" ContentType="application/vnd.openxmlformats-officedocument.presentationml.slideLayout+xml"/>
  <Override PartName="/ppt/slideLayouts/slideLayout13193.xml" ContentType="application/vnd.openxmlformats-officedocument.presentationml.slideLayout+xml"/>
  <Override PartName="/ppt/slideLayouts/slideLayout13194.xml" ContentType="application/vnd.openxmlformats-officedocument.presentationml.slideLayout+xml"/>
  <Override PartName="/ppt/slideLayouts/slideLayout13195.xml" ContentType="application/vnd.openxmlformats-officedocument.presentationml.slideLayout+xml"/>
  <Override PartName="/ppt/slideLayouts/slideLayout13196.xml" ContentType="application/vnd.openxmlformats-officedocument.presentationml.slideLayout+xml"/>
  <Override PartName="/ppt/slideLayouts/slideLayout13197.xml" ContentType="application/vnd.openxmlformats-officedocument.presentationml.slideLayout+xml"/>
  <Override PartName="/ppt/slideLayouts/slideLayout13198.xml" ContentType="application/vnd.openxmlformats-officedocument.presentationml.slideLayout+xml"/>
  <Override PartName="/ppt/slideLayouts/slideLayout13199.xml" ContentType="application/vnd.openxmlformats-officedocument.presentationml.slideLayout+xml"/>
  <Override PartName="/ppt/slideLayouts/slideLayout13200.xml" ContentType="application/vnd.openxmlformats-officedocument.presentationml.slideLayout+xml"/>
  <Override PartName="/ppt/slideLayouts/slideLayout13201.xml" ContentType="application/vnd.openxmlformats-officedocument.presentationml.slideLayout+xml"/>
  <Override PartName="/ppt/slideLayouts/slideLayout13202.xml" ContentType="application/vnd.openxmlformats-officedocument.presentationml.slideLayout+xml"/>
  <Override PartName="/ppt/slideLayouts/slideLayout13203.xml" ContentType="application/vnd.openxmlformats-officedocument.presentationml.slideLayout+xml"/>
  <Override PartName="/ppt/slideLayouts/slideLayout13204.xml" ContentType="application/vnd.openxmlformats-officedocument.presentationml.slideLayout+xml"/>
  <Override PartName="/ppt/slideLayouts/slideLayout13205.xml" ContentType="application/vnd.openxmlformats-officedocument.presentationml.slideLayout+xml"/>
  <Override PartName="/ppt/slideLayouts/slideLayout13206.xml" ContentType="application/vnd.openxmlformats-officedocument.presentationml.slideLayout+xml"/>
  <Override PartName="/ppt/slideLayouts/slideLayout13207.xml" ContentType="application/vnd.openxmlformats-officedocument.presentationml.slideLayout+xml"/>
  <Override PartName="/ppt/slideLayouts/slideLayout13208.xml" ContentType="application/vnd.openxmlformats-officedocument.presentationml.slideLayout+xml"/>
  <Override PartName="/ppt/slideLayouts/slideLayout13209.xml" ContentType="application/vnd.openxmlformats-officedocument.presentationml.slideLayout+xml"/>
  <Override PartName="/ppt/slideLayouts/slideLayout13210.xml" ContentType="application/vnd.openxmlformats-officedocument.presentationml.slideLayout+xml"/>
  <Override PartName="/ppt/slideLayouts/slideLayout13211.xml" ContentType="application/vnd.openxmlformats-officedocument.presentationml.slideLayout+xml"/>
  <Override PartName="/ppt/slideLayouts/slideLayout13212.xml" ContentType="application/vnd.openxmlformats-officedocument.presentationml.slideLayout+xml"/>
  <Override PartName="/ppt/slideLayouts/slideLayout13213.xml" ContentType="application/vnd.openxmlformats-officedocument.presentationml.slideLayout+xml"/>
  <Override PartName="/ppt/slideLayouts/slideLayout13214.xml" ContentType="application/vnd.openxmlformats-officedocument.presentationml.slideLayout+xml"/>
  <Override PartName="/ppt/slideLayouts/slideLayout13215.xml" ContentType="application/vnd.openxmlformats-officedocument.presentationml.slideLayout+xml"/>
  <Override PartName="/ppt/slideLayouts/slideLayout13216.xml" ContentType="application/vnd.openxmlformats-officedocument.presentationml.slideLayout+xml"/>
  <Override PartName="/ppt/slideLayouts/slideLayout13217.xml" ContentType="application/vnd.openxmlformats-officedocument.presentationml.slideLayout+xml"/>
  <Override PartName="/ppt/slideLayouts/slideLayout13218.xml" ContentType="application/vnd.openxmlformats-officedocument.presentationml.slideLayout+xml"/>
  <Override PartName="/ppt/slideLayouts/slideLayout13219.xml" ContentType="application/vnd.openxmlformats-officedocument.presentationml.slideLayout+xml"/>
  <Override PartName="/ppt/slideLayouts/slideLayout13220.xml" ContentType="application/vnd.openxmlformats-officedocument.presentationml.slideLayout+xml"/>
  <Override PartName="/ppt/slideLayouts/slideLayout13221.xml" ContentType="application/vnd.openxmlformats-officedocument.presentationml.slideLayout+xml"/>
  <Override PartName="/ppt/slideLayouts/slideLayout13222.xml" ContentType="application/vnd.openxmlformats-officedocument.presentationml.slideLayout+xml"/>
  <Override PartName="/ppt/slideLayouts/slideLayout13223.xml" ContentType="application/vnd.openxmlformats-officedocument.presentationml.slideLayout+xml"/>
  <Override PartName="/ppt/slideLayouts/slideLayout13224.xml" ContentType="application/vnd.openxmlformats-officedocument.presentationml.slideLayout+xml"/>
  <Override PartName="/ppt/slideLayouts/slideLayout13225.xml" ContentType="application/vnd.openxmlformats-officedocument.presentationml.slideLayout+xml"/>
  <Override PartName="/ppt/slideLayouts/slideLayout13226.xml" ContentType="application/vnd.openxmlformats-officedocument.presentationml.slideLayout+xml"/>
  <Override PartName="/ppt/slideLayouts/slideLayout13227.xml" ContentType="application/vnd.openxmlformats-officedocument.presentationml.slideLayout+xml"/>
  <Override PartName="/ppt/slideLayouts/slideLayout13228.xml" ContentType="application/vnd.openxmlformats-officedocument.presentationml.slideLayout+xml"/>
  <Override PartName="/ppt/slideLayouts/slideLayout13229.xml" ContentType="application/vnd.openxmlformats-officedocument.presentationml.slideLayout+xml"/>
  <Override PartName="/ppt/slideLayouts/slideLayout13230.xml" ContentType="application/vnd.openxmlformats-officedocument.presentationml.slideLayout+xml"/>
  <Override PartName="/ppt/slideLayouts/slideLayout13231.xml" ContentType="application/vnd.openxmlformats-officedocument.presentationml.slideLayout+xml"/>
  <Override PartName="/ppt/slideLayouts/slideLayout13232.xml" ContentType="application/vnd.openxmlformats-officedocument.presentationml.slideLayout+xml"/>
  <Override PartName="/ppt/slideLayouts/slideLayout13233.xml" ContentType="application/vnd.openxmlformats-officedocument.presentationml.slideLayout+xml"/>
  <Override PartName="/ppt/slideLayouts/slideLayout13234.xml" ContentType="application/vnd.openxmlformats-officedocument.presentationml.slideLayout+xml"/>
  <Override PartName="/ppt/slideLayouts/slideLayout13235.xml" ContentType="application/vnd.openxmlformats-officedocument.presentationml.slideLayout+xml"/>
  <Override PartName="/ppt/slideLayouts/slideLayout13236.xml" ContentType="application/vnd.openxmlformats-officedocument.presentationml.slideLayout+xml"/>
  <Override PartName="/ppt/slideLayouts/slideLayout13237.xml" ContentType="application/vnd.openxmlformats-officedocument.presentationml.slideLayout+xml"/>
  <Override PartName="/ppt/slideLayouts/slideLayout13238.xml" ContentType="application/vnd.openxmlformats-officedocument.presentationml.slideLayout+xml"/>
  <Override PartName="/ppt/slideLayouts/slideLayout13239.xml" ContentType="application/vnd.openxmlformats-officedocument.presentationml.slideLayout+xml"/>
  <Override PartName="/ppt/slideLayouts/slideLayout13240.xml" ContentType="application/vnd.openxmlformats-officedocument.presentationml.slideLayout+xml"/>
  <Override PartName="/ppt/slideLayouts/slideLayout13241.xml" ContentType="application/vnd.openxmlformats-officedocument.presentationml.slideLayout+xml"/>
  <Override PartName="/ppt/slideLayouts/slideLayout13242.xml" ContentType="application/vnd.openxmlformats-officedocument.presentationml.slideLayout+xml"/>
  <Override PartName="/ppt/slideLayouts/slideLayout13243.xml" ContentType="application/vnd.openxmlformats-officedocument.presentationml.slideLayout+xml"/>
  <Override PartName="/ppt/slideLayouts/slideLayout13244.xml" ContentType="application/vnd.openxmlformats-officedocument.presentationml.slideLayout+xml"/>
  <Override PartName="/ppt/slideLayouts/slideLayout13245.xml" ContentType="application/vnd.openxmlformats-officedocument.presentationml.slideLayout+xml"/>
  <Override PartName="/ppt/slideLayouts/slideLayout13246.xml" ContentType="application/vnd.openxmlformats-officedocument.presentationml.slideLayout+xml"/>
  <Override PartName="/ppt/slideLayouts/slideLayout13247.xml" ContentType="application/vnd.openxmlformats-officedocument.presentationml.slideLayout+xml"/>
  <Override PartName="/ppt/slideLayouts/slideLayout13248.xml" ContentType="application/vnd.openxmlformats-officedocument.presentationml.slideLayout+xml"/>
  <Override PartName="/ppt/slideLayouts/slideLayout13249.xml" ContentType="application/vnd.openxmlformats-officedocument.presentationml.slideLayout+xml"/>
  <Override PartName="/ppt/slideLayouts/slideLayout13250.xml" ContentType="application/vnd.openxmlformats-officedocument.presentationml.slideLayout+xml"/>
  <Override PartName="/ppt/slideLayouts/slideLayout13251.xml" ContentType="application/vnd.openxmlformats-officedocument.presentationml.slideLayout+xml"/>
  <Override PartName="/ppt/slideLayouts/slideLayout13252.xml" ContentType="application/vnd.openxmlformats-officedocument.presentationml.slideLayout+xml"/>
  <Override PartName="/ppt/slideLayouts/slideLayout13253.xml" ContentType="application/vnd.openxmlformats-officedocument.presentationml.slideLayout+xml"/>
  <Override PartName="/ppt/slideLayouts/slideLayout13254.xml" ContentType="application/vnd.openxmlformats-officedocument.presentationml.slideLayout+xml"/>
  <Override PartName="/ppt/slideLayouts/slideLayout13255.xml" ContentType="application/vnd.openxmlformats-officedocument.presentationml.slideLayout+xml"/>
  <Override PartName="/ppt/slideLayouts/slideLayout13256.xml" ContentType="application/vnd.openxmlformats-officedocument.presentationml.slideLayout+xml"/>
  <Override PartName="/ppt/slideLayouts/slideLayout13257.xml" ContentType="application/vnd.openxmlformats-officedocument.presentationml.slideLayout+xml"/>
  <Override PartName="/ppt/slideLayouts/slideLayout13258.xml" ContentType="application/vnd.openxmlformats-officedocument.presentationml.slideLayout+xml"/>
  <Override PartName="/ppt/slideLayouts/slideLayout13259.xml" ContentType="application/vnd.openxmlformats-officedocument.presentationml.slideLayout+xml"/>
  <Override PartName="/ppt/slideLayouts/slideLayout13260.xml" ContentType="application/vnd.openxmlformats-officedocument.presentationml.slideLayout+xml"/>
  <Override PartName="/ppt/slideLayouts/slideLayout13261.xml" ContentType="application/vnd.openxmlformats-officedocument.presentationml.slideLayout+xml"/>
  <Override PartName="/ppt/slideLayouts/slideLayout13262.xml" ContentType="application/vnd.openxmlformats-officedocument.presentationml.slideLayout+xml"/>
  <Override PartName="/ppt/slideLayouts/slideLayout13263.xml" ContentType="application/vnd.openxmlformats-officedocument.presentationml.slideLayout+xml"/>
  <Override PartName="/ppt/slideLayouts/slideLayout13264.xml" ContentType="application/vnd.openxmlformats-officedocument.presentationml.slideLayout+xml"/>
  <Override PartName="/ppt/slideLayouts/slideLayout13265.xml" ContentType="application/vnd.openxmlformats-officedocument.presentationml.slideLayout+xml"/>
  <Override PartName="/ppt/slideLayouts/slideLayout13266.xml" ContentType="application/vnd.openxmlformats-officedocument.presentationml.slideLayout+xml"/>
  <Override PartName="/ppt/slideLayouts/slideLayout13267.xml" ContentType="application/vnd.openxmlformats-officedocument.presentationml.slideLayout+xml"/>
  <Override PartName="/ppt/slideLayouts/slideLayout13268.xml" ContentType="application/vnd.openxmlformats-officedocument.presentationml.slideLayout+xml"/>
  <Override PartName="/ppt/slideLayouts/slideLayout13269.xml" ContentType="application/vnd.openxmlformats-officedocument.presentationml.slideLayout+xml"/>
  <Override PartName="/ppt/slideLayouts/slideLayout13270.xml" ContentType="application/vnd.openxmlformats-officedocument.presentationml.slideLayout+xml"/>
  <Override PartName="/ppt/slideLayouts/slideLayout13271.xml" ContentType="application/vnd.openxmlformats-officedocument.presentationml.slideLayout+xml"/>
  <Override PartName="/ppt/slideLayouts/slideLayout13272.xml" ContentType="application/vnd.openxmlformats-officedocument.presentationml.slideLayout+xml"/>
  <Override PartName="/ppt/slideLayouts/slideLayout13273.xml" ContentType="application/vnd.openxmlformats-officedocument.presentationml.slideLayout+xml"/>
  <Override PartName="/ppt/slideLayouts/slideLayout13274.xml" ContentType="application/vnd.openxmlformats-officedocument.presentationml.slideLayout+xml"/>
  <Override PartName="/ppt/slideLayouts/slideLayout13275.xml" ContentType="application/vnd.openxmlformats-officedocument.presentationml.slideLayout+xml"/>
  <Override PartName="/ppt/slideLayouts/slideLayout13276.xml" ContentType="application/vnd.openxmlformats-officedocument.presentationml.slideLayout+xml"/>
  <Override PartName="/ppt/slideLayouts/slideLayout13277.xml" ContentType="application/vnd.openxmlformats-officedocument.presentationml.slideLayout+xml"/>
  <Override PartName="/ppt/slideLayouts/slideLayout13278.xml" ContentType="application/vnd.openxmlformats-officedocument.presentationml.slideLayout+xml"/>
  <Override PartName="/ppt/slideLayouts/slideLayout13279.xml" ContentType="application/vnd.openxmlformats-officedocument.presentationml.slideLayout+xml"/>
  <Override PartName="/ppt/slideLayouts/slideLayout13280.xml" ContentType="application/vnd.openxmlformats-officedocument.presentationml.slideLayout+xml"/>
  <Override PartName="/ppt/slideLayouts/slideLayout13281.xml" ContentType="application/vnd.openxmlformats-officedocument.presentationml.slideLayout+xml"/>
  <Override PartName="/ppt/slideLayouts/slideLayout13282.xml" ContentType="application/vnd.openxmlformats-officedocument.presentationml.slideLayout+xml"/>
  <Override PartName="/ppt/slideLayouts/slideLayout13283.xml" ContentType="application/vnd.openxmlformats-officedocument.presentationml.slideLayout+xml"/>
  <Override PartName="/ppt/slideLayouts/slideLayout13284.xml" ContentType="application/vnd.openxmlformats-officedocument.presentationml.slideLayout+xml"/>
  <Override PartName="/ppt/slideLayouts/slideLayout13285.xml" ContentType="application/vnd.openxmlformats-officedocument.presentationml.slideLayout+xml"/>
  <Override PartName="/ppt/slideLayouts/slideLayout13286.xml" ContentType="application/vnd.openxmlformats-officedocument.presentationml.slideLayout+xml"/>
  <Override PartName="/ppt/slideLayouts/slideLayout13287.xml" ContentType="application/vnd.openxmlformats-officedocument.presentationml.slideLayout+xml"/>
  <Override PartName="/ppt/slideLayouts/slideLayout13288.xml" ContentType="application/vnd.openxmlformats-officedocument.presentationml.slideLayout+xml"/>
  <Override PartName="/ppt/slideLayouts/slideLayout13289.xml" ContentType="application/vnd.openxmlformats-officedocument.presentationml.slideLayout+xml"/>
  <Override PartName="/ppt/slideLayouts/slideLayout13290.xml" ContentType="application/vnd.openxmlformats-officedocument.presentationml.slideLayout+xml"/>
  <Override PartName="/ppt/slideLayouts/slideLayout13291.xml" ContentType="application/vnd.openxmlformats-officedocument.presentationml.slideLayout+xml"/>
  <Override PartName="/ppt/slideLayouts/slideLayout13292.xml" ContentType="application/vnd.openxmlformats-officedocument.presentationml.slideLayout+xml"/>
  <Override PartName="/ppt/slideLayouts/slideLayout13293.xml" ContentType="application/vnd.openxmlformats-officedocument.presentationml.slideLayout+xml"/>
  <Override PartName="/ppt/slideLayouts/slideLayout13294.xml" ContentType="application/vnd.openxmlformats-officedocument.presentationml.slideLayout+xml"/>
  <Override PartName="/ppt/slideLayouts/slideLayout13295.xml" ContentType="application/vnd.openxmlformats-officedocument.presentationml.slideLayout+xml"/>
  <Override PartName="/ppt/slideLayouts/slideLayout13296.xml" ContentType="application/vnd.openxmlformats-officedocument.presentationml.slideLayout+xml"/>
  <Override PartName="/ppt/slideLayouts/slideLayout13297.xml" ContentType="application/vnd.openxmlformats-officedocument.presentationml.slideLayout+xml"/>
  <Override PartName="/ppt/slideLayouts/slideLayout13298.xml" ContentType="application/vnd.openxmlformats-officedocument.presentationml.slideLayout+xml"/>
  <Override PartName="/ppt/slideLayouts/slideLayout13299.xml" ContentType="application/vnd.openxmlformats-officedocument.presentationml.slideLayout+xml"/>
  <Override PartName="/ppt/slideLayouts/slideLayout13300.xml" ContentType="application/vnd.openxmlformats-officedocument.presentationml.slideLayout+xml"/>
  <Override PartName="/ppt/slideLayouts/slideLayout13301.xml" ContentType="application/vnd.openxmlformats-officedocument.presentationml.slideLayout+xml"/>
  <Override PartName="/ppt/slideLayouts/slideLayout13302.xml" ContentType="application/vnd.openxmlformats-officedocument.presentationml.slideLayout+xml"/>
  <Override PartName="/ppt/slideLayouts/slideLayout13303.xml" ContentType="application/vnd.openxmlformats-officedocument.presentationml.slideLayout+xml"/>
  <Override PartName="/ppt/slideLayouts/slideLayout13304.xml" ContentType="application/vnd.openxmlformats-officedocument.presentationml.slideLayout+xml"/>
  <Override PartName="/ppt/slideLayouts/slideLayout13305.xml" ContentType="application/vnd.openxmlformats-officedocument.presentationml.slideLayout+xml"/>
  <Override PartName="/ppt/slideLayouts/slideLayout13306.xml" ContentType="application/vnd.openxmlformats-officedocument.presentationml.slideLayout+xml"/>
  <Override PartName="/ppt/slideLayouts/slideLayout13307.xml" ContentType="application/vnd.openxmlformats-officedocument.presentationml.slideLayout+xml"/>
  <Override PartName="/ppt/slideLayouts/slideLayout13308.xml" ContentType="application/vnd.openxmlformats-officedocument.presentationml.slideLayout+xml"/>
  <Override PartName="/ppt/slideLayouts/slideLayout13309.xml" ContentType="application/vnd.openxmlformats-officedocument.presentationml.slideLayout+xml"/>
  <Override PartName="/ppt/slideLayouts/slideLayout13310.xml" ContentType="application/vnd.openxmlformats-officedocument.presentationml.slideLayout+xml"/>
  <Override PartName="/ppt/slideLayouts/slideLayout13311.xml" ContentType="application/vnd.openxmlformats-officedocument.presentationml.slideLayout+xml"/>
  <Override PartName="/ppt/slideLayouts/slideLayout13312.xml" ContentType="application/vnd.openxmlformats-officedocument.presentationml.slideLayout+xml"/>
  <Override PartName="/ppt/slideLayouts/slideLayout13313.xml" ContentType="application/vnd.openxmlformats-officedocument.presentationml.slideLayout+xml"/>
  <Override PartName="/ppt/slideLayouts/slideLayout13314.xml" ContentType="application/vnd.openxmlformats-officedocument.presentationml.slideLayout+xml"/>
  <Override PartName="/ppt/slideLayouts/slideLayout13315.xml" ContentType="application/vnd.openxmlformats-officedocument.presentationml.slideLayout+xml"/>
  <Override PartName="/ppt/slideLayouts/slideLayout13316.xml" ContentType="application/vnd.openxmlformats-officedocument.presentationml.slideLayout+xml"/>
  <Override PartName="/ppt/slideLayouts/slideLayout13317.xml" ContentType="application/vnd.openxmlformats-officedocument.presentationml.slideLayout+xml"/>
  <Override PartName="/ppt/slideLayouts/slideLayout13318.xml" ContentType="application/vnd.openxmlformats-officedocument.presentationml.slideLayout+xml"/>
  <Override PartName="/ppt/slideLayouts/slideLayout13319.xml" ContentType="application/vnd.openxmlformats-officedocument.presentationml.slideLayout+xml"/>
  <Override PartName="/ppt/slideLayouts/slideLayout13320.xml" ContentType="application/vnd.openxmlformats-officedocument.presentationml.slideLayout+xml"/>
  <Override PartName="/ppt/slideLayouts/slideLayout13321.xml" ContentType="application/vnd.openxmlformats-officedocument.presentationml.slideLayout+xml"/>
  <Override PartName="/ppt/slideLayouts/slideLayout13322.xml" ContentType="application/vnd.openxmlformats-officedocument.presentationml.slideLayout+xml"/>
  <Override PartName="/ppt/slideLayouts/slideLayout13323.xml" ContentType="application/vnd.openxmlformats-officedocument.presentationml.slideLayout+xml"/>
  <Override PartName="/ppt/slideLayouts/slideLayout13324.xml" ContentType="application/vnd.openxmlformats-officedocument.presentationml.slideLayout+xml"/>
  <Override PartName="/ppt/slideLayouts/slideLayout13325.xml" ContentType="application/vnd.openxmlformats-officedocument.presentationml.slideLayout+xml"/>
  <Override PartName="/ppt/slideLayouts/slideLayout13326.xml" ContentType="application/vnd.openxmlformats-officedocument.presentationml.slideLayout+xml"/>
  <Override PartName="/ppt/slideLayouts/slideLayout13327.xml" ContentType="application/vnd.openxmlformats-officedocument.presentationml.slideLayout+xml"/>
  <Override PartName="/ppt/slideLayouts/slideLayout13328.xml" ContentType="application/vnd.openxmlformats-officedocument.presentationml.slideLayout+xml"/>
  <Override PartName="/ppt/slideLayouts/slideLayout13329.xml" ContentType="application/vnd.openxmlformats-officedocument.presentationml.slideLayout+xml"/>
  <Override PartName="/ppt/slideLayouts/slideLayout13330.xml" ContentType="application/vnd.openxmlformats-officedocument.presentationml.slideLayout+xml"/>
  <Override PartName="/ppt/slideLayouts/slideLayout13331.xml" ContentType="application/vnd.openxmlformats-officedocument.presentationml.slideLayout+xml"/>
  <Override PartName="/ppt/slideLayouts/slideLayout13332.xml" ContentType="application/vnd.openxmlformats-officedocument.presentationml.slideLayout+xml"/>
  <Override PartName="/ppt/slideLayouts/slideLayout13333.xml" ContentType="application/vnd.openxmlformats-officedocument.presentationml.slideLayout+xml"/>
  <Override PartName="/ppt/slideLayouts/slideLayout13334.xml" ContentType="application/vnd.openxmlformats-officedocument.presentationml.slideLayout+xml"/>
  <Override PartName="/ppt/slideLayouts/slideLayout13335.xml" ContentType="application/vnd.openxmlformats-officedocument.presentationml.slideLayout+xml"/>
  <Override PartName="/ppt/slideLayouts/slideLayout13336.xml" ContentType="application/vnd.openxmlformats-officedocument.presentationml.slideLayout+xml"/>
  <Override PartName="/ppt/slideLayouts/slideLayout13337.xml" ContentType="application/vnd.openxmlformats-officedocument.presentationml.slideLayout+xml"/>
  <Override PartName="/ppt/slideLayouts/slideLayout13338.xml" ContentType="application/vnd.openxmlformats-officedocument.presentationml.slideLayout+xml"/>
  <Override PartName="/ppt/slideLayouts/slideLayout13339.xml" ContentType="application/vnd.openxmlformats-officedocument.presentationml.slideLayout+xml"/>
  <Override PartName="/ppt/slideLayouts/slideLayout13340.xml" ContentType="application/vnd.openxmlformats-officedocument.presentationml.slideLayout+xml"/>
  <Override PartName="/ppt/slideLayouts/slideLayout13341.xml" ContentType="application/vnd.openxmlformats-officedocument.presentationml.slideLayout+xml"/>
  <Override PartName="/ppt/slideLayouts/slideLayout13342.xml" ContentType="application/vnd.openxmlformats-officedocument.presentationml.slideLayout+xml"/>
  <Override PartName="/ppt/slideLayouts/slideLayout13343.xml" ContentType="application/vnd.openxmlformats-officedocument.presentationml.slideLayout+xml"/>
  <Override PartName="/ppt/slideLayouts/slideLayout13344.xml" ContentType="application/vnd.openxmlformats-officedocument.presentationml.slideLayout+xml"/>
  <Override PartName="/ppt/slideLayouts/slideLayout13345.xml" ContentType="application/vnd.openxmlformats-officedocument.presentationml.slideLayout+xml"/>
  <Override PartName="/ppt/slideLayouts/slideLayout13346.xml" ContentType="application/vnd.openxmlformats-officedocument.presentationml.slideLayout+xml"/>
  <Override PartName="/ppt/slideLayouts/slideLayout13347.xml" ContentType="application/vnd.openxmlformats-officedocument.presentationml.slideLayout+xml"/>
  <Override PartName="/ppt/slideLayouts/slideLayout13348.xml" ContentType="application/vnd.openxmlformats-officedocument.presentationml.slideLayout+xml"/>
  <Override PartName="/ppt/slideLayouts/slideLayout13349.xml" ContentType="application/vnd.openxmlformats-officedocument.presentationml.slideLayout+xml"/>
  <Override PartName="/ppt/slideLayouts/slideLayout13350.xml" ContentType="application/vnd.openxmlformats-officedocument.presentationml.slideLayout+xml"/>
  <Override PartName="/ppt/slideLayouts/slideLayout13351.xml" ContentType="application/vnd.openxmlformats-officedocument.presentationml.slideLayout+xml"/>
  <Override PartName="/ppt/slideLayouts/slideLayout13352.xml" ContentType="application/vnd.openxmlformats-officedocument.presentationml.slideLayout+xml"/>
  <Override PartName="/ppt/slideLayouts/slideLayout13353.xml" ContentType="application/vnd.openxmlformats-officedocument.presentationml.slideLayout+xml"/>
  <Override PartName="/ppt/slideLayouts/slideLayout13354.xml" ContentType="application/vnd.openxmlformats-officedocument.presentationml.slideLayout+xml"/>
  <Override PartName="/ppt/slideLayouts/slideLayout13355.xml" ContentType="application/vnd.openxmlformats-officedocument.presentationml.slideLayout+xml"/>
  <Override PartName="/ppt/slideLayouts/slideLayout13356.xml" ContentType="application/vnd.openxmlformats-officedocument.presentationml.slideLayout+xml"/>
  <Override PartName="/ppt/slideLayouts/slideLayout13357.xml" ContentType="application/vnd.openxmlformats-officedocument.presentationml.slideLayout+xml"/>
  <Override PartName="/ppt/slideLayouts/slideLayout13358.xml" ContentType="application/vnd.openxmlformats-officedocument.presentationml.slideLayout+xml"/>
  <Override PartName="/ppt/slideLayouts/slideLayout13359.xml" ContentType="application/vnd.openxmlformats-officedocument.presentationml.slideLayout+xml"/>
  <Override PartName="/ppt/slideLayouts/slideLayout13360.xml" ContentType="application/vnd.openxmlformats-officedocument.presentationml.slideLayout+xml"/>
  <Override PartName="/ppt/slideLayouts/slideLayout13361.xml" ContentType="application/vnd.openxmlformats-officedocument.presentationml.slideLayout+xml"/>
  <Override PartName="/ppt/slideLayouts/slideLayout13362.xml" ContentType="application/vnd.openxmlformats-officedocument.presentationml.slideLayout+xml"/>
  <Override PartName="/ppt/slideLayouts/slideLayout13363.xml" ContentType="application/vnd.openxmlformats-officedocument.presentationml.slideLayout+xml"/>
  <Override PartName="/ppt/slideLayouts/slideLayout13364.xml" ContentType="application/vnd.openxmlformats-officedocument.presentationml.slideLayout+xml"/>
  <Override PartName="/ppt/slideLayouts/slideLayout13365.xml" ContentType="application/vnd.openxmlformats-officedocument.presentationml.slideLayout+xml"/>
  <Override PartName="/ppt/slideLayouts/slideLayout13366.xml" ContentType="application/vnd.openxmlformats-officedocument.presentationml.slideLayout+xml"/>
  <Override PartName="/ppt/slideLayouts/slideLayout13367.xml" ContentType="application/vnd.openxmlformats-officedocument.presentationml.slideLayout+xml"/>
  <Override PartName="/ppt/slideLayouts/slideLayout13368.xml" ContentType="application/vnd.openxmlformats-officedocument.presentationml.slideLayout+xml"/>
  <Override PartName="/ppt/slideLayouts/slideLayout13369.xml" ContentType="application/vnd.openxmlformats-officedocument.presentationml.slideLayout+xml"/>
  <Override PartName="/ppt/slideLayouts/slideLayout13370.xml" ContentType="application/vnd.openxmlformats-officedocument.presentationml.slideLayout+xml"/>
  <Override PartName="/ppt/slideLayouts/slideLayout13371.xml" ContentType="application/vnd.openxmlformats-officedocument.presentationml.slideLayout+xml"/>
  <Override PartName="/ppt/slideLayouts/slideLayout13372.xml" ContentType="application/vnd.openxmlformats-officedocument.presentationml.slideLayout+xml"/>
  <Override PartName="/ppt/slideLayouts/slideLayout13373.xml" ContentType="application/vnd.openxmlformats-officedocument.presentationml.slideLayout+xml"/>
  <Override PartName="/ppt/slideLayouts/slideLayout13374.xml" ContentType="application/vnd.openxmlformats-officedocument.presentationml.slideLayout+xml"/>
  <Override PartName="/ppt/slideLayouts/slideLayout13375.xml" ContentType="application/vnd.openxmlformats-officedocument.presentationml.slideLayout+xml"/>
  <Override PartName="/ppt/slideLayouts/slideLayout13376.xml" ContentType="application/vnd.openxmlformats-officedocument.presentationml.slideLayout+xml"/>
  <Override PartName="/ppt/slideLayouts/slideLayout13377.xml" ContentType="application/vnd.openxmlformats-officedocument.presentationml.slideLayout+xml"/>
  <Override PartName="/ppt/slideLayouts/slideLayout13378.xml" ContentType="application/vnd.openxmlformats-officedocument.presentationml.slideLayout+xml"/>
  <Override PartName="/ppt/slideLayouts/slideLayout13379.xml" ContentType="application/vnd.openxmlformats-officedocument.presentationml.slideLayout+xml"/>
  <Override PartName="/ppt/slideLayouts/slideLayout13380.xml" ContentType="application/vnd.openxmlformats-officedocument.presentationml.slideLayout+xml"/>
  <Override PartName="/ppt/slideLayouts/slideLayout13381.xml" ContentType="application/vnd.openxmlformats-officedocument.presentationml.slideLayout+xml"/>
  <Override PartName="/ppt/slideLayouts/slideLayout13382.xml" ContentType="application/vnd.openxmlformats-officedocument.presentationml.slideLayout+xml"/>
  <Override PartName="/ppt/slideLayouts/slideLayout13383.xml" ContentType="application/vnd.openxmlformats-officedocument.presentationml.slideLayout+xml"/>
  <Override PartName="/ppt/slideLayouts/slideLayout13384.xml" ContentType="application/vnd.openxmlformats-officedocument.presentationml.slideLayout+xml"/>
  <Override PartName="/ppt/slideLayouts/slideLayout13385.xml" ContentType="application/vnd.openxmlformats-officedocument.presentationml.slideLayout+xml"/>
  <Override PartName="/ppt/slideLayouts/slideLayout13386.xml" ContentType="application/vnd.openxmlformats-officedocument.presentationml.slideLayout+xml"/>
  <Override PartName="/ppt/slideLayouts/slideLayout13387.xml" ContentType="application/vnd.openxmlformats-officedocument.presentationml.slideLayout+xml"/>
  <Override PartName="/ppt/slideLayouts/slideLayout13388.xml" ContentType="application/vnd.openxmlformats-officedocument.presentationml.slideLayout+xml"/>
  <Override PartName="/ppt/slideLayouts/slideLayout13389.xml" ContentType="application/vnd.openxmlformats-officedocument.presentationml.slideLayout+xml"/>
  <Override PartName="/ppt/slideLayouts/slideLayout13390.xml" ContentType="application/vnd.openxmlformats-officedocument.presentationml.slideLayout+xml"/>
  <Override PartName="/ppt/slideLayouts/slideLayout13391.xml" ContentType="application/vnd.openxmlformats-officedocument.presentationml.slideLayout+xml"/>
  <Override PartName="/ppt/slideLayouts/slideLayout13392.xml" ContentType="application/vnd.openxmlformats-officedocument.presentationml.slideLayout+xml"/>
  <Override PartName="/ppt/slideLayouts/slideLayout13393.xml" ContentType="application/vnd.openxmlformats-officedocument.presentationml.slideLayout+xml"/>
  <Override PartName="/ppt/slideLayouts/slideLayout13394.xml" ContentType="application/vnd.openxmlformats-officedocument.presentationml.slideLayout+xml"/>
  <Override PartName="/ppt/slideLayouts/slideLayout13395.xml" ContentType="application/vnd.openxmlformats-officedocument.presentationml.slideLayout+xml"/>
  <Override PartName="/ppt/slideLayouts/slideLayout13396.xml" ContentType="application/vnd.openxmlformats-officedocument.presentationml.slideLayout+xml"/>
  <Override PartName="/ppt/slideLayouts/slideLayout13397.xml" ContentType="application/vnd.openxmlformats-officedocument.presentationml.slideLayout+xml"/>
  <Override PartName="/ppt/slideLayouts/slideLayout13398.xml" ContentType="application/vnd.openxmlformats-officedocument.presentationml.slideLayout+xml"/>
  <Override PartName="/ppt/slideLayouts/slideLayout13399.xml" ContentType="application/vnd.openxmlformats-officedocument.presentationml.slideLayout+xml"/>
  <Override PartName="/ppt/slideLayouts/slideLayout13400.xml" ContentType="application/vnd.openxmlformats-officedocument.presentationml.slideLayout+xml"/>
  <Override PartName="/ppt/slideLayouts/slideLayout13401.xml" ContentType="application/vnd.openxmlformats-officedocument.presentationml.slideLayout+xml"/>
  <Override PartName="/ppt/slideLayouts/slideLayout13402.xml" ContentType="application/vnd.openxmlformats-officedocument.presentationml.slideLayout+xml"/>
  <Override PartName="/ppt/slideLayouts/slideLayout13403.xml" ContentType="application/vnd.openxmlformats-officedocument.presentationml.slideLayout+xml"/>
  <Override PartName="/ppt/slideLayouts/slideLayout13404.xml" ContentType="application/vnd.openxmlformats-officedocument.presentationml.slideLayout+xml"/>
  <Override PartName="/ppt/slideLayouts/slideLayout13405.xml" ContentType="application/vnd.openxmlformats-officedocument.presentationml.slideLayout+xml"/>
  <Override PartName="/ppt/slideLayouts/slideLayout13406.xml" ContentType="application/vnd.openxmlformats-officedocument.presentationml.slideLayout+xml"/>
  <Override PartName="/ppt/slideLayouts/slideLayout13407.xml" ContentType="application/vnd.openxmlformats-officedocument.presentationml.slideLayout+xml"/>
  <Override PartName="/ppt/slideLayouts/slideLayout13408.xml" ContentType="application/vnd.openxmlformats-officedocument.presentationml.slideLayout+xml"/>
  <Override PartName="/ppt/slideLayouts/slideLayout13409.xml" ContentType="application/vnd.openxmlformats-officedocument.presentationml.slideLayout+xml"/>
  <Override PartName="/ppt/slideLayouts/slideLayout13410.xml" ContentType="application/vnd.openxmlformats-officedocument.presentationml.slideLayout+xml"/>
  <Override PartName="/ppt/slideLayouts/slideLayout13411.xml" ContentType="application/vnd.openxmlformats-officedocument.presentationml.slideLayout+xml"/>
  <Override PartName="/ppt/slideLayouts/slideLayout13412.xml" ContentType="application/vnd.openxmlformats-officedocument.presentationml.slideLayout+xml"/>
  <Override PartName="/ppt/slideLayouts/slideLayout13413.xml" ContentType="application/vnd.openxmlformats-officedocument.presentationml.slideLayout+xml"/>
  <Override PartName="/ppt/slideLayouts/slideLayout13414.xml" ContentType="application/vnd.openxmlformats-officedocument.presentationml.slideLayout+xml"/>
  <Override PartName="/ppt/slideLayouts/slideLayout13415.xml" ContentType="application/vnd.openxmlformats-officedocument.presentationml.slideLayout+xml"/>
  <Override PartName="/ppt/slideLayouts/slideLayout13416.xml" ContentType="application/vnd.openxmlformats-officedocument.presentationml.slideLayout+xml"/>
  <Override PartName="/ppt/slideLayouts/slideLayout13417.xml" ContentType="application/vnd.openxmlformats-officedocument.presentationml.slideLayout+xml"/>
  <Override PartName="/ppt/slideLayouts/slideLayout13418.xml" ContentType="application/vnd.openxmlformats-officedocument.presentationml.slideLayout+xml"/>
  <Override PartName="/ppt/slideLayouts/slideLayout13419.xml" ContentType="application/vnd.openxmlformats-officedocument.presentationml.slideLayout+xml"/>
  <Override PartName="/ppt/slideLayouts/slideLayout13420.xml" ContentType="application/vnd.openxmlformats-officedocument.presentationml.slideLayout+xml"/>
  <Override PartName="/ppt/slideLayouts/slideLayout13421.xml" ContentType="application/vnd.openxmlformats-officedocument.presentationml.slideLayout+xml"/>
  <Override PartName="/ppt/slideLayouts/slideLayout13422.xml" ContentType="application/vnd.openxmlformats-officedocument.presentationml.slideLayout+xml"/>
  <Override PartName="/ppt/slideLayouts/slideLayout13423.xml" ContentType="application/vnd.openxmlformats-officedocument.presentationml.slideLayout+xml"/>
  <Override PartName="/ppt/slideLayouts/slideLayout13424.xml" ContentType="application/vnd.openxmlformats-officedocument.presentationml.slideLayout+xml"/>
  <Override PartName="/ppt/slideLayouts/slideLayout13425.xml" ContentType="application/vnd.openxmlformats-officedocument.presentationml.slideLayout+xml"/>
  <Override PartName="/ppt/slideLayouts/slideLayout13426.xml" ContentType="application/vnd.openxmlformats-officedocument.presentationml.slideLayout+xml"/>
  <Override PartName="/ppt/slideLayouts/slideLayout13427.xml" ContentType="application/vnd.openxmlformats-officedocument.presentationml.slideLayout+xml"/>
  <Override PartName="/ppt/slideLayouts/slideLayout13428.xml" ContentType="application/vnd.openxmlformats-officedocument.presentationml.slideLayout+xml"/>
  <Override PartName="/ppt/slideLayouts/slideLayout13429.xml" ContentType="application/vnd.openxmlformats-officedocument.presentationml.slideLayout+xml"/>
  <Override PartName="/ppt/slideLayouts/slideLayout13430.xml" ContentType="application/vnd.openxmlformats-officedocument.presentationml.slideLayout+xml"/>
  <Override PartName="/ppt/slideLayouts/slideLayout13431.xml" ContentType="application/vnd.openxmlformats-officedocument.presentationml.slideLayout+xml"/>
  <Override PartName="/ppt/slideLayouts/slideLayout13432.xml" ContentType="application/vnd.openxmlformats-officedocument.presentationml.slideLayout+xml"/>
  <Override PartName="/ppt/slideLayouts/slideLayout13433.xml" ContentType="application/vnd.openxmlformats-officedocument.presentationml.slideLayout+xml"/>
  <Override PartName="/ppt/slideLayouts/slideLayout13434.xml" ContentType="application/vnd.openxmlformats-officedocument.presentationml.slideLayout+xml"/>
  <Override PartName="/ppt/slideLayouts/slideLayout13435.xml" ContentType="application/vnd.openxmlformats-officedocument.presentationml.slideLayout+xml"/>
  <Override PartName="/ppt/slideLayouts/slideLayout13436.xml" ContentType="application/vnd.openxmlformats-officedocument.presentationml.slideLayout+xml"/>
  <Override PartName="/ppt/slideLayouts/slideLayout13437.xml" ContentType="application/vnd.openxmlformats-officedocument.presentationml.slideLayout+xml"/>
  <Override PartName="/ppt/slideLayouts/slideLayout13438.xml" ContentType="application/vnd.openxmlformats-officedocument.presentationml.slideLayout+xml"/>
  <Override PartName="/ppt/slideLayouts/slideLayout13439.xml" ContentType="application/vnd.openxmlformats-officedocument.presentationml.slideLayout+xml"/>
  <Override PartName="/ppt/slideLayouts/slideLayout13440.xml" ContentType="application/vnd.openxmlformats-officedocument.presentationml.slideLayout+xml"/>
  <Override PartName="/ppt/slideLayouts/slideLayout13441.xml" ContentType="application/vnd.openxmlformats-officedocument.presentationml.slideLayout+xml"/>
  <Override PartName="/ppt/slideLayouts/slideLayout13442.xml" ContentType="application/vnd.openxmlformats-officedocument.presentationml.slideLayout+xml"/>
  <Override PartName="/ppt/slideLayouts/slideLayout13443.xml" ContentType="application/vnd.openxmlformats-officedocument.presentationml.slideLayout+xml"/>
  <Override PartName="/ppt/slideLayouts/slideLayout13444.xml" ContentType="application/vnd.openxmlformats-officedocument.presentationml.slideLayout+xml"/>
  <Override PartName="/ppt/slideLayouts/slideLayout13445.xml" ContentType="application/vnd.openxmlformats-officedocument.presentationml.slideLayout+xml"/>
  <Override PartName="/ppt/slideLayouts/slideLayout13446.xml" ContentType="application/vnd.openxmlformats-officedocument.presentationml.slideLayout+xml"/>
  <Override PartName="/ppt/slideLayouts/slideLayout13447.xml" ContentType="application/vnd.openxmlformats-officedocument.presentationml.slideLayout+xml"/>
  <Override PartName="/ppt/slideLayouts/slideLayout13448.xml" ContentType="application/vnd.openxmlformats-officedocument.presentationml.slideLayout+xml"/>
  <Override PartName="/ppt/slideLayouts/slideLayout13449.xml" ContentType="application/vnd.openxmlformats-officedocument.presentationml.slideLayout+xml"/>
  <Override PartName="/ppt/slideLayouts/slideLayout13450.xml" ContentType="application/vnd.openxmlformats-officedocument.presentationml.slideLayout+xml"/>
  <Override PartName="/ppt/slideLayouts/slideLayout13451.xml" ContentType="application/vnd.openxmlformats-officedocument.presentationml.slideLayout+xml"/>
  <Override PartName="/ppt/slideLayouts/slideLayout13452.xml" ContentType="application/vnd.openxmlformats-officedocument.presentationml.slideLayout+xml"/>
  <Override PartName="/ppt/slideLayouts/slideLayout13453.xml" ContentType="application/vnd.openxmlformats-officedocument.presentationml.slideLayout+xml"/>
  <Override PartName="/ppt/slideLayouts/slideLayout13454.xml" ContentType="application/vnd.openxmlformats-officedocument.presentationml.slideLayout+xml"/>
  <Override PartName="/ppt/slideLayouts/slideLayout13455.xml" ContentType="application/vnd.openxmlformats-officedocument.presentationml.slideLayout+xml"/>
  <Override PartName="/ppt/slideLayouts/slideLayout13456.xml" ContentType="application/vnd.openxmlformats-officedocument.presentationml.slideLayout+xml"/>
  <Override PartName="/ppt/slideLayouts/slideLayout13457.xml" ContentType="application/vnd.openxmlformats-officedocument.presentationml.slideLayout+xml"/>
  <Override PartName="/ppt/slideLayouts/slideLayout13458.xml" ContentType="application/vnd.openxmlformats-officedocument.presentationml.slideLayout+xml"/>
  <Override PartName="/ppt/slideLayouts/slideLayout13459.xml" ContentType="application/vnd.openxmlformats-officedocument.presentationml.slideLayout+xml"/>
  <Override PartName="/ppt/slideLayouts/slideLayout13460.xml" ContentType="application/vnd.openxmlformats-officedocument.presentationml.slideLayout+xml"/>
  <Override PartName="/ppt/slideLayouts/slideLayout13461.xml" ContentType="application/vnd.openxmlformats-officedocument.presentationml.slideLayout+xml"/>
  <Override PartName="/ppt/slideLayouts/slideLayout13462.xml" ContentType="application/vnd.openxmlformats-officedocument.presentationml.slideLayout+xml"/>
  <Override PartName="/ppt/slideLayouts/slideLayout13463.xml" ContentType="application/vnd.openxmlformats-officedocument.presentationml.slideLayout+xml"/>
  <Override PartName="/ppt/slideLayouts/slideLayout13464.xml" ContentType="application/vnd.openxmlformats-officedocument.presentationml.slideLayout+xml"/>
  <Override PartName="/ppt/slideLayouts/slideLayout13465.xml" ContentType="application/vnd.openxmlformats-officedocument.presentationml.slideLayout+xml"/>
  <Override PartName="/ppt/slideLayouts/slideLayout13466.xml" ContentType="application/vnd.openxmlformats-officedocument.presentationml.slideLayout+xml"/>
  <Override PartName="/ppt/slideLayouts/slideLayout13467.xml" ContentType="application/vnd.openxmlformats-officedocument.presentationml.slideLayout+xml"/>
  <Override PartName="/ppt/slideLayouts/slideLayout13468.xml" ContentType="application/vnd.openxmlformats-officedocument.presentationml.slideLayout+xml"/>
  <Override PartName="/ppt/slideLayouts/slideLayout13469.xml" ContentType="application/vnd.openxmlformats-officedocument.presentationml.slideLayout+xml"/>
  <Override PartName="/ppt/slideLayouts/slideLayout13470.xml" ContentType="application/vnd.openxmlformats-officedocument.presentationml.slideLayout+xml"/>
  <Override PartName="/ppt/slideLayouts/slideLayout13471.xml" ContentType="application/vnd.openxmlformats-officedocument.presentationml.slideLayout+xml"/>
  <Override PartName="/ppt/slideLayouts/slideLayout13472.xml" ContentType="application/vnd.openxmlformats-officedocument.presentationml.slideLayout+xml"/>
  <Override PartName="/ppt/slideLayouts/slideLayout13473.xml" ContentType="application/vnd.openxmlformats-officedocument.presentationml.slideLayout+xml"/>
  <Override PartName="/ppt/slideLayouts/slideLayout13474.xml" ContentType="application/vnd.openxmlformats-officedocument.presentationml.slideLayout+xml"/>
  <Override PartName="/ppt/slideLayouts/slideLayout13475.xml" ContentType="application/vnd.openxmlformats-officedocument.presentationml.slideLayout+xml"/>
  <Override PartName="/ppt/slideLayouts/slideLayout13476.xml" ContentType="application/vnd.openxmlformats-officedocument.presentationml.slideLayout+xml"/>
  <Override PartName="/ppt/slideLayouts/slideLayout13477.xml" ContentType="application/vnd.openxmlformats-officedocument.presentationml.slideLayout+xml"/>
  <Override PartName="/ppt/slideLayouts/slideLayout13478.xml" ContentType="application/vnd.openxmlformats-officedocument.presentationml.slideLayout+xml"/>
  <Override PartName="/ppt/slideLayouts/slideLayout13479.xml" ContentType="application/vnd.openxmlformats-officedocument.presentationml.slideLayout+xml"/>
  <Override PartName="/ppt/slideLayouts/slideLayout13480.xml" ContentType="application/vnd.openxmlformats-officedocument.presentationml.slideLayout+xml"/>
  <Override PartName="/ppt/slideLayouts/slideLayout13481.xml" ContentType="application/vnd.openxmlformats-officedocument.presentationml.slideLayout+xml"/>
  <Override PartName="/ppt/slideLayouts/slideLayout13482.xml" ContentType="application/vnd.openxmlformats-officedocument.presentationml.slideLayout+xml"/>
  <Override PartName="/ppt/slideLayouts/slideLayout13483.xml" ContentType="application/vnd.openxmlformats-officedocument.presentationml.slideLayout+xml"/>
  <Override PartName="/ppt/slideLayouts/slideLayout13484.xml" ContentType="application/vnd.openxmlformats-officedocument.presentationml.slideLayout+xml"/>
  <Override PartName="/ppt/slideLayouts/slideLayout13485.xml" ContentType="application/vnd.openxmlformats-officedocument.presentationml.slideLayout+xml"/>
  <Override PartName="/ppt/slideLayouts/slideLayout13486.xml" ContentType="application/vnd.openxmlformats-officedocument.presentationml.slideLayout+xml"/>
  <Override PartName="/ppt/slideLayouts/slideLayout13487.xml" ContentType="application/vnd.openxmlformats-officedocument.presentationml.slideLayout+xml"/>
  <Override PartName="/ppt/slideLayouts/slideLayout13488.xml" ContentType="application/vnd.openxmlformats-officedocument.presentationml.slideLayout+xml"/>
  <Override PartName="/ppt/slideLayouts/slideLayout13489.xml" ContentType="application/vnd.openxmlformats-officedocument.presentationml.slideLayout+xml"/>
  <Override PartName="/ppt/slideLayouts/slideLayout13490.xml" ContentType="application/vnd.openxmlformats-officedocument.presentationml.slideLayout+xml"/>
  <Override PartName="/ppt/slideLayouts/slideLayout13491.xml" ContentType="application/vnd.openxmlformats-officedocument.presentationml.slideLayout+xml"/>
  <Override PartName="/ppt/slideLayouts/slideLayout13492.xml" ContentType="application/vnd.openxmlformats-officedocument.presentationml.slideLayout+xml"/>
  <Override PartName="/ppt/slideLayouts/slideLayout13493.xml" ContentType="application/vnd.openxmlformats-officedocument.presentationml.slideLayout+xml"/>
  <Override PartName="/ppt/slideLayouts/slideLayout13494.xml" ContentType="application/vnd.openxmlformats-officedocument.presentationml.slideLayout+xml"/>
  <Override PartName="/ppt/slideLayouts/slideLayout13495.xml" ContentType="application/vnd.openxmlformats-officedocument.presentationml.slideLayout+xml"/>
  <Override PartName="/ppt/slideLayouts/slideLayout13496.xml" ContentType="application/vnd.openxmlformats-officedocument.presentationml.slideLayout+xml"/>
  <Override PartName="/ppt/slideLayouts/slideLayout13497.xml" ContentType="application/vnd.openxmlformats-officedocument.presentationml.slideLayout+xml"/>
  <Override PartName="/ppt/slideLayouts/slideLayout13498.xml" ContentType="application/vnd.openxmlformats-officedocument.presentationml.slideLayout+xml"/>
  <Override PartName="/ppt/slideLayouts/slideLayout13499.xml" ContentType="application/vnd.openxmlformats-officedocument.presentationml.slideLayout+xml"/>
  <Override PartName="/ppt/slideLayouts/slideLayout13500.xml" ContentType="application/vnd.openxmlformats-officedocument.presentationml.slideLayout+xml"/>
  <Override PartName="/ppt/slideLayouts/slideLayout13501.xml" ContentType="application/vnd.openxmlformats-officedocument.presentationml.slideLayout+xml"/>
  <Override PartName="/ppt/slideLayouts/slideLayout13502.xml" ContentType="application/vnd.openxmlformats-officedocument.presentationml.slideLayout+xml"/>
  <Override PartName="/ppt/slideLayouts/slideLayout13503.xml" ContentType="application/vnd.openxmlformats-officedocument.presentationml.slideLayout+xml"/>
  <Override PartName="/ppt/slideLayouts/slideLayout13504.xml" ContentType="application/vnd.openxmlformats-officedocument.presentationml.slideLayout+xml"/>
  <Override PartName="/ppt/slideLayouts/slideLayout13505.xml" ContentType="application/vnd.openxmlformats-officedocument.presentationml.slideLayout+xml"/>
  <Override PartName="/ppt/slideLayouts/slideLayout13506.xml" ContentType="application/vnd.openxmlformats-officedocument.presentationml.slideLayout+xml"/>
  <Override PartName="/ppt/slideLayouts/slideLayout13507.xml" ContentType="application/vnd.openxmlformats-officedocument.presentationml.slideLayout+xml"/>
  <Override PartName="/ppt/slideLayouts/slideLayout13508.xml" ContentType="application/vnd.openxmlformats-officedocument.presentationml.slideLayout+xml"/>
  <Override PartName="/ppt/slideLayouts/slideLayout13509.xml" ContentType="application/vnd.openxmlformats-officedocument.presentationml.slideLayout+xml"/>
  <Override PartName="/ppt/slideLayouts/slideLayout13510.xml" ContentType="application/vnd.openxmlformats-officedocument.presentationml.slideLayout+xml"/>
  <Override PartName="/ppt/slideLayouts/slideLayout13511.xml" ContentType="application/vnd.openxmlformats-officedocument.presentationml.slideLayout+xml"/>
  <Override PartName="/ppt/slideLayouts/slideLayout13512.xml" ContentType="application/vnd.openxmlformats-officedocument.presentationml.slideLayout+xml"/>
  <Override PartName="/ppt/slideLayouts/slideLayout13513.xml" ContentType="application/vnd.openxmlformats-officedocument.presentationml.slideLayout+xml"/>
  <Override PartName="/ppt/slideLayouts/slideLayout13514.xml" ContentType="application/vnd.openxmlformats-officedocument.presentationml.slideLayout+xml"/>
  <Override PartName="/ppt/slideLayouts/slideLayout13515.xml" ContentType="application/vnd.openxmlformats-officedocument.presentationml.slideLayout+xml"/>
  <Override PartName="/ppt/slideLayouts/slideLayout13516.xml" ContentType="application/vnd.openxmlformats-officedocument.presentationml.slideLayout+xml"/>
  <Override PartName="/ppt/slideLayouts/slideLayout13517.xml" ContentType="application/vnd.openxmlformats-officedocument.presentationml.slideLayout+xml"/>
  <Override PartName="/ppt/slideLayouts/slideLayout13518.xml" ContentType="application/vnd.openxmlformats-officedocument.presentationml.slideLayout+xml"/>
  <Override PartName="/ppt/slideLayouts/slideLayout13519.xml" ContentType="application/vnd.openxmlformats-officedocument.presentationml.slideLayout+xml"/>
  <Override PartName="/ppt/slideLayouts/slideLayout13520.xml" ContentType="application/vnd.openxmlformats-officedocument.presentationml.slideLayout+xml"/>
  <Override PartName="/ppt/slideLayouts/slideLayout13521.xml" ContentType="application/vnd.openxmlformats-officedocument.presentationml.slideLayout+xml"/>
  <Override PartName="/ppt/slideLayouts/slideLayout13522.xml" ContentType="application/vnd.openxmlformats-officedocument.presentationml.slideLayout+xml"/>
  <Override PartName="/ppt/slideLayouts/slideLayout13523.xml" ContentType="application/vnd.openxmlformats-officedocument.presentationml.slideLayout+xml"/>
  <Override PartName="/ppt/slideLayouts/slideLayout13524.xml" ContentType="application/vnd.openxmlformats-officedocument.presentationml.slideLayout+xml"/>
  <Override PartName="/ppt/slideLayouts/slideLayout13525.xml" ContentType="application/vnd.openxmlformats-officedocument.presentationml.slideLayout+xml"/>
  <Override PartName="/ppt/slideLayouts/slideLayout13526.xml" ContentType="application/vnd.openxmlformats-officedocument.presentationml.slideLayout+xml"/>
  <Override PartName="/ppt/slideLayouts/slideLayout13527.xml" ContentType="application/vnd.openxmlformats-officedocument.presentationml.slideLayout+xml"/>
  <Override PartName="/ppt/slideLayouts/slideLayout13528.xml" ContentType="application/vnd.openxmlformats-officedocument.presentationml.slideLayout+xml"/>
  <Override PartName="/ppt/slideLayouts/slideLayout13529.xml" ContentType="application/vnd.openxmlformats-officedocument.presentationml.slideLayout+xml"/>
  <Override PartName="/ppt/slideLayouts/slideLayout13530.xml" ContentType="application/vnd.openxmlformats-officedocument.presentationml.slideLayout+xml"/>
  <Override PartName="/ppt/slideLayouts/slideLayout13531.xml" ContentType="application/vnd.openxmlformats-officedocument.presentationml.slideLayout+xml"/>
  <Override PartName="/ppt/slideLayouts/slideLayout13532.xml" ContentType="application/vnd.openxmlformats-officedocument.presentationml.slideLayout+xml"/>
  <Override PartName="/ppt/slideLayouts/slideLayout13533.xml" ContentType="application/vnd.openxmlformats-officedocument.presentationml.slideLayout+xml"/>
  <Override PartName="/ppt/slideLayouts/slideLayout13534.xml" ContentType="application/vnd.openxmlformats-officedocument.presentationml.slideLayout+xml"/>
  <Override PartName="/ppt/slideLayouts/slideLayout13535.xml" ContentType="application/vnd.openxmlformats-officedocument.presentationml.slideLayout+xml"/>
  <Override PartName="/ppt/slideLayouts/slideLayout13536.xml" ContentType="application/vnd.openxmlformats-officedocument.presentationml.slideLayout+xml"/>
  <Override PartName="/ppt/slideLayouts/slideLayout13537.xml" ContentType="application/vnd.openxmlformats-officedocument.presentationml.slideLayout+xml"/>
  <Override PartName="/ppt/slideLayouts/slideLayout13538.xml" ContentType="application/vnd.openxmlformats-officedocument.presentationml.slideLayout+xml"/>
  <Override PartName="/ppt/slideLayouts/slideLayout13539.xml" ContentType="application/vnd.openxmlformats-officedocument.presentationml.slideLayout+xml"/>
  <Override PartName="/ppt/slideLayouts/slideLayout13540.xml" ContentType="application/vnd.openxmlformats-officedocument.presentationml.slideLayout+xml"/>
  <Override PartName="/ppt/slideLayouts/slideLayout13541.xml" ContentType="application/vnd.openxmlformats-officedocument.presentationml.slideLayout+xml"/>
  <Override PartName="/ppt/slideLayouts/slideLayout13542.xml" ContentType="application/vnd.openxmlformats-officedocument.presentationml.slideLayout+xml"/>
  <Override PartName="/ppt/slideLayouts/slideLayout13543.xml" ContentType="application/vnd.openxmlformats-officedocument.presentationml.slideLayout+xml"/>
  <Override PartName="/ppt/slideLayouts/slideLayout13544.xml" ContentType="application/vnd.openxmlformats-officedocument.presentationml.slideLayout+xml"/>
  <Override PartName="/ppt/slideLayouts/slideLayout13545.xml" ContentType="application/vnd.openxmlformats-officedocument.presentationml.slideLayout+xml"/>
  <Override PartName="/ppt/slideLayouts/slideLayout13546.xml" ContentType="application/vnd.openxmlformats-officedocument.presentationml.slideLayout+xml"/>
  <Override PartName="/ppt/slideLayouts/slideLayout13547.xml" ContentType="application/vnd.openxmlformats-officedocument.presentationml.slideLayout+xml"/>
  <Override PartName="/ppt/slideLayouts/slideLayout13548.xml" ContentType="application/vnd.openxmlformats-officedocument.presentationml.slideLayout+xml"/>
  <Override PartName="/ppt/slideLayouts/slideLayout13549.xml" ContentType="application/vnd.openxmlformats-officedocument.presentationml.slideLayout+xml"/>
  <Override PartName="/ppt/slideLayouts/slideLayout13550.xml" ContentType="application/vnd.openxmlformats-officedocument.presentationml.slideLayout+xml"/>
  <Override PartName="/ppt/slideLayouts/slideLayout13551.xml" ContentType="application/vnd.openxmlformats-officedocument.presentationml.slideLayout+xml"/>
  <Override PartName="/ppt/slideLayouts/slideLayout13552.xml" ContentType="application/vnd.openxmlformats-officedocument.presentationml.slideLayout+xml"/>
  <Override PartName="/ppt/slideLayouts/slideLayout13553.xml" ContentType="application/vnd.openxmlformats-officedocument.presentationml.slideLayout+xml"/>
  <Override PartName="/ppt/slideLayouts/slideLayout13554.xml" ContentType="application/vnd.openxmlformats-officedocument.presentationml.slideLayout+xml"/>
  <Override PartName="/ppt/slideLayouts/slideLayout13555.xml" ContentType="application/vnd.openxmlformats-officedocument.presentationml.slideLayout+xml"/>
  <Override PartName="/ppt/slideLayouts/slideLayout13556.xml" ContentType="application/vnd.openxmlformats-officedocument.presentationml.slideLayout+xml"/>
  <Override PartName="/ppt/slideLayouts/slideLayout13557.xml" ContentType="application/vnd.openxmlformats-officedocument.presentationml.slideLayout+xml"/>
  <Override PartName="/ppt/slideLayouts/slideLayout13558.xml" ContentType="application/vnd.openxmlformats-officedocument.presentationml.slideLayout+xml"/>
  <Override PartName="/ppt/slideLayouts/slideLayout13559.xml" ContentType="application/vnd.openxmlformats-officedocument.presentationml.slideLayout+xml"/>
  <Override PartName="/ppt/slideLayouts/slideLayout13560.xml" ContentType="application/vnd.openxmlformats-officedocument.presentationml.slideLayout+xml"/>
  <Override PartName="/ppt/slideLayouts/slideLayout13561.xml" ContentType="application/vnd.openxmlformats-officedocument.presentationml.slideLayout+xml"/>
  <Override PartName="/ppt/slideLayouts/slideLayout13562.xml" ContentType="application/vnd.openxmlformats-officedocument.presentationml.slideLayout+xml"/>
  <Override PartName="/ppt/slideLayouts/slideLayout13563.xml" ContentType="application/vnd.openxmlformats-officedocument.presentationml.slideLayout+xml"/>
  <Override PartName="/ppt/slideLayouts/slideLayout13564.xml" ContentType="application/vnd.openxmlformats-officedocument.presentationml.slideLayout+xml"/>
  <Override PartName="/ppt/slideLayouts/slideLayout13565.xml" ContentType="application/vnd.openxmlformats-officedocument.presentationml.slideLayout+xml"/>
  <Override PartName="/ppt/slideLayouts/slideLayout13566.xml" ContentType="application/vnd.openxmlformats-officedocument.presentationml.slideLayout+xml"/>
  <Override PartName="/ppt/slideLayouts/slideLayout13567.xml" ContentType="application/vnd.openxmlformats-officedocument.presentationml.slideLayout+xml"/>
  <Override PartName="/ppt/slideLayouts/slideLayout13568.xml" ContentType="application/vnd.openxmlformats-officedocument.presentationml.slideLayout+xml"/>
  <Override PartName="/ppt/slideLayouts/slideLayout13569.xml" ContentType="application/vnd.openxmlformats-officedocument.presentationml.slideLayout+xml"/>
  <Override PartName="/ppt/slideLayouts/slideLayout13570.xml" ContentType="application/vnd.openxmlformats-officedocument.presentationml.slideLayout+xml"/>
  <Override PartName="/ppt/slideLayouts/slideLayout13571.xml" ContentType="application/vnd.openxmlformats-officedocument.presentationml.slideLayout+xml"/>
  <Override PartName="/ppt/slideLayouts/slideLayout13572.xml" ContentType="application/vnd.openxmlformats-officedocument.presentationml.slideLayout+xml"/>
  <Override PartName="/ppt/slideLayouts/slideLayout13573.xml" ContentType="application/vnd.openxmlformats-officedocument.presentationml.slideLayout+xml"/>
  <Override PartName="/ppt/slideLayouts/slideLayout13574.xml" ContentType="application/vnd.openxmlformats-officedocument.presentationml.slideLayout+xml"/>
  <Override PartName="/ppt/slideLayouts/slideLayout13575.xml" ContentType="application/vnd.openxmlformats-officedocument.presentationml.slideLayout+xml"/>
  <Override PartName="/ppt/slideLayouts/slideLayout13576.xml" ContentType="application/vnd.openxmlformats-officedocument.presentationml.slideLayout+xml"/>
  <Override PartName="/ppt/slideLayouts/slideLayout13577.xml" ContentType="application/vnd.openxmlformats-officedocument.presentationml.slideLayout+xml"/>
  <Override PartName="/ppt/slideLayouts/slideLayout13578.xml" ContentType="application/vnd.openxmlformats-officedocument.presentationml.slideLayout+xml"/>
  <Override PartName="/ppt/slideLayouts/slideLayout13579.xml" ContentType="application/vnd.openxmlformats-officedocument.presentationml.slideLayout+xml"/>
  <Override PartName="/ppt/slideLayouts/slideLayout13580.xml" ContentType="application/vnd.openxmlformats-officedocument.presentationml.slideLayout+xml"/>
  <Override PartName="/ppt/slideLayouts/slideLayout13581.xml" ContentType="application/vnd.openxmlformats-officedocument.presentationml.slideLayout+xml"/>
  <Override PartName="/ppt/slideLayouts/slideLayout13582.xml" ContentType="application/vnd.openxmlformats-officedocument.presentationml.slideLayout+xml"/>
  <Override PartName="/ppt/slideLayouts/slideLayout13583.xml" ContentType="application/vnd.openxmlformats-officedocument.presentationml.slideLayout+xml"/>
  <Override PartName="/ppt/slideLayouts/slideLayout13584.xml" ContentType="application/vnd.openxmlformats-officedocument.presentationml.slideLayout+xml"/>
  <Override PartName="/ppt/slideLayouts/slideLayout13585.xml" ContentType="application/vnd.openxmlformats-officedocument.presentationml.slideLayout+xml"/>
  <Override PartName="/ppt/slideLayouts/slideLayout13586.xml" ContentType="application/vnd.openxmlformats-officedocument.presentationml.slideLayout+xml"/>
  <Override PartName="/ppt/slideLayouts/slideLayout13587.xml" ContentType="application/vnd.openxmlformats-officedocument.presentationml.slideLayout+xml"/>
  <Override PartName="/ppt/slideLayouts/slideLayout13588.xml" ContentType="application/vnd.openxmlformats-officedocument.presentationml.slideLayout+xml"/>
  <Override PartName="/ppt/slideLayouts/slideLayout13589.xml" ContentType="application/vnd.openxmlformats-officedocument.presentationml.slideLayout+xml"/>
  <Override PartName="/ppt/slideLayouts/slideLayout13590.xml" ContentType="application/vnd.openxmlformats-officedocument.presentationml.slideLayout+xml"/>
  <Override PartName="/ppt/slideLayouts/slideLayout13591.xml" ContentType="application/vnd.openxmlformats-officedocument.presentationml.slideLayout+xml"/>
  <Override PartName="/ppt/slideLayouts/slideLayout13592.xml" ContentType="application/vnd.openxmlformats-officedocument.presentationml.slideLayout+xml"/>
  <Override PartName="/ppt/slideLayouts/slideLayout13593.xml" ContentType="application/vnd.openxmlformats-officedocument.presentationml.slideLayout+xml"/>
  <Override PartName="/ppt/slideLayouts/slideLayout13594.xml" ContentType="application/vnd.openxmlformats-officedocument.presentationml.slideLayout+xml"/>
  <Override PartName="/ppt/slideLayouts/slideLayout13595.xml" ContentType="application/vnd.openxmlformats-officedocument.presentationml.slideLayout+xml"/>
  <Override PartName="/ppt/slideLayouts/slideLayout13596.xml" ContentType="application/vnd.openxmlformats-officedocument.presentationml.slideLayout+xml"/>
  <Override PartName="/ppt/slideLayouts/slideLayout13597.xml" ContentType="application/vnd.openxmlformats-officedocument.presentationml.slideLayout+xml"/>
  <Override PartName="/ppt/slideLayouts/slideLayout13598.xml" ContentType="application/vnd.openxmlformats-officedocument.presentationml.slideLayout+xml"/>
  <Override PartName="/ppt/slideLayouts/slideLayout13599.xml" ContentType="application/vnd.openxmlformats-officedocument.presentationml.slideLayout+xml"/>
  <Override PartName="/ppt/slideLayouts/slideLayout13600.xml" ContentType="application/vnd.openxmlformats-officedocument.presentationml.slideLayout+xml"/>
  <Override PartName="/ppt/slideLayouts/slideLayout13601.xml" ContentType="application/vnd.openxmlformats-officedocument.presentationml.slideLayout+xml"/>
  <Override PartName="/ppt/slideLayouts/slideLayout13602.xml" ContentType="application/vnd.openxmlformats-officedocument.presentationml.slideLayout+xml"/>
  <Override PartName="/ppt/slideLayouts/slideLayout13603.xml" ContentType="application/vnd.openxmlformats-officedocument.presentationml.slideLayout+xml"/>
  <Override PartName="/ppt/slideLayouts/slideLayout13604.xml" ContentType="application/vnd.openxmlformats-officedocument.presentationml.slideLayout+xml"/>
  <Override PartName="/ppt/slideLayouts/slideLayout13605.xml" ContentType="application/vnd.openxmlformats-officedocument.presentationml.slideLayout+xml"/>
  <Override PartName="/ppt/slideLayouts/slideLayout13606.xml" ContentType="application/vnd.openxmlformats-officedocument.presentationml.slideLayout+xml"/>
  <Override PartName="/ppt/slideLayouts/slideLayout13607.xml" ContentType="application/vnd.openxmlformats-officedocument.presentationml.slideLayout+xml"/>
  <Override PartName="/ppt/slideLayouts/slideLayout13608.xml" ContentType="application/vnd.openxmlformats-officedocument.presentationml.slideLayout+xml"/>
  <Override PartName="/ppt/slideLayouts/slideLayout13609.xml" ContentType="application/vnd.openxmlformats-officedocument.presentationml.slideLayout+xml"/>
  <Override PartName="/ppt/slideLayouts/slideLayout13610.xml" ContentType="application/vnd.openxmlformats-officedocument.presentationml.slideLayout+xml"/>
  <Override PartName="/ppt/slideLayouts/slideLayout13611.xml" ContentType="application/vnd.openxmlformats-officedocument.presentationml.slideLayout+xml"/>
  <Override PartName="/ppt/slideLayouts/slideLayout13612.xml" ContentType="application/vnd.openxmlformats-officedocument.presentationml.slideLayout+xml"/>
  <Override PartName="/ppt/slideLayouts/slideLayout13613.xml" ContentType="application/vnd.openxmlformats-officedocument.presentationml.slideLayout+xml"/>
  <Override PartName="/ppt/slideLayouts/slideLayout13614.xml" ContentType="application/vnd.openxmlformats-officedocument.presentationml.slideLayout+xml"/>
  <Override PartName="/ppt/slideLayouts/slideLayout13615.xml" ContentType="application/vnd.openxmlformats-officedocument.presentationml.slideLayout+xml"/>
  <Override PartName="/ppt/slideLayouts/slideLayout13616.xml" ContentType="application/vnd.openxmlformats-officedocument.presentationml.slideLayout+xml"/>
  <Override PartName="/ppt/slideLayouts/slideLayout13617.xml" ContentType="application/vnd.openxmlformats-officedocument.presentationml.slideLayout+xml"/>
  <Override PartName="/ppt/slideLayouts/slideLayout13618.xml" ContentType="application/vnd.openxmlformats-officedocument.presentationml.slideLayout+xml"/>
  <Override PartName="/ppt/slideLayouts/slideLayout13619.xml" ContentType="application/vnd.openxmlformats-officedocument.presentationml.slideLayout+xml"/>
  <Override PartName="/ppt/slideLayouts/slideLayout13620.xml" ContentType="application/vnd.openxmlformats-officedocument.presentationml.slideLayout+xml"/>
  <Override PartName="/ppt/slideLayouts/slideLayout13621.xml" ContentType="application/vnd.openxmlformats-officedocument.presentationml.slideLayout+xml"/>
  <Override PartName="/ppt/slideLayouts/slideLayout13622.xml" ContentType="application/vnd.openxmlformats-officedocument.presentationml.slideLayout+xml"/>
  <Override PartName="/ppt/slideLayouts/slideLayout13623.xml" ContentType="application/vnd.openxmlformats-officedocument.presentationml.slideLayout+xml"/>
  <Override PartName="/ppt/slideLayouts/slideLayout13624.xml" ContentType="application/vnd.openxmlformats-officedocument.presentationml.slideLayout+xml"/>
  <Override PartName="/ppt/slideLayouts/slideLayout13625.xml" ContentType="application/vnd.openxmlformats-officedocument.presentationml.slideLayout+xml"/>
  <Override PartName="/ppt/slideLayouts/slideLayout13626.xml" ContentType="application/vnd.openxmlformats-officedocument.presentationml.slideLayout+xml"/>
  <Override PartName="/ppt/slideLayouts/slideLayout13627.xml" ContentType="application/vnd.openxmlformats-officedocument.presentationml.slideLayout+xml"/>
  <Override PartName="/ppt/slideLayouts/slideLayout13628.xml" ContentType="application/vnd.openxmlformats-officedocument.presentationml.slideLayout+xml"/>
  <Override PartName="/ppt/slideLayouts/slideLayout13629.xml" ContentType="application/vnd.openxmlformats-officedocument.presentationml.slideLayout+xml"/>
  <Override PartName="/ppt/slideLayouts/slideLayout13630.xml" ContentType="application/vnd.openxmlformats-officedocument.presentationml.slideLayout+xml"/>
  <Override PartName="/ppt/slideLayouts/slideLayout13631.xml" ContentType="application/vnd.openxmlformats-officedocument.presentationml.slideLayout+xml"/>
  <Override PartName="/ppt/slideLayouts/slideLayout13632.xml" ContentType="application/vnd.openxmlformats-officedocument.presentationml.slideLayout+xml"/>
  <Override PartName="/ppt/slideLayouts/slideLayout13633.xml" ContentType="application/vnd.openxmlformats-officedocument.presentationml.slideLayout+xml"/>
  <Override PartName="/ppt/slideLayouts/slideLayout13634.xml" ContentType="application/vnd.openxmlformats-officedocument.presentationml.slideLayout+xml"/>
  <Override PartName="/ppt/slideLayouts/slideLayout13635.xml" ContentType="application/vnd.openxmlformats-officedocument.presentationml.slideLayout+xml"/>
  <Override PartName="/ppt/slideLayouts/slideLayout13636.xml" ContentType="application/vnd.openxmlformats-officedocument.presentationml.slideLayout+xml"/>
  <Override PartName="/ppt/slideLayouts/slideLayout13637.xml" ContentType="application/vnd.openxmlformats-officedocument.presentationml.slideLayout+xml"/>
  <Override PartName="/ppt/slideLayouts/slideLayout13638.xml" ContentType="application/vnd.openxmlformats-officedocument.presentationml.slideLayout+xml"/>
  <Override PartName="/ppt/slideLayouts/slideLayout13639.xml" ContentType="application/vnd.openxmlformats-officedocument.presentationml.slideLayout+xml"/>
  <Override PartName="/ppt/slideLayouts/slideLayout13640.xml" ContentType="application/vnd.openxmlformats-officedocument.presentationml.slideLayout+xml"/>
  <Override PartName="/ppt/slideLayouts/slideLayout13641.xml" ContentType="application/vnd.openxmlformats-officedocument.presentationml.slideLayout+xml"/>
  <Override PartName="/ppt/slideLayouts/slideLayout13642.xml" ContentType="application/vnd.openxmlformats-officedocument.presentationml.slideLayout+xml"/>
  <Override PartName="/ppt/slideLayouts/slideLayout13643.xml" ContentType="application/vnd.openxmlformats-officedocument.presentationml.slideLayout+xml"/>
  <Override PartName="/ppt/slideLayouts/slideLayout13644.xml" ContentType="application/vnd.openxmlformats-officedocument.presentationml.slideLayout+xml"/>
  <Override PartName="/ppt/slideLayouts/slideLayout13645.xml" ContentType="application/vnd.openxmlformats-officedocument.presentationml.slideLayout+xml"/>
  <Override PartName="/ppt/slideLayouts/slideLayout13646.xml" ContentType="application/vnd.openxmlformats-officedocument.presentationml.slideLayout+xml"/>
  <Override PartName="/ppt/slideLayouts/slideLayout13647.xml" ContentType="application/vnd.openxmlformats-officedocument.presentationml.slideLayout+xml"/>
  <Override PartName="/ppt/slideLayouts/slideLayout13648.xml" ContentType="application/vnd.openxmlformats-officedocument.presentationml.slideLayout+xml"/>
  <Override PartName="/ppt/slideLayouts/slideLayout13649.xml" ContentType="application/vnd.openxmlformats-officedocument.presentationml.slideLayout+xml"/>
  <Override PartName="/ppt/slideLayouts/slideLayout13650.xml" ContentType="application/vnd.openxmlformats-officedocument.presentationml.slideLayout+xml"/>
  <Override PartName="/ppt/slideLayouts/slideLayout13651.xml" ContentType="application/vnd.openxmlformats-officedocument.presentationml.slideLayout+xml"/>
  <Override PartName="/ppt/slideLayouts/slideLayout13652.xml" ContentType="application/vnd.openxmlformats-officedocument.presentationml.slideLayout+xml"/>
  <Override PartName="/ppt/slideLayouts/slideLayout13653.xml" ContentType="application/vnd.openxmlformats-officedocument.presentationml.slideLayout+xml"/>
  <Override PartName="/ppt/slideLayouts/slideLayout13654.xml" ContentType="application/vnd.openxmlformats-officedocument.presentationml.slideLayout+xml"/>
  <Override PartName="/ppt/slideLayouts/slideLayout13655.xml" ContentType="application/vnd.openxmlformats-officedocument.presentationml.slideLayout+xml"/>
  <Override PartName="/ppt/slideLayouts/slideLayout13656.xml" ContentType="application/vnd.openxmlformats-officedocument.presentationml.slideLayout+xml"/>
  <Override PartName="/ppt/slideLayouts/slideLayout13657.xml" ContentType="application/vnd.openxmlformats-officedocument.presentationml.slideLayout+xml"/>
  <Override PartName="/ppt/slideLayouts/slideLayout13658.xml" ContentType="application/vnd.openxmlformats-officedocument.presentationml.slideLayout+xml"/>
  <Override PartName="/ppt/slideLayouts/slideLayout13659.xml" ContentType="application/vnd.openxmlformats-officedocument.presentationml.slideLayout+xml"/>
  <Override PartName="/ppt/slideLayouts/slideLayout13660.xml" ContentType="application/vnd.openxmlformats-officedocument.presentationml.slideLayout+xml"/>
  <Override PartName="/ppt/slideLayouts/slideLayout13661.xml" ContentType="application/vnd.openxmlformats-officedocument.presentationml.slideLayout+xml"/>
  <Override PartName="/ppt/slideLayouts/slideLayout13662.xml" ContentType="application/vnd.openxmlformats-officedocument.presentationml.slideLayout+xml"/>
  <Override PartName="/ppt/slideLayouts/slideLayout13663.xml" ContentType="application/vnd.openxmlformats-officedocument.presentationml.slideLayout+xml"/>
  <Override PartName="/ppt/slideLayouts/slideLayout13664.xml" ContentType="application/vnd.openxmlformats-officedocument.presentationml.slideLayout+xml"/>
  <Override PartName="/ppt/slideLayouts/slideLayout13665.xml" ContentType="application/vnd.openxmlformats-officedocument.presentationml.slideLayout+xml"/>
  <Override PartName="/ppt/slideLayouts/slideLayout13666.xml" ContentType="application/vnd.openxmlformats-officedocument.presentationml.slideLayout+xml"/>
  <Override PartName="/ppt/slideLayouts/slideLayout13667.xml" ContentType="application/vnd.openxmlformats-officedocument.presentationml.slideLayout+xml"/>
  <Override PartName="/ppt/slideLayouts/slideLayout13668.xml" ContentType="application/vnd.openxmlformats-officedocument.presentationml.slideLayout+xml"/>
  <Override PartName="/ppt/slideLayouts/slideLayout13669.xml" ContentType="application/vnd.openxmlformats-officedocument.presentationml.slideLayout+xml"/>
  <Override PartName="/ppt/slideLayouts/slideLayout13670.xml" ContentType="application/vnd.openxmlformats-officedocument.presentationml.slideLayout+xml"/>
  <Override PartName="/ppt/slideLayouts/slideLayout13671.xml" ContentType="application/vnd.openxmlformats-officedocument.presentationml.slideLayout+xml"/>
  <Override PartName="/ppt/slideLayouts/slideLayout13672.xml" ContentType="application/vnd.openxmlformats-officedocument.presentationml.slideLayout+xml"/>
  <Override PartName="/ppt/slideLayouts/slideLayout13673.xml" ContentType="application/vnd.openxmlformats-officedocument.presentationml.slideLayout+xml"/>
  <Override PartName="/ppt/slideLayouts/slideLayout13674.xml" ContentType="application/vnd.openxmlformats-officedocument.presentationml.slideLayout+xml"/>
  <Override PartName="/ppt/slideLayouts/slideLayout13675.xml" ContentType="application/vnd.openxmlformats-officedocument.presentationml.slideLayout+xml"/>
  <Override PartName="/ppt/slideLayouts/slideLayout13676.xml" ContentType="application/vnd.openxmlformats-officedocument.presentationml.slideLayout+xml"/>
  <Override PartName="/ppt/slideLayouts/slideLayout13677.xml" ContentType="application/vnd.openxmlformats-officedocument.presentationml.slideLayout+xml"/>
  <Override PartName="/ppt/slideLayouts/slideLayout13678.xml" ContentType="application/vnd.openxmlformats-officedocument.presentationml.slideLayout+xml"/>
  <Override PartName="/ppt/slideLayouts/slideLayout13679.xml" ContentType="application/vnd.openxmlformats-officedocument.presentationml.slideLayout+xml"/>
  <Override PartName="/ppt/slideLayouts/slideLayout13680.xml" ContentType="application/vnd.openxmlformats-officedocument.presentationml.slideLayout+xml"/>
  <Override PartName="/ppt/slideLayouts/slideLayout13681.xml" ContentType="application/vnd.openxmlformats-officedocument.presentationml.slideLayout+xml"/>
  <Override PartName="/ppt/slideLayouts/slideLayout13682.xml" ContentType="application/vnd.openxmlformats-officedocument.presentationml.slideLayout+xml"/>
  <Override PartName="/ppt/slideLayouts/slideLayout13683.xml" ContentType="application/vnd.openxmlformats-officedocument.presentationml.slideLayout+xml"/>
  <Override PartName="/ppt/slideLayouts/slideLayout13684.xml" ContentType="application/vnd.openxmlformats-officedocument.presentationml.slideLayout+xml"/>
  <Override PartName="/ppt/slideLayouts/slideLayout13685.xml" ContentType="application/vnd.openxmlformats-officedocument.presentationml.slideLayout+xml"/>
  <Override PartName="/ppt/slideLayouts/slideLayout13686.xml" ContentType="application/vnd.openxmlformats-officedocument.presentationml.slideLayout+xml"/>
  <Override PartName="/ppt/slideLayouts/slideLayout13687.xml" ContentType="application/vnd.openxmlformats-officedocument.presentationml.slideLayout+xml"/>
  <Override PartName="/ppt/slideLayouts/slideLayout13688.xml" ContentType="application/vnd.openxmlformats-officedocument.presentationml.slideLayout+xml"/>
  <Override PartName="/ppt/slideLayouts/slideLayout13689.xml" ContentType="application/vnd.openxmlformats-officedocument.presentationml.slideLayout+xml"/>
  <Override PartName="/ppt/slideLayouts/slideLayout13690.xml" ContentType="application/vnd.openxmlformats-officedocument.presentationml.slideLayout+xml"/>
  <Override PartName="/ppt/slideLayouts/slideLayout13691.xml" ContentType="application/vnd.openxmlformats-officedocument.presentationml.slideLayout+xml"/>
  <Override PartName="/ppt/slideLayouts/slideLayout13692.xml" ContentType="application/vnd.openxmlformats-officedocument.presentationml.slideLayout+xml"/>
  <Override PartName="/ppt/slideLayouts/slideLayout13693.xml" ContentType="application/vnd.openxmlformats-officedocument.presentationml.slideLayout+xml"/>
  <Override PartName="/ppt/slideLayouts/slideLayout13694.xml" ContentType="application/vnd.openxmlformats-officedocument.presentationml.slideLayout+xml"/>
  <Override PartName="/ppt/slideLayouts/slideLayout13695.xml" ContentType="application/vnd.openxmlformats-officedocument.presentationml.slideLayout+xml"/>
  <Override PartName="/ppt/slideLayouts/slideLayout13696.xml" ContentType="application/vnd.openxmlformats-officedocument.presentationml.slideLayout+xml"/>
  <Override PartName="/ppt/slideLayouts/slideLayout13697.xml" ContentType="application/vnd.openxmlformats-officedocument.presentationml.slideLayout+xml"/>
  <Override PartName="/ppt/slideLayouts/slideLayout13698.xml" ContentType="application/vnd.openxmlformats-officedocument.presentationml.slideLayout+xml"/>
  <Override PartName="/ppt/slideLayouts/slideLayout13699.xml" ContentType="application/vnd.openxmlformats-officedocument.presentationml.slideLayout+xml"/>
  <Override PartName="/ppt/slideLayouts/slideLayout13700.xml" ContentType="application/vnd.openxmlformats-officedocument.presentationml.slideLayout+xml"/>
  <Override PartName="/ppt/slideLayouts/slideLayout13701.xml" ContentType="application/vnd.openxmlformats-officedocument.presentationml.slideLayout+xml"/>
  <Override PartName="/ppt/slideLayouts/slideLayout13702.xml" ContentType="application/vnd.openxmlformats-officedocument.presentationml.slideLayout+xml"/>
  <Override PartName="/ppt/slideLayouts/slideLayout13703.xml" ContentType="application/vnd.openxmlformats-officedocument.presentationml.slideLayout+xml"/>
  <Override PartName="/ppt/slideLayouts/slideLayout13704.xml" ContentType="application/vnd.openxmlformats-officedocument.presentationml.slideLayout+xml"/>
  <Override PartName="/ppt/slideLayouts/slideLayout13705.xml" ContentType="application/vnd.openxmlformats-officedocument.presentationml.slideLayout+xml"/>
  <Override PartName="/ppt/slideLayouts/slideLayout13706.xml" ContentType="application/vnd.openxmlformats-officedocument.presentationml.slideLayout+xml"/>
  <Override PartName="/ppt/slideLayouts/slideLayout13707.xml" ContentType="application/vnd.openxmlformats-officedocument.presentationml.slideLayout+xml"/>
  <Override PartName="/ppt/slideLayouts/slideLayout13708.xml" ContentType="application/vnd.openxmlformats-officedocument.presentationml.slideLayout+xml"/>
  <Override PartName="/ppt/slideLayouts/slideLayout13709.xml" ContentType="application/vnd.openxmlformats-officedocument.presentationml.slideLayout+xml"/>
  <Override PartName="/ppt/slideLayouts/slideLayout13710.xml" ContentType="application/vnd.openxmlformats-officedocument.presentationml.slideLayout+xml"/>
  <Override PartName="/ppt/slideLayouts/slideLayout13711.xml" ContentType="application/vnd.openxmlformats-officedocument.presentationml.slideLayout+xml"/>
  <Override PartName="/ppt/slideLayouts/slideLayout13712.xml" ContentType="application/vnd.openxmlformats-officedocument.presentationml.slideLayout+xml"/>
  <Override PartName="/ppt/slideLayouts/slideLayout13713.xml" ContentType="application/vnd.openxmlformats-officedocument.presentationml.slideLayout+xml"/>
  <Override PartName="/ppt/slideLayouts/slideLayout13714.xml" ContentType="application/vnd.openxmlformats-officedocument.presentationml.slideLayout+xml"/>
  <Override PartName="/ppt/slideLayouts/slideLayout13715.xml" ContentType="application/vnd.openxmlformats-officedocument.presentationml.slideLayout+xml"/>
  <Override PartName="/ppt/slideLayouts/slideLayout13716.xml" ContentType="application/vnd.openxmlformats-officedocument.presentationml.slideLayout+xml"/>
  <Override PartName="/ppt/slideLayouts/slideLayout13717.xml" ContentType="application/vnd.openxmlformats-officedocument.presentationml.slideLayout+xml"/>
  <Override PartName="/ppt/slideLayouts/slideLayout13718.xml" ContentType="application/vnd.openxmlformats-officedocument.presentationml.slideLayout+xml"/>
  <Override PartName="/ppt/slideLayouts/slideLayout13719.xml" ContentType="application/vnd.openxmlformats-officedocument.presentationml.slideLayout+xml"/>
  <Override PartName="/ppt/slideLayouts/slideLayout13720.xml" ContentType="application/vnd.openxmlformats-officedocument.presentationml.slideLayout+xml"/>
  <Override PartName="/ppt/slideLayouts/slideLayout13721.xml" ContentType="application/vnd.openxmlformats-officedocument.presentationml.slideLayout+xml"/>
  <Override PartName="/ppt/slideLayouts/slideLayout13722.xml" ContentType="application/vnd.openxmlformats-officedocument.presentationml.slideLayout+xml"/>
  <Override PartName="/ppt/slideLayouts/slideLayout13723.xml" ContentType="application/vnd.openxmlformats-officedocument.presentationml.slideLayout+xml"/>
  <Override PartName="/ppt/slideLayouts/slideLayout13724.xml" ContentType="application/vnd.openxmlformats-officedocument.presentationml.slideLayout+xml"/>
  <Override PartName="/ppt/slideLayouts/slideLayout13725.xml" ContentType="application/vnd.openxmlformats-officedocument.presentationml.slideLayout+xml"/>
  <Override PartName="/ppt/slideLayouts/slideLayout13726.xml" ContentType="application/vnd.openxmlformats-officedocument.presentationml.slideLayout+xml"/>
  <Override PartName="/ppt/slideLayouts/slideLayout13727.xml" ContentType="application/vnd.openxmlformats-officedocument.presentationml.slideLayout+xml"/>
  <Override PartName="/ppt/slideLayouts/slideLayout13728.xml" ContentType="application/vnd.openxmlformats-officedocument.presentationml.slideLayout+xml"/>
  <Override PartName="/ppt/slideLayouts/slideLayout13729.xml" ContentType="application/vnd.openxmlformats-officedocument.presentationml.slideLayout+xml"/>
  <Override PartName="/ppt/slideLayouts/slideLayout13730.xml" ContentType="application/vnd.openxmlformats-officedocument.presentationml.slideLayout+xml"/>
  <Override PartName="/ppt/slideLayouts/slideLayout13731.xml" ContentType="application/vnd.openxmlformats-officedocument.presentationml.slideLayout+xml"/>
  <Override PartName="/ppt/slideLayouts/slideLayout13732.xml" ContentType="application/vnd.openxmlformats-officedocument.presentationml.slideLayout+xml"/>
  <Override PartName="/ppt/slideLayouts/slideLayout13733.xml" ContentType="application/vnd.openxmlformats-officedocument.presentationml.slideLayout+xml"/>
  <Override PartName="/ppt/slideLayouts/slideLayout13734.xml" ContentType="application/vnd.openxmlformats-officedocument.presentationml.slideLayout+xml"/>
  <Override PartName="/ppt/slideLayouts/slideLayout13735.xml" ContentType="application/vnd.openxmlformats-officedocument.presentationml.slideLayout+xml"/>
  <Override PartName="/ppt/slideLayouts/slideLayout13736.xml" ContentType="application/vnd.openxmlformats-officedocument.presentationml.slideLayout+xml"/>
  <Override PartName="/ppt/slideLayouts/slideLayout13737.xml" ContentType="application/vnd.openxmlformats-officedocument.presentationml.slideLayout+xml"/>
  <Override PartName="/ppt/slideLayouts/slideLayout13738.xml" ContentType="application/vnd.openxmlformats-officedocument.presentationml.slideLayout+xml"/>
  <Override PartName="/ppt/slideLayouts/slideLayout13739.xml" ContentType="application/vnd.openxmlformats-officedocument.presentationml.slideLayout+xml"/>
  <Override PartName="/ppt/slideLayouts/slideLayout13740.xml" ContentType="application/vnd.openxmlformats-officedocument.presentationml.slideLayout+xml"/>
  <Override PartName="/ppt/slideLayouts/slideLayout13741.xml" ContentType="application/vnd.openxmlformats-officedocument.presentationml.slideLayout+xml"/>
  <Override PartName="/ppt/slideLayouts/slideLayout13742.xml" ContentType="application/vnd.openxmlformats-officedocument.presentationml.slideLayout+xml"/>
  <Override PartName="/ppt/slideLayouts/slideLayout13743.xml" ContentType="application/vnd.openxmlformats-officedocument.presentationml.slideLayout+xml"/>
  <Override PartName="/ppt/slideLayouts/slideLayout13744.xml" ContentType="application/vnd.openxmlformats-officedocument.presentationml.slideLayout+xml"/>
  <Override PartName="/ppt/slideLayouts/slideLayout13745.xml" ContentType="application/vnd.openxmlformats-officedocument.presentationml.slideLayout+xml"/>
  <Override PartName="/ppt/slideLayouts/slideLayout13746.xml" ContentType="application/vnd.openxmlformats-officedocument.presentationml.slideLayout+xml"/>
  <Override PartName="/ppt/slideLayouts/slideLayout13747.xml" ContentType="application/vnd.openxmlformats-officedocument.presentationml.slideLayout+xml"/>
  <Override PartName="/ppt/slideLayouts/slideLayout13748.xml" ContentType="application/vnd.openxmlformats-officedocument.presentationml.slideLayout+xml"/>
  <Override PartName="/ppt/slideLayouts/slideLayout13749.xml" ContentType="application/vnd.openxmlformats-officedocument.presentationml.slideLayout+xml"/>
  <Override PartName="/ppt/slideLayouts/slideLayout13750.xml" ContentType="application/vnd.openxmlformats-officedocument.presentationml.slideLayout+xml"/>
  <Override PartName="/ppt/slideLayouts/slideLayout13751.xml" ContentType="application/vnd.openxmlformats-officedocument.presentationml.slideLayout+xml"/>
  <Override PartName="/ppt/slideLayouts/slideLayout13752.xml" ContentType="application/vnd.openxmlformats-officedocument.presentationml.slideLayout+xml"/>
  <Override PartName="/ppt/slideLayouts/slideLayout13753.xml" ContentType="application/vnd.openxmlformats-officedocument.presentationml.slideLayout+xml"/>
  <Override PartName="/ppt/slideLayouts/slideLayout13754.xml" ContentType="application/vnd.openxmlformats-officedocument.presentationml.slideLayout+xml"/>
  <Override PartName="/ppt/slideLayouts/slideLayout13755.xml" ContentType="application/vnd.openxmlformats-officedocument.presentationml.slideLayout+xml"/>
  <Override PartName="/ppt/slideLayouts/slideLayout13756.xml" ContentType="application/vnd.openxmlformats-officedocument.presentationml.slideLayout+xml"/>
  <Override PartName="/ppt/slideLayouts/slideLayout13757.xml" ContentType="application/vnd.openxmlformats-officedocument.presentationml.slideLayout+xml"/>
  <Override PartName="/ppt/slideLayouts/slideLayout13758.xml" ContentType="application/vnd.openxmlformats-officedocument.presentationml.slideLayout+xml"/>
  <Override PartName="/ppt/slideLayouts/slideLayout13759.xml" ContentType="application/vnd.openxmlformats-officedocument.presentationml.slideLayout+xml"/>
  <Override PartName="/ppt/slideLayouts/slideLayout13760.xml" ContentType="application/vnd.openxmlformats-officedocument.presentationml.slideLayout+xml"/>
  <Override PartName="/ppt/slideLayouts/slideLayout13761.xml" ContentType="application/vnd.openxmlformats-officedocument.presentationml.slideLayout+xml"/>
  <Override PartName="/ppt/slideLayouts/slideLayout13762.xml" ContentType="application/vnd.openxmlformats-officedocument.presentationml.slideLayout+xml"/>
  <Override PartName="/ppt/slideLayouts/slideLayout13763.xml" ContentType="application/vnd.openxmlformats-officedocument.presentationml.slideLayout+xml"/>
  <Override PartName="/ppt/slideLayouts/slideLayout13764.xml" ContentType="application/vnd.openxmlformats-officedocument.presentationml.slideLayout+xml"/>
  <Override PartName="/ppt/slideLayouts/slideLayout13765.xml" ContentType="application/vnd.openxmlformats-officedocument.presentationml.slideLayout+xml"/>
  <Override PartName="/ppt/slideLayouts/slideLayout13766.xml" ContentType="application/vnd.openxmlformats-officedocument.presentationml.slideLayout+xml"/>
  <Override PartName="/ppt/slideLayouts/slideLayout13767.xml" ContentType="application/vnd.openxmlformats-officedocument.presentationml.slideLayout+xml"/>
  <Override PartName="/ppt/slideLayouts/slideLayout13768.xml" ContentType="application/vnd.openxmlformats-officedocument.presentationml.slideLayout+xml"/>
  <Override PartName="/ppt/slideLayouts/slideLayout13769.xml" ContentType="application/vnd.openxmlformats-officedocument.presentationml.slideLayout+xml"/>
  <Override PartName="/ppt/slideLayouts/slideLayout13770.xml" ContentType="application/vnd.openxmlformats-officedocument.presentationml.slideLayout+xml"/>
  <Override PartName="/ppt/slideLayouts/slideLayout13771.xml" ContentType="application/vnd.openxmlformats-officedocument.presentationml.slideLayout+xml"/>
  <Override PartName="/ppt/slideLayouts/slideLayout13772.xml" ContentType="application/vnd.openxmlformats-officedocument.presentationml.slideLayout+xml"/>
  <Override PartName="/ppt/slideLayouts/slideLayout13773.xml" ContentType="application/vnd.openxmlformats-officedocument.presentationml.slideLayout+xml"/>
  <Override PartName="/ppt/slideLayouts/slideLayout13774.xml" ContentType="application/vnd.openxmlformats-officedocument.presentationml.slideLayout+xml"/>
  <Override PartName="/ppt/slideLayouts/slideLayout13775.xml" ContentType="application/vnd.openxmlformats-officedocument.presentationml.slideLayout+xml"/>
  <Override PartName="/ppt/slideLayouts/slideLayout13776.xml" ContentType="application/vnd.openxmlformats-officedocument.presentationml.slideLayout+xml"/>
  <Override PartName="/ppt/slideLayouts/slideLayout13777.xml" ContentType="application/vnd.openxmlformats-officedocument.presentationml.slideLayout+xml"/>
  <Override PartName="/ppt/slideLayouts/slideLayout13778.xml" ContentType="application/vnd.openxmlformats-officedocument.presentationml.slideLayout+xml"/>
  <Override PartName="/ppt/slideLayouts/slideLayout13779.xml" ContentType="application/vnd.openxmlformats-officedocument.presentationml.slideLayout+xml"/>
  <Override PartName="/ppt/slideLayouts/slideLayout13780.xml" ContentType="application/vnd.openxmlformats-officedocument.presentationml.slideLayout+xml"/>
  <Override PartName="/ppt/slideLayouts/slideLayout13781.xml" ContentType="application/vnd.openxmlformats-officedocument.presentationml.slideLayout+xml"/>
  <Override PartName="/ppt/slideLayouts/slideLayout13782.xml" ContentType="application/vnd.openxmlformats-officedocument.presentationml.slideLayout+xml"/>
  <Override PartName="/ppt/slideLayouts/slideLayout13783.xml" ContentType="application/vnd.openxmlformats-officedocument.presentationml.slideLayout+xml"/>
  <Override PartName="/ppt/slideLayouts/slideLayout13784.xml" ContentType="application/vnd.openxmlformats-officedocument.presentationml.slideLayout+xml"/>
  <Override PartName="/ppt/slideLayouts/slideLayout13785.xml" ContentType="application/vnd.openxmlformats-officedocument.presentationml.slideLayout+xml"/>
  <Override PartName="/ppt/slideLayouts/slideLayout13786.xml" ContentType="application/vnd.openxmlformats-officedocument.presentationml.slideLayout+xml"/>
  <Override PartName="/ppt/slideLayouts/slideLayout13787.xml" ContentType="application/vnd.openxmlformats-officedocument.presentationml.slideLayout+xml"/>
  <Override PartName="/ppt/slideLayouts/slideLayout13788.xml" ContentType="application/vnd.openxmlformats-officedocument.presentationml.slideLayout+xml"/>
  <Override PartName="/ppt/slideLayouts/slideLayout13789.xml" ContentType="application/vnd.openxmlformats-officedocument.presentationml.slideLayout+xml"/>
  <Override PartName="/ppt/slideLayouts/slideLayout13790.xml" ContentType="application/vnd.openxmlformats-officedocument.presentationml.slideLayout+xml"/>
  <Override PartName="/ppt/slideLayouts/slideLayout13791.xml" ContentType="application/vnd.openxmlformats-officedocument.presentationml.slideLayout+xml"/>
  <Override PartName="/ppt/slideLayouts/slideLayout13792.xml" ContentType="application/vnd.openxmlformats-officedocument.presentationml.slideLayout+xml"/>
  <Override PartName="/ppt/slideLayouts/slideLayout13793.xml" ContentType="application/vnd.openxmlformats-officedocument.presentationml.slideLayout+xml"/>
  <Override PartName="/ppt/slideLayouts/slideLayout13794.xml" ContentType="application/vnd.openxmlformats-officedocument.presentationml.slideLayout+xml"/>
  <Override PartName="/ppt/slideLayouts/slideLayout13795.xml" ContentType="application/vnd.openxmlformats-officedocument.presentationml.slideLayout+xml"/>
  <Override PartName="/ppt/slideLayouts/slideLayout13796.xml" ContentType="application/vnd.openxmlformats-officedocument.presentationml.slideLayout+xml"/>
  <Override PartName="/ppt/slideLayouts/slideLayout13797.xml" ContentType="application/vnd.openxmlformats-officedocument.presentationml.slideLayout+xml"/>
  <Override PartName="/ppt/slideLayouts/slideLayout13798.xml" ContentType="application/vnd.openxmlformats-officedocument.presentationml.slideLayout+xml"/>
  <Override PartName="/ppt/slideLayouts/slideLayout13799.xml" ContentType="application/vnd.openxmlformats-officedocument.presentationml.slideLayout+xml"/>
  <Override PartName="/ppt/slideLayouts/slideLayout13800.xml" ContentType="application/vnd.openxmlformats-officedocument.presentationml.slideLayout+xml"/>
  <Override PartName="/ppt/slideLayouts/slideLayout13801.xml" ContentType="application/vnd.openxmlformats-officedocument.presentationml.slideLayout+xml"/>
  <Override PartName="/ppt/slideLayouts/slideLayout13802.xml" ContentType="application/vnd.openxmlformats-officedocument.presentationml.slideLayout+xml"/>
  <Override PartName="/ppt/slideLayouts/slideLayout13803.xml" ContentType="application/vnd.openxmlformats-officedocument.presentationml.slideLayout+xml"/>
  <Override PartName="/ppt/slideLayouts/slideLayout13804.xml" ContentType="application/vnd.openxmlformats-officedocument.presentationml.slideLayout+xml"/>
  <Override PartName="/ppt/slideLayouts/slideLayout13805.xml" ContentType="application/vnd.openxmlformats-officedocument.presentationml.slideLayout+xml"/>
  <Override PartName="/ppt/slideLayouts/slideLayout13806.xml" ContentType="application/vnd.openxmlformats-officedocument.presentationml.slideLayout+xml"/>
  <Override PartName="/ppt/slideLayouts/slideLayout13807.xml" ContentType="application/vnd.openxmlformats-officedocument.presentationml.slideLayout+xml"/>
  <Override PartName="/ppt/slideLayouts/slideLayout13808.xml" ContentType="application/vnd.openxmlformats-officedocument.presentationml.slideLayout+xml"/>
  <Override PartName="/ppt/slideLayouts/slideLayout13809.xml" ContentType="application/vnd.openxmlformats-officedocument.presentationml.slideLayout+xml"/>
  <Override PartName="/ppt/slideLayouts/slideLayout13810.xml" ContentType="application/vnd.openxmlformats-officedocument.presentationml.slideLayout+xml"/>
  <Override PartName="/ppt/slideLayouts/slideLayout13811.xml" ContentType="application/vnd.openxmlformats-officedocument.presentationml.slideLayout+xml"/>
  <Override PartName="/ppt/slideLayouts/slideLayout13812.xml" ContentType="application/vnd.openxmlformats-officedocument.presentationml.slideLayout+xml"/>
  <Override PartName="/ppt/slideLayouts/slideLayout13813.xml" ContentType="application/vnd.openxmlformats-officedocument.presentationml.slideLayout+xml"/>
  <Override PartName="/ppt/slideLayouts/slideLayout13814.xml" ContentType="application/vnd.openxmlformats-officedocument.presentationml.slideLayout+xml"/>
  <Override PartName="/ppt/slideLayouts/slideLayout13815.xml" ContentType="application/vnd.openxmlformats-officedocument.presentationml.slideLayout+xml"/>
  <Override PartName="/ppt/slideLayouts/slideLayout13816.xml" ContentType="application/vnd.openxmlformats-officedocument.presentationml.slideLayout+xml"/>
  <Override PartName="/ppt/slideLayouts/slideLayout13817.xml" ContentType="application/vnd.openxmlformats-officedocument.presentationml.slideLayout+xml"/>
  <Override PartName="/ppt/slideLayouts/slideLayout13818.xml" ContentType="application/vnd.openxmlformats-officedocument.presentationml.slideLayout+xml"/>
  <Override PartName="/ppt/slideLayouts/slideLayout13819.xml" ContentType="application/vnd.openxmlformats-officedocument.presentationml.slideLayout+xml"/>
  <Override PartName="/ppt/slideLayouts/slideLayout13820.xml" ContentType="application/vnd.openxmlformats-officedocument.presentationml.slideLayout+xml"/>
  <Override PartName="/ppt/slideLayouts/slideLayout13821.xml" ContentType="application/vnd.openxmlformats-officedocument.presentationml.slideLayout+xml"/>
  <Override PartName="/ppt/slideLayouts/slideLayout13822.xml" ContentType="application/vnd.openxmlformats-officedocument.presentationml.slideLayout+xml"/>
  <Override PartName="/ppt/slideLayouts/slideLayout13823.xml" ContentType="application/vnd.openxmlformats-officedocument.presentationml.slideLayout+xml"/>
  <Override PartName="/ppt/slideLayouts/slideLayout13824.xml" ContentType="application/vnd.openxmlformats-officedocument.presentationml.slideLayout+xml"/>
  <Override PartName="/ppt/slideLayouts/slideLayout13825.xml" ContentType="application/vnd.openxmlformats-officedocument.presentationml.slideLayout+xml"/>
  <Override PartName="/ppt/slideLayouts/slideLayout13826.xml" ContentType="application/vnd.openxmlformats-officedocument.presentationml.slideLayout+xml"/>
  <Override PartName="/ppt/slideLayouts/slideLayout13827.xml" ContentType="application/vnd.openxmlformats-officedocument.presentationml.slideLayout+xml"/>
  <Override PartName="/ppt/slideLayouts/slideLayout13828.xml" ContentType="application/vnd.openxmlformats-officedocument.presentationml.slideLayout+xml"/>
  <Override PartName="/ppt/slideLayouts/slideLayout13829.xml" ContentType="application/vnd.openxmlformats-officedocument.presentationml.slideLayout+xml"/>
  <Override PartName="/ppt/slideLayouts/slideLayout13830.xml" ContentType="application/vnd.openxmlformats-officedocument.presentationml.slideLayout+xml"/>
  <Override PartName="/ppt/slideLayouts/slideLayout13831.xml" ContentType="application/vnd.openxmlformats-officedocument.presentationml.slideLayout+xml"/>
  <Override PartName="/ppt/slideLayouts/slideLayout13832.xml" ContentType="application/vnd.openxmlformats-officedocument.presentationml.slideLayout+xml"/>
  <Override PartName="/ppt/slideLayouts/slideLayout13833.xml" ContentType="application/vnd.openxmlformats-officedocument.presentationml.slideLayout+xml"/>
  <Override PartName="/ppt/slideLayouts/slideLayout13834.xml" ContentType="application/vnd.openxmlformats-officedocument.presentationml.slideLayout+xml"/>
  <Override PartName="/ppt/slideLayouts/slideLayout13835.xml" ContentType="application/vnd.openxmlformats-officedocument.presentationml.slideLayout+xml"/>
  <Override PartName="/ppt/slideLayouts/slideLayout13836.xml" ContentType="application/vnd.openxmlformats-officedocument.presentationml.slideLayout+xml"/>
  <Override PartName="/ppt/slideLayouts/slideLayout13837.xml" ContentType="application/vnd.openxmlformats-officedocument.presentationml.slideLayout+xml"/>
  <Override PartName="/ppt/slideLayouts/slideLayout13838.xml" ContentType="application/vnd.openxmlformats-officedocument.presentationml.slideLayout+xml"/>
  <Override PartName="/ppt/slideLayouts/slideLayout13839.xml" ContentType="application/vnd.openxmlformats-officedocument.presentationml.slideLayout+xml"/>
  <Override PartName="/ppt/slideLayouts/slideLayout13840.xml" ContentType="application/vnd.openxmlformats-officedocument.presentationml.slideLayout+xml"/>
  <Override PartName="/ppt/slideLayouts/slideLayout13841.xml" ContentType="application/vnd.openxmlformats-officedocument.presentationml.slideLayout+xml"/>
  <Override PartName="/ppt/slideLayouts/slideLayout13842.xml" ContentType="application/vnd.openxmlformats-officedocument.presentationml.slideLayout+xml"/>
  <Override PartName="/ppt/slideLayouts/slideLayout13843.xml" ContentType="application/vnd.openxmlformats-officedocument.presentationml.slideLayout+xml"/>
  <Override PartName="/ppt/slideLayouts/slideLayout13844.xml" ContentType="application/vnd.openxmlformats-officedocument.presentationml.slideLayout+xml"/>
  <Override PartName="/ppt/slideLayouts/slideLayout13845.xml" ContentType="application/vnd.openxmlformats-officedocument.presentationml.slideLayout+xml"/>
  <Override PartName="/ppt/slideLayouts/slideLayout13846.xml" ContentType="application/vnd.openxmlformats-officedocument.presentationml.slideLayout+xml"/>
  <Override PartName="/ppt/slideLayouts/slideLayout13847.xml" ContentType="application/vnd.openxmlformats-officedocument.presentationml.slideLayout+xml"/>
  <Override PartName="/ppt/slideLayouts/slideLayout13848.xml" ContentType="application/vnd.openxmlformats-officedocument.presentationml.slideLayout+xml"/>
  <Override PartName="/ppt/slideLayouts/slideLayout13849.xml" ContentType="application/vnd.openxmlformats-officedocument.presentationml.slideLayout+xml"/>
  <Override PartName="/ppt/slideLayouts/slideLayout13850.xml" ContentType="application/vnd.openxmlformats-officedocument.presentationml.slideLayout+xml"/>
  <Override PartName="/ppt/slideLayouts/slideLayout13851.xml" ContentType="application/vnd.openxmlformats-officedocument.presentationml.slideLayout+xml"/>
  <Override PartName="/ppt/slideLayouts/slideLayout13852.xml" ContentType="application/vnd.openxmlformats-officedocument.presentationml.slideLayout+xml"/>
  <Override PartName="/ppt/slideLayouts/slideLayout13853.xml" ContentType="application/vnd.openxmlformats-officedocument.presentationml.slideLayout+xml"/>
  <Override PartName="/ppt/slideLayouts/slideLayout13854.xml" ContentType="application/vnd.openxmlformats-officedocument.presentationml.slideLayout+xml"/>
  <Override PartName="/ppt/slideLayouts/slideLayout13855.xml" ContentType="application/vnd.openxmlformats-officedocument.presentationml.slideLayout+xml"/>
  <Override PartName="/ppt/slideLayouts/slideLayout13856.xml" ContentType="application/vnd.openxmlformats-officedocument.presentationml.slideLayout+xml"/>
  <Override PartName="/ppt/slideLayouts/slideLayout13857.xml" ContentType="application/vnd.openxmlformats-officedocument.presentationml.slideLayout+xml"/>
  <Override PartName="/ppt/slideLayouts/slideLayout13858.xml" ContentType="application/vnd.openxmlformats-officedocument.presentationml.slideLayout+xml"/>
  <Override PartName="/ppt/slideLayouts/slideLayout13859.xml" ContentType="application/vnd.openxmlformats-officedocument.presentationml.slideLayout+xml"/>
  <Override PartName="/ppt/slideLayouts/slideLayout13860.xml" ContentType="application/vnd.openxmlformats-officedocument.presentationml.slideLayout+xml"/>
  <Override PartName="/ppt/slideLayouts/slideLayout13861.xml" ContentType="application/vnd.openxmlformats-officedocument.presentationml.slideLayout+xml"/>
  <Override PartName="/ppt/slideLayouts/slideLayout13862.xml" ContentType="application/vnd.openxmlformats-officedocument.presentationml.slideLayout+xml"/>
  <Override PartName="/ppt/slideLayouts/slideLayout13863.xml" ContentType="application/vnd.openxmlformats-officedocument.presentationml.slideLayout+xml"/>
  <Override PartName="/ppt/slideLayouts/slideLayout13864.xml" ContentType="application/vnd.openxmlformats-officedocument.presentationml.slideLayout+xml"/>
  <Override PartName="/ppt/slideLayouts/slideLayout13865.xml" ContentType="application/vnd.openxmlformats-officedocument.presentationml.slideLayout+xml"/>
  <Override PartName="/ppt/slideLayouts/slideLayout13866.xml" ContentType="application/vnd.openxmlformats-officedocument.presentationml.slideLayout+xml"/>
  <Override PartName="/ppt/slideLayouts/slideLayout13867.xml" ContentType="application/vnd.openxmlformats-officedocument.presentationml.slideLayout+xml"/>
  <Override PartName="/ppt/slideLayouts/slideLayout13868.xml" ContentType="application/vnd.openxmlformats-officedocument.presentationml.slideLayout+xml"/>
  <Override PartName="/ppt/slideLayouts/slideLayout13869.xml" ContentType="application/vnd.openxmlformats-officedocument.presentationml.slideLayout+xml"/>
  <Override PartName="/ppt/slideLayouts/slideLayout13870.xml" ContentType="application/vnd.openxmlformats-officedocument.presentationml.slideLayout+xml"/>
  <Override PartName="/ppt/slideLayouts/slideLayout13871.xml" ContentType="application/vnd.openxmlformats-officedocument.presentationml.slideLayout+xml"/>
  <Override PartName="/ppt/slideLayouts/slideLayout13872.xml" ContentType="application/vnd.openxmlformats-officedocument.presentationml.slideLayout+xml"/>
  <Override PartName="/ppt/slideLayouts/slideLayout13873.xml" ContentType="application/vnd.openxmlformats-officedocument.presentationml.slideLayout+xml"/>
  <Override PartName="/ppt/slideLayouts/slideLayout13874.xml" ContentType="application/vnd.openxmlformats-officedocument.presentationml.slideLayout+xml"/>
  <Override PartName="/ppt/slideLayouts/slideLayout13875.xml" ContentType="application/vnd.openxmlformats-officedocument.presentationml.slideLayout+xml"/>
  <Override PartName="/ppt/slideLayouts/slideLayout13876.xml" ContentType="application/vnd.openxmlformats-officedocument.presentationml.slideLayout+xml"/>
  <Override PartName="/ppt/slideLayouts/slideLayout13877.xml" ContentType="application/vnd.openxmlformats-officedocument.presentationml.slideLayout+xml"/>
  <Override PartName="/ppt/slideLayouts/slideLayout13878.xml" ContentType="application/vnd.openxmlformats-officedocument.presentationml.slideLayout+xml"/>
  <Override PartName="/ppt/slideLayouts/slideLayout13879.xml" ContentType="application/vnd.openxmlformats-officedocument.presentationml.slideLayout+xml"/>
  <Override PartName="/ppt/slideLayouts/slideLayout13880.xml" ContentType="application/vnd.openxmlformats-officedocument.presentationml.slideLayout+xml"/>
  <Override PartName="/ppt/slideLayouts/slideLayout13881.xml" ContentType="application/vnd.openxmlformats-officedocument.presentationml.slideLayout+xml"/>
  <Override PartName="/ppt/slideLayouts/slideLayout13882.xml" ContentType="application/vnd.openxmlformats-officedocument.presentationml.slideLayout+xml"/>
  <Override PartName="/ppt/slideLayouts/slideLayout13883.xml" ContentType="application/vnd.openxmlformats-officedocument.presentationml.slideLayout+xml"/>
  <Override PartName="/ppt/slideLayouts/slideLayout13884.xml" ContentType="application/vnd.openxmlformats-officedocument.presentationml.slideLayout+xml"/>
  <Override PartName="/ppt/slideLayouts/slideLayout13885.xml" ContentType="application/vnd.openxmlformats-officedocument.presentationml.slideLayout+xml"/>
  <Override PartName="/ppt/slideLayouts/slideLayout13886.xml" ContentType="application/vnd.openxmlformats-officedocument.presentationml.slideLayout+xml"/>
  <Override PartName="/ppt/slideLayouts/slideLayout13887.xml" ContentType="application/vnd.openxmlformats-officedocument.presentationml.slideLayout+xml"/>
  <Override PartName="/ppt/slideLayouts/slideLayout13888.xml" ContentType="application/vnd.openxmlformats-officedocument.presentationml.slideLayout+xml"/>
  <Override PartName="/ppt/slideLayouts/slideLayout13889.xml" ContentType="application/vnd.openxmlformats-officedocument.presentationml.slideLayout+xml"/>
  <Override PartName="/ppt/slideLayouts/slideLayout13890.xml" ContentType="application/vnd.openxmlformats-officedocument.presentationml.slideLayout+xml"/>
  <Override PartName="/ppt/slideLayouts/slideLayout13891.xml" ContentType="application/vnd.openxmlformats-officedocument.presentationml.slideLayout+xml"/>
  <Override PartName="/ppt/slideLayouts/slideLayout13892.xml" ContentType="application/vnd.openxmlformats-officedocument.presentationml.slideLayout+xml"/>
  <Override PartName="/ppt/slideLayouts/slideLayout13893.xml" ContentType="application/vnd.openxmlformats-officedocument.presentationml.slideLayout+xml"/>
  <Override PartName="/ppt/slideLayouts/slideLayout13894.xml" ContentType="application/vnd.openxmlformats-officedocument.presentationml.slideLayout+xml"/>
  <Override PartName="/ppt/slideLayouts/slideLayout13895.xml" ContentType="application/vnd.openxmlformats-officedocument.presentationml.slideLayout+xml"/>
  <Override PartName="/ppt/slideLayouts/slideLayout13896.xml" ContentType="application/vnd.openxmlformats-officedocument.presentationml.slideLayout+xml"/>
  <Override PartName="/ppt/slideLayouts/slideLayout13897.xml" ContentType="application/vnd.openxmlformats-officedocument.presentationml.slideLayout+xml"/>
  <Override PartName="/ppt/slideLayouts/slideLayout13898.xml" ContentType="application/vnd.openxmlformats-officedocument.presentationml.slideLayout+xml"/>
  <Override PartName="/ppt/slideLayouts/slideLayout13899.xml" ContentType="application/vnd.openxmlformats-officedocument.presentationml.slideLayout+xml"/>
  <Override PartName="/ppt/slideLayouts/slideLayout13900.xml" ContentType="application/vnd.openxmlformats-officedocument.presentationml.slideLayout+xml"/>
  <Override PartName="/ppt/slideLayouts/slideLayout13901.xml" ContentType="application/vnd.openxmlformats-officedocument.presentationml.slideLayout+xml"/>
  <Override PartName="/ppt/slideLayouts/slideLayout13902.xml" ContentType="application/vnd.openxmlformats-officedocument.presentationml.slideLayout+xml"/>
  <Override PartName="/ppt/slideLayouts/slideLayout13903.xml" ContentType="application/vnd.openxmlformats-officedocument.presentationml.slideLayout+xml"/>
  <Override PartName="/ppt/slideLayouts/slideLayout13904.xml" ContentType="application/vnd.openxmlformats-officedocument.presentationml.slideLayout+xml"/>
  <Override PartName="/ppt/slideLayouts/slideLayout13905.xml" ContentType="application/vnd.openxmlformats-officedocument.presentationml.slideLayout+xml"/>
  <Override PartName="/ppt/slideLayouts/slideLayout13906.xml" ContentType="application/vnd.openxmlformats-officedocument.presentationml.slideLayout+xml"/>
  <Override PartName="/ppt/slideLayouts/slideLayout13907.xml" ContentType="application/vnd.openxmlformats-officedocument.presentationml.slideLayout+xml"/>
  <Override PartName="/ppt/slideLayouts/slideLayout13908.xml" ContentType="application/vnd.openxmlformats-officedocument.presentationml.slideLayout+xml"/>
  <Override PartName="/ppt/slideLayouts/slideLayout13909.xml" ContentType="application/vnd.openxmlformats-officedocument.presentationml.slideLayout+xml"/>
  <Override PartName="/ppt/slideLayouts/slideLayout13910.xml" ContentType="application/vnd.openxmlformats-officedocument.presentationml.slideLayout+xml"/>
  <Override PartName="/ppt/slideLayouts/slideLayout13911.xml" ContentType="application/vnd.openxmlformats-officedocument.presentationml.slideLayout+xml"/>
  <Override PartName="/ppt/slideLayouts/slideLayout13912.xml" ContentType="application/vnd.openxmlformats-officedocument.presentationml.slideLayout+xml"/>
  <Override PartName="/ppt/slideLayouts/slideLayout13913.xml" ContentType="application/vnd.openxmlformats-officedocument.presentationml.slideLayout+xml"/>
  <Override PartName="/ppt/slideLayouts/slideLayout13914.xml" ContentType="application/vnd.openxmlformats-officedocument.presentationml.slideLayout+xml"/>
  <Override PartName="/ppt/slideLayouts/slideLayout13915.xml" ContentType="application/vnd.openxmlformats-officedocument.presentationml.slideLayout+xml"/>
  <Override PartName="/ppt/slideLayouts/slideLayout13916.xml" ContentType="application/vnd.openxmlformats-officedocument.presentationml.slideLayout+xml"/>
  <Override PartName="/ppt/slideLayouts/slideLayout13917.xml" ContentType="application/vnd.openxmlformats-officedocument.presentationml.slideLayout+xml"/>
  <Override PartName="/ppt/slideLayouts/slideLayout13918.xml" ContentType="application/vnd.openxmlformats-officedocument.presentationml.slideLayout+xml"/>
  <Override PartName="/ppt/slideLayouts/slideLayout13919.xml" ContentType="application/vnd.openxmlformats-officedocument.presentationml.slideLayout+xml"/>
  <Override PartName="/ppt/slideLayouts/slideLayout13920.xml" ContentType="application/vnd.openxmlformats-officedocument.presentationml.slideLayout+xml"/>
  <Override PartName="/ppt/slideLayouts/slideLayout13921.xml" ContentType="application/vnd.openxmlformats-officedocument.presentationml.slideLayout+xml"/>
  <Override PartName="/ppt/slideLayouts/slideLayout13922.xml" ContentType="application/vnd.openxmlformats-officedocument.presentationml.slideLayout+xml"/>
  <Override PartName="/ppt/slideLayouts/slideLayout13923.xml" ContentType="application/vnd.openxmlformats-officedocument.presentationml.slideLayout+xml"/>
  <Override PartName="/ppt/slideLayouts/slideLayout13924.xml" ContentType="application/vnd.openxmlformats-officedocument.presentationml.slideLayout+xml"/>
  <Override PartName="/ppt/slideLayouts/slideLayout13925.xml" ContentType="application/vnd.openxmlformats-officedocument.presentationml.slideLayout+xml"/>
  <Override PartName="/ppt/slideLayouts/slideLayout13926.xml" ContentType="application/vnd.openxmlformats-officedocument.presentationml.slideLayout+xml"/>
  <Override PartName="/ppt/slideLayouts/slideLayout13927.xml" ContentType="application/vnd.openxmlformats-officedocument.presentationml.slideLayout+xml"/>
  <Override PartName="/ppt/slideLayouts/slideLayout13928.xml" ContentType="application/vnd.openxmlformats-officedocument.presentationml.slideLayout+xml"/>
  <Override PartName="/ppt/slideLayouts/slideLayout13929.xml" ContentType="application/vnd.openxmlformats-officedocument.presentationml.slideLayout+xml"/>
  <Override PartName="/ppt/slideLayouts/slideLayout13930.xml" ContentType="application/vnd.openxmlformats-officedocument.presentationml.slideLayout+xml"/>
  <Override PartName="/ppt/slideLayouts/slideLayout13931.xml" ContentType="application/vnd.openxmlformats-officedocument.presentationml.slideLayout+xml"/>
  <Override PartName="/ppt/slideLayouts/slideLayout13932.xml" ContentType="application/vnd.openxmlformats-officedocument.presentationml.slideLayout+xml"/>
  <Override PartName="/ppt/slideLayouts/slideLayout13933.xml" ContentType="application/vnd.openxmlformats-officedocument.presentationml.slideLayout+xml"/>
  <Override PartName="/ppt/slideLayouts/slideLayout13934.xml" ContentType="application/vnd.openxmlformats-officedocument.presentationml.slideLayout+xml"/>
  <Override PartName="/ppt/slideLayouts/slideLayout13935.xml" ContentType="application/vnd.openxmlformats-officedocument.presentationml.slideLayout+xml"/>
  <Override PartName="/ppt/slideLayouts/slideLayout13936.xml" ContentType="application/vnd.openxmlformats-officedocument.presentationml.slideLayout+xml"/>
  <Override PartName="/ppt/slideLayouts/slideLayout13937.xml" ContentType="application/vnd.openxmlformats-officedocument.presentationml.slideLayout+xml"/>
  <Override PartName="/ppt/slideLayouts/slideLayout13938.xml" ContentType="application/vnd.openxmlformats-officedocument.presentationml.slideLayout+xml"/>
  <Override PartName="/ppt/slideLayouts/slideLayout13939.xml" ContentType="application/vnd.openxmlformats-officedocument.presentationml.slideLayout+xml"/>
  <Override PartName="/ppt/slideLayouts/slideLayout13940.xml" ContentType="application/vnd.openxmlformats-officedocument.presentationml.slideLayout+xml"/>
  <Override PartName="/ppt/slideLayouts/slideLayout13941.xml" ContentType="application/vnd.openxmlformats-officedocument.presentationml.slideLayout+xml"/>
  <Override PartName="/ppt/slideLayouts/slideLayout13942.xml" ContentType="application/vnd.openxmlformats-officedocument.presentationml.slideLayout+xml"/>
  <Override PartName="/ppt/slideLayouts/slideLayout13943.xml" ContentType="application/vnd.openxmlformats-officedocument.presentationml.slideLayout+xml"/>
  <Override PartName="/ppt/slideLayouts/slideLayout13944.xml" ContentType="application/vnd.openxmlformats-officedocument.presentationml.slideLayout+xml"/>
  <Override PartName="/ppt/slideLayouts/slideLayout13945.xml" ContentType="application/vnd.openxmlformats-officedocument.presentationml.slideLayout+xml"/>
  <Override PartName="/ppt/slideLayouts/slideLayout13946.xml" ContentType="application/vnd.openxmlformats-officedocument.presentationml.slideLayout+xml"/>
  <Override PartName="/ppt/slideLayouts/slideLayout13947.xml" ContentType="application/vnd.openxmlformats-officedocument.presentationml.slideLayout+xml"/>
  <Override PartName="/ppt/slideLayouts/slideLayout13948.xml" ContentType="application/vnd.openxmlformats-officedocument.presentationml.slideLayout+xml"/>
  <Override PartName="/ppt/slideLayouts/slideLayout13949.xml" ContentType="application/vnd.openxmlformats-officedocument.presentationml.slideLayout+xml"/>
  <Override PartName="/ppt/slideLayouts/slideLayout13950.xml" ContentType="application/vnd.openxmlformats-officedocument.presentationml.slideLayout+xml"/>
  <Override PartName="/ppt/slideLayouts/slideLayout13951.xml" ContentType="application/vnd.openxmlformats-officedocument.presentationml.slideLayout+xml"/>
  <Override PartName="/ppt/slideLayouts/slideLayout13952.xml" ContentType="application/vnd.openxmlformats-officedocument.presentationml.slideLayout+xml"/>
  <Override PartName="/ppt/slideLayouts/slideLayout13953.xml" ContentType="application/vnd.openxmlformats-officedocument.presentationml.slideLayout+xml"/>
  <Override PartName="/ppt/slideLayouts/slideLayout13954.xml" ContentType="application/vnd.openxmlformats-officedocument.presentationml.slideLayout+xml"/>
  <Override PartName="/ppt/slideLayouts/slideLayout13955.xml" ContentType="application/vnd.openxmlformats-officedocument.presentationml.slideLayout+xml"/>
  <Override PartName="/ppt/slideLayouts/slideLayout13956.xml" ContentType="application/vnd.openxmlformats-officedocument.presentationml.slideLayout+xml"/>
  <Override PartName="/ppt/slideLayouts/slideLayout13957.xml" ContentType="application/vnd.openxmlformats-officedocument.presentationml.slideLayout+xml"/>
  <Override PartName="/ppt/slideLayouts/slideLayout13958.xml" ContentType="application/vnd.openxmlformats-officedocument.presentationml.slideLayout+xml"/>
  <Override PartName="/ppt/slideLayouts/slideLayout13959.xml" ContentType="application/vnd.openxmlformats-officedocument.presentationml.slideLayout+xml"/>
  <Override PartName="/ppt/slideLayouts/slideLayout13960.xml" ContentType="application/vnd.openxmlformats-officedocument.presentationml.slideLayout+xml"/>
  <Override PartName="/ppt/slideLayouts/slideLayout13961.xml" ContentType="application/vnd.openxmlformats-officedocument.presentationml.slideLayout+xml"/>
  <Override PartName="/ppt/slideLayouts/slideLayout13962.xml" ContentType="application/vnd.openxmlformats-officedocument.presentationml.slideLayout+xml"/>
  <Override PartName="/ppt/slideLayouts/slideLayout13963.xml" ContentType="application/vnd.openxmlformats-officedocument.presentationml.slideLayout+xml"/>
  <Override PartName="/ppt/slideLayouts/slideLayout13964.xml" ContentType="application/vnd.openxmlformats-officedocument.presentationml.slideLayout+xml"/>
  <Override PartName="/ppt/slideLayouts/slideLayout13965.xml" ContentType="application/vnd.openxmlformats-officedocument.presentationml.slideLayout+xml"/>
  <Override PartName="/ppt/slideLayouts/slideLayout13966.xml" ContentType="application/vnd.openxmlformats-officedocument.presentationml.slideLayout+xml"/>
  <Override PartName="/ppt/slideLayouts/slideLayout13967.xml" ContentType="application/vnd.openxmlformats-officedocument.presentationml.slideLayout+xml"/>
  <Override PartName="/ppt/slideLayouts/slideLayout13968.xml" ContentType="application/vnd.openxmlformats-officedocument.presentationml.slideLayout+xml"/>
  <Override PartName="/ppt/slideLayouts/slideLayout13969.xml" ContentType="application/vnd.openxmlformats-officedocument.presentationml.slideLayout+xml"/>
  <Override PartName="/ppt/slideLayouts/slideLayout13970.xml" ContentType="application/vnd.openxmlformats-officedocument.presentationml.slideLayout+xml"/>
  <Override PartName="/ppt/slideLayouts/slideLayout13971.xml" ContentType="application/vnd.openxmlformats-officedocument.presentationml.slideLayout+xml"/>
  <Override PartName="/ppt/slideLayouts/slideLayout13972.xml" ContentType="application/vnd.openxmlformats-officedocument.presentationml.slideLayout+xml"/>
  <Override PartName="/ppt/slideLayouts/slideLayout13973.xml" ContentType="application/vnd.openxmlformats-officedocument.presentationml.slideLayout+xml"/>
  <Override PartName="/ppt/slideLayouts/slideLayout13974.xml" ContentType="application/vnd.openxmlformats-officedocument.presentationml.slideLayout+xml"/>
  <Override PartName="/ppt/slideLayouts/slideLayout13975.xml" ContentType="application/vnd.openxmlformats-officedocument.presentationml.slideLayout+xml"/>
  <Override PartName="/ppt/slideLayouts/slideLayout13976.xml" ContentType="application/vnd.openxmlformats-officedocument.presentationml.slideLayout+xml"/>
  <Override PartName="/ppt/slideLayouts/slideLayout13977.xml" ContentType="application/vnd.openxmlformats-officedocument.presentationml.slideLayout+xml"/>
  <Override PartName="/ppt/slideLayouts/slideLayout13978.xml" ContentType="application/vnd.openxmlformats-officedocument.presentationml.slideLayout+xml"/>
  <Override PartName="/ppt/slideLayouts/slideLayout13979.xml" ContentType="application/vnd.openxmlformats-officedocument.presentationml.slideLayout+xml"/>
  <Override PartName="/ppt/slideLayouts/slideLayout13980.xml" ContentType="application/vnd.openxmlformats-officedocument.presentationml.slideLayout+xml"/>
  <Override PartName="/ppt/slideLayouts/slideLayout13981.xml" ContentType="application/vnd.openxmlformats-officedocument.presentationml.slideLayout+xml"/>
  <Override PartName="/ppt/slideLayouts/slideLayout13982.xml" ContentType="application/vnd.openxmlformats-officedocument.presentationml.slideLayout+xml"/>
  <Override PartName="/ppt/slideLayouts/slideLayout13983.xml" ContentType="application/vnd.openxmlformats-officedocument.presentationml.slideLayout+xml"/>
  <Override PartName="/ppt/slideLayouts/slideLayout13984.xml" ContentType="application/vnd.openxmlformats-officedocument.presentationml.slideLayout+xml"/>
  <Override PartName="/ppt/slideLayouts/slideLayout13985.xml" ContentType="application/vnd.openxmlformats-officedocument.presentationml.slideLayout+xml"/>
  <Override PartName="/ppt/slideLayouts/slideLayout13986.xml" ContentType="application/vnd.openxmlformats-officedocument.presentationml.slideLayout+xml"/>
  <Override PartName="/ppt/slideLayouts/slideLayout13987.xml" ContentType="application/vnd.openxmlformats-officedocument.presentationml.slideLayout+xml"/>
  <Override PartName="/ppt/slideLayouts/slideLayout13988.xml" ContentType="application/vnd.openxmlformats-officedocument.presentationml.slideLayout+xml"/>
  <Override PartName="/ppt/slideLayouts/slideLayout13989.xml" ContentType="application/vnd.openxmlformats-officedocument.presentationml.slideLayout+xml"/>
  <Override PartName="/ppt/slideLayouts/slideLayout13990.xml" ContentType="application/vnd.openxmlformats-officedocument.presentationml.slideLayout+xml"/>
  <Override PartName="/ppt/slideLayouts/slideLayout13991.xml" ContentType="application/vnd.openxmlformats-officedocument.presentationml.slideLayout+xml"/>
  <Override PartName="/ppt/slideLayouts/slideLayout13992.xml" ContentType="application/vnd.openxmlformats-officedocument.presentationml.slideLayout+xml"/>
  <Override PartName="/ppt/slideLayouts/slideLayout13993.xml" ContentType="application/vnd.openxmlformats-officedocument.presentationml.slideLayout+xml"/>
  <Override PartName="/ppt/slideLayouts/slideLayout13994.xml" ContentType="application/vnd.openxmlformats-officedocument.presentationml.slideLayout+xml"/>
  <Override PartName="/ppt/slideLayouts/slideLayout13995.xml" ContentType="application/vnd.openxmlformats-officedocument.presentationml.slideLayout+xml"/>
  <Override PartName="/ppt/slideLayouts/slideLayout13996.xml" ContentType="application/vnd.openxmlformats-officedocument.presentationml.slideLayout+xml"/>
  <Override PartName="/ppt/slideLayouts/slideLayout13997.xml" ContentType="application/vnd.openxmlformats-officedocument.presentationml.slideLayout+xml"/>
  <Override PartName="/ppt/slideLayouts/slideLayout13998.xml" ContentType="application/vnd.openxmlformats-officedocument.presentationml.slideLayout+xml"/>
  <Override PartName="/ppt/slideLayouts/slideLayout13999.xml" ContentType="application/vnd.openxmlformats-officedocument.presentationml.slideLayout+xml"/>
  <Override PartName="/ppt/slideLayouts/slideLayout14000.xml" ContentType="application/vnd.openxmlformats-officedocument.presentationml.slideLayout+xml"/>
  <Override PartName="/ppt/slideLayouts/slideLayout14001.xml" ContentType="application/vnd.openxmlformats-officedocument.presentationml.slideLayout+xml"/>
  <Override PartName="/ppt/slideLayouts/slideLayout14002.xml" ContentType="application/vnd.openxmlformats-officedocument.presentationml.slideLayout+xml"/>
  <Override PartName="/ppt/slideLayouts/slideLayout14003.xml" ContentType="application/vnd.openxmlformats-officedocument.presentationml.slideLayout+xml"/>
  <Override PartName="/ppt/slideLayouts/slideLayout14004.xml" ContentType="application/vnd.openxmlformats-officedocument.presentationml.slideLayout+xml"/>
  <Override PartName="/ppt/slideLayouts/slideLayout14005.xml" ContentType="application/vnd.openxmlformats-officedocument.presentationml.slideLayout+xml"/>
  <Override PartName="/ppt/slideLayouts/slideLayout14006.xml" ContentType="application/vnd.openxmlformats-officedocument.presentationml.slideLayout+xml"/>
  <Override PartName="/ppt/slideLayouts/slideLayout14007.xml" ContentType="application/vnd.openxmlformats-officedocument.presentationml.slideLayout+xml"/>
  <Override PartName="/ppt/slideLayouts/slideLayout14008.xml" ContentType="application/vnd.openxmlformats-officedocument.presentationml.slideLayout+xml"/>
  <Override PartName="/ppt/slideLayouts/slideLayout14009.xml" ContentType="application/vnd.openxmlformats-officedocument.presentationml.slideLayout+xml"/>
  <Override PartName="/ppt/slideLayouts/slideLayout14010.xml" ContentType="application/vnd.openxmlformats-officedocument.presentationml.slideLayout+xml"/>
  <Override PartName="/ppt/slideLayouts/slideLayout14011.xml" ContentType="application/vnd.openxmlformats-officedocument.presentationml.slideLayout+xml"/>
  <Override PartName="/ppt/slideLayouts/slideLayout14012.xml" ContentType="application/vnd.openxmlformats-officedocument.presentationml.slideLayout+xml"/>
  <Override PartName="/ppt/slideLayouts/slideLayout14013.xml" ContentType="application/vnd.openxmlformats-officedocument.presentationml.slideLayout+xml"/>
  <Override PartName="/ppt/slideLayouts/slideLayout14014.xml" ContentType="application/vnd.openxmlformats-officedocument.presentationml.slideLayout+xml"/>
  <Override PartName="/ppt/slideLayouts/slideLayout14015.xml" ContentType="application/vnd.openxmlformats-officedocument.presentationml.slideLayout+xml"/>
  <Override PartName="/ppt/slideLayouts/slideLayout14016.xml" ContentType="application/vnd.openxmlformats-officedocument.presentationml.slideLayout+xml"/>
  <Override PartName="/ppt/slideLayouts/slideLayout14017.xml" ContentType="application/vnd.openxmlformats-officedocument.presentationml.slideLayout+xml"/>
  <Override PartName="/ppt/slideLayouts/slideLayout14018.xml" ContentType="application/vnd.openxmlformats-officedocument.presentationml.slideLayout+xml"/>
  <Override PartName="/ppt/slideLayouts/slideLayout14019.xml" ContentType="application/vnd.openxmlformats-officedocument.presentationml.slideLayout+xml"/>
  <Override PartName="/ppt/slideLayouts/slideLayout14020.xml" ContentType="application/vnd.openxmlformats-officedocument.presentationml.slideLayout+xml"/>
  <Override PartName="/ppt/slideLayouts/slideLayout14021.xml" ContentType="application/vnd.openxmlformats-officedocument.presentationml.slideLayout+xml"/>
  <Override PartName="/ppt/slideLayouts/slideLayout14022.xml" ContentType="application/vnd.openxmlformats-officedocument.presentationml.slideLayout+xml"/>
  <Override PartName="/ppt/slideLayouts/slideLayout14023.xml" ContentType="application/vnd.openxmlformats-officedocument.presentationml.slideLayout+xml"/>
  <Override PartName="/ppt/slideLayouts/slideLayout14024.xml" ContentType="application/vnd.openxmlformats-officedocument.presentationml.slideLayout+xml"/>
  <Override PartName="/ppt/slideLayouts/slideLayout14025.xml" ContentType="application/vnd.openxmlformats-officedocument.presentationml.slideLayout+xml"/>
  <Override PartName="/ppt/slideLayouts/slideLayout14026.xml" ContentType="application/vnd.openxmlformats-officedocument.presentationml.slideLayout+xml"/>
  <Override PartName="/ppt/slideLayouts/slideLayout14027.xml" ContentType="application/vnd.openxmlformats-officedocument.presentationml.slideLayout+xml"/>
  <Override PartName="/ppt/slideLayouts/slideLayout14028.xml" ContentType="application/vnd.openxmlformats-officedocument.presentationml.slideLayout+xml"/>
  <Override PartName="/ppt/slideLayouts/slideLayout14029.xml" ContentType="application/vnd.openxmlformats-officedocument.presentationml.slideLayout+xml"/>
  <Override PartName="/ppt/slideLayouts/slideLayout14030.xml" ContentType="application/vnd.openxmlformats-officedocument.presentationml.slideLayout+xml"/>
  <Override PartName="/ppt/slideLayouts/slideLayout14031.xml" ContentType="application/vnd.openxmlformats-officedocument.presentationml.slideLayout+xml"/>
  <Override PartName="/ppt/slideLayouts/slideLayout14032.xml" ContentType="application/vnd.openxmlformats-officedocument.presentationml.slideLayout+xml"/>
  <Override PartName="/ppt/slideLayouts/slideLayout14033.xml" ContentType="application/vnd.openxmlformats-officedocument.presentationml.slideLayout+xml"/>
  <Override PartName="/ppt/slideLayouts/slideLayout14034.xml" ContentType="application/vnd.openxmlformats-officedocument.presentationml.slideLayout+xml"/>
  <Override PartName="/ppt/slideLayouts/slideLayout14035.xml" ContentType="application/vnd.openxmlformats-officedocument.presentationml.slideLayout+xml"/>
  <Override PartName="/ppt/slideLayouts/slideLayout14036.xml" ContentType="application/vnd.openxmlformats-officedocument.presentationml.slideLayout+xml"/>
  <Override PartName="/ppt/slideLayouts/slideLayout14037.xml" ContentType="application/vnd.openxmlformats-officedocument.presentationml.slideLayout+xml"/>
  <Override PartName="/ppt/slideLayouts/slideLayout14038.xml" ContentType="application/vnd.openxmlformats-officedocument.presentationml.slideLayout+xml"/>
  <Override PartName="/ppt/slideLayouts/slideLayout14039.xml" ContentType="application/vnd.openxmlformats-officedocument.presentationml.slideLayout+xml"/>
  <Override PartName="/ppt/slideLayouts/slideLayout14040.xml" ContentType="application/vnd.openxmlformats-officedocument.presentationml.slideLayout+xml"/>
  <Override PartName="/ppt/slideLayouts/slideLayout14041.xml" ContentType="application/vnd.openxmlformats-officedocument.presentationml.slideLayout+xml"/>
  <Override PartName="/ppt/slideLayouts/slideLayout14042.xml" ContentType="application/vnd.openxmlformats-officedocument.presentationml.slideLayout+xml"/>
  <Override PartName="/ppt/slideLayouts/slideLayout14043.xml" ContentType="application/vnd.openxmlformats-officedocument.presentationml.slideLayout+xml"/>
  <Override PartName="/ppt/slideLayouts/slideLayout14044.xml" ContentType="application/vnd.openxmlformats-officedocument.presentationml.slideLayout+xml"/>
  <Override PartName="/ppt/slideLayouts/slideLayout14045.xml" ContentType="application/vnd.openxmlformats-officedocument.presentationml.slideLayout+xml"/>
  <Override PartName="/ppt/slideLayouts/slideLayout14046.xml" ContentType="application/vnd.openxmlformats-officedocument.presentationml.slideLayout+xml"/>
  <Override PartName="/ppt/slideLayouts/slideLayout14047.xml" ContentType="application/vnd.openxmlformats-officedocument.presentationml.slideLayout+xml"/>
  <Override PartName="/ppt/slideLayouts/slideLayout14048.xml" ContentType="application/vnd.openxmlformats-officedocument.presentationml.slideLayout+xml"/>
  <Override PartName="/ppt/slideLayouts/slideLayout14049.xml" ContentType="application/vnd.openxmlformats-officedocument.presentationml.slideLayout+xml"/>
  <Override PartName="/ppt/slideLayouts/slideLayout14050.xml" ContentType="application/vnd.openxmlformats-officedocument.presentationml.slideLayout+xml"/>
  <Override PartName="/ppt/slideLayouts/slideLayout14051.xml" ContentType="application/vnd.openxmlformats-officedocument.presentationml.slideLayout+xml"/>
  <Override PartName="/ppt/slideLayouts/slideLayout14052.xml" ContentType="application/vnd.openxmlformats-officedocument.presentationml.slideLayout+xml"/>
  <Override PartName="/ppt/slideLayouts/slideLayout14053.xml" ContentType="application/vnd.openxmlformats-officedocument.presentationml.slideLayout+xml"/>
  <Override PartName="/ppt/slideLayouts/slideLayout14054.xml" ContentType="application/vnd.openxmlformats-officedocument.presentationml.slideLayout+xml"/>
  <Override PartName="/ppt/slideLayouts/slideLayout14055.xml" ContentType="application/vnd.openxmlformats-officedocument.presentationml.slideLayout+xml"/>
  <Override PartName="/ppt/slideLayouts/slideLayout14056.xml" ContentType="application/vnd.openxmlformats-officedocument.presentationml.slideLayout+xml"/>
  <Override PartName="/ppt/slideLayouts/slideLayout14057.xml" ContentType="application/vnd.openxmlformats-officedocument.presentationml.slideLayout+xml"/>
  <Override PartName="/ppt/slideLayouts/slideLayout14058.xml" ContentType="application/vnd.openxmlformats-officedocument.presentationml.slideLayout+xml"/>
  <Override PartName="/ppt/slideLayouts/slideLayout14059.xml" ContentType="application/vnd.openxmlformats-officedocument.presentationml.slideLayout+xml"/>
  <Override PartName="/ppt/slideLayouts/slideLayout14060.xml" ContentType="application/vnd.openxmlformats-officedocument.presentationml.slideLayout+xml"/>
  <Override PartName="/ppt/slideLayouts/slideLayout14061.xml" ContentType="application/vnd.openxmlformats-officedocument.presentationml.slideLayout+xml"/>
  <Override PartName="/ppt/slideLayouts/slideLayout14062.xml" ContentType="application/vnd.openxmlformats-officedocument.presentationml.slideLayout+xml"/>
  <Override PartName="/ppt/slideLayouts/slideLayout14063.xml" ContentType="application/vnd.openxmlformats-officedocument.presentationml.slideLayout+xml"/>
  <Override PartName="/ppt/slideLayouts/slideLayout14064.xml" ContentType="application/vnd.openxmlformats-officedocument.presentationml.slideLayout+xml"/>
  <Override PartName="/ppt/slideLayouts/slideLayout14065.xml" ContentType="application/vnd.openxmlformats-officedocument.presentationml.slideLayout+xml"/>
  <Override PartName="/ppt/slideLayouts/slideLayout14066.xml" ContentType="application/vnd.openxmlformats-officedocument.presentationml.slideLayout+xml"/>
  <Override PartName="/ppt/slideLayouts/slideLayout14067.xml" ContentType="application/vnd.openxmlformats-officedocument.presentationml.slideLayout+xml"/>
  <Override PartName="/ppt/slideLayouts/slideLayout14068.xml" ContentType="application/vnd.openxmlformats-officedocument.presentationml.slideLayout+xml"/>
  <Override PartName="/ppt/slideLayouts/slideLayout14069.xml" ContentType="application/vnd.openxmlformats-officedocument.presentationml.slideLayout+xml"/>
  <Override PartName="/ppt/slideLayouts/slideLayout14070.xml" ContentType="application/vnd.openxmlformats-officedocument.presentationml.slideLayout+xml"/>
  <Override PartName="/ppt/slideLayouts/slideLayout14071.xml" ContentType="application/vnd.openxmlformats-officedocument.presentationml.slideLayout+xml"/>
  <Override PartName="/ppt/slideLayouts/slideLayout14072.xml" ContentType="application/vnd.openxmlformats-officedocument.presentationml.slideLayout+xml"/>
  <Override PartName="/ppt/slideLayouts/slideLayout14073.xml" ContentType="application/vnd.openxmlformats-officedocument.presentationml.slideLayout+xml"/>
  <Override PartName="/ppt/slideLayouts/slideLayout14074.xml" ContentType="application/vnd.openxmlformats-officedocument.presentationml.slideLayout+xml"/>
  <Override PartName="/ppt/slideLayouts/slideLayout14075.xml" ContentType="application/vnd.openxmlformats-officedocument.presentationml.slideLayout+xml"/>
  <Override PartName="/ppt/slideLayouts/slideLayout14076.xml" ContentType="application/vnd.openxmlformats-officedocument.presentationml.slideLayout+xml"/>
  <Override PartName="/ppt/slideLayouts/slideLayout14077.xml" ContentType="application/vnd.openxmlformats-officedocument.presentationml.slideLayout+xml"/>
  <Override PartName="/ppt/slideLayouts/slideLayout14078.xml" ContentType="application/vnd.openxmlformats-officedocument.presentationml.slideLayout+xml"/>
  <Override PartName="/ppt/slideLayouts/slideLayout14079.xml" ContentType="application/vnd.openxmlformats-officedocument.presentationml.slideLayout+xml"/>
  <Override PartName="/ppt/slideLayouts/slideLayout14080.xml" ContentType="application/vnd.openxmlformats-officedocument.presentationml.slideLayout+xml"/>
  <Override PartName="/ppt/slideLayouts/slideLayout14081.xml" ContentType="application/vnd.openxmlformats-officedocument.presentationml.slideLayout+xml"/>
  <Override PartName="/ppt/slideLayouts/slideLayout14082.xml" ContentType="application/vnd.openxmlformats-officedocument.presentationml.slideLayout+xml"/>
  <Override PartName="/ppt/slideLayouts/slideLayout14083.xml" ContentType="application/vnd.openxmlformats-officedocument.presentationml.slideLayout+xml"/>
  <Override PartName="/ppt/slideLayouts/slideLayout14084.xml" ContentType="application/vnd.openxmlformats-officedocument.presentationml.slideLayout+xml"/>
  <Override PartName="/ppt/slideLayouts/slideLayout14085.xml" ContentType="application/vnd.openxmlformats-officedocument.presentationml.slideLayout+xml"/>
  <Override PartName="/ppt/slideLayouts/slideLayout14086.xml" ContentType="application/vnd.openxmlformats-officedocument.presentationml.slideLayout+xml"/>
  <Override PartName="/ppt/slideLayouts/slideLayout14087.xml" ContentType="application/vnd.openxmlformats-officedocument.presentationml.slideLayout+xml"/>
  <Override PartName="/ppt/slideLayouts/slideLayout14088.xml" ContentType="application/vnd.openxmlformats-officedocument.presentationml.slideLayout+xml"/>
  <Override PartName="/ppt/slideLayouts/slideLayout14089.xml" ContentType="application/vnd.openxmlformats-officedocument.presentationml.slideLayout+xml"/>
  <Override PartName="/ppt/slideLayouts/slideLayout14090.xml" ContentType="application/vnd.openxmlformats-officedocument.presentationml.slideLayout+xml"/>
  <Override PartName="/ppt/slideLayouts/slideLayout14091.xml" ContentType="application/vnd.openxmlformats-officedocument.presentationml.slideLayout+xml"/>
  <Override PartName="/ppt/slideLayouts/slideLayout14092.xml" ContentType="application/vnd.openxmlformats-officedocument.presentationml.slideLayout+xml"/>
  <Override PartName="/ppt/slideLayouts/slideLayout14093.xml" ContentType="application/vnd.openxmlformats-officedocument.presentationml.slideLayout+xml"/>
  <Override PartName="/ppt/slideLayouts/slideLayout14094.xml" ContentType="application/vnd.openxmlformats-officedocument.presentationml.slideLayout+xml"/>
  <Override PartName="/ppt/slideLayouts/slideLayout14095.xml" ContentType="application/vnd.openxmlformats-officedocument.presentationml.slideLayout+xml"/>
  <Override PartName="/ppt/slideLayouts/slideLayout14096.xml" ContentType="application/vnd.openxmlformats-officedocument.presentationml.slideLayout+xml"/>
  <Override PartName="/ppt/slideLayouts/slideLayout14097.xml" ContentType="application/vnd.openxmlformats-officedocument.presentationml.slideLayout+xml"/>
  <Override PartName="/ppt/slideLayouts/slideLayout14098.xml" ContentType="application/vnd.openxmlformats-officedocument.presentationml.slideLayout+xml"/>
  <Override PartName="/ppt/slideLayouts/slideLayout14099.xml" ContentType="application/vnd.openxmlformats-officedocument.presentationml.slideLayout+xml"/>
  <Override PartName="/ppt/slideLayouts/slideLayout14100.xml" ContentType="application/vnd.openxmlformats-officedocument.presentationml.slideLayout+xml"/>
  <Override PartName="/ppt/slideLayouts/slideLayout14101.xml" ContentType="application/vnd.openxmlformats-officedocument.presentationml.slideLayout+xml"/>
  <Override PartName="/ppt/slideLayouts/slideLayout14102.xml" ContentType="application/vnd.openxmlformats-officedocument.presentationml.slideLayout+xml"/>
  <Override PartName="/ppt/slideLayouts/slideLayout14103.xml" ContentType="application/vnd.openxmlformats-officedocument.presentationml.slideLayout+xml"/>
  <Override PartName="/ppt/slideLayouts/slideLayout14104.xml" ContentType="application/vnd.openxmlformats-officedocument.presentationml.slideLayout+xml"/>
  <Override PartName="/ppt/slideLayouts/slideLayout14105.xml" ContentType="application/vnd.openxmlformats-officedocument.presentationml.slideLayout+xml"/>
  <Override PartName="/ppt/slideLayouts/slideLayout14106.xml" ContentType="application/vnd.openxmlformats-officedocument.presentationml.slideLayout+xml"/>
  <Override PartName="/ppt/slideLayouts/slideLayout14107.xml" ContentType="application/vnd.openxmlformats-officedocument.presentationml.slideLayout+xml"/>
  <Override PartName="/ppt/slideLayouts/slideLayout14108.xml" ContentType="application/vnd.openxmlformats-officedocument.presentationml.slideLayout+xml"/>
  <Override PartName="/ppt/slideLayouts/slideLayout14109.xml" ContentType="application/vnd.openxmlformats-officedocument.presentationml.slideLayout+xml"/>
  <Override PartName="/ppt/slideLayouts/slideLayout14110.xml" ContentType="application/vnd.openxmlformats-officedocument.presentationml.slideLayout+xml"/>
  <Override PartName="/ppt/slideLayouts/slideLayout14111.xml" ContentType="application/vnd.openxmlformats-officedocument.presentationml.slideLayout+xml"/>
  <Override PartName="/ppt/slideLayouts/slideLayout14112.xml" ContentType="application/vnd.openxmlformats-officedocument.presentationml.slideLayout+xml"/>
  <Override PartName="/ppt/slideLayouts/slideLayout14113.xml" ContentType="application/vnd.openxmlformats-officedocument.presentationml.slideLayout+xml"/>
  <Override PartName="/ppt/slideLayouts/slideLayout14114.xml" ContentType="application/vnd.openxmlformats-officedocument.presentationml.slideLayout+xml"/>
  <Override PartName="/ppt/slideLayouts/slideLayout14115.xml" ContentType="application/vnd.openxmlformats-officedocument.presentationml.slideLayout+xml"/>
  <Override PartName="/ppt/slideLayouts/slideLayout14116.xml" ContentType="application/vnd.openxmlformats-officedocument.presentationml.slideLayout+xml"/>
  <Override PartName="/ppt/slideLayouts/slideLayout14117.xml" ContentType="application/vnd.openxmlformats-officedocument.presentationml.slideLayout+xml"/>
  <Override PartName="/ppt/slideLayouts/slideLayout14118.xml" ContentType="application/vnd.openxmlformats-officedocument.presentationml.slideLayout+xml"/>
  <Override PartName="/ppt/slideLayouts/slideLayout14119.xml" ContentType="application/vnd.openxmlformats-officedocument.presentationml.slideLayout+xml"/>
  <Override PartName="/ppt/slideLayouts/slideLayout14120.xml" ContentType="application/vnd.openxmlformats-officedocument.presentationml.slideLayout+xml"/>
  <Override PartName="/ppt/slideLayouts/slideLayout14121.xml" ContentType="application/vnd.openxmlformats-officedocument.presentationml.slideLayout+xml"/>
  <Override PartName="/ppt/slideLayouts/slideLayout14122.xml" ContentType="application/vnd.openxmlformats-officedocument.presentationml.slideLayout+xml"/>
  <Override PartName="/ppt/slideLayouts/slideLayout14123.xml" ContentType="application/vnd.openxmlformats-officedocument.presentationml.slideLayout+xml"/>
  <Override PartName="/ppt/slideLayouts/slideLayout14124.xml" ContentType="application/vnd.openxmlformats-officedocument.presentationml.slideLayout+xml"/>
  <Override PartName="/ppt/slideLayouts/slideLayout14125.xml" ContentType="application/vnd.openxmlformats-officedocument.presentationml.slideLayout+xml"/>
  <Override PartName="/ppt/slideLayouts/slideLayout14126.xml" ContentType="application/vnd.openxmlformats-officedocument.presentationml.slideLayout+xml"/>
  <Override PartName="/ppt/slideLayouts/slideLayout14127.xml" ContentType="application/vnd.openxmlformats-officedocument.presentationml.slideLayout+xml"/>
  <Override PartName="/ppt/slideLayouts/slideLayout14128.xml" ContentType="application/vnd.openxmlformats-officedocument.presentationml.slideLayout+xml"/>
  <Override PartName="/ppt/slideLayouts/slideLayout14129.xml" ContentType="application/vnd.openxmlformats-officedocument.presentationml.slideLayout+xml"/>
  <Override PartName="/ppt/slideLayouts/slideLayout14130.xml" ContentType="application/vnd.openxmlformats-officedocument.presentationml.slideLayout+xml"/>
  <Override PartName="/ppt/slideLayouts/slideLayout14131.xml" ContentType="application/vnd.openxmlformats-officedocument.presentationml.slideLayout+xml"/>
  <Override PartName="/ppt/slideLayouts/slideLayout14132.xml" ContentType="application/vnd.openxmlformats-officedocument.presentationml.slideLayout+xml"/>
  <Override PartName="/ppt/slideLayouts/slideLayout14133.xml" ContentType="application/vnd.openxmlformats-officedocument.presentationml.slideLayout+xml"/>
  <Override PartName="/ppt/slideLayouts/slideLayout14134.xml" ContentType="application/vnd.openxmlformats-officedocument.presentationml.slideLayout+xml"/>
  <Override PartName="/ppt/slideLayouts/slideLayout14135.xml" ContentType="application/vnd.openxmlformats-officedocument.presentationml.slideLayout+xml"/>
  <Override PartName="/ppt/slideLayouts/slideLayout14136.xml" ContentType="application/vnd.openxmlformats-officedocument.presentationml.slideLayout+xml"/>
  <Override PartName="/ppt/slideLayouts/slideLayout14137.xml" ContentType="application/vnd.openxmlformats-officedocument.presentationml.slideLayout+xml"/>
  <Override PartName="/ppt/slideLayouts/slideLayout14138.xml" ContentType="application/vnd.openxmlformats-officedocument.presentationml.slideLayout+xml"/>
  <Override PartName="/ppt/slideLayouts/slideLayout14139.xml" ContentType="application/vnd.openxmlformats-officedocument.presentationml.slideLayout+xml"/>
  <Override PartName="/ppt/slideLayouts/slideLayout14140.xml" ContentType="application/vnd.openxmlformats-officedocument.presentationml.slideLayout+xml"/>
  <Override PartName="/ppt/slideLayouts/slideLayout14141.xml" ContentType="application/vnd.openxmlformats-officedocument.presentationml.slideLayout+xml"/>
  <Override PartName="/ppt/slideLayouts/slideLayout14142.xml" ContentType="application/vnd.openxmlformats-officedocument.presentationml.slideLayout+xml"/>
  <Override PartName="/ppt/slideLayouts/slideLayout14143.xml" ContentType="application/vnd.openxmlformats-officedocument.presentationml.slideLayout+xml"/>
  <Override PartName="/ppt/slideLayouts/slideLayout14144.xml" ContentType="application/vnd.openxmlformats-officedocument.presentationml.slideLayout+xml"/>
  <Override PartName="/ppt/slideLayouts/slideLayout14145.xml" ContentType="application/vnd.openxmlformats-officedocument.presentationml.slideLayout+xml"/>
  <Override PartName="/ppt/slideLayouts/slideLayout14146.xml" ContentType="application/vnd.openxmlformats-officedocument.presentationml.slideLayout+xml"/>
  <Override PartName="/ppt/slideLayouts/slideLayout14147.xml" ContentType="application/vnd.openxmlformats-officedocument.presentationml.slideLayout+xml"/>
  <Override PartName="/ppt/slideLayouts/slideLayout14148.xml" ContentType="application/vnd.openxmlformats-officedocument.presentationml.slideLayout+xml"/>
  <Override PartName="/ppt/slideLayouts/slideLayout14149.xml" ContentType="application/vnd.openxmlformats-officedocument.presentationml.slideLayout+xml"/>
  <Override PartName="/ppt/slideLayouts/slideLayout14150.xml" ContentType="application/vnd.openxmlformats-officedocument.presentationml.slideLayout+xml"/>
  <Override PartName="/ppt/slideLayouts/slideLayout14151.xml" ContentType="application/vnd.openxmlformats-officedocument.presentationml.slideLayout+xml"/>
  <Override PartName="/ppt/slideLayouts/slideLayout14152.xml" ContentType="application/vnd.openxmlformats-officedocument.presentationml.slideLayout+xml"/>
  <Override PartName="/ppt/slideLayouts/slideLayout14153.xml" ContentType="application/vnd.openxmlformats-officedocument.presentationml.slideLayout+xml"/>
  <Override PartName="/ppt/slideLayouts/slideLayout14154.xml" ContentType="application/vnd.openxmlformats-officedocument.presentationml.slideLayout+xml"/>
  <Override PartName="/ppt/slideLayouts/slideLayout14155.xml" ContentType="application/vnd.openxmlformats-officedocument.presentationml.slideLayout+xml"/>
  <Override PartName="/ppt/slideLayouts/slideLayout14156.xml" ContentType="application/vnd.openxmlformats-officedocument.presentationml.slideLayout+xml"/>
  <Override PartName="/ppt/slideLayouts/slideLayout14157.xml" ContentType="application/vnd.openxmlformats-officedocument.presentationml.slideLayout+xml"/>
  <Override PartName="/ppt/slideLayouts/slideLayout14158.xml" ContentType="application/vnd.openxmlformats-officedocument.presentationml.slideLayout+xml"/>
  <Override PartName="/ppt/slideLayouts/slideLayout14159.xml" ContentType="application/vnd.openxmlformats-officedocument.presentationml.slideLayout+xml"/>
  <Override PartName="/ppt/slideLayouts/slideLayout14160.xml" ContentType="application/vnd.openxmlformats-officedocument.presentationml.slideLayout+xml"/>
  <Override PartName="/ppt/slideLayouts/slideLayout14161.xml" ContentType="application/vnd.openxmlformats-officedocument.presentationml.slideLayout+xml"/>
  <Override PartName="/ppt/slideLayouts/slideLayout14162.xml" ContentType="application/vnd.openxmlformats-officedocument.presentationml.slideLayout+xml"/>
  <Override PartName="/ppt/slideLayouts/slideLayout14163.xml" ContentType="application/vnd.openxmlformats-officedocument.presentationml.slideLayout+xml"/>
  <Override PartName="/ppt/slideLayouts/slideLayout14164.xml" ContentType="application/vnd.openxmlformats-officedocument.presentationml.slideLayout+xml"/>
  <Override PartName="/ppt/slideLayouts/slideLayout14165.xml" ContentType="application/vnd.openxmlformats-officedocument.presentationml.slideLayout+xml"/>
  <Override PartName="/ppt/slideLayouts/slideLayout14166.xml" ContentType="application/vnd.openxmlformats-officedocument.presentationml.slideLayout+xml"/>
  <Override PartName="/ppt/slideLayouts/slideLayout14167.xml" ContentType="application/vnd.openxmlformats-officedocument.presentationml.slideLayout+xml"/>
  <Override PartName="/ppt/slideLayouts/slideLayout14168.xml" ContentType="application/vnd.openxmlformats-officedocument.presentationml.slideLayout+xml"/>
  <Override PartName="/ppt/slideLayouts/slideLayout14169.xml" ContentType="application/vnd.openxmlformats-officedocument.presentationml.slideLayout+xml"/>
  <Override PartName="/ppt/slideLayouts/slideLayout14170.xml" ContentType="application/vnd.openxmlformats-officedocument.presentationml.slideLayout+xml"/>
  <Override PartName="/ppt/slideLayouts/slideLayout14171.xml" ContentType="application/vnd.openxmlformats-officedocument.presentationml.slideLayout+xml"/>
  <Override PartName="/ppt/slideLayouts/slideLayout14172.xml" ContentType="application/vnd.openxmlformats-officedocument.presentationml.slideLayout+xml"/>
  <Override PartName="/ppt/slideLayouts/slideLayout14173.xml" ContentType="application/vnd.openxmlformats-officedocument.presentationml.slideLayout+xml"/>
  <Override PartName="/ppt/slideLayouts/slideLayout14174.xml" ContentType="application/vnd.openxmlformats-officedocument.presentationml.slideLayout+xml"/>
  <Override PartName="/ppt/slideLayouts/slideLayout14175.xml" ContentType="application/vnd.openxmlformats-officedocument.presentationml.slideLayout+xml"/>
  <Override PartName="/ppt/slideLayouts/slideLayout14176.xml" ContentType="application/vnd.openxmlformats-officedocument.presentationml.slideLayout+xml"/>
  <Override PartName="/ppt/slideLayouts/slideLayout14177.xml" ContentType="application/vnd.openxmlformats-officedocument.presentationml.slideLayout+xml"/>
  <Override PartName="/ppt/slideLayouts/slideLayout14178.xml" ContentType="application/vnd.openxmlformats-officedocument.presentationml.slideLayout+xml"/>
  <Override PartName="/ppt/slideLayouts/slideLayout14179.xml" ContentType="application/vnd.openxmlformats-officedocument.presentationml.slideLayout+xml"/>
  <Override PartName="/ppt/slideLayouts/slideLayout14180.xml" ContentType="application/vnd.openxmlformats-officedocument.presentationml.slideLayout+xml"/>
  <Override PartName="/ppt/slideLayouts/slideLayout14181.xml" ContentType="application/vnd.openxmlformats-officedocument.presentationml.slideLayout+xml"/>
  <Override PartName="/ppt/slideLayouts/slideLayout14182.xml" ContentType="application/vnd.openxmlformats-officedocument.presentationml.slideLayout+xml"/>
  <Override PartName="/ppt/slideLayouts/slideLayout14183.xml" ContentType="application/vnd.openxmlformats-officedocument.presentationml.slideLayout+xml"/>
  <Override PartName="/ppt/slideLayouts/slideLayout14184.xml" ContentType="application/vnd.openxmlformats-officedocument.presentationml.slideLayout+xml"/>
  <Override PartName="/ppt/slideLayouts/slideLayout14185.xml" ContentType="application/vnd.openxmlformats-officedocument.presentationml.slideLayout+xml"/>
  <Override PartName="/ppt/slideLayouts/slideLayout14186.xml" ContentType="application/vnd.openxmlformats-officedocument.presentationml.slideLayout+xml"/>
  <Override PartName="/ppt/slideLayouts/slideLayout14187.xml" ContentType="application/vnd.openxmlformats-officedocument.presentationml.slideLayout+xml"/>
  <Override PartName="/ppt/slideLayouts/slideLayout14188.xml" ContentType="application/vnd.openxmlformats-officedocument.presentationml.slideLayout+xml"/>
  <Override PartName="/ppt/slideLayouts/slideLayout14189.xml" ContentType="application/vnd.openxmlformats-officedocument.presentationml.slideLayout+xml"/>
  <Override PartName="/ppt/slideLayouts/slideLayout14190.xml" ContentType="application/vnd.openxmlformats-officedocument.presentationml.slideLayout+xml"/>
  <Override PartName="/ppt/slideLayouts/slideLayout14191.xml" ContentType="application/vnd.openxmlformats-officedocument.presentationml.slideLayout+xml"/>
  <Override PartName="/ppt/slideLayouts/slideLayout14192.xml" ContentType="application/vnd.openxmlformats-officedocument.presentationml.slideLayout+xml"/>
  <Override PartName="/ppt/slideLayouts/slideLayout14193.xml" ContentType="application/vnd.openxmlformats-officedocument.presentationml.slideLayout+xml"/>
  <Override PartName="/ppt/slideLayouts/slideLayout14194.xml" ContentType="application/vnd.openxmlformats-officedocument.presentationml.slideLayout+xml"/>
  <Override PartName="/ppt/slideLayouts/slideLayout14195.xml" ContentType="application/vnd.openxmlformats-officedocument.presentationml.slideLayout+xml"/>
  <Override PartName="/ppt/slideLayouts/slideLayout14196.xml" ContentType="application/vnd.openxmlformats-officedocument.presentationml.slideLayout+xml"/>
  <Override PartName="/ppt/slideLayouts/slideLayout14197.xml" ContentType="application/vnd.openxmlformats-officedocument.presentationml.slideLayout+xml"/>
  <Override PartName="/ppt/slideLayouts/slideLayout14198.xml" ContentType="application/vnd.openxmlformats-officedocument.presentationml.slideLayout+xml"/>
  <Override PartName="/ppt/slideLayouts/slideLayout14199.xml" ContentType="application/vnd.openxmlformats-officedocument.presentationml.slideLayout+xml"/>
  <Override PartName="/ppt/slideLayouts/slideLayout14200.xml" ContentType="application/vnd.openxmlformats-officedocument.presentationml.slideLayout+xml"/>
  <Override PartName="/ppt/slideLayouts/slideLayout14201.xml" ContentType="application/vnd.openxmlformats-officedocument.presentationml.slideLayout+xml"/>
  <Override PartName="/ppt/slideLayouts/slideLayout14202.xml" ContentType="application/vnd.openxmlformats-officedocument.presentationml.slideLayout+xml"/>
  <Override PartName="/ppt/slideLayouts/slideLayout14203.xml" ContentType="application/vnd.openxmlformats-officedocument.presentationml.slideLayout+xml"/>
  <Override PartName="/ppt/slideLayouts/slideLayout14204.xml" ContentType="application/vnd.openxmlformats-officedocument.presentationml.slideLayout+xml"/>
  <Override PartName="/ppt/slideLayouts/slideLayout14205.xml" ContentType="application/vnd.openxmlformats-officedocument.presentationml.slideLayout+xml"/>
  <Override PartName="/ppt/slideLayouts/slideLayout14206.xml" ContentType="application/vnd.openxmlformats-officedocument.presentationml.slideLayout+xml"/>
  <Override PartName="/ppt/slideLayouts/slideLayout14207.xml" ContentType="application/vnd.openxmlformats-officedocument.presentationml.slideLayout+xml"/>
  <Override PartName="/ppt/slideLayouts/slideLayout14208.xml" ContentType="application/vnd.openxmlformats-officedocument.presentationml.slideLayout+xml"/>
  <Override PartName="/ppt/slideLayouts/slideLayout14209.xml" ContentType="application/vnd.openxmlformats-officedocument.presentationml.slideLayout+xml"/>
  <Override PartName="/ppt/slideLayouts/slideLayout14210.xml" ContentType="application/vnd.openxmlformats-officedocument.presentationml.slideLayout+xml"/>
  <Override PartName="/ppt/slideLayouts/slideLayout14211.xml" ContentType="application/vnd.openxmlformats-officedocument.presentationml.slideLayout+xml"/>
  <Override PartName="/ppt/slideLayouts/slideLayout14212.xml" ContentType="application/vnd.openxmlformats-officedocument.presentationml.slideLayout+xml"/>
  <Override PartName="/ppt/slideLayouts/slideLayout14213.xml" ContentType="application/vnd.openxmlformats-officedocument.presentationml.slideLayout+xml"/>
  <Override PartName="/ppt/slideLayouts/slideLayout14214.xml" ContentType="application/vnd.openxmlformats-officedocument.presentationml.slideLayout+xml"/>
  <Override PartName="/ppt/slideLayouts/slideLayout14215.xml" ContentType="application/vnd.openxmlformats-officedocument.presentationml.slideLayout+xml"/>
  <Override PartName="/ppt/slideLayouts/slideLayout14216.xml" ContentType="application/vnd.openxmlformats-officedocument.presentationml.slideLayout+xml"/>
  <Override PartName="/ppt/slideLayouts/slideLayout14217.xml" ContentType="application/vnd.openxmlformats-officedocument.presentationml.slideLayout+xml"/>
  <Override PartName="/ppt/slideLayouts/slideLayout14218.xml" ContentType="application/vnd.openxmlformats-officedocument.presentationml.slideLayout+xml"/>
  <Override PartName="/ppt/slideLayouts/slideLayout14219.xml" ContentType="application/vnd.openxmlformats-officedocument.presentationml.slideLayout+xml"/>
  <Override PartName="/ppt/slideLayouts/slideLayout14220.xml" ContentType="application/vnd.openxmlformats-officedocument.presentationml.slideLayout+xml"/>
  <Override PartName="/ppt/slideLayouts/slideLayout14221.xml" ContentType="application/vnd.openxmlformats-officedocument.presentationml.slideLayout+xml"/>
  <Override PartName="/ppt/slideLayouts/slideLayout14222.xml" ContentType="application/vnd.openxmlformats-officedocument.presentationml.slideLayout+xml"/>
  <Override PartName="/ppt/slideLayouts/slideLayout14223.xml" ContentType="application/vnd.openxmlformats-officedocument.presentationml.slideLayout+xml"/>
  <Override PartName="/ppt/slideLayouts/slideLayout14224.xml" ContentType="application/vnd.openxmlformats-officedocument.presentationml.slideLayout+xml"/>
  <Override PartName="/ppt/slideLayouts/slideLayout14225.xml" ContentType="application/vnd.openxmlformats-officedocument.presentationml.slideLayout+xml"/>
  <Override PartName="/ppt/slideLayouts/slideLayout14226.xml" ContentType="application/vnd.openxmlformats-officedocument.presentationml.slideLayout+xml"/>
  <Override PartName="/ppt/slideLayouts/slideLayout14227.xml" ContentType="application/vnd.openxmlformats-officedocument.presentationml.slideLayout+xml"/>
  <Override PartName="/ppt/slideLayouts/slideLayout14228.xml" ContentType="application/vnd.openxmlformats-officedocument.presentationml.slideLayout+xml"/>
  <Override PartName="/ppt/slideLayouts/slideLayout14229.xml" ContentType="application/vnd.openxmlformats-officedocument.presentationml.slideLayout+xml"/>
  <Override PartName="/ppt/slideLayouts/slideLayout14230.xml" ContentType="application/vnd.openxmlformats-officedocument.presentationml.slideLayout+xml"/>
  <Override PartName="/ppt/slideLayouts/slideLayout14231.xml" ContentType="application/vnd.openxmlformats-officedocument.presentationml.slideLayout+xml"/>
  <Override PartName="/ppt/slideLayouts/slideLayout14232.xml" ContentType="application/vnd.openxmlformats-officedocument.presentationml.slideLayout+xml"/>
  <Override PartName="/ppt/slideLayouts/slideLayout14233.xml" ContentType="application/vnd.openxmlformats-officedocument.presentationml.slideLayout+xml"/>
  <Override PartName="/ppt/slideLayouts/slideLayout14234.xml" ContentType="application/vnd.openxmlformats-officedocument.presentationml.slideLayout+xml"/>
  <Override PartName="/ppt/slideLayouts/slideLayout14235.xml" ContentType="application/vnd.openxmlformats-officedocument.presentationml.slideLayout+xml"/>
  <Override PartName="/ppt/slideLayouts/slideLayout14236.xml" ContentType="application/vnd.openxmlformats-officedocument.presentationml.slideLayout+xml"/>
  <Override PartName="/ppt/slideLayouts/slideLayout14237.xml" ContentType="application/vnd.openxmlformats-officedocument.presentationml.slideLayout+xml"/>
  <Override PartName="/ppt/slideLayouts/slideLayout14238.xml" ContentType="application/vnd.openxmlformats-officedocument.presentationml.slideLayout+xml"/>
  <Override PartName="/ppt/slideLayouts/slideLayout14239.xml" ContentType="application/vnd.openxmlformats-officedocument.presentationml.slideLayout+xml"/>
  <Override PartName="/ppt/slideLayouts/slideLayout14240.xml" ContentType="application/vnd.openxmlformats-officedocument.presentationml.slideLayout+xml"/>
  <Override PartName="/ppt/slideLayouts/slideLayout14241.xml" ContentType="application/vnd.openxmlformats-officedocument.presentationml.slideLayout+xml"/>
  <Override PartName="/ppt/slideLayouts/slideLayout14242.xml" ContentType="application/vnd.openxmlformats-officedocument.presentationml.slideLayout+xml"/>
  <Override PartName="/ppt/slideLayouts/slideLayout14243.xml" ContentType="application/vnd.openxmlformats-officedocument.presentationml.slideLayout+xml"/>
  <Override PartName="/ppt/slideLayouts/slideLayout14244.xml" ContentType="application/vnd.openxmlformats-officedocument.presentationml.slideLayout+xml"/>
  <Override PartName="/ppt/slideLayouts/slideLayout14245.xml" ContentType="application/vnd.openxmlformats-officedocument.presentationml.slideLayout+xml"/>
  <Override PartName="/ppt/slideLayouts/slideLayout14246.xml" ContentType="application/vnd.openxmlformats-officedocument.presentationml.slideLayout+xml"/>
  <Override PartName="/ppt/slideLayouts/slideLayout14247.xml" ContentType="application/vnd.openxmlformats-officedocument.presentationml.slideLayout+xml"/>
  <Override PartName="/ppt/slideLayouts/slideLayout14248.xml" ContentType="application/vnd.openxmlformats-officedocument.presentationml.slideLayout+xml"/>
  <Override PartName="/ppt/slideLayouts/slideLayout14249.xml" ContentType="application/vnd.openxmlformats-officedocument.presentationml.slideLayout+xml"/>
  <Override PartName="/ppt/slideLayouts/slideLayout14250.xml" ContentType="application/vnd.openxmlformats-officedocument.presentationml.slideLayout+xml"/>
  <Override PartName="/ppt/slideLayouts/slideLayout14251.xml" ContentType="application/vnd.openxmlformats-officedocument.presentationml.slideLayout+xml"/>
  <Override PartName="/ppt/slideLayouts/slideLayout14252.xml" ContentType="application/vnd.openxmlformats-officedocument.presentationml.slideLayout+xml"/>
  <Override PartName="/ppt/slideLayouts/slideLayout14253.xml" ContentType="application/vnd.openxmlformats-officedocument.presentationml.slideLayout+xml"/>
  <Override PartName="/ppt/slideLayouts/slideLayout14254.xml" ContentType="application/vnd.openxmlformats-officedocument.presentationml.slideLayout+xml"/>
  <Override PartName="/ppt/slideLayouts/slideLayout14255.xml" ContentType="application/vnd.openxmlformats-officedocument.presentationml.slideLayout+xml"/>
  <Override PartName="/ppt/slideLayouts/slideLayout14256.xml" ContentType="application/vnd.openxmlformats-officedocument.presentationml.slideLayout+xml"/>
  <Override PartName="/ppt/slideLayouts/slideLayout14257.xml" ContentType="application/vnd.openxmlformats-officedocument.presentationml.slideLayout+xml"/>
  <Override PartName="/ppt/slideLayouts/slideLayout14258.xml" ContentType="application/vnd.openxmlformats-officedocument.presentationml.slideLayout+xml"/>
  <Override PartName="/ppt/slideLayouts/slideLayout14259.xml" ContentType="application/vnd.openxmlformats-officedocument.presentationml.slideLayout+xml"/>
  <Override PartName="/ppt/slideLayouts/slideLayout14260.xml" ContentType="application/vnd.openxmlformats-officedocument.presentationml.slideLayout+xml"/>
  <Override PartName="/ppt/slideLayouts/slideLayout14261.xml" ContentType="application/vnd.openxmlformats-officedocument.presentationml.slideLayout+xml"/>
  <Override PartName="/ppt/slideLayouts/slideLayout14262.xml" ContentType="application/vnd.openxmlformats-officedocument.presentationml.slideLayout+xml"/>
  <Override PartName="/ppt/slideLayouts/slideLayout14263.xml" ContentType="application/vnd.openxmlformats-officedocument.presentationml.slideLayout+xml"/>
  <Override PartName="/ppt/slideLayouts/slideLayout14264.xml" ContentType="application/vnd.openxmlformats-officedocument.presentationml.slideLayout+xml"/>
  <Override PartName="/ppt/slideLayouts/slideLayout14265.xml" ContentType="application/vnd.openxmlformats-officedocument.presentationml.slideLayout+xml"/>
  <Override PartName="/ppt/slideLayouts/slideLayout14266.xml" ContentType="application/vnd.openxmlformats-officedocument.presentationml.slideLayout+xml"/>
  <Override PartName="/ppt/slideLayouts/slideLayout14267.xml" ContentType="application/vnd.openxmlformats-officedocument.presentationml.slideLayout+xml"/>
  <Override PartName="/ppt/slideLayouts/slideLayout14268.xml" ContentType="application/vnd.openxmlformats-officedocument.presentationml.slideLayout+xml"/>
  <Override PartName="/ppt/slideLayouts/slideLayout14269.xml" ContentType="application/vnd.openxmlformats-officedocument.presentationml.slideLayout+xml"/>
  <Override PartName="/ppt/slideLayouts/slideLayout14270.xml" ContentType="application/vnd.openxmlformats-officedocument.presentationml.slideLayout+xml"/>
  <Override PartName="/ppt/slideLayouts/slideLayout14271.xml" ContentType="application/vnd.openxmlformats-officedocument.presentationml.slideLayout+xml"/>
  <Override PartName="/ppt/slideLayouts/slideLayout14272.xml" ContentType="application/vnd.openxmlformats-officedocument.presentationml.slideLayout+xml"/>
  <Override PartName="/ppt/slideLayouts/slideLayout14273.xml" ContentType="application/vnd.openxmlformats-officedocument.presentationml.slideLayout+xml"/>
  <Override PartName="/ppt/slideLayouts/slideLayout14274.xml" ContentType="application/vnd.openxmlformats-officedocument.presentationml.slideLayout+xml"/>
  <Override PartName="/ppt/slideLayouts/slideLayout14275.xml" ContentType="application/vnd.openxmlformats-officedocument.presentationml.slideLayout+xml"/>
  <Override PartName="/ppt/slideLayouts/slideLayout14276.xml" ContentType="application/vnd.openxmlformats-officedocument.presentationml.slideLayout+xml"/>
  <Override PartName="/ppt/slideLayouts/slideLayout14277.xml" ContentType="application/vnd.openxmlformats-officedocument.presentationml.slideLayout+xml"/>
  <Override PartName="/ppt/slideLayouts/slideLayout14278.xml" ContentType="application/vnd.openxmlformats-officedocument.presentationml.slideLayout+xml"/>
  <Override PartName="/ppt/slideLayouts/slideLayout14279.xml" ContentType="application/vnd.openxmlformats-officedocument.presentationml.slideLayout+xml"/>
  <Override PartName="/ppt/slideLayouts/slideLayout14280.xml" ContentType="application/vnd.openxmlformats-officedocument.presentationml.slideLayout+xml"/>
  <Override PartName="/ppt/slideLayouts/slideLayout14281.xml" ContentType="application/vnd.openxmlformats-officedocument.presentationml.slideLayout+xml"/>
  <Override PartName="/ppt/slideLayouts/slideLayout14282.xml" ContentType="application/vnd.openxmlformats-officedocument.presentationml.slideLayout+xml"/>
  <Override PartName="/ppt/slideLayouts/slideLayout14283.xml" ContentType="application/vnd.openxmlformats-officedocument.presentationml.slideLayout+xml"/>
  <Override PartName="/ppt/slideLayouts/slideLayout14284.xml" ContentType="application/vnd.openxmlformats-officedocument.presentationml.slideLayout+xml"/>
  <Override PartName="/ppt/slideLayouts/slideLayout14285.xml" ContentType="application/vnd.openxmlformats-officedocument.presentationml.slideLayout+xml"/>
  <Override PartName="/ppt/slideLayouts/slideLayout14286.xml" ContentType="application/vnd.openxmlformats-officedocument.presentationml.slideLayout+xml"/>
  <Override PartName="/ppt/slideLayouts/slideLayout14287.xml" ContentType="application/vnd.openxmlformats-officedocument.presentationml.slideLayout+xml"/>
  <Override PartName="/ppt/slideLayouts/slideLayout14288.xml" ContentType="application/vnd.openxmlformats-officedocument.presentationml.slideLayout+xml"/>
  <Override PartName="/ppt/slideLayouts/slideLayout14289.xml" ContentType="application/vnd.openxmlformats-officedocument.presentationml.slideLayout+xml"/>
  <Override PartName="/ppt/slideLayouts/slideLayout14290.xml" ContentType="application/vnd.openxmlformats-officedocument.presentationml.slideLayout+xml"/>
  <Override PartName="/ppt/slideLayouts/slideLayout14291.xml" ContentType="application/vnd.openxmlformats-officedocument.presentationml.slideLayout+xml"/>
  <Override PartName="/ppt/slideLayouts/slideLayout14292.xml" ContentType="application/vnd.openxmlformats-officedocument.presentationml.slideLayout+xml"/>
  <Override PartName="/ppt/slideLayouts/slideLayout14293.xml" ContentType="application/vnd.openxmlformats-officedocument.presentationml.slideLayout+xml"/>
  <Override PartName="/ppt/slideLayouts/slideLayout14294.xml" ContentType="application/vnd.openxmlformats-officedocument.presentationml.slideLayout+xml"/>
  <Override PartName="/ppt/slideLayouts/slideLayout14295.xml" ContentType="application/vnd.openxmlformats-officedocument.presentationml.slideLayout+xml"/>
  <Override PartName="/ppt/slideLayouts/slideLayout14296.xml" ContentType="application/vnd.openxmlformats-officedocument.presentationml.slideLayout+xml"/>
  <Override PartName="/ppt/slideLayouts/slideLayout14297.xml" ContentType="application/vnd.openxmlformats-officedocument.presentationml.slideLayout+xml"/>
  <Override PartName="/ppt/slideLayouts/slideLayout14298.xml" ContentType="application/vnd.openxmlformats-officedocument.presentationml.slideLayout+xml"/>
  <Override PartName="/ppt/slideLayouts/slideLayout14299.xml" ContentType="application/vnd.openxmlformats-officedocument.presentationml.slideLayout+xml"/>
  <Override PartName="/ppt/slideLayouts/slideLayout14300.xml" ContentType="application/vnd.openxmlformats-officedocument.presentationml.slideLayout+xml"/>
  <Override PartName="/ppt/slideLayouts/slideLayout14301.xml" ContentType="application/vnd.openxmlformats-officedocument.presentationml.slideLayout+xml"/>
  <Override PartName="/ppt/slideLayouts/slideLayout14302.xml" ContentType="application/vnd.openxmlformats-officedocument.presentationml.slideLayout+xml"/>
  <Override PartName="/ppt/slideLayouts/slideLayout14303.xml" ContentType="application/vnd.openxmlformats-officedocument.presentationml.slideLayout+xml"/>
  <Override PartName="/ppt/slideLayouts/slideLayout14304.xml" ContentType="application/vnd.openxmlformats-officedocument.presentationml.slideLayout+xml"/>
  <Override PartName="/ppt/slideLayouts/slideLayout14305.xml" ContentType="application/vnd.openxmlformats-officedocument.presentationml.slideLayout+xml"/>
  <Override PartName="/ppt/slideLayouts/slideLayout14306.xml" ContentType="application/vnd.openxmlformats-officedocument.presentationml.slideLayout+xml"/>
  <Override PartName="/ppt/slideLayouts/slideLayout14307.xml" ContentType="application/vnd.openxmlformats-officedocument.presentationml.slideLayout+xml"/>
  <Override PartName="/ppt/slideLayouts/slideLayout14308.xml" ContentType="application/vnd.openxmlformats-officedocument.presentationml.slideLayout+xml"/>
  <Override PartName="/ppt/slideLayouts/slideLayout14309.xml" ContentType="application/vnd.openxmlformats-officedocument.presentationml.slideLayout+xml"/>
  <Override PartName="/ppt/slideLayouts/slideLayout14310.xml" ContentType="application/vnd.openxmlformats-officedocument.presentationml.slideLayout+xml"/>
  <Override PartName="/ppt/slideLayouts/slideLayout14311.xml" ContentType="application/vnd.openxmlformats-officedocument.presentationml.slideLayout+xml"/>
  <Override PartName="/ppt/slideLayouts/slideLayout14312.xml" ContentType="application/vnd.openxmlformats-officedocument.presentationml.slideLayout+xml"/>
  <Override PartName="/ppt/slideLayouts/slideLayout14313.xml" ContentType="application/vnd.openxmlformats-officedocument.presentationml.slideLayout+xml"/>
  <Override PartName="/ppt/slideLayouts/slideLayout14314.xml" ContentType="application/vnd.openxmlformats-officedocument.presentationml.slideLayout+xml"/>
  <Override PartName="/ppt/slideLayouts/slideLayout14315.xml" ContentType="application/vnd.openxmlformats-officedocument.presentationml.slideLayout+xml"/>
  <Override PartName="/ppt/slideLayouts/slideLayout14316.xml" ContentType="application/vnd.openxmlformats-officedocument.presentationml.slideLayout+xml"/>
  <Override PartName="/ppt/slideLayouts/slideLayout14317.xml" ContentType="application/vnd.openxmlformats-officedocument.presentationml.slideLayout+xml"/>
  <Override PartName="/ppt/slideLayouts/slideLayout14318.xml" ContentType="application/vnd.openxmlformats-officedocument.presentationml.slideLayout+xml"/>
  <Override PartName="/ppt/slideLayouts/slideLayout14319.xml" ContentType="application/vnd.openxmlformats-officedocument.presentationml.slideLayout+xml"/>
  <Override PartName="/ppt/slideLayouts/slideLayout14320.xml" ContentType="application/vnd.openxmlformats-officedocument.presentationml.slideLayout+xml"/>
  <Override PartName="/ppt/slideLayouts/slideLayout14321.xml" ContentType="application/vnd.openxmlformats-officedocument.presentationml.slideLayout+xml"/>
  <Override PartName="/ppt/slideLayouts/slideLayout14322.xml" ContentType="application/vnd.openxmlformats-officedocument.presentationml.slideLayout+xml"/>
  <Override PartName="/ppt/slideLayouts/slideLayout14323.xml" ContentType="application/vnd.openxmlformats-officedocument.presentationml.slideLayout+xml"/>
  <Override PartName="/ppt/slideLayouts/slideLayout14324.xml" ContentType="application/vnd.openxmlformats-officedocument.presentationml.slideLayout+xml"/>
  <Override PartName="/ppt/slideLayouts/slideLayout14325.xml" ContentType="application/vnd.openxmlformats-officedocument.presentationml.slideLayout+xml"/>
  <Override PartName="/ppt/slideLayouts/slideLayout14326.xml" ContentType="application/vnd.openxmlformats-officedocument.presentationml.slideLayout+xml"/>
  <Override PartName="/ppt/slideLayouts/slideLayout14327.xml" ContentType="application/vnd.openxmlformats-officedocument.presentationml.slideLayout+xml"/>
  <Override PartName="/ppt/slideLayouts/slideLayout14328.xml" ContentType="application/vnd.openxmlformats-officedocument.presentationml.slideLayout+xml"/>
  <Override PartName="/ppt/slideLayouts/slideLayout14329.xml" ContentType="application/vnd.openxmlformats-officedocument.presentationml.slideLayout+xml"/>
  <Override PartName="/ppt/slideLayouts/slideLayout14330.xml" ContentType="application/vnd.openxmlformats-officedocument.presentationml.slideLayout+xml"/>
  <Override PartName="/ppt/slideLayouts/slideLayout14331.xml" ContentType="application/vnd.openxmlformats-officedocument.presentationml.slideLayout+xml"/>
  <Override PartName="/ppt/slideLayouts/slideLayout14332.xml" ContentType="application/vnd.openxmlformats-officedocument.presentationml.slideLayout+xml"/>
  <Override PartName="/ppt/slideLayouts/slideLayout14333.xml" ContentType="application/vnd.openxmlformats-officedocument.presentationml.slideLayout+xml"/>
  <Override PartName="/ppt/slideLayouts/slideLayout14334.xml" ContentType="application/vnd.openxmlformats-officedocument.presentationml.slideLayout+xml"/>
  <Override PartName="/ppt/slideLayouts/slideLayout14335.xml" ContentType="application/vnd.openxmlformats-officedocument.presentationml.slideLayout+xml"/>
  <Override PartName="/ppt/slideLayouts/slideLayout14336.xml" ContentType="application/vnd.openxmlformats-officedocument.presentationml.slideLayout+xml"/>
  <Override PartName="/ppt/slideLayouts/slideLayout14337.xml" ContentType="application/vnd.openxmlformats-officedocument.presentationml.slideLayout+xml"/>
  <Override PartName="/ppt/slideLayouts/slideLayout14338.xml" ContentType="application/vnd.openxmlformats-officedocument.presentationml.slideLayout+xml"/>
  <Override PartName="/ppt/slideLayouts/slideLayout14339.xml" ContentType="application/vnd.openxmlformats-officedocument.presentationml.slideLayout+xml"/>
  <Override PartName="/ppt/slideLayouts/slideLayout14340.xml" ContentType="application/vnd.openxmlformats-officedocument.presentationml.slideLayout+xml"/>
  <Override PartName="/ppt/slideLayouts/slideLayout14341.xml" ContentType="application/vnd.openxmlformats-officedocument.presentationml.slideLayout+xml"/>
  <Override PartName="/ppt/slideLayouts/slideLayout14342.xml" ContentType="application/vnd.openxmlformats-officedocument.presentationml.slideLayout+xml"/>
  <Override PartName="/ppt/slideLayouts/slideLayout14343.xml" ContentType="application/vnd.openxmlformats-officedocument.presentationml.slideLayout+xml"/>
  <Override PartName="/ppt/slideLayouts/slideLayout14344.xml" ContentType="application/vnd.openxmlformats-officedocument.presentationml.slideLayout+xml"/>
  <Override PartName="/ppt/slideLayouts/slideLayout14345.xml" ContentType="application/vnd.openxmlformats-officedocument.presentationml.slideLayout+xml"/>
  <Override PartName="/ppt/slideLayouts/slideLayout14346.xml" ContentType="application/vnd.openxmlformats-officedocument.presentationml.slideLayout+xml"/>
  <Override PartName="/ppt/slideLayouts/slideLayout14347.xml" ContentType="application/vnd.openxmlformats-officedocument.presentationml.slideLayout+xml"/>
  <Override PartName="/ppt/slideLayouts/slideLayout14348.xml" ContentType="application/vnd.openxmlformats-officedocument.presentationml.slideLayout+xml"/>
  <Override PartName="/ppt/slideLayouts/slideLayout14349.xml" ContentType="application/vnd.openxmlformats-officedocument.presentationml.slideLayout+xml"/>
  <Override PartName="/ppt/slideLayouts/slideLayout14350.xml" ContentType="application/vnd.openxmlformats-officedocument.presentationml.slideLayout+xml"/>
  <Override PartName="/ppt/slideLayouts/slideLayout14351.xml" ContentType="application/vnd.openxmlformats-officedocument.presentationml.slideLayout+xml"/>
  <Override PartName="/ppt/slideLayouts/slideLayout14352.xml" ContentType="application/vnd.openxmlformats-officedocument.presentationml.slideLayout+xml"/>
  <Override PartName="/ppt/slideLayouts/slideLayout14353.xml" ContentType="application/vnd.openxmlformats-officedocument.presentationml.slideLayout+xml"/>
  <Override PartName="/ppt/slideLayouts/slideLayout14354.xml" ContentType="application/vnd.openxmlformats-officedocument.presentationml.slideLayout+xml"/>
  <Override PartName="/ppt/slideLayouts/slideLayout14355.xml" ContentType="application/vnd.openxmlformats-officedocument.presentationml.slideLayout+xml"/>
  <Override PartName="/ppt/slideLayouts/slideLayout14356.xml" ContentType="application/vnd.openxmlformats-officedocument.presentationml.slideLayout+xml"/>
  <Override PartName="/ppt/slideLayouts/slideLayout14357.xml" ContentType="application/vnd.openxmlformats-officedocument.presentationml.slideLayout+xml"/>
  <Override PartName="/ppt/slideLayouts/slideLayout14358.xml" ContentType="application/vnd.openxmlformats-officedocument.presentationml.slideLayout+xml"/>
  <Override PartName="/ppt/slideLayouts/slideLayout14359.xml" ContentType="application/vnd.openxmlformats-officedocument.presentationml.slideLayout+xml"/>
  <Override PartName="/ppt/slideLayouts/slideLayout14360.xml" ContentType="application/vnd.openxmlformats-officedocument.presentationml.slideLayout+xml"/>
  <Override PartName="/ppt/slideLayouts/slideLayout14361.xml" ContentType="application/vnd.openxmlformats-officedocument.presentationml.slideLayout+xml"/>
  <Override PartName="/ppt/slideLayouts/slideLayout14362.xml" ContentType="application/vnd.openxmlformats-officedocument.presentationml.slideLayout+xml"/>
  <Override PartName="/ppt/slideLayouts/slideLayout14363.xml" ContentType="application/vnd.openxmlformats-officedocument.presentationml.slideLayout+xml"/>
  <Override PartName="/ppt/slideLayouts/slideLayout14364.xml" ContentType="application/vnd.openxmlformats-officedocument.presentationml.slideLayout+xml"/>
  <Override PartName="/ppt/slideLayouts/slideLayout14365.xml" ContentType="application/vnd.openxmlformats-officedocument.presentationml.slideLayout+xml"/>
  <Override PartName="/ppt/slideLayouts/slideLayout14366.xml" ContentType="application/vnd.openxmlformats-officedocument.presentationml.slideLayout+xml"/>
  <Override PartName="/ppt/slideLayouts/slideLayout14367.xml" ContentType="application/vnd.openxmlformats-officedocument.presentationml.slideLayout+xml"/>
  <Override PartName="/ppt/slideLayouts/slideLayout14368.xml" ContentType="application/vnd.openxmlformats-officedocument.presentationml.slideLayout+xml"/>
  <Override PartName="/ppt/slideLayouts/slideLayout14369.xml" ContentType="application/vnd.openxmlformats-officedocument.presentationml.slideLayout+xml"/>
  <Override PartName="/ppt/slideLayouts/slideLayout14370.xml" ContentType="application/vnd.openxmlformats-officedocument.presentationml.slideLayout+xml"/>
  <Override PartName="/ppt/slideLayouts/slideLayout14371.xml" ContentType="application/vnd.openxmlformats-officedocument.presentationml.slideLayout+xml"/>
  <Override PartName="/ppt/slideLayouts/slideLayout14372.xml" ContentType="application/vnd.openxmlformats-officedocument.presentationml.slideLayout+xml"/>
  <Override PartName="/ppt/slideLayouts/slideLayout14373.xml" ContentType="application/vnd.openxmlformats-officedocument.presentationml.slideLayout+xml"/>
  <Override PartName="/ppt/slideLayouts/slideLayout14374.xml" ContentType="application/vnd.openxmlformats-officedocument.presentationml.slideLayout+xml"/>
  <Override PartName="/ppt/slideLayouts/slideLayout14375.xml" ContentType="application/vnd.openxmlformats-officedocument.presentationml.slideLayout+xml"/>
  <Override PartName="/ppt/slideLayouts/slideLayout14376.xml" ContentType="application/vnd.openxmlformats-officedocument.presentationml.slideLayout+xml"/>
  <Override PartName="/ppt/slideLayouts/slideLayout14377.xml" ContentType="application/vnd.openxmlformats-officedocument.presentationml.slideLayout+xml"/>
  <Override PartName="/ppt/slideLayouts/slideLayout14378.xml" ContentType="application/vnd.openxmlformats-officedocument.presentationml.slideLayout+xml"/>
  <Override PartName="/ppt/slideLayouts/slideLayout14379.xml" ContentType="application/vnd.openxmlformats-officedocument.presentationml.slideLayout+xml"/>
  <Override PartName="/ppt/slideLayouts/slideLayout14380.xml" ContentType="application/vnd.openxmlformats-officedocument.presentationml.slideLayout+xml"/>
  <Override PartName="/ppt/slideLayouts/slideLayout14381.xml" ContentType="application/vnd.openxmlformats-officedocument.presentationml.slideLayout+xml"/>
  <Override PartName="/ppt/slideLayouts/slideLayout14382.xml" ContentType="application/vnd.openxmlformats-officedocument.presentationml.slideLayout+xml"/>
  <Override PartName="/ppt/slideLayouts/slideLayout14383.xml" ContentType="application/vnd.openxmlformats-officedocument.presentationml.slideLayout+xml"/>
  <Override PartName="/ppt/slideLayouts/slideLayout14384.xml" ContentType="application/vnd.openxmlformats-officedocument.presentationml.slideLayout+xml"/>
  <Override PartName="/ppt/slideLayouts/slideLayout14385.xml" ContentType="application/vnd.openxmlformats-officedocument.presentationml.slideLayout+xml"/>
  <Override PartName="/ppt/slideLayouts/slideLayout14386.xml" ContentType="application/vnd.openxmlformats-officedocument.presentationml.slideLayout+xml"/>
  <Override PartName="/ppt/slideLayouts/slideLayout14387.xml" ContentType="application/vnd.openxmlformats-officedocument.presentationml.slideLayout+xml"/>
  <Override PartName="/ppt/slideLayouts/slideLayout14388.xml" ContentType="application/vnd.openxmlformats-officedocument.presentationml.slideLayout+xml"/>
  <Override PartName="/ppt/slideLayouts/slideLayout14389.xml" ContentType="application/vnd.openxmlformats-officedocument.presentationml.slideLayout+xml"/>
  <Override PartName="/ppt/slideLayouts/slideLayout14390.xml" ContentType="application/vnd.openxmlformats-officedocument.presentationml.slideLayout+xml"/>
  <Override PartName="/ppt/slideLayouts/slideLayout14391.xml" ContentType="application/vnd.openxmlformats-officedocument.presentationml.slideLayout+xml"/>
  <Override PartName="/ppt/slideLayouts/slideLayout14392.xml" ContentType="application/vnd.openxmlformats-officedocument.presentationml.slideLayout+xml"/>
  <Override PartName="/ppt/slideLayouts/slideLayout14393.xml" ContentType="application/vnd.openxmlformats-officedocument.presentationml.slideLayout+xml"/>
  <Override PartName="/ppt/slideLayouts/slideLayout14394.xml" ContentType="application/vnd.openxmlformats-officedocument.presentationml.slideLayout+xml"/>
  <Override PartName="/ppt/slideLayouts/slideLayout14395.xml" ContentType="application/vnd.openxmlformats-officedocument.presentationml.slideLayout+xml"/>
  <Override PartName="/ppt/slideLayouts/slideLayout14396.xml" ContentType="application/vnd.openxmlformats-officedocument.presentationml.slideLayout+xml"/>
  <Override PartName="/ppt/slideLayouts/slideLayout14397.xml" ContentType="application/vnd.openxmlformats-officedocument.presentationml.slideLayout+xml"/>
  <Override PartName="/ppt/slideLayouts/slideLayout14398.xml" ContentType="application/vnd.openxmlformats-officedocument.presentationml.slideLayout+xml"/>
  <Override PartName="/ppt/slideLayouts/slideLayout14399.xml" ContentType="application/vnd.openxmlformats-officedocument.presentationml.slideLayout+xml"/>
  <Override PartName="/ppt/slideLayouts/slideLayout14400.xml" ContentType="application/vnd.openxmlformats-officedocument.presentationml.slideLayout+xml"/>
  <Override PartName="/ppt/slideLayouts/slideLayout14401.xml" ContentType="application/vnd.openxmlformats-officedocument.presentationml.slideLayout+xml"/>
  <Override PartName="/ppt/slideLayouts/slideLayout14402.xml" ContentType="application/vnd.openxmlformats-officedocument.presentationml.slideLayout+xml"/>
  <Override PartName="/ppt/slideLayouts/slideLayout14403.xml" ContentType="application/vnd.openxmlformats-officedocument.presentationml.slideLayout+xml"/>
  <Override PartName="/ppt/slideLayouts/slideLayout14404.xml" ContentType="application/vnd.openxmlformats-officedocument.presentationml.slideLayout+xml"/>
  <Override PartName="/ppt/slideLayouts/slideLayout14405.xml" ContentType="application/vnd.openxmlformats-officedocument.presentationml.slideLayout+xml"/>
  <Override PartName="/ppt/slideLayouts/slideLayout14406.xml" ContentType="application/vnd.openxmlformats-officedocument.presentationml.slideLayout+xml"/>
  <Override PartName="/ppt/slideLayouts/slideLayout14407.xml" ContentType="application/vnd.openxmlformats-officedocument.presentationml.slideLayout+xml"/>
  <Override PartName="/ppt/slideLayouts/slideLayout14408.xml" ContentType="application/vnd.openxmlformats-officedocument.presentationml.slideLayout+xml"/>
  <Override PartName="/ppt/slideLayouts/slideLayout14409.xml" ContentType="application/vnd.openxmlformats-officedocument.presentationml.slideLayout+xml"/>
  <Override PartName="/ppt/slideLayouts/slideLayout14410.xml" ContentType="application/vnd.openxmlformats-officedocument.presentationml.slideLayout+xml"/>
  <Override PartName="/ppt/slideLayouts/slideLayout14411.xml" ContentType="application/vnd.openxmlformats-officedocument.presentationml.slideLayout+xml"/>
  <Override PartName="/ppt/slideLayouts/slideLayout14412.xml" ContentType="application/vnd.openxmlformats-officedocument.presentationml.slideLayout+xml"/>
  <Override PartName="/ppt/slideLayouts/slideLayout14413.xml" ContentType="application/vnd.openxmlformats-officedocument.presentationml.slideLayout+xml"/>
  <Override PartName="/ppt/slideLayouts/slideLayout14414.xml" ContentType="application/vnd.openxmlformats-officedocument.presentationml.slideLayout+xml"/>
  <Override PartName="/ppt/slideLayouts/slideLayout14415.xml" ContentType="application/vnd.openxmlformats-officedocument.presentationml.slideLayout+xml"/>
  <Override PartName="/ppt/slideLayouts/slideLayout14416.xml" ContentType="application/vnd.openxmlformats-officedocument.presentationml.slideLayout+xml"/>
  <Override PartName="/ppt/slideLayouts/slideLayout14417.xml" ContentType="application/vnd.openxmlformats-officedocument.presentationml.slideLayout+xml"/>
  <Override PartName="/ppt/slideLayouts/slideLayout14418.xml" ContentType="application/vnd.openxmlformats-officedocument.presentationml.slideLayout+xml"/>
  <Override PartName="/ppt/slideLayouts/slideLayout14419.xml" ContentType="application/vnd.openxmlformats-officedocument.presentationml.slideLayout+xml"/>
  <Override PartName="/ppt/slideLayouts/slideLayout14420.xml" ContentType="application/vnd.openxmlformats-officedocument.presentationml.slideLayout+xml"/>
  <Override PartName="/ppt/slideLayouts/slideLayout14421.xml" ContentType="application/vnd.openxmlformats-officedocument.presentationml.slideLayout+xml"/>
  <Override PartName="/ppt/slideLayouts/slideLayout14422.xml" ContentType="application/vnd.openxmlformats-officedocument.presentationml.slideLayout+xml"/>
  <Override PartName="/ppt/slideLayouts/slideLayout14423.xml" ContentType="application/vnd.openxmlformats-officedocument.presentationml.slideLayout+xml"/>
  <Override PartName="/ppt/slideLayouts/slideLayout14424.xml" ContentType="application/vnd.openxmlformats-officedocument.presentationml.slideLayout+xml"/>
  <Override PartName="/ppt/slideLayouts/slideLayout14425.xml" ContentType="application/vnd.openxmlformats-officedocument.presentationml.slideLayout+xml"/>
  <Override PartName="/ppt/slideLayouts/slideLayout14426.xml" ContentType="application/vnd.openxmlformats-officedocument.presentationml.slideLayout+xml"/>
  <Override PartName="/ppt/slideLayouts/slideLayout14427.xml" ContentType="application/vnd.openxmlformats-officedocument.presentationml.slideLayout+xml"/>
  <Override PartName="/ppt/slideLayouts/slideLayout14428.xml" ContentType="application/vnd.openxmlformats-officedocument.presentationml.slideLayout+xml"/>
  <Override PartName="/ppt/slideLayouts/slideLayout14429.xml" ContentType="application/vnd.openxmlformats-officedocument.presentationml.slideLayout+xml"/>
  <Override PartName="/ppt/slideLayouts/slideLayout14430.xml" ContentType="application/vnd.openxmlformats-officedocument.presentationml.slideLayout+xml"/>
  <Override PartName="/ppt/slideLayouts/slideLayout14431.xml" ContentType="application/vnd.openxmlformats-officedocument.presentationml.slideLayout+xml"/>
  <Override PartName="/ppt/slideLayouts/slideLayout14432.xml" ContentType="application/vnd.openxmlformats-officedocument.presentationml.slideLayout+xml"/>
  <Override PartName="/ppt/slideLayouts/slideLayout14433.xml" ContentType="application/vnd.openxmlformats-officedocument.presentationml.slideLayout+xml"/>
  <Override PartName="/ppt/slideLayouts/slideLayout14434.xml" ContentType="application/vnd.openxmlformats-officedocument.presentationml.slideLayout+xml"/>
  <Override PartName="/ppt/slideLayouts/slideLayout14435.xml" ContentType="application/vnd.openxmlformats-officedocument.presentationml.slideLayout+xml"/>
  <Override PartName="/ppt/slideLayouts/slideLayout14436.xml" ContentType="application/vnd.openxmlformats-officedocument.presentationml.slideLayout+xml"/>
  <Override PartName="/ppt/slideLayouts/slideLayout14437.xml" ContentType="application/vnd.openxmlformats-officedocument.presentationml.slideLayout+xml"/>
  <Override PartName="/ppt/slideLayouts/slideLayout14438.xml" ContentType="application/vnd.openxmlformats-officedocument.presentationml.slideLayout+xml"/>
  <Override PartName="/ppt/slideLayouts/slideLayout14439.xml" ContentType="application/vnd.openxmlformats-officedocument.presentationml.slideLayout+xml"/>
  <Override PartName="/ppt/slideLayouts/slideLayout14440.xml" ContentType="application/vnd.openxmlformats-officedocument.presentationml.slideLayout+xml"/>
  <Override PartName="/ppt/slideLayouts/slideLayout14441.xml" ContentType="application/vnd.openxmlformats-officedocument.presentationml.slideLayout+xml"/>
  <Override PartName="/ppt/slideLayouts/slideLayout14442.xml" ContentType="application/vnd.openxmlformats-officedocument.presentationml.slideLayout+xml"/>
  <Override PartName="/ppt/slideLayouts/slideLayout14443.xml" ContentType="application/vnd.openxmlformats-officedocument.presentationml.slideLayout+xml"/>
  <Override PartName="/ppt/slideLayouts/slideLayout14444.xml" ContentType="application/vnd.openxmlformats-officedocument.presentationml.slideLayout+xml"/>
  <Override PartName="/ppt/slideLayouts/slideLayout14445.xml" ContentType="application/vnd.openxmlformats-officedocument.presentationml.slideLayout+xml"/>
  <Override PartName="/ppt/slideLayouts/slideLayout14446.xml" ContentType="application/vnd.openxmlformats-officedocument.presentationml.slideLayout+xml"/>
  <Override PartName="/ppt/slideLayouts/slideLayout14447.xml" ContentType="application/vnd.openxmlformats-officedocument.presentationml.slideLayout+xml"/>
  <Override PartName="/ppt/slideLayouts/slideLayout14448.xml" ContentType="application/vnd.openxmlformats-officedocument.presentationml.slideLayout+xml"/>
  <Override PartName="/ppt/slideLayouts/slideLayout14449.xml" ContentType="application/vnd.openxmlformats-officedocument.presentationml.slideLayout+xml"/>
  <Override PartName="/ppt/slideLayouts/slideLayout14450.xml" ContentType="application/vnd.openxmlformats-officedocument.presentationml.slideLayout+xml"/>
  <Override PartName="/ppt/slideLayouts/slideLayout14451.xml" ContentType="application/vnd.openxmlformats-officedocument.presentationml.slideLayout+xml"/>
  <Override PartName="/ppt/slideLayouts/slideLayout14452.xml" ContentType="application/vnd.openxmlformats-officedocument.presentationml.slideLayout+xml"/>
  <Override PartName="/ppt/slideLayouts/slideLayout14453.xml" ContentType="application/vnd.openxmlformats-officedocument.presentationml.slideLayout+xml"/>
  <Override PartName="/ppt/slideLayouts/slideLayout14454.xml" ContentType="application/vnd.openxmlformats-officedocument.presentationml.slideLayout+xml"/>
  <Override PartName="/ppt/slideLayouts/slideLayout14455.xml" ContentType="application/vnd.openxmlformats-officedocument.presentationml.slideLayout+xml"/>
  <Override PartName="/ppt/slideLayouts/slideLayout14456.xml" ContentType="application/vnd.openxmlformats-officedocument.presentationml.slideLayout+xml"/>
  <Override PartName="/ppt/slideLayouts/slideLayout14457.xml" ContentType="application/vnd.openxmlformats-officedocument.presentationml.slideLayout+xml"/>
  <Override PartName="/ppt/slideLayouts/slideLayout14458.xml" ContentType="application/vnd.openxmlformats-officedocument.presentationml.slideLayout+xml"/>
  <Override PartName="/ppt/slideLayouts/slideLayout14459.xml" ContentType="application/vnd.openxmlformats-officedocument.presentationml.slideLayout+xml"/>
  <Override PartName="/ppt/slideLayouts/slideLayout14460.xml" ContentType="application/vnd.openxmlformats-officedocument.presentationml.slideLayout+xml"/>
  <Override PartName="/ppt/slideLayouts/slideLayout14461.xml" ContentType="application/vnd.openxmlformats-officedocument.presentationml.slideLayout+xml"/>
  <Override PartName="/ppt/slideLayouts/slideLayout14462.xml" ContentType="application/vnd.openxmlformats-officedocument.presentationml.slideLayout+xml"/>
  <Override PartName="/ppt/slideLayouts/slideLayout14463.xml" ContentType="application/vnd.openxmlformats-officedocument.presentationml.slideLayout+xml"/>
  <Override PartName="/ppt/slideLayouts/slideLayout14464.xml" ContentType="application/vnd.openxmlformats-officedocument.presentationml.slideLayout+xml"/>
  <Override PartName="/ppt/slideLayouts/slideLayout14465.xml" ContentType="application/vnd.openxmlformats-officedocument.presentationml.slideLayout+xml"/>
  <Override PartName="/ppt/slideLayouts/slideLayout14466.xml" ContentType="application/vnd.openxmlformats-officedocument.presentationml.slideLayout+xml"/>
  <Override PartName="/ppt/slideLayouts/slideLayout14467.xml" ContentType="application/vnd.openxmlformats-officedocument.presentationml.slideLayout+xml"/>
  <Override PartName="/ppt/slideLayouts/slideLayout14468.xml" ContentType="application/vnd.openxmlformats-officedocument.presentationml.slideLayout+xml"/>
  <Override PartName="/ppt/slideLayouts/slideLayout14469.xml" ContentType="application/vnd.openxmlformats-officedocument.presentationml.slideLayout+xml"/>
  <Override PartName="/ppt/slideLayouts/slideLayout14470.xml" ContentType="application/vnd.openxmlformats-officedocument.presentationml.slideLayout+xml"/>
  <Override PartName="/ppt/slideLayouts/slideLayout14471.xml" ContentType="application/vnd.openxmlformats-officedocument.presentationml.slideLayout+xml"/>
  <Override PartName="/ppt/slideLayouts/slideLayout14472.xml" ContentType="application/vnd.openxmlformats-officedocument.presentationml.slideLayout+xml"/>
  <Override PartName="/ppt/slideLayouts/slideLayout14473.xml" ContentType="application/vnd.openxmlformats-officedocument.presentationml.slideLayout+xml"/>
  <Override PartName="/ppt/slideLayouts/slideLayout14474.xml" ContentType="application/vnd.openxmlformats-officedocument.presentationml.slideLayout+xml"/>
  <Override PartName="/ppt/slideLayouts/slideLayout14475.xml" ContentType="application/vnd.openxmlformats-officedocument.presentationml.slideLayout+xml"/>
  <Override PartName="/ppt/slideLayouts/slideLayout14476.xml" ContentType="application/vnd.openxmlformats-officedocument.presentationml.slideLayout+xml"/>
  <Override PartName="/ppt/slideLayouts/slideLayout14477.xml" ContentType="application/vnd.openxmlformats-officedocument.presentationml.slideLayout+xml"/>
  <Override PartName="/ppt/slideLayouts/slideLayout14478.xml" ContentType="application/vnd.openxmlformats-officedocument.presentationml.slideLayout+xml"/>
  <Override PartName="/ppt/slideLayouts/slideLayout14479.xml" ContentType="application/vnd.openxmlformats-officedocument.presentationml.slideLayout+xml"/>
  <Override PartName="/ppt/slideLayouts/slideLayout14480.xml" ContentType="application/vnd.openxmlformats-officedocument.presentationml.slideLayout+xml"/>
  <Override PartName="/ppt/slideLayouts/slideLayout14481.xml" ContentType="application/vnd.openxmlformats-officedocument.presentationml.slideLayout+xml"/>
  <Override PartName="/ppt/slideLayouts/slideLayout14482.xml" ContentType="application/vnd.openxmlformats-officedocument.presentationml.slideLayout+xml"/>
  <Override PartName="/ppt/slideLayouts/slideLayout14483.xml" ContentType="application/vnd.openxmlformats-officedocument.presentationml.slideLayout+xml"/>
  <Override PartName="/ppt/slideLayouts/slideLayout14484.xml" ContentType="application/vnd.openxmlformats-officedocument.presentationml.slideLayout+xml"/>
  <Override PartName="/ppt/slideLayouts/slideLayout14485.xml" ContentType="application/vnd.openxmlformats-officedocument.presentationml.slideLayout+xml"/>
  <Override PartName="/ppt/slideLayouts/slideLayout14486.xml" ContentType="application/vnd.openxmlformats-officedocument.presentationml.slideLayout+xml"/>
  <Override PartName="/ppt/slideLayouts/slideLayout14487.xml" ContentType="application/vnd.openxmlformats-officedocument.presentationml.slideLayout+xml"/>
  <Override PartName="/ppt/slideLayouts/slideLayout14488.xml" ContentType="application/vnd.openxmlformats-officedocument.presentationml.slideLayout+xml"/>
  <Override PartName="/ppt/slideLayouts/slideLayout14489.xml" ContentType="application/vnd.openxmlformats-officedocument.presentationml.slideLayout+xml"/>
  <Override PartName="/ppt/slideLayouts/slideLayout14490.xml" ContentType="application/vnd.openxmlformats-officedocument.presentationml.slideLayout+xml"/>
  <Override PartName="/ppt/slideLayouts/slideLayout14491.xml" ContentType="application/vnd.openxmlformats-officedocument.presentationml.slideLayout+xml"/>
  <Override PartName="/ppt/slideLayouts/slideLayout14492.xml" ContentType="application/vnd.openxmlformats-officedocument.presentationml.slideLayout+xml"/>
  <Override PartName="/ppt/slideLayouts/slideLayout14493.xml" ContentType="application/vnd.openxmlformats-officedocument.presentationml.slideLayout+xml"/>
  <Override PartName="/ppt/slideLayouts/slideLayout14494.xml" ContentType="application/vnd.openxmlformats-officedocument.presentationml.slideLayout+xml"/>
  <Override PartName="/ppt/slideLayouts/slideLayout14495.xml" ContentType="application/vnd.openxmlformats-officedocument.presentationml.slideLayout+xml"/>
  <Override PartName="/ppt/slideLayouts/slideLayout14496.xml" ContentType="application/vnd.openxmlformats-officedocument.presentationml.slideLayout+xml"/>
  <Override PartName="/ppt/slideLayouts/slideLayout14497.xml" ContentType="application/vnd.openxmlformats-officedocument.presentationml.slideLayout+xml"/>
  <Override PartName="/ppt/slideLayouts/slideLayout14498.xml" ContentType="application/vnd.openxmlformats-officedocument.presentationml.slideLayout+xml"/>
  <Override PartName="/ppt/slideLayouts/slideLayout14499.xml" ContentType="application/vnd.openxmlformats-officedocument.presentationml.slideLayout+xml"/>
  <Override PartName="/ppt/slideLayouts/slideLayout14500.xml" ContentType="application/vnd.openxmlformats-officedocument.presentationml.slideLayout+xml"/>
  <Override PartName="/ppt/slideLayouts/slideLayout14501.xml" ContentType="application/vnd.openxmlformats-officedocument.presentationml.slideLayout+xml"/>
  <Override PartName="/ppt/slideLayouts/slideLayout14502.xml" ContentType="application/vnd.openxmlformats-officedocument.presentationml.slideLayout+xml"/>
  <Override PartName="/ppt/slideLayouts/slideLayout14503.xml" ContentType="application/vnd.openxmlformats-officedocument.presentationml.slideLayout+xml"/>
  <Override PartName="/ppt/slideLayouts/slideLayout14504.xml" ContentType="application/vnd.openxmlformats-officedocument.presentationml.slideLayout+xml"/>
  <Override PartName="/ppt/slideLayouts/slideLayout14505.xml" ContentType="application/vnd.openxmlformats-officedocument.presentationml.slideLayout+xml"/>
  <Override PartName="/ppt/slideLayouts/slideLayout14506.xml" ContentType="application/vnd.openxmlformats-officedocument.presentationml.slideLayout+xml"/>
  <Override PartName="/ppt/slideLayouts/slideLayout14507.xml" ContentType="application/vnd.openxmlformats-officedocument.presentationml.slideLayout+xml"/>
  <Override PartName="/ppt/slideLayouts/slideLayout14508.xml" ContentType="application/vnd.openxmlformats-officedocument.presentationml.slideLayout+xml"/>
  <Override PartName="/ppt/slideLayouts/slideLayout14509.xml" ContentType="application/vnd.openxmlformats-officedocument.presentationml.slideLayout+xml"/>
  <Override PartName="/ppt/slideLayouts/slideLayout14510.xml" ContentType="application/vnd.openxmlformats-officedocument.presentationml.slideLayout+xml"/>
  <Override PartName="/ppt/slideLayouts/slideLayout14511.xml" ContentType="application/vnd.openxmlformats-officedocument.presentationml.slideLayout+xml"/>
  <Override PartName="/ppt/slideLayouts/slideLayout14512.xml" ContentType="application/vnd.openxmlformats-officedocument.presentationml.slideLayout+xml"/>
  <Override PartName="/ppt/slideLayouts/slideLayout14513.xml" ContentType="application/vnd.openxmlformats-officedocument.presentationml.slideLayout+xml"/>
  <Override PartName="/ppt/slideLayouts/slideLayout14514.xml" ContentType="application/vnd.openxmlformats-officedocument.presentationml.slideLayout+xml"/>
  <Override PartName="/ppt/slideLayouts/slideLayout14515.xml" ContentType="application/vnd.openxmlformats-officedocument.presentationml.slideLayout+xml"/>
  <Override PartName="/ppt/slideLayouts/slideLayout14516.xml" ContentType="application/vnd.openxmlformats-officedocument.presentationml.slideLayout+xml"/>
  <Override PartName="/ppt/slideLayouts/slideLayout14517.xml" ContentType="application/vnd.openxmlformats-officedocument.presentationml.slideLayout+xml"/>
  <Override PartName="/ppt/slideLayouts/slideLayout14518.xml" ContentType="application/vnd.openxmlformats-officedocument.presentationml.slideLayout+xml"/>
  <Override PartName="/ppt/slideLayouts/slideLayout14519.xml" ContentType="application/vnd.openxmlformats-officedocument.presentationml.slideLayout+xml"/>
  <Override PartName="/ppt/slideLayouts/slideLayout14520.xml" ContentType="application/vnd.openxmlformats-officedocument.presentationml.slideLayout+xml"/>
  <Override PartName="/ppt/slideLayouts/slideLayout14521.xml" ContentType="application/vnd.openxmlformats-officedocument.presentationml.slideLayout+xml"/>
  <Override PartName="/ppt/slideLayouts/slideLayout14522.xml" ContentType="application/vnd.openxmlformats-officedocument.presentationml.slideLayout+xml"/>
  <Override PartName="/ppt/slideLayouts/slideLayout14523.xml" ContentType="application/vnd.openxmlformats-officedocument.presentationml.slideLayout+xml"/>
  <Override PartName="/ppt/slideLayouts/slideLayout14524.xml" ContentType="application/vnd.openxmlformats-officedocument.presentationml.slideLayout+xml"/>
  <Override PartName="/ppt/slideLayouts/slideLayout14525.xml" ContentType="application/vnd.openxmlformats-officedocument.presentationml.slideLayout+xml"/>
  <Override PartName="/ppt/slideLayouts/slideLayout14526.xml" ContentType="application/vnd.openxmlformats-officedocument.presentationml.slideLayout+xml"/>
  <Override PartName="/ppt/slideLayouts/slideLayout14527.xml" ContentType="application/vnd.openxmlformats-officedocument.presentationml.slideLayout+xml"/>
  <Override PartName="/ppt/slideLayouts/slideLayout14528.xml" ContentType="application/vnd.openxmlformats-officedocument.presentationml.slideLayout+xml"/>
  <Override PartName="/ppt/slideLayouts/slideLayout14529.xml" ContentType="application/vnd.openxmlformats-officedocument.presentationml.slideLayout+xml"/>
  <Override PartName="/ppt/slideLayouts/slideLayout14530.xml" ContentType="application/vnd.openxmlformats-officedocument.presentationml.slideLayout+xml"/>
  <Override PartName="/ppt/slideLayouts/slideLayout14531.xml" ContentType="application/vnd.openxmlformats-officedocument.presentationml.slideLayout+xml"/>
  <Override PartName="/ppt/slideLayouts/slideLayout14532.xml" ContentType="application/vnd.openxmlformats-officedocument.presentationml.slideLayout+xml"/>
  <Override PartName="/ppt/slideLayouts/slideLayout14533.xml" ContentType="application/vnd.openxmlformats-officedocument.presentationml.slideLayout+xml"/>
  <Override PartName="/ppt/slideLayouts/slideLayout14534.xml" ContentType="application/vnd.openxmlformats-officedocument.presentationml.slideLayout+xml"/>
  <Override PartName="/ppt/slideLayouts/slideLayout14535.xml" ContentType="application/vnd.openxmlformats-officedocument.presentationml.slideLayout+xml"/>
  <Override PartName="/ppt/slideLayouts/slideLayout14536.xml" ContentType="application/vnd.openxmlformats-officedocument.presentationml.slideLayout+xml"/>
  <Override PartName="/ppt/slideLayouts/slideLayout14537.xml" ContentType="application/vnd.openxmlformats-officedocument.presentationml.slideLayout+xml"/>
  <Override PartName="/ppt/slideLayouts/slideLayout14538.xml" ContentType="application/vnd.openxmlformats-officedocument.presentationml.slideLayout+xml"/>
  <Override PartName="/ppt/slideLayouts/slideLayout14539.xml" ContentType="application/vnd.openxmlformats-officedocument.presentationml.slideLayout+xml"/>
  <Override PartName="/ppt/slideLayouts/slideLayout14540.xml" ContentType="application/vnd.openxmlformats-officedocument.presentationml.slideLayout+xml"/>
  <Override PartName="/ppt/slideLayouts/slideLayout14541.xml" ContentType="application/vnd.openxmlformats-officedocument.presentationml.slideLayout+xml"/>
  <Override PartName="/ppt/slideLayouts/slideLayout14542.xml" ContentType="application/vnd.openxmlformats-officedocument.presentationml.slideLayout+xml"/>
  <Override PartName="/ppt/slideLayouts/slideLayout14543.xml" ContentType="application/vnd.openxmlformats-officedocument.presentationml.slideLayout+xml"/>
  <Override PartName="/ppt/slideLayouts/slideLayout14544.xml" ContentType="application/vnd.openxmlformats-officedocument.presentationml.slideLayout+xml"/>
  <Override PartName="/ppt/slideLayouts/slideLayout14545.xml" ContentType="application/vnd.openxmlformats-officedocument.presentationml.slideLayout+xml"/>
  <Override PartName="/ppt/slideLayouts/slideLayout14546.xml" ContentType="application/vnd.openxmlformats-officedocument.presentationml.slideLayout+xml"/>
  <Override PartName="/ppt/slideLayouts/slideLayout14547.xml" ContentType="application/vnd.openxmlformats-officedocument.presentationml.slideLayout+xml"/>
  <Override PartName="/ppt/slideLayouts/slideLayout14548.xml" ContentType="application/vnd.openxmlformats-officedocument.presentationml.slideLayout+xml"/>
  <Override PartName="/ppt/slideLayouts/slideLayout14549.xml" ContentType="application/vnd.openxmlformats-officedocument.presentationml.slideLayout+xml"/>
  <Override PartName="/ppt/slideLayouts/slideLayout14550.xml" ContentType="application/vnd.openxmlformats-officedocument.presentationml.slideLayout+xml"/>
  <Override PartName="/ppt/slideLayouts/slideLayout14551.xml" ContentType="application/vnd.openxmlformats-officedocument.presentationml.slideLayout+xml"/>
  <Override PartName="/ppt/slideLayouts/slideLayout14552.xml" ContentType="application/vnd.openxmlformats-officedocument.presentationml.slideLayout+xml"/>
  <Override PartName="/ppt/slideLayouts/slideLayout14553.xml" ContentType="application/vnd.openxmlformats-officedocument.presentationml.slideLayout+xml"/>
  <Override PartName="/ppt/slideLayouts/slideLayout14554.xml" ContentType="application/vnd.openxmlformats-officedocument.presentationml.slideLayout+xml"/>
  <Override PartName="/ppt/slideLayouts/slideLayout14555.xml" ContentType="application/vnd.openxmlformats-officedocument.presentationml.slideLayout+xml"/>
  <Override PartName="/ppt/slideLayouts/slideLayout14556.xml" ContentType="application/vnd.openxmlformats-officedocument.presentationml.slideLayout+xml"/>
  <Override PartName="/ppt/slideLayouts/slideLayout14557.xml" ContentType="application/vnd.openxmlformats-officedocument.presentationml.slideLayout+xml"/>
  <Override PartName="/ppt/slideLayouts/slideLayout14558.xml" ContentType="application/vnd.openxmlformats-officedocument.presentationml.slideLayout+xml"/>
  <Override PartName="/ppt/slideLayouts/slideLayout14559.xml" ContentType="application/vnd.openxmlformats-officedocument.presentationml.slideLayout+xml"/>
  <Override PartName="/ppt/slideLayouts/slideLayout14560.xml" ContentType="application/vnd.openxmlformats-officedocument.presentationml.slideLayout+xml"/>
  <Override PartName="/ppt/slideLayouts/slideLayout14561.xml" ContentType="application/vnd.openxmlformats-officedocument.presentationml.slideLayout+xml"/>
  <Override PartName="/ppt/slideLayouts/slideLayout14562.xml" ContentType="application/vnd.openxmlformats-officedocument.presentationml.slideLayout+xml"/>
  <Override PartName="/ppt/slideLayouts/slideLayout14563.xml" ContentType="application/vnd.openxmlformats-officedocument.presentationml.slideLayout+xml"/>
  <Override PartName="/ppt/slideLayouts/slideLayout14564.xml" ContentType="application/vnd.openxmlformats-officedocument.presentationml.slideLayout+xml"/>
  <Override PartName="/ppt/slideLayouts/slideLayout14565.xml" ContentType="application/vnd.openxmlformats-officedocument.presentationml.slideLayout+xml"/>
  <Override PartName="/ppt/slideLayouts/slideLayout14566.xml" ContentType="application/vnd.openxmlformats-officedocument.presentationml.slideLayout+xml"/>
  <Override PartName="/ppt/slideLayouts/slideLayout14567.xml" ContentType="application/vnd.openxmlformats-officedocument.presentationml.slideLayout+xml"/>
  <Override PartName="/ppt/slideLayouts/slideLayout14568.xml" ContentType="application/vnd.openxmlformats-officedocument.presentationml.slideLayout+xml"/>
  <Override PartName="/ppt/slideLayouts/slideLayout14569.xml" ContentType="application/vnd.openxmlformats-officedocument.presentationml.slideLayout+xml"/>
  <Override PartName="/ppt/slideLayouts/slideLayout14570.xml" ContentType="application/vnd.openxmlformats-officedocument.presentationml.slideLayout+xml"/>
  <Override PartName="/ppt/slideLayouts/slideLayout14571.xml" ContentType="application/vnd.openxmlformats-officedocument.presentationml.slideLayout+xml"/>
  <Override PartName="/ppt/slideLayouts/slideLayout14572.xml" ContentType="application/vnd.openxmlformats-officedocument.presentationml.slideLayout+xml"/>
  <Override PartName="/ppt/slideLayouts/slideLayout14573.xml" ContentType="application/vnd.openxmlformats-officedocument.presentationml.slideLayout+xml"/>
  <Override PartName="/ppt/slideLayouts/slideLayout14574.xml" ContentType="application/vnd.openxmlformats-officedocument.presentationml.slideLayout+xml"/>
  <Override PartName="/ppt/slideLayouts/slideLayout14575.xml" ContentType="application/vnd.openxmlformats-officedocument.presentationml.slideLayout+xml"/>
  <Override PartName="/ppt/slideLayouts/slideLayout14576.xml" ContentType="application/vnd.openxmlformats-officedocument.presentationml.slideLayout+xml"/>
  <Override PartName="/ppt/slideLayouts/slideLayout14577.xml" ContentType="application/vnd.openxmlformats-officedocument.presentationml.slideLayout+xml"/>
  <Override PartName="/ppt/slideLayouts/slideLayout14578.xml" ContentType="application/vnd.openxmlformats-officedocument.presentationml.slideLayout+xml"/>
  <Override PartName="/ppt/slideLayouts/slideLayout14579.xml" ContentType="application/vnd.openxmlformats-officedocument.presentationml.slideLayout+xml"/>
  <Override PartName="/ppt/slideLayouts/slideLayout14580.xml" ContentType="application/vnd.openxmlformats-officedocument.presentationml.slideLayout+xml"/>
  <Override PartName="/ppt/slideLayouts/slideLayout14581.xml" ContentType="application/vnd.openxmlformats-officedocument.presentationml.slideLayout+xml"/>
  <Override PartName="/ppt/slideLayouts/slideLayout14582.xml" ContentType="application/vnd.openxmlformats-officedocument.presentationml.slideLayout+xml"/>
  <Override PartName="/ppt/slideLayouts/slideLayout14583.xml" ContentType="application/vnd.openxmlformats-officedocument.presentationml.slideLayout+xml"/>
  <Override PartName="/ppt/slideLayouts/slideLayout14584.xml" ContentType="application/vnd.openxmlformats-officedocument.presentationml.slideLayout+xml"/>
  <Override PartName="/ppt/slideLayouts/slideLayout14585.xml" ContentType="application/vnd.openxmlformats-officedocument.presentationml.slideLayout+xml"/>
  <Override PartName="/ppt/slideLayouts/slideLayout14586.xml" ContentType="application/vnd.openxmlformats-officedocument.presentationml.slideLayout+xml"/>
  <Override PartName="/ppt/slideLayouts/slideLayout14587.xml" ContentType="application/vnd.openxmlformats-officedocument.presentationml.slideLayout+xml"/>
  <Override PartName="/ppt/slideLayouts/slideLayout14588.xml" ContentType="application/vnd.openxmlformats-officedocument.presentationml.slideLayout+xml"/>
  <Override PartName="/ppt/slideLayouts/slideLayout14589.xml" ContentType="application/vnd.openxmlformats-officedocument.presentationml.slideLayout+xml"/>
  <Override PartName="/ppt/slideLayouts/slideLayout14590.xml" ContentType="application/vnd.openxmlformats-officedocument.presentationml.slideLayout+xml"/>
  <Override PartName="/ppt/slideLayouts/slideLayout14591.xml" ContentType="application/vnd.openxmlformats-officedocument.presentationml.slideLayout+xml"/>
  <Override PartName="/ppt/slideLayouts/slideLayout14592.xml" ContentType="application/vnd.openxmlformats-officedocument.presentationml.slideLayout+xml"/>
  <Override PartName="/ppt/slideLayouts/slideLayout14593.xml" ContentType="application/vnd.openxmlformats-officedocument.presentationml.slideLayout+xml"/>
  <Override PartName="/ppt/slideLayouts/slideLayout14594.xml" ContentType="application/vnd.openxmlformats-officedocument.presentationml.slideLayout+xml"/>
  <Override PartName="/ppt/slideLayouts/slideLayout14595.xml" ContentType="application/vnd.openxmlformats-officedocument.presentationml.slideLayout+xml"/>
  <Override PartName="/ppt/slideLayouts/slideLayout14596.xml" ContentType="application/vnd.openxmlformats-officedocument.presentationml.slideLayout+xml"/>
  <Override PartName="/ppt/slideLayouts/slideLayout14597.xml" ContentType="application/vnd.openxmlformats-officedocument.presentationml.slideLayout+xml"/>
  <Override PartName="/ppt/slideLayouts/slideLayout14598.xml" ContentType="application/vnd.openxmlformats-officedocument.presentationml.slideLayout+xml"/>
  <Override PartName="/ppt/slideLayouts/slideLayout14599.xml" ContentType="application/vnd.openxmlformats-officedocument.presentationml.slideLayout+xml"/>
  <Override PartName="/ppt/slideLayouts/slideLayout14600.xml" ContentType="application/vnd.openxmlformats-officedocument.presentationml.slideLayout+xml"/>
  <Override PartName="/ppt/slideLayouts/slideLayout14601.xml" ContentType="application/vnd.openxmlformats-officedocument.presentationml.slideLayout+xml"/>
  <Override PartName="/ppt/slideLayouts/slideLayout14602.xml" ContentType="application/vnd.openxmlformats-officedocument.presentationml.slideLayout+xml"/>
  <Override PartName="/ppt/slideLayouts/slideLayout14603.xml" ContentType="application/vnd.openxmlformats-officedocument.presentationml.slideLayout+xml"/>
  <Override PartName="/ppt/slideLayouts/slideLayout14604.xml" ContentType="application/vnd.openxmlformats-officedocument.presentationml.slideLayout+xml"/>
  <Override PartName="/ppt/slideLayouts/slideLayout14605.xml" ContentType="application/vnd.openxmlformats-officedocument.presentationml.slideLayout+xml"/>
  <Override PartName="/ppt/slideLayouts/slideLayout14606.xml" ContentType="application/vnd.openxmlformats-officedocument.presentationml.slideLayout+xml"/>
  <Override PartName="/ppt/slideLayouts/slideLayout14607.xml" ContentType="application/vnd.openxmlformats-officedocument.presentationml.slideLayout+xml"/>
  <Override PartName="/ppt/slideLayouts/slideLayout14608.xml" ContentType="application/vnd.openxmlformats-officedocument.presentationml.slideLayout+xml"/>
  <Override PartName="/ppt/slideLayouts/slideLayout14609.xml" ContentType="application/vnd.openxmlformats-officedocument.presentationml.slideLayout+xml"/>
  <Override PartName="/ppt/slideLayouts/slideLayout14610.xml" ContentType="application/vnd.openxmlformats-officedocument.presentationml.slideLayout+xml"/>
  <Override PartName="/ppt/slideLayouts/slideLayout14611.xml" ContentType="application/vnd.openxmlformats-officedocument.presentationml.slideLayout+xml"/>
  <Override PartName="/ppt/slideLayouts/slideLayout14612.xml" ContentType="application/vnd.openxmlformats-officedocument.presentationml.slideLayout+xml"/>
  <Override PartName="/ppt/slideLayouts/slideLayout14613.xml" ContentType="application/vnd.openxmlformats-officedocument.presentationml.slideLayout+xml"/>
  <Override PartName="/ppt/slideLayouts/slideLayout14614.xml" ContentType="application/vnd.openxmlformats-officedocument.presentationml.slideLayout+xml"/>
  <Override PartName="/ppt/slideLayouts/slideLayout14615.xml" ContentType="application/vnd.openxmlformats-officedocument.presentationml.slideLayout+xml"/>
  <Override PartName="/ppt/slideLayouts/slideLayout14616.xml" ContentType="application/vnd.openxmlformats-officedocument.presentationml.slideLayout+xml"/>
  <Override PartName="/ppt/slideLayouts/slideLayout14617.xml" ContentType="application/vnd.openxmlformats-officedocument.presentationml.slideLayout+xml"/>
  <Override PartName="/ppt/slideLayouts/slideLayout14618.xml" ContentType="application/vnd.openxmlformats-officedocument.presentationml.slideLayout+xml"/>
  <Override PartName="/ppt/slideLayouts/slideLayout14619.xml" ContentType="application/vnd.openxmlformats-officedocument.presentationml.slideLayout+xml"/>
  <Override PartName="/ppt/slideLayouts/slideLayout14620.xml" ContentType="application/vnd.openxmlformats-officedocument.presentationml.slideLayout+xml"/>
  <Override PartName="/ppt/slideLayouts/slideLayout14621.xml" ContentType="application/vnd.openxmlformats-officedocument.presentationml.slideLayout+xml"/>
  <Override PartName="/ppt/slideLayouts/slideLayout14622.xml" ContentType="application/vnd.openxmlformats-officedocument.presentationml.slideLayout+xml"/>
  <Override PartName="/ppt/slideLayouts/slideLayout14623.xml" ContentType="application/vnd.openxmlformats-officedocument.presentationml.slideLayout+xml"/>
  <Override PartName="/ppt/slideLayouts/slideLayout14624.xml" ContentType="application/vnd.openxmlformats-officedocument.presentationml.slideLayout+xml"/>
  <Override PartName="/ppt/slideLayouts/slideLayout14625.xml" ContentType="application/vnd.openxmlformats-officedocument.presentationml.slideLayout+xml"/>
  <Override PartName="/ppt/slideLayouts/slideLayout14626.xml" ContentType="application/vnd.openxmlformats-officedocument.presentationml.slideLayout+xml"/>
  <Override PartName="/ppt/slideLayouts/slideLayout14627.xml" ContentType="application/vnd.openxmlformats-officedocument.presentationml.slideLayout+xml"/>
  <Override PartName="/ppt/slideLayouts/slideLayout14628.xml" ContentType="application/vnd.openxmlformats-officedocument.presentationml.slideLayout+xml"/>
  <Override PartName="/ppt/slideLayouts/slideLayout14629.xml" ContentType="application/vnd.openxmlformats-officedocument.presentationml.slideLayout+xml"/>
  <Override PartName="/ppt/slideLayouts/slideLayout14630.xml" ContentType="application/vnd.openxmlformats-officedocument.presentationml.slideLayout+xml"/>
  <Override PartName="/ppt/slideLayouts/slideLayout14631.xml" ContentType="application/vnd.openxmlformats-officedocument.presentationml.slideLayout+xml"/>
  <Override PartName="/ppt/slideLayouts/slideLayout14632.xml" ContentType="application/vnd.openxmlformats-officedocument.presentationml.slideLayout+xml"/>
  <Override PartName="/ppt/slideLayouts/slideLayout14633.xml" ContentType="application/vnd.openxmlformats-officedocument.presentationml.slideLayout+xml"/>
  <Override PartName="/ppt/slideLayouts/slideLayout14634.xml" ContentType="application/vnd.openxmlformats-officedocument.presentationml.slideLayout+xml"/>
  <Override PartName="/ppt/slideLayouts/slideLayout14635.xml" ContentType="application/vnd.openxmlformats-officedocument.presentationml.slideLayout+xml"/>
  <Override PartName="/ppt/slideLayouts/slideLayout14636.xml" ContentType="application/vnd.openxmlformats-officedocument.presentationml.slideLayout+xml"/>
  <Override PartName="/ppt/slideLayouts/slideLayout14637.xml" ContentType="application/vnd.openxmlformats-officedocument.presentationml.slideLayout+xml"/>
  <Override PartName="/ppt/slideLayouts/slideLayout14638.xml" ContentType="application/vnd.openxmlformats-officedocument.presentationml.slideLayout+xml"/>
  <Override PartName="/ppt/slideLayouts/slideLayout14639.xml" ContentType="application/vnd.openxmlformats-officedocument.presentationml.slideLayout+xml"/>
  <Override PartName="/ppt/slideLayouts/slideLayout14640.xml" ContentType="application/vnd.openxmlformats-officedocument.presentationml.slideLayout+xml"/>
  <Override PartName="/ppt/slideLayouts/slideLayout14641.xml" ContentType="application/vnd.openxmlformats-officedocument.presentationml.slideLayout+xml"/>
  <Override PartName="/ppt/slideLayouts/slideLayout14642.xml" ContentType="application/vnd.openxmlformats-officedocument.presentationml.slideLayout+xml"/>
  <Override PartName="/ppt/slideLayouts/slideLayout14643.xml" ContentType="application/vnd.openxmlformats-officedocument.presentationml.slideLayout+xml"/>
  <Override PartName="/ppt/slideLayouts/slideLayout14644.xml" ContentType="application/vnd.openxmlformats-officedocument.presentationml.slideLayout+xml"/>
  <Override PartName="/ppt/slideLayouts/slideLayout14645.xml" ContentType="application/vnd.openxmlformats-officedocument.presentationml.slideLayout+xml"/>
  <Override PartName="/ppt/slideLayouts/slideLayout14646.xml" ContentType="application/vnd.openxmlformats-officedocument.presentationml.slideLayout+xml"/>
  <Override PartName="/ppt/slideLayouts/slideLayout14647.xml" ContentType="application/vnd.openxmlformats-officedocument.presentationml.slideLayout+xml"/>
  <Override PartName="/ppt/slideLayouts/slideLayout14648.xml" ContentType="application/vnd.openxmlformats-officedocument.presentationml.slideLayout+xml"/>
  <Override PartName="/ppt/slideLayouts/slideLayout14649.xml" ContentType="application/vnd.openxmlformats-officedocument.presentationml.slideLayout+xml"/>
  <Override PartName="/ppt/slideLayouts/slideLayout14650.xml" ContentType="application/vnd.openxmlformats-officedocument.presentationml.slideLayout+xml"/>
  <Override PartName="/ppt/slideLayouts/slideLayout14651.xml" ContentType="application/vnd.openxmlformats-officedocument.presentationml.slideLayout+xml"/>
  <Override PartName="/ppt/slideLayouts/slideLayout14652.xml" ContentType="application/vnd.openxmlformats-officedocument.presentationml.slideLayout+xml"/>
  <Override PartName="/ppt/slideLayouts/slideLayout14653.xml" ContentType="application/vnd.openxmlformats-officedocument.presentationml.slideLayout+xml"/>
  <Override PartName="/ppt/slideLayouts/slideLayout14654.xml" ContentType="application/vnd.openxmlformats-officedocument.presentationml.slideLayout+xml"/>
  <Override PartName="/ppt/slideLayouts/slideLayout14655.xml" ContentType="application/vnd.openxmlformats-officedocument.presentationml.slideLayout+xml"/>
  <Override PartName="/ppt/slideLayouts/slideLayout14656.xml" ContentType="application/vnd.openxmlformats-officedocument.presentationml.slideLayout+xml"/>
  <Override PartName="/ppt/slideLayouts/slideLayout14657.xml" ContentType="application/vnd.openxmlformats-officedocument.presentationml.slideLayout+xml"/>
  <Override PartName="/ppt/slideLayouts/slideLayout14658.xml" ContentType="application/vnd.openxmlformats-officedocument.presentationml.slideLayout+xml"/>
  <Override PartName="/ppt/slideLayouts/slideLayout14659.xml" ContentType="application/vnd.openxmlformats-officedocument.presentationml.slideLayout+xml"/>
  <Override PartName="/ppt/slideLayouts/slideLayout14660.xml" ContentType="application/vnd.openxmlformats-officedocument.presentationml.slideLayout+xml"/>
  <Override PartName="/ppt/slideLayouts/slideLayout14661.xml" ContentType="application/vnd.openxmlformats-officedocument.presentationml.slideLayout+xml"/>
  <Override PartName="/ppt/slideLayouts/slideLayout14662.xml" ContentType="application/vnd.openxmlformats-officedocument.presentationml.slideLayout+xml"/>
  <Override PartName="/ppt/slideLayouts/slideLayout14663.xml" ContentType="application/vnd.openxmlformats-officedocument.presentationml.slideLayout+xml"/>
  <Override PartName="/ppt/slideLayouts/slideLayout14664.xml" ContentType="application/vnd.openxmlformats-officedocument.presentationml.slideLayout+xml"/>
  <Override PartName="/ppt/slideLayouts/slideLayout14665.xml" ContentType="application/vnd.openxmlformats-officedocument.presentationml.slideLayout+xml"/>
  <Override PartName="/ppt/slideLayouts/slideLayout14666.xml" ContentType="application/vnd.openxmlformats-officedocument.presentationml.slideLayout+xml"/>
  <Override PartName="/ppt/slideLayouts/slideLayout14667.xml" ContentType="application/vnd.openxmlformats-officedocument.presentationml.slideLayout+xml"/>
  <Override PartName="/ppt/slideLayouts/slideLayout14668.xml" ContentType="application/vnd.openxmlformats-officedocument.presentationml.slideLayout+xml"/>
  <Override PartName="/ppt/slideLayouts/slideLayout14669.xml" ContentType="application/vnd.openxmlformats-officedocument.presentationml.slideLayout+xml"/>
  <Override PartName="/ppt/slideLayouts/slideLayout14670.xml" ContentType="application/vnd.openxmlformats-officedocument.presentationml.slideLayout+xml"/>
  <Override PartName="/ppt/slideLayouts/slideLayout14671.xml" ContentType="application/vnd.openxmlformats-officedocument.presentationml.slideLayout+xml"/>
  <Override PartName="/ppt/slideLayouts/slideLayout14672.xml" ContentType="application/vnd.openxmlformats-officedocument.presentationml.slideLayout+xml"/>
  <Override PartName="/ppt/slideLayouts/slideLayout14673.xml" ContentType="application/vnd.openxmlformats-officedocument.presentationml.slideLayout+xml"/>
  <Override PartName="/ppt/slideLayouts/slideLayout14674.xml" ContentType="application/vnd.openxmlformats-officedocument.presentationml.slideLayout+xml"/>
  <Override PartName="/ppt/slideLayouts/slideLayout14675.xml" ContentType="application/vnd.openxmlformats-officedocument.presentationml.slideLayout+xml"/>
  <Override PartName="/ppt/slideLayouts/slideLayout14676.xml" ContentType="application/vnd.openxmlformats-officedocument.presentationml.slideLayout+xml"/>
  <Override PartName="/ppt/slideLayouts/slideLayout14677.xml" ContentType="application/vnd.openxmlformats-officedocument.presentationml.slideLayout+xml"/>
  <Override PartName="/ppt/slideLayouts/slideLayout14678.xml" ContentType="application/vnd.openxmlformats-officedocument.presentationml.slideLayout+xml"/>
  <Override PartName="/ppt/slideLayouts/slideLayout14679.xml" ContentType="application/vnd.openxmlformats-officedocument.presentationml.slideLayout+xml"/>
  <Override PartName="/ppt/slideLayouts/slideLayout14680.xml" ContentType="application/vnd.openxmlformats-officedocument.presentationml.slideLayout+xml"/>
  <Override PartName="/ppt/slideLayouts/slideLayout14681.xml" ContentType="application/vnd.openxmlformats-officedocument.presentationml.slideLayout+xml"/>
  <Override PartName="/ppt/slideLayouts/slideLayout14682.xml" ContentType="application/vnd.openxmlformats-officedocument.presentationml.slideLayout+xml"/>
  <Override PartName="/ppt/slideLayouts/slideLayout14683.xml" ContentType="application/vnd.openxmlformats-officedocument.presentationml.slideLayout+xml"/>
  <Override PartName="/ppt/slideLayouts/slideLayout14684.xml" ContentType="application/vnd.openxmlformats-officedocument.presentationml.slideLayout+xml"/>
  <Override PartName="/ppt/slideLayouts/slideLayout14685.xml" ContentType="application/vnd.openxmlformats-officedocument.presentationml.slideLayout+xml"/>
  <Override PartName="/ppt/slideLayouts/slideLayout14686.xml" ContentType="application/vnd.openxmlformats-officedocument.presentationml.slideLayout+xml"/>
  <Override PartName="/ppt/slideLayouts/slideLayout14687.xml" ContentType="application/vnd.openxmlformats-officedocument.presentationml.slideLayout+xml"/>
  <Override PartName="/ppt/slideLayouts/slideLayout14688.xml" ContentType="application/vnd.openxmlformats-officedocument.presentationml.slideLayout+xml"/>
  <Override PartName="/ppt/slideLayouts/slideLayout14689.xml" ContentType="application/vnd.openxmlformats-officedocument.presentationml.slideLayout+xml"/>
  <Override PartName="/ppt/slideLayouts/slideLayout14690.xml" ContentType="application/vnd.openxmlformats-officedocument.presentationml.slideLayout+xml"/>
  <Override PartName="/ppt/slideLayouts/slideLayout14691.xml" ContentType="application/vnd.openxmlformats-officedocument.presentationml.slideLayout+xml"/>
  <Override PartName="/ppt/slideLayouts/slideLayout14692.xml" ContentType="application/vnd.openxmlformats-officedocument.presentationml.slideLayout+xml"/>
  <Override PartName="/ppt/slideLayouts/slideLayout14693.xml" ContentType="application/vnd.openxmlformats-officedocument.presentationml.slideLayout+xml"/>
  <Override PartName="/ppt/slideLayouts/slideLayout14694.xml" ContentType="application/vnd.openxmlformats-officedocument.presentationml.slideLayout+xml"/>
  <Override PartName="/ppt/slideLayouts/slideLayout14695.xml" ContentType="application/vnd.openxmlformats-officedocument.presentationml.slideLayout+xml"/>
  <Override PartName="/ppt/slideLayouts/slideLayout14696.xml" ContentType="application/vnd.openxmlformats-officedocument.presentationml.slideLayout+xml"/>
  <Override PartName="/ppt/slideLayouts/slideLayout14697.xml" ContentType="application/vnd.openxmlformats-officedocument.presentationml.slideLayout+xml"/>
  <Override PartName="/ppt/slideLayouts/slideLayout14698.xml" ContentType="application/vnd.openxmlformats-officedocument.presentationml.slideLayout+xml"/>
  <Override PartName="/ppt/slideLayouts/slideLayout14699.xml" ContentType="application/vnd.openxmlformats-officedocument.presentationml.slideLayout+xml"/>
  <Override PartName="/ppt/slideLayouts/slideLayout14700.xml" ContentType="application/vnd.openxmlformats-officedocument.presentationml.slideLayout+xml"/>
  <Override PartName="/ppt/slideLayouts/slideLayout14701.xml" ContentType="application/vnd.openxmlformats-officedocument.presentationml.slideLayout+xml"/>
  <Override PartName="/ppt/slideLayouts/slideLayout14702.xml" ContentType="application/vnd.openxmlformats-officedocument.presentationml.slideLayout+xml"/>
  <Override PartName="/ppt/slideLayouts/slideLayout14703.xml" ContentType="application/vnd.openxmlformats-officedocument.presentationml.slideLayout+xml"/>
  <Override PartName="/ppt/slideLayouts/slideLayout14704.xml" ContentType="application/vnd.openxmlformats-officedocument.presentationml.slideLayout+xml"/>
  <Override PartName="/ppt/slideLayouts/slideLayout14705.xml" ContentType="application/vnd.openxmlformats-officedocument.presentationml.slideLayout+xml"/>
  <Override PartName="/ppt/slideLayouts/slideLayout14706.xml" ContentType="application/vnd.openxmlformats-officedocument.presentationml.slideLayout+xml"/>
  <Override PartName="/ppt/slideLayouts/slideLayout14707.xml" ContentType="application/vnd.openxmlformats-officedocument.presentationml.slideLayout+xml"/>
  <Override PartName="/ppt/slideLayouts/slideLayout14708.xml" ContentType="application/vnd.openxmlformats-officedocument.presentationml.slideLayout+xml"/>
  <Override PartName="/ppt/slideLayouts/slideLayout14709.xml" ContentType="application/vnd.openxmlformats-officedocument.presentationml.slideLayout+xml"/>
  <Override PartName="/ppt/slideLayouts/slideLayout14710.xml" ContentType="application/vnd.openxmlformats-officedocument.presentationml.slideLayout+xml"/>
  <Override PartName="/ppt/slideLayouts/slideLayout14711.xml" ContentType="application/vnd.openxmlformats-officedocument.presentationml.slideLayout+xml"/>
  <Override PartName="/ppt/slideLayouts/slideLayout14712.xml" ContentType="application/vnd.openxmlformats-officedocument.presentationml.slideLayout+xml"/>
  <Override PartName="/ppt/slideLayouts/slideLayout14713.xml" ContentType="application/vnd.openxmlformats-officedocument.presentationml.slideLayout+xml"/>
  <Override PartName="/ppt/slideLayouts/slideLayout14714.xml" ContentType="application/vnd.openxmlformats-officedocument.presentationml.slideLayout+xml"/>
  <Override PartName="/ppt/slideLayouts/slideLayout14715.xml" ContentType="application/vnd.openxmlformats-officedocument.presentationml.slideLayout+xml"/>
  <Override PartName="/ppt/slideLayouts/slideLayout14716.xml" ContentType="application/vnd.openxmlformats-officedocument.presentationml.slideLayout+xml"/>
  <Override PartName="/ppt/slideLayouts/slideLayout14717.xml" ContentType="application/vnd.openxmlformats-officedocument.presentationml.slideLayout+xml"/>
  <Override PartName="/ppt/slideLayouts/slideLayout14718.xml" ContentType="application/vnd.openxmlformats-officedocument.presentationml.slideLayout+xml"/>
  <Override PartName="/ppt/slideLayouts/slideLayout14719.xml" ContentType="application/vnd.openxmlformats-officedocument.presentationml.slideLayout+xml"/>
  <Override PartName="/ppt/slideLayouts/slideLayout14720.xml" ContentType="application/vnd.openxmlformats-officedocument.presentationml.slideLayout+xml"/>
  <Override PartName="/ppt/slideLayouts/slideLayout14721.xml" ContentType="application/vnd.openxmlformats-officedocument.presentationml.slideLayout+xml"/>
  <Override PartName="/ppt/slideLayouts/slideLayout14722.xml" ContentType="application/vnd.openxmlformats-officedocument.presentationml.slideLayout+xml"/>
  <Override PartName="/ppt/slideLayouts/slideLayout14723.xml" ContentType="application/vnd.openxmlformats-officedocument.presentationml.slideLayout+xml"/>
  <Override PartName="/ppt/slideLayouts/slideLayout14724.xml" ContentType="application/vnd.openxmlformats-officedocument.presentationml.slideLayout+xml"/>
  <Override PartName="/ppt/slideLayouts/slideLayout14725.xml" ContentType="application/vnd.openxmlformats-officedocument.presentationml.slideLayout+xml"/>
  <Override PartName="/ppt/slideLayouts/slideLayout14726.xml" ContentType="application/vnd.openxmlformats-officedocument.presentationml.slideLayout+xml"/>
  <Override PartName="/ppt/slideLayouts/slideLayout14727.xml" ContentType="application/vnd.openxmlformats-officedocument.presentationml.slideLayout+xml"/>
  <Override PartName="/ppt/slideLayouts/slideLayout14728.xml" ContentType="application/vnd.openxmlformats-officedocument.presentationml.slideLayout+xml"/>
  <Override PartName="/ppt/slideLayouts/slideLayout14729.xml" ContentType="application/vnd.openxmlformats-officedocument.presentationml.slideLayout+xml"/>
  <Override PartName="/ppt/slideLayouts/slideLayout14730.xml" ContentType="application/vnd.openxmlformats-officedocument.presentationml.slideLayout+xml"/>
  <Override PartName="/ppt/slideLayouts/slideLayout14731.xml" ContentType="application/vnd.openxmlformats-officedocument.presentationml.slideLayout+xml"/>
  <Override PartName="/ppt/slideLayouts/slideLayout14732.xml" ContentType="application/vnd.openxmlformats-officedocument.presentationml.slideLayout+xml"/>
  <Override PartName="/ppt/slideLayouts/slideLayout14733.xml" ContentType="application/vnd.openxmlformats-officedocument.presentationml.slideLayout+xml"/>
  <Override PartName="/ppt/slideLayouts/slideLayout14734.xml" ContentType="application/vnd.openxmlformats-officedocument.presentationml.slideLayout+xml"/>
  <Override PartName="/ppt/slideLayouts/slideLayout14735.xml" ContentType="application/vnd.openxmlformats-officedocument.presentationml.slideLayout+xml"/>
  <Override PartName="/ppt/slideLayouts/slideLayout14736.xml" ContentType="application/vnd.openxmlformats-officedocument.presentationml.slideLayout+xml"/>
  <Override PartName="/ppt/slideLayouts/slideLayout14737.xml" ContentType="application/vnd.openxmlformats-officedocument.presentationml.slideLayout+xml"/>
  <Override PartName="/ppt/slideLayouts/slideLayout14738.xml" ContentType="application/vnd.openxmlformats-officedocument.presentationml.slideLayout+xml"/>
  <Override PartName="/ppt/slideLayouts/slideLayout14739.xml" ContentType="application/vnd.openxmlformats-officedocument.presentationml.slideLayout+xml"/>
  <Override PartName="/ppt/slideLayouts/slideLayout14740.xml" ContentType="application/vnd.openxmlformats-officedocument.presentationml.slideLayout+xml"/>
  <Override PartName="/ppt/slideLayouts/slideLayout14741.xml" ContentType="application/vnd.openxmlformats-officedocument.presentationml.slideLayout+xml"/>
  <Override PartName="/ppt/slideLayouts/slideLayout14742.xml" ContentType="application/vnd.openxmlformats-officedocument.presentationml.slideLayout+xml"/>
  <Override PartName="/ppt/slideLayouts/slideLayout14743.xml" ContentType="application/vnd.openxmlformats-officedocument.presentationml.slideLayout+xml"/>
  <Override PartName="/ppt/slideLayouts/slideLayout14744.xml" ContentType="application/vnd.openxmlformats-officedocument.presentationml.slideLayout+xml"/>
  <Override PartName="/ppt/slideLayouts/slideLayout14745.xml" ContentType="application/vnd.openxmlformats-officedocument.presentationml.slideLayout+xml"/>
  <Override PartName="/ppt/slideLayouts/slideLayout14746.xml" ContentType="application/vnd.openxmlformats-officedocument.presentationml.slideLayout+xml"/>
  <Override PartName="/ppt/slideLayouts/slideLayout14747.xml" ContentType="application/vnd.openxmlformats-officedocument.presentationml.slideLayout+xml"/>
  <Override PartName="/ppt/slideLayouts/slideLayout14748.xml" ContentType="application/vnd.openxmlformats-officedocument.presentationml.slideLayout+xml"/>
  <Override PartName="/ppt/slideLayouts/slideLayout14749.xml" ContentType="application/vnd.openxmlformats-officedocument.presentationml.slideLayout+xml"/>
  <Override PartName="/ppt/slideLayouts/slideLayout14750.xml" ContentType="application/vnd.openxmlformats-officedocument.presentationml.slideLayout+xml"/>
  <Override PartName="/ppt/slideLayouts/slideLayout14751.xml" ContentType="application/vnd.openxmlformats-officedocument.presentationml.slideLayout+xml"/>
  <Override PartName="/ppt/slideLayouts/slideLayout14752.xml" ContentType="application/vnd.openxmlformats-officedocument.presentationml.slideLayout+xml"/>
  <Override PartName="/ppt/slideLayouts/slideLayout14753.xml" ContentType="application/vnd.openxmlformats-officedocument.presentationml.slideLayout+xml"/>
  <Override PartName="/ppt/slideLayouts/slideLayout14754.xml" ContentType="application/vnd.openxmlformats-officedocument.presentationml.slideLayout+xml"/>
  <Override PartName="/ppt/slideLayouts/slideLayout14755.xml" ContentType="application/vnd.openxmlformats-officedocument.presentationml.slideLayout+xml"/>
  <Override PartName="/ppt/slideLayouts/slideLayout14756.xml" ContentType="application/vnd.openxmlformats-officedocument.presentationml.slideLayout+xml"/>
  <Override PartName="/ppt/slideLayouts/slideLayout14757.xml" ContentType="application/vnd.openxmlformats-officedocument.presentationml.slideLayout+xml"/>
  <Override PartName="/ppt/slideLayouts/slideLayout14758.xml" ContentType="application/vnd.openxmlformats-officedocument.presentationml.slideLayout+xml"/>
  <Override PartName="/ppt/slideLayouts/slideLayout14759.xml" ContentType="application/vnd.openxmlformats-officedocument.presentationml.slideLayout+xml"/>
  <Override PartName="/ppt/slideLayouts/slideLayout14760.xml" ContentType="application/vnd.openxmlformats-officedocument.presentationml.slideLayout+xml"/>
  <Override PartName="/ppt/slideLayouts/slideLayout14761.xml" ContentType="application/vnd.openxmlformats-officedocument.presentationml.slideLayout+xml"/>
  <Override PartName="/ppt/slideLayouts/slideLayout14762.xml" ContentType="application/vnd.openxmlformats-officedocument.presentationml.slideLayout+xml"/>
  <Override PartName="/ppt/slideLayouts/slideLayout14763.xml" ContentType="application/vnd.openxmlformats-officedocument.presentationml.slideLayout+xml"/>
  <Override PartName="/ppt/slideLayouts/slideLayout14764.xml" ContentType="application/vnd.openxmlformats-officedocument.presentationml.slideLayout+xml"/>
  <Override PartName="/ppt/slideLayouts/slideLayout14765.xml" ContentType="application/vnd.openxmlformats-officedocument.presentationml.slideLayout+xml"/>
  <Override PartName="/ppt/slideLayouts/slideLayout14766.xml" ContentType="application/vnd.openxmlformats-officedocument.presentationml.slideLayout+xml"/>
  <Override PartName="/ppt/slideLayouts/slideLayout14767.xml" ContentType="application/vnd.openxmlformats-officedocument.presentationml.slideLayout+xml"/>
  <Override PartName="/ppt/slideLayouts/slideLayout14768.xml" ContentType="application/vnd.openxmlformats-officedocument.presentationml.slideLayout+xml"/>
  <Override PartName="/ppt/slideLayouts/slideLayout14769.xml" ContentType="application/vnd.openxmlformats-officedocument.presentationml.slideLayout+xml"/>
  <Override PartName="/ppt/slideLayouts/slideLayout14770.xml" ContentType="application/vnd.openxmlformats-officedocument.presentationml.slideLayout+xml"/>
  <Override PartName="/ppt/slideLayouts/slideLayout14771.xml" ContentType="application/vnd.openxmlformats-officedocument.presentationml.slideLayout+xml"/>
  <Override PartName="/ppt/slideLayouts/slideLayout14772.xml" ContentType="application/vnd.openxmlformats-officedocument.presentationml.slideLayout+xml"/>
  <Override PartName="/ppt/slideLayouts/slideLayout14773.xml" ContentType="application/vnd.openxmlformats-officedocument.presentationml.slideLayout+xml"/>
  <Override PartName="/ppt/slideLayouts/slideLayout14774.xml" ContentType="application/vnd.openxmlformats-officedocument.presentationml.slideLayout+xml"/>
  <Override PartName="/ppt/slideLayouts/slideLayout14775.xml" ContentType="application/vnd.openxmlformats-officedocument.presentationml.slideLayout+xml"/>
  <Override PartName="/ppt/slideLayouts/slideLayout14776.xml" ContentType="application/vnd.openxmlformats-officedocument.presentationml.slideLayout+xml"/>
  <Override PartName="/ppt/slideLayouts/slideLayout14777.xml" ContentType="application/vnd.openxmlformats-officedocument.presentationml.slideLayout+xml"/>
  <Override PartName="/ppt/slideLayouts/slideLayout14778.xml" ContentType="application/vnd.openxmlformats-officedocument.presentationml.slideLayout+xml"/>
  <Override PartName="/ppt/slideLayouts/slideLayout14779.xml" ContentType="application/vnd.openxmlformats-officedocument.presentationml.slideLayout+xml"/>
  <Override PartName="/ppt/slideLayouts/slideLayout14780.xml" ContentType="application/vnd.openxmlformats-officedocument.presentationml.slideLayout+xml"/>
  <Override PartName="/ppt/slideLayouts/slideLayout14781.xml" ContentType="application/vnd.openxmlformats-officedocument.presentationml.slideLayout+xml"/>
  <Override PartName="/ppt/slideLayouts/slideLayout14782.xml" ContentType="application/vnd.openxmlformats-officedocument.presentationml.slideLayout+xml"/>
  <Override PartName="/ppt/slideLayouts/slideLayout14783.xml" ContentType="application/vnd.openxmlformats-officedocument.presentationml.slideLayout+xml"/>
  <Override PartName="/ppt/slideLayouts/slideLayout14784.xml" ContentType="application/vnd.openxmlformats-officedocument.presentationml.slideLayout+xml"/>
  <Override PartName="/ppt/slideLayouts/slideLayout14785.xml" ContentType="application/vnd.openxmlformats-officedocument.presentationml.slideLayout+xml"/>
  <Override PartName="/ppt/slideLayouts/slideLayout14786.xml" ContentType="application/vnd.openxmlformats-officedocument.presentationml.slideLayout+xml"/>
  <Override PartName="/ppt/slideLayouts/slideLayout14787.xml" ContentType="application/vnd.openxmlformats-officedocument.presentationml.slideLayout+xml"/>
  <Override PartName="/ppt/slideLayouts/slideLayout14788.xml" ContentType="application/vnd.openxmlformats-officedocument.presentationml.slideLayout+xml"/>
  <Override PartName="/ppt/slideLayouts/slideLayout14789.xml" ContentType="application/vnd.openxmlformats-officedocument.presentationml.slideLayout+xml"/>
  <Override PartName="/ppt/slideLayouts/slideLayout14790.xml" ContentType="application/vnd.openxmlformats-officedocument.presentationml.slideLayout+xml"/>
  <Override PartName="/ppt/slideLayouts/slideLayout14791.xml" ContentType="application/vnd.openxmlformats-officedocument.presentationml.slideLayout+xml"/>
  <Override PartName="/ppt/slideLayouts/slideLayout14792.xml" ContentType="application/vnd.openxmlformats-officedocument.presentationml.slideLayout+xml"/>
  <Override PartName="/ppt/slideLayouts/slideLayout14793.xml" ContentType="application/vnd.openxmlformats-officedocument.presentationml.slideLayout+xml"/>
  <Override PartName="/ppt/slideLayouts/slideLayout14794.xml" ContentType="application/vnd.openxmlformats-officedocument.presentationml.slideLayout+xml"/>
  <Override PartName="/ppt/slideLayouts/slideLayout14795.xml" ContentType="application/vnd.openxmlformats-officedocument.presentationml.slideLayout+xml"/>
  <Override PartName="/ppt/slideLayouts/slideLayout14796.xml" ContentType="application/vnd.openxmlformats-officedocument.presentationml.slideLayout+xml"/>
  <Override PartName="/ppt/slideLayouts/slideLayout14797.xml" ContentType="application/vnd.openxmlformats-officedocument.presentationml.slideLayout+xml"/>
  <Override PartName="/ppt/slideLayouts/slideLayout14798.xml" ContentType="application/vnd.openxmlformats-officedocument.presentationml.slideLayout+xml"/>
  <Override PartName="/ppt/slideLayouts/slideLayout14799.xml" ContentType="application/vnd.openxmlformats-officedocument.presentationml.slideLayout+xml"/>
  <Override PartName="/ppt/slideLayouts/slideLayout14800.xml" ContentType="application/vnd.openxmlformats-officedocument.presentationml.slideLayout+xml"/>
  <Override PartName="/ppt/slideLayouts/slideLayout14801.xml" ContentType="application/vnd.openxmlformats-officedocument.presentationml.slideLayout+xml"/>
  <Override PartName="/ppt/slideLayouts/slideLayout14802.xml" ContentType="application/vnd.openxmlformats-officedocument.presentationml.slideLayout+xml"/>
  <Override PartName="/ppt/slideLayouts/slideLayout14803.xml" ContentType="application/vnd.openxmlformats-officedocument.presentationml.slideLayout+xml"/>
  <Override PartName="/ppt/slideLayouts/slideLayout14804.xml" ContentType="application/vnd.openxmlformats-officedocument.presentationml.slideLayout+xml"/>
  <Override PartName="/ppt/slideLayouts/slideLayout14805.xml" ContentType="application/vnd.openxmlformats-officedocument.presentationml.slideLayout+xml"/>
  <Override PartName="/ppt/slideLayouts/slideLayout14806.xml" ContentType="application/vnd.openxmlformats-officedocument.presentationml.slideLayout+xml"/>
  <Override PartName="/ppt/slideLayouts/slideLayout14807.xml" ContentType="application/vnd.openxmlformats-officedocument.presentationml.slideLayout+xml"/>
  <Override PartName="/ppt/slideLayouts/slideLayout14808.xml" ContentType="application/vnd.openxmlformats-officedocument.presentationml.slideLayout+xml"/>
  <Override PartName="/ppt/slideLayouts/slideLayout14809.xml" ContentType="application/vnd.openxmlformats-officedocument.presentationml.slideLayout+xml"/>
  <Override PartName="/ppt/slideLayouts/slideLayout14810.xml" ContentType="application/vnd.openxmlformats-officedocument.presentationml.slideLayout+xml"/>
  <Override PartName="/ppt/slideLayouts/slideLayout14811.xml" ContentType="application/vnd.openxmlformats-officedocument.presentationml.slideLayout+xml"/>
  <Override PartName="/ppt/slideLayouts/slideLayout14812.xml" ContentType="application/vnd.openxmlformats-officedocument.presentationml.slideLayout+xml"/>
  <Override PartName="/ppt/slideLayouts/slideLayout14813.xml" ContentType="application/vnd.openxmlformats-officedocument.presentationml.slideLayout+xml"/>
  <Override PartName="/ppt/slideLayouts/slideLayout14814.xml" ContentType="application/vnd.openxmlformats-officedocument.presentationml.slideLayout+xml"/>
  <Override PartName="/ppt/slideLayouts/slideLayout14815.xml" ContentType="application/vnd.openxmlformats-officedocument.presentationml.slideLayout+xml"/>
  <Override PartName="/ppt/slideLayouts/slideLayout14816.xml" ContentType="application/vnd.openxmlformats-officedocument.presentationml.slideLayout+xml"/>
  <Override PartName="/ppt/slideLayouts/slideLayout14817.xml" ContentType="application/vnd.openxmlformats-officedocument.presentationml.slideLayout+xml"/>
  <Override PartName="/ppt/slideLayouts/slideLayout14818.xml" ContentType="application/vnd.openxmlformats-officedocument.presentationml.slideLayout+xml"/>
  <Override PartName="/ppt/slideLayouts/slideLayout14819.xml" ContentType="application/vnd.openxmlformats-officedocument.presentationml.slideLayout+xml"/>
  <Override PartName="/ppt/slideLayouts/slideLayout14820.xml" ContentType="application/vnd.openxmlformats-officedocument.presentationml.slideLayout+xml"/>
  <Override PartName="/ppt/slideLayouts/slideLayout14821.xml" ContentType="application/vnd.openxmlformats-officedocument.presentationml.slideLayout+xml"/>
  <Override PartName="/ppt/slideLayouts/slideLayout14822.xml" ContentType="application/vnd.openxmlformats-officedocument.presentationml.slideLayout+xml"/>
  <Override PartName="/ppt/slideLayouts/slideLayout14823.xml" ContentType="application/vnd.openxmlformats-officedocument.presentationml.slideLayout+xml"/>
  <Override PartName="/ppt/slideLayouts/slideLayout14824.xml" ContentType="application/vnd.openxmlformats-officedocument.presentationml.slideLayout+xml"/>
  <Override PartName="/ppt/slideLayouts/slideLayout14825.xml" ContentType="application/vnd.openxmlformats-officedocument.presentationml.slideLayout+xml"/>
  <Override PartName="/ppt/slideLayouts/slideLayout14826.xml" ContentType="application/vnd.openxmlformats-officedocument.presentationml.slideLayout+xml"/>
  <Override PartName="/ppt/slideLayouts/slideLayout14827.xml" ContentType="application/vnd.openxmlformats-officedocument.presentationml.slideLayout+xml"/>
  <Override PartName="/ppt/slideLayouts/slideLayout14828.xml" ContentType="application/vnd.openxmlformats-officedocument.presentationml.slideLayout+xml"/>
  <Override PartName="/ppt/slideLayouts/slideLayout14829.xml" ContentType="application/vnd.openxmlformats-officedocument.presentationml.slideLayout+xml"/>
  <Override PartName="/ppt/slideLayouts/slideLayout14830.xml" ContentType="application/vnd.openxmlformats-officedocument.presentationml.slideLayout+xml"/>
  <Override PartName="/ppt/slideLayouts/slideLayout14831.xml" ContentType="application/vnd.openxmlformats-officedocument.presentationml.slideLayout+xml"/>
  <Override PartName="/ppt/slideLayouts/slideLayout14832.xml" ContentType="application/vnd.openxmlformats-officedocument.presentationml.slideLayout+xml"/>
  <Override PartName="/ppt/slideLayouts/slideLayout14833.xml" ContentType="application/vnd.openxmlformats-officedocument.presentationml.slideLayout+xml"/>
  <Override PartName="/ppt/slideLayouts/slideLayout14834.xml" ContentType="application/vnd.openxmlformats-officedocument.presentationml.slideLayout+xml"/>
  <Override PartName="/ppt/slideLayouts/slideLayout14835.xml" ContentType="application/vnd.openxmlformats-officedocument.presentationml.slideLayout+xml"/>
  <Override PartName="/ppt/slideLayouts/slideLayout14836.xml" ContentType="application/vnd.openxmlformats-officedocument.presentationml.slideLayout+xml"/>
  <Override PartName="/ppt/slideLayouts/slideLayout14837.xml" ContentType="application/vnd.openxmlformats-officedocument.presentationml.slideLayout+xml"/>
  <Override PartName="/ppt/slideLayouts/slideLayout14838.xml" ContentType="application/vnd.openxmlformats-officedocument.presentationml.slideLayout+xml"/>
  <Override PartName="/ppt/slideLayouts/slideLayout14839.xml" ContentType="application/vnd.openxmlformats-officedocument.presentationml.slideLayout+xml"/>
  <Override PartName="/ppt/slideLayouts/slideLayout14840.xml" ContentType="application/vnd.openxmlformats-officedocument.presentationml.slideLayout+xml"/>
  <Override PartName="/ppt/slideLayouts/slideLayout14841.xml" ContentType="application/vnd.openxmlformats-officedocument.presentationml.slideLayout+xml"/>
  <Override PartName="/ppt/slideLayouts/slideLayout14842.xml" ContentType="application/vnd.openxmlformats-officedocument.presentationml.slideLayout+xml"/>
  <Override PartName="/ppt/slideLayouts/slideLayout14843.xml" ContentType="application/vnd.openxmlformats-officedocument.presentationml.slideLayout+xml"/>
  <Override PartName="/ppt/slideLayouts/slideLayout14844.xml" ContentType="application/vnd.openxmlformats-officedocument.presentationml.slideLayout+xml"/>
  <Override PartName="/ppt/slideLayouts/slideLayout14845.xml" ContentType="application/vnd.openxmlformats-officedocument.presentationml.slideLayout+xml"/>
  <Override PartName="/ppt/slideLayouts/slideLayout14846.xml" ContentType="application/vnd.openxmlformats-officedocument.presentationml.slideLayout+xml"/>
  <Override PartName="/ppt/slideLayouts/slideLayout14847.xml" ContentType="application/vnd.openxmlformats-officedocument.presentationml.slideLayout+xml"/>
  <Override PartName="/ppt/slideLayouts/slideLayout14848.xml" ContentType="application/vnd.openxmlformats-officedocument.presentationml.slideLayout+xml"/>
  <Override PartName="/ppt/slideLayouts/slideLayout14849.xml" ContentType="application/vnd.openxmlformats-officedocument.presentationml.slideLayout+xml"/>
  <Override PartName="/ppt/slideLayouts/slideLayout14850.xml" ContentType="application/vnd.openxmlformats-officedocument.presentationml.slideLayout+xml"/>
  <Override PartName="/ppt/slideLayouts/slideLayout14851.xml" ContentType="application/vnd.openxmlformats-officedocument.presentationml.slideLayout+xml"/>
  <Override PartName="/ppt/slideLayouts/slideLayout14852.xml" ContentType="application/vnd.openxmlformats-officedocument.presentationml.slideLayout+xml"/>
  <Override PartName="/ppt/slideLayouts/slideLayout14853.xml" ContentType="application/vnd.openxmlformats-officedocument.presentationml.slideLayout+xml"/>
  <Override PartName="/ppt/slideLayouts/slideLayout14854.xml" ContentType="application/vnd.openxmlformats-officedocument.presentationml.slideLayout+xml"/>
  <Override PartName="/ppt/slideLayouts/slideLayout14855.xml" ContentType="application/vnd.openxmlformats-officedocument.presentationml.slideLayout+xml"/>
  <Override PartName="/ppt/slideLayouts/slideLayout14856.xml" ContentType="application/vnd.openxmlformats-officedocument.presentationml.slideLayout+xml"/>
  <Override PartName="/ppt/slideLayouts/slideLayout14857.xml" ContentType="application/vnd.openxmlformats-officedocument.presentationml.slideLayout+xml"/>
  <Override PartName="/ppt/slideLayouts/slideLayout14858.xml" ContentType="application/vnd.openxmlformats-officedocument.presentationml.slideLayout+xml"/>
  <Override PartName="/ppt/slideLayouts/slideLayout14859.xml" ContentType="application/vnd.openxmlformats-officedocument.presentationml.slideLayout+xml"/>
  <Override PartName="/ppt/slideLayouts/slideLayout14860.xml" ContentType="application/vnd.openxmlformats-officedocument.presentationml.slideLayout+xml"/>
  <Override PartName="/ppt/slideLayouts/slideLayout14861.xml" ContentType="application/vnd.openxmlformats-officedocument.presentationml.slideLayout+xml"/>
  <Override PartName="/ppt/slideLayouts/slideLayout14862.xml" ContentType="application/vnd.openxmlformats-officedocument.presentationml.slideLayout+xml"/>
  <Override PartName="/ppt/slideLayouts/slideLayout14863.xml" ContentType="application/vnd.openxmlformats-officedocument.presentationml.slideLayout+xml"/>
  <Override PartName="/ppt/slideLayouts/slideLayout14864.xml" ContentType="application/vnd.openxmlformats-officedocument.presentationml.slideLayout+xml"/>
  <Override PartName="/ppt/slideLayouts/slideLayout14865.xml" ContentType="application/vnd.openxmlformats-officedocument.presentationml.slideLayout+xml"/>
  <Override PartName="/ppt/slideLayouts/slideLayout14866.xml" ContentType="application/vnd.openxmlformats-officedocument.presentationml.slideLayout+xml"/>
  <Override PartName="/ppt/slideLayouts/slideLayout14867.xml" ContentType="application/vnd.openxmlformats-officedocument.presentationml.slideLayout+xml"/>
  <Override PartName="/ppt/slideLayouts/slideLayout14868.xml" ContentType="application/vnd.openxmlformats-officedocument.presentationml.slideLayout+xml"/>
  <Override PartName="/ppt/slideLayouts/slideLayout14869.xml" ContentType="application/vnd.openxmlformats-officedocument.presentationml.slideLayout+xml"/>
  <Override PartName="/ppt/slideLayouts/slideLayout14870.xml" ContentType="application/vnd.openxmlformats-officedocument.presentationml.slideLayout+xml"/>
  <Override PartName="/ppt/slideLayouts/slideLayout14871.xml" ContentType="application/vnd.openxmlformats-officedocument.presentationml.slideLayout+xml"/>
  <Override PartName="/ppt/slideLayouts/slideLayout14872.xml" ContentType="application/vnd.openxmlformats-officedocument.presentationml.slideLayout+xml"/>
  <Override PartName="/ppt/slideLayouts/slideLayout14873.xml" ContentType="application/vnd.openxmlformats-officedocument.presentationml.slideLayout+xml"/>
  <Override PartName="/ppt/slideLayouts/slideLayout14874.xml" ContentType="application/vnd.openxmlformats-officedocument.presentationml.slideLayout+xml"/>
  <Override PartName="/ppt/slideLayouts/slideLayout14875.xml" ContentType="application/vnd.openxmlformats-officedocument.presentationml.slideLayout+xml"/>
  <Override PartName="/ppt/slideLayouts/slideLayout14876.xml" ContentType="application/vnd.openxmlformats-officedocument.presentationml.slideLayout+xml"/>
  <Override PartName="/ppt/slideLayouts/slideLayout14877.xml" ContentType="application/vnd.openxmlformats-officedocument.presentationml.slideLayout+xml"/>
  <Override PartName="/ppt/slideLayouts/slideLayout14878.xml" ContentType="application/vnd.openxmlformats-officedocument.presentationml.slideLayout+xml"/>
  <Override PartName="/ppt/slideLayouts/slideLayout14879.xml" ContentType="application/vnd.openxmlformats-officedocument.presentationml.slideLayout+xml"/>
  <Override PartName="/ppt/slideLayouts/slideLayout14880.xml" ContentType="application/vnd.openxmlformats-officedocument.presentationml.slideLayout+xml"/>
  <Override PartName="/ppt/slideLayouts/slideLayout14881.xml" ContentType="application/vnd.openxmlformats-officedocument.presentationml.slideLayout+xml"/>
  <Override PartName="/ppt/slideLayouts/slideLayout14882.xml" ContentType="application/vnd.openxmlformats-officedocument.presentationml.slideLayout+xml"/>
  <Override PartName="/ppt/slideLayouts/slideLayout14883.xml" ContentType="application/vnd.openxmlformats-officedocument.presentationml.slideLayout+xml"/>
  <Override PartName="/ppt/slideLayouts/slideLayout14884.xml" ContentType="application/vnd.openxmlformats-officedocument.presentationml.slideLayout+xml"/>
  <Override PartName="/ppt/slideLayouts/slideLayout14885.xml" ContentType="application/vnd.openxmlformats-officedocument.presentationml.slideLayout+xml"/>
  <Override PartName="/ppt/slideLayouts/slideLayout14886.xml" ContentType="application/vnd.openxmlformats-officedocument.presentationml.slideLayout+xml"/>
  <Override PartName="/ppt/slideLayouts/slideLayout14887.xml" ContentType="application/vnd.openxmlformats-officedocument.presentationml.slideLayout+xml"/>
  <Override PartName="/ppt/slideLayouts/slideLayout14888.xml" ContentType="application/vnd.openxmlformats-officedocument.presentationml.slideLayout+xml"/>
  <Override PartName="/ppt/slideLayouts/slideLayout14889.xml" ContentType="application/vnd.openxmlformats-officedocument.presentationml.slideLayout+xml"/>
  <Override PartName="/ppt/slideLayouts/slideLayout14890.xml" ContentType="application/vnd.openxmlformats-officedocument.presentationml.slideLayout+xml"/>
  <Override PartName="/ppt/slideLayouts/slideLayout14891.xml" ContentType="application/vnd.openxmlformats-officedocument.presentationml.slideLayout+xml"/>
  <Override PartName="/ppt/slideLayouts/slideLayout14892.xml" ContentType="application/vnd.openxmlformats-officedocument.presentationml.slideLayout+xml"/>
  <Override PartName="/ppt/slideLayouts/slideLayout14893.xml" ContentType="application/vnd.openxmlformats-officedocument.presentationml.slideLayout+xml"/>
  <Override PartName="/ppt/slideLayouts/slideLayout14894.xml" ContentType="application/vnd.openxmlformats-officedocument.presentationml.slideLayout+xml"/>
  <Override PartName="/ppt/slideLayouts/slideLayout14895.xml" ContentType="application/vnd.openxmlformats-officedocument.presentationml.slideLayout+xml"/>
  <Override PartName="/ppt/slideLayouts/slideLayout14896.xml" ContentType="application/vnd.openxmlformats-officedocument.presentationml.slideLayout+xml"/>
  <Override PartName="/ppt/slideLayouts/slideLayout14897.xml" ContentType="application/vnd.openxmlformats-officedocument.presentationml.slideLayout+xml"/>
  <Override PartName="/ppt/slideLayouts/slideLayout14898.xml" ContentType="application/vnd.openxmlformats-officedocument.presentationml.slideLayout+xml"/>
  <Override PartName="/ppt/slideLayouts/slideLayout14899.xml" ContentType="application/vnd.openxmlformats-officedocument.presentationml.slideLayout+xml"/>
  <Override PartName="/ppt/slideLayouts/slideLayout14900.xml" ContentType="application/vnd.openxmlformats-officedocument.presentationml.slideLayout+xml"/>
  <Override PartName="/ppt/slideLayouts/slideLayout14901.xml" ContentType="application/vnd.openxmlformats-officedocument.presentationml.slideLayout+xml"/>
  <Override PartName="/ppt/slideLayouts/slideLayout14902.xml" ContentType="application/vnd.openxmlformats-officedocument.presentationml.slideLayout+xml"/>
  <Override PartName="/ppt/slideLayouts/slideLayout14903.xml" ContentType="application/vnd.openxmlformats-officedocument.presentationml.slideLayout+xml"/>
  <Override PartName="/ppt/slideLayouts/slideLayout14904.xml" ContentType="application/vnd.openxmlformats-officedocument.presentationml.slideLayout+xml"/>
  <Override PartName="/ppt/slideLayouts/slideLayout14905.xml" ContentType="application/vnd.openxmlformats-officedocument.presentationml.slideLayout+xml"/>
  <Override PartName="/ppt/slideLayouts/slideLayout14906.xml" ContentType="application/vnd.openxmlformats-officedocument.presentationml.slideLayout+xml"/>
  <Override PartName="/ppt/slideLayouts/slideLayout14907.xml" ContentType="application/vnd.openxmlformats-officedocument.presentationml.slideLayout+xml"/>
  <Override PartName="/ppt/slideLayouts/slideLayout14908.xml" ContentType="application/vnd.openxmlformats-officedocument.presentationml.slideLayout+xml"/>
  <Override PartName="/ppt/slideLayouts/slideLayout14909.xml" ContentType="application/vnd.openxmlformats-officedocument.presentationml.slideLayout+xml"/>
  <Override PartName="/ppt/slideLayouts/slideLayout14910.xml" ContentType="application/vnd.openxmlformats-officedocument.presentationml.slideLayout+xml"/>
  <Override PartName="/ppt/slideLayouts/slideLayout14911.xml" ContentType="application/vnd.openxmlformats-officedocument.presentationml.slideLayout+xml"/>
  <Override PartName="/ppt/slideLayouts/slideLayout14912.xml" ContentType="application/vnd.openxmlformats-officedocument.presentationml.slideLayout+xml"/>
  <Override PartName="/ppt/slideLayouts/slideLayout14913.xml" ContentType="application/vnd.openxmlformats-officedocument.presentationml.slideLayout+xml"/>
  <Override PartName="/ppt/slideLayouts/slideLayout14914.xml" ContentType="application/vnd.openxmlformats-officedocument.presentationml.slideLayout+xml"/>
  <Override PartName="/ppt/slideLayouts/slideLayout14915.xml" ContentType="application/vnd.openxmlformats-officedocument.presentationml.slideLayout+xml"/>
  <Override PartName="/ppt/slideLayouts/slideLayout14916.xml" ContentType="application/vnd.openxmlformats-officedocument.presentationml.slideLayout+xml"/>
  <Override PartName="/ppt/slideLayouts/slideLayout14917.xml" ContentType="application/vnd.openxmlformats-officedocument.presentationml.slideLayout+xml"/>
  <Override PartName="/ppt/slideLayouts/slideLayout14918.xml" ContentType="application/vnd.openxmlformats-officedocument.presentationml.slideLayout+xml"/>
  <Override PartName="/ppt/slideLayouts/slideLayout14919.xml" ContentType="application/vnd.openxmlformats-officedocument.presentationml.slideLayout+xml"/>
  <Override PartName="/ppt/slideLayouts/slideLayout14920.xml" ContentType="application/vnd.openxmlformats-officedocument.presentationml.slideLayout+xml"/>
  <Override PartName="/ppt/slideLayouts/slideLayout14921.xml" ContentType="application/vnd.openxmlformats-officedocument.presentationml.slideLayout+xml"/>
  <Override PartName="/ppt/slideLayouts/slideLayout14922.xml" ContentType="application/vnd.openxmlformats-officedocument.presentationml.slideLayout+xml"/>
  <Override PartName="/ppt/slideLayouts/slideLayout14923.xml" ContentType="application/vnd.openxmlformats-officedocument.presentationml.slideLayout+xml"/>
  <Override PartName="/ppt/slideLayouts/slideLayout14924.xml" ContentType="application/vnd.openxmlformats-officedocument.presentationml.slideLayout+xml"/>
  <Override PartName="/ppt/slideLayouts/slideLayout14925.xml" ContentType="application/vnd.openxmlformats-officedocument.presentationml.slideLayout+xml"/>
  <Override PartName="/ppt/slideLayouts/slideLayout14926.xml" ContentType="application/vnd.openxmlformats-officedocument.presentationml.slideLayout+xml"/>
  <Override PartName="/ppt/slideLayouts/slideLayout14927.xml" ContentType="application/vnd.openxmlformats-officedocument.presentationml.slideLayout+xml"/>
  <Override PartName="/ppt/slideLayouts/slideLayout14928.xml" ContentType="application/vnd.openxmlformats-officedocument.presentationml.slideLayout+xml"/>
  <Override PartName="/ppt/slideLayouts/slideLayout14929.xml" ContentType="application/vnd.openxmlformats-officedocument.presentationml.slideLayout+xml"/>
  <Override PartName="/ppt/slideLayouts/slideLayout14930.xml" ContentType="application/vnd.openxmlformats-officedocument.presentationml.slideLayout+xml"/>
  <Override PartName="/ppt/slideLayouts/slideLayout14931.xml" ContentType="application/vnd.openxmlformats-officedocument.presentationml.slideLayout+xml"/>
  <Override PartName="/ppt/slideLayouts/slideLayout14932.xml" ContentType="application/vnd.openxmlformats-officedocument.presentationml.slideLayout+xml"/>
  <Override PartName="/ppt/slideLayouts/slideLayout14933.xml" ContentType="application/vnd.openxmlformats-officedocument.presentationml.slideLayout+xml"/>
  <Override PartName="/ppt/slideLayouts/slideLayout14934.xml" ContentType="application/vnd.openxmlformats-officedocument.presentationml.slideLayout+xml"/>
  <Override PartName="/ppt/slideLayouts/slideLayout14935.xml" ContentType="application/vnd.openxmlformats-officedocument.presentationml.slideLayout+xml"/>
  <Override PartName="/ppt/slideLayouts/slideLayout14936.xml" ContentType="application/vnd.openxmlformats-officedocument.presentationml.slideLayout+xml"/>
  <Override PartName="/ppt/slideLayouts/slideLayout14937.xml" ContentType="application/vnd.openxmlformats-officedocument.presentationml.slideLayout+xml"/>
  <Override PartName="/ppt/slideLayouts/slideLayout14938.xml" ContentType="application/vnd.openxmlformats-officedocument.presentationml.slideLayout+xml"/>
  <Override PartName="/ppt/slideLayouts/slideLayout14939.xml" ContentType="application/vnd.openxmlformats-officedocument.presentationml.slideLayout+xml"/>
  <Override PartName="/ppt/slideLayouts/slideLayout14940.xml" ContentType="application/vnd.openxmlformats-officedocument.presentationml.slideLayout+xml"/>
  <Override PartName="/ppt/slideLayouts/slideLayout14941.xml" ContentType="application/vnd.openxmlformats-officedocument.presentationml.slideLayout+xml"/>
  <Override PartName="/ppt/slideLayouts/slideLayout14942.xml" ContentType="application/vnd.openxmlformats-officedocument.presentationml.slideLayout+xml"/>
  <Override PartName="/ppt/slideLayouts/slideLayout14943.xml" ContentType="application/vnd.openxmlformats-officedocument.presentationml.slideLayout+xml"/>
  <Override PartName="/ppt/slideLayouts/slideLayout14944.xml" ContentType="application/vnd.openxmlformats-officedocument.presentationml.slideLayout+xml"/>
  <Override PartName="/ppt/slideLayouts/slideLayout14945.xml" ContentType="application/vnd.openxmlformats-officedocument.presentationml.slideLayout+xml"/>
  <Override PartName="/ppt/slideLayouts/slideLayout14946.xml" ContentType="application/vnd.openxmlformats-officedocument.presentationml.slideLayout+xml"/>
  <Override PartName="/ppt/slideLayouts/slideLayout14947.xml" ContentType="application/vnd.openxmlformats-officedocument.presentationml.slideLayout+xml"/>
  <Override PartName="/ppt/slideLayouts/slideLayout14948.xml" ContentType="application/vnd.openxmlformats-officedocument.presentationml.slideLayout+xml"/>
  <Override PartName="/ppt/slideLayouts/slideLayout14949.xml" ContentType="application/vnd.openxmlformats-officedocument.presentationml.slideLayout+xml"/>
  <Override PartName="/ppt/slideLayouts/slideLayout14950.xml" ContentType="application/vnd.openxmlformats-officedocument.presentationml.slideLayout+xml"/>
  <Override PartName="/ppt/slideLayouts/slideLayout14951.xml" ContentType="application/vnd.openxmlformats-officedocument.presentationml.slideLayout+xml"/>
  <Override PartName="/ppt/slideLayouts/slideLayout14952.xml" ContentType="application/vnd.openxmlformats-officedocument.presentationml.slideLayout+xml"/>
  <Override PartName="/ppt/slideLayouts/slideLayout14953.xml" ContentType="application/vnd.openxmlformats-officedocument.presentationml.slideLayout+xml"/>
  <Override PartName="/ppt/slideLayouts/slideLayout14954.xml" ContentType="application/vnd.openxmlformats-officedocument.presentationml.slideLayout+xml"/>
  <Override PartName="/ppt/slideLayouts/slideLayout14955.xml" ContentType="application/vnd.openxmlformats-officedocument.presentationml.slideLayout+xml"/>
  <Override PartName="/ppt/slideLayouts/slideLayout14956.xml" ContentType="application/vnd.openxmlformats-officedocument.presentationml.slideLayout+xml"/>
  <Override PartName="/ppt/slideLayouts/slideLayout14957.xml" ContentType="application/vnd.openxmlformats-officedocument.presentationml.slideLayout+xml"/>
  <Override PartName="/ppt/slideLayouts/slideLayout14958.xml" ContentType="application/vnd.openxmlformats-officedocument.presentationml.slideLayout+xml"/>
  <Override PartName="/ppt/slideLayouts/slideLayout14959.xml" ContentType="application/vnd.openxmlformats-officedocument.presentationml.slideLayout+xml"/>
  <Override PartName="/ppt/slideLayouts/slideLayout14960.xml" ContentType="application/vnd.openxmlformats-officedocument.presentationml.slideLayout+xml"/>
  <Override PartName="/ppt/slideLayouts/slideLayout14961.xml" ContentType="application/vnd.openxmlformats-officedocument.presentationml.slideLayout+xml"/>
  <Override PartName="/ppt/slideLayouts/slideLayout14962.xml" ContentType="application/vnd.openxmlformats-officedocument.presentationml.slideLayout+xml"/>
  <Override PartName="/ppt/slideLayouts/slideLayout14963.xml" ContentType="application/vnd.openxmlformats-officedocument.presentationml.slideLayout+xml"/>
  <Override PartName="/ppt/slideLayouts/slideLayout14964.xml" ContentType="application/vnd.openxmlformats-officedocument.presentationml.slideLayout+xml"/>
  <Override PartName="/ppt/slideLayouts/slideLayout14965.xml" ContentType="application/vnd.openxmlformats-officedocument.presentationml.slideLayout+xml"/>
  <Override PartName="/ppt/slideLayouts/slideLayout14966.xml" ContentType="application/vnd.openxmlformats-officedocument.presentationml.slideLayout+xml"/>
  <Override PartName="/ppt/slideLayouts/slideLayout14967.xml" ContentType="application/vnd.openxmlformats-officedocument.presentationml.slideLayout+xml"/>
  <Override PartName="/ppt/slideLayouts/slideLayout14968.xml" ContentType="application/vnd.openxmlformats-officedocument.presentationml.slideLayout+xml"/>
  <Override PartName="/ppt/slideLayouts/slideLayout14969.xml" ContentType="application/vnd.openxmlformats-officedocument.presentationml.slideLayout+xml"/>
  <Override PartName="/ppt/slideLayouts/slideLayout14970.xml" ContentType="application/vnd.openxmlformats-officedocument.presentationml.slideLayout+xml"/>
  <Override PartName="/ppt/slideLayouts/slideLayout14971.xml" ContentType="application/vnd.openxmlformats-officedocument.presentationml.slideLayout+xml"/>
  <Override PartName="/ppt/slideLayouts/slideLayout14972.xml" ContentType="application/vnd.openxmlformats-officedocument.presentationml.slideLayout+xml"/>
  <Override PartName="/ppt/slideLayouts/slideLayout14973.xml" ContentType="application/vnd.openxmlformats-officedocument.presentationml.slideLayout+xml"/>
  <Override PartName="/ppt/slideLayouts/slideLayout14974.xml" ContentType="application/vnd.openxmlformats-officedocument.presentationml.slideLayout+xml"/>
  <Override PartName="/ppt/slideLayouts/slideLayout14975.xml" ContentType="application/vnd.openxmlformats-officedocument.presentationml.slideLayout+xml"/>
  <Override PartName="/ppt/slideLayouts/slideLayout14976.xml" ContentType="application/vnd.openxmlformats-officedocument.presentationml.slideLayout+xml"/>
  <Override PartName="/ppt/slideLayouts/slideLayout14977.xml" ContentType="application/vnd.openxmlformats-officedocument.presentationml.slideLayout+xml"/>
  <Override PartName="/ppt/slideLayouts/slideLayout14978.xml" ContentType="application/vnd.openxmlformats-officedocument.presentationml.slideLayout+xml"/>
  <Override PartName="/ppt/slideLayouts/slideLayout14979.xml" ContentType="application/vnd.openxmlformats-officedocument.presentationml.slideLayout+xml"/>
  <Override PartName="/ppt/slideLayouts/slideLayout14980.xml" ContentType="application/vnd.openxmlformats-officedocument.presentationml.slideLayout+xml"/>
  <Override PartName="/ppt/slideLayouts/slideLayout14981.xml" ContentType="application/vnd.openxmlformats-officedocument.presentationml.slideLayout+xml"/>
  <Override PartName="/ppt/slideLayouts/slideLayout14982.xml" ContentType="application/vnd.openxmlformats-officedocument.presentationml.slideLayout+xml"/>
  <Override PartName="/ppt/slideLayouts/slideLayout14983.xml" ContentType="application/vnd.openxmlformats-officedocument.presentationml.slideLayout+xml"/>
  <Override PartName="/ppt/slideLayouts/slideLayout14984.xml" ContentType="application/vnd.openxmlformats-officedocument.presentationml.slideLayout+xml"/>
  <Override PartName="/ppt/slideLayouts/slideLayout14985.xml" ContentType="application/vnd.openxmlformats-officedocument.presentationml.slideLayout+xml"/>
  <Override PartName="/ppt/slideLayouts/slideLayout14986.xml" ContentType="application/vnd.openxmlformats-officedocument.presentationml.slideLayout+xml"/>
  <Override PartName="/ppt/slideLayouts/slideLayout14987.xml" ContentType="application/vnd.openxmlformats-officedocument.presentationml.slideLayout+xml"/>
  <Override PartName="/ppt/slideLayouts/slideLayout14988.xml" ContentType="application/vnd.openxmlformats-officedocument.presentationml.slideLayout+xml"/>
  <Override PartName="/ppt/slideLayouts/slideLayout14989.xml" ContentType="application/vnd.openxmlformats-officedocument.presentationml.slideLayout+xml"/>
  <Override PartName="/ppt/slideLayouts/slideLayout14990.xml" ContentType="application/vnd.openxmlformats-officedocument.presentationml.slideLayout+xml"/>
  <Override PartName="/ppt/slideLayouts/slideLayout14991.xml" ContentType="application/vnd.openxmlformats-officedocument.presentationml.slideLayout+xml"/>
  <Override PartName="/ppt/slideLayouts/slideLayout14992.xml" ContentType="application/vnd.openxmlformats-officedocument.presentationml.slideLayout+xml"/>
  <Override PartName="/ppt/slideLayouts/slideLayout14993.xml" ContentType="application/vnd.openxmlformats-officedocument.presentationml.slideLayout+xml"/>
  <Override PartName="/ppt/slideLayouts/slideLayout14994.xml" ContentType="application/vnd.openxmlformats-officedocument.presentationml.slideLayout+xml"/>
  <Override PartName="/ppt/slideLayouts/slideLayout14995.xml" ContentType="application/vnd.openxmlformats-officedocument.presentationml.slideLayout+xml"/>
  <Override PartName="/ppt/slideLayouts/slideLayout14996.xml" ContentType="application/vnd.openxmlformats-officedocument.presentationml.slideLayout+xml"/>
  <Override PartName="/ppt/slideLayouts/slideLayout14997.xml" ContentType="application/vnd.openxmlformats-officedocument.presentationml.slideLayout+xml"/>
  <Override PartName="/ppt/slideLayouts/slideLayout14998.xml" ContentType="application/vnd.openxmlformats-officedocument.presentationml.slideLayout+xml"/>
  <Override PartName="/ppt/slideLayouts/slideLayout14999.xml" ContentType="application/vnd.openxmlformats-officedocument.presentationml.slideLayout+xml"/>
  <Override PartName="/ppt/slideLayouts/slideLayout15000.xml" ContentType="application/vnd.openxmlformats-officedocument.presentationml.slideLayout+xml"/>
  <Override PartName="/ppt/slideLayouts/slideLayout15001.xml" ContentType="application/vnd.openxmlformats-officedocument.presentationml.slideLayout+xml"/>
  <Override PartName="/ppt/slideLayouts/slideLayout15002.xml" ContentType="application/vnd.openxmlformats-officedocument.presentationml.slideLayout+xml"/>
  <Override PartName="/ppt/slideLayouts/slideLayout15003.xml" ContentType="application/vnd.openxmlformats-officedocument.presentationml.slideLayout+xml"/>
  <Override PartName="/ppt/slideLayouts/slideLayout15004.xml" ContentType="application/vnd.openxmlformats-officedocument.presentationml.slideLayout+xml"/>
  <Override PartName="/ppt/slideLayouts/slideLayout15005.xml" ContentType="application/vnd.openxmlformats-officedocument.presentationml.slideLayout+xml"/>
  <Override PartName="/ppt/slideLayouts/slideLayout15006.xml" ContentType="application/vnd.openxmlformats-officedocument.presentationml.slideLayout+xml"/>
  <Override PartName="/ppt/slideLayouts/slideLayout15007.xml" ContentType="application/vnd.openxmlformats-officedocument.presentationml.slideLayout+xml"/>
  <Override PartName="/ppt/slideLayouts/slideLayout15008.xml" ContentType="application/vnd.openxmlformats-officedocument.presentationml.slideLayout+xml"/>
  <Override PartName="/ppt/slideLayouts/slideLayout15009.xml" ContentType="application/vnd.openxmlformats-officedocument.presentationml.slideLayout+xml"/>
  <Override PartName="/ppt/slideLayouts/slideLayout15010.xml" ContentType="application/vnd.openxmlformats-officedocument.presentationml.slideLayout+xml"/>
  <Override PartName="/ppt/slideLayouts/slideLayout15011.xml" ContentType="application/vnd.openxmlformats-officedocument.presentationml.slideLayout+xml"/>
  <Override PartName="/ppt/slideLayouts/slideLayout15012.xml" ContentType="application/vnd.openxmlformats-officedocument.presentationml.slideLayout+xml"/>
  <Override PartName="/ppt/slideLayouts/slideLayout15013.xml" ContentType="application/vnd.openxmlformats-officedocument.presentationml.slideLayout+xml"/>
  <Override PartName="/ppt/slideLayouts/slideLayout15014.xml" ContentType="application/vnd.openxmlformats-officedocument.presentationml.slideLayout+xml"/>
  <Override PartName="/ppt/slideLayouts/slideLayout15015.xml" ContentType="application/vnd.openxmlformats-officedocument.presentationml.slideLayout+xml"/>
  <Override PartName="/ppt/slideLayouts/slideLayout15016.xml" ContentType="application/vnd.openxmlformats-officedocument.presentationml.slideLayout+xml"/>
  <Override PartName="/ppt/slideLayouts/slideLayout15017.xml" ContentType="application/vnd.openxmlformats-officedocument.presentationml.slideLayout+xml"/>
  <Override PartName="/ppt/slideLayouts/slideLayout15018.xml" ContentType="application/vnd.openxmlformats-officedocument.presentationml.slideLayout+xml"/>
  <Override PartName="/ppt/slideLayouts/slideLayout15019.xml" ContentType="application/vnd.openxmlformats-officedocument.presentationml.slideLayout+xml"/>
  <Override PartName="/ppt/slideLayouts/slideLayout15020.xml" ContentType="application/vnd.openxmlformats-officedocument.presentationml.slideLayout+xml"/>
  <Override PartName="/ppt/slideLayouts/slideLayout15021.xml" ContentType="application/vnd.openxmlformats-officedocument.presentationml.slideLayout+xml"/>
  <Override PartName="/ppt/slideLayouts/slideLayout15022.xml" ContentType="application/vnd.openxmlformats-officedocument.presentationml.slideLayout+xml"/>
  <Override PartName="/ppt/slideLayouts/slideLayout15023.xml" ContentType="application/vnd.openxmlformats-officedocument.presentationml.slideLayout+xml"/>
  <Override PartName="/ppt/slideLayouts/slideLayout15024.xml" ContentType="application/vnd.openxmlformats-officedocument.presentationml.slideLayout+xml"/>
  <Override PartName="/ppt/slideLayouts/slideLayout15025.xml" ContentType="application/vnd.openxmlformats-officedocument.presentationml.slideLayout+xml"/>
  <Override PartName="/ppt/slideLayouts/slideLayout15026.xml" ContentType="application/vnd.openxmlformats-officedocument.presentationml.slideLayout+xml"/>
  <Override PartName="/ppt/slideLayouts/slideLayout15027.xml" ContentType="application/vnd.openxmlformats-officedocument.presentationml.slideLayout+xml"/>
  <Override PartName="/ppt/slideLayouts/slideLayout15028.xml" ContentType="application/vnd.openxmlformats-officedocument.presentationml.slideLayout+xml"/>
  <Override PartName="/ppt/slideLayouts/slideLayout15029.xml" ContentType="application/vnd.openxmlformats-officedocument.presentationml.slideLayout+xml"/>
  <Override PartName="/ppt/slideLayouts/slideLayout15030.xml" ContentType="application/vnd.openxmlformats-officedocument.presentationml.slideLayout+xml"/>
  <Override PartName="/ppt/slideLayouts/slideLayout15031.xml" ContentType="application/vnd.openxmlformats-officedocument.presentationml.slideLayout+xml"/>
  <Override PartName="/ppt/slideLayouts/slideLayout15032.xml" ContentType="application/vnd.openxmlformats-officedocument.presentationml.slideLayout+xml"/>
  <Override PartName="/ppt/slideLayouts/slideLayout15033.xml" ContentType="application/vnd.openxmlformats-officedocument.presentationml.slideLayout+xml"/>
  <Override PartName="/ppt/slideLayouts/slideLayout15034.xml" ContentType="application/vnd.openxmlformats-officedocument.presentationml.slideLayout+xml"/>
  <Override PartName="/ppt/slideLayouts/slideLayout15035.xml" ContentType="application/vnd.openxmlformats-officedocument.presentationml.slideLayout+xml"/>
  <Override PartName="/ppt/slideLayouts/slideLayout15036.xml" ContentType="application/vnd.openxmlformats-officedocument.presentationml.slideLayout+xml"/>
  <Override PartName="/ppt/slideLayouts/slideLayout15037.xml" ContentType="application/vnd.openxmlformats-officedocument.presentationml.slideLayout+xml"/>
  <Override PartName="/ppt/slideLayouts/slideLayout15038.xml" ContentType="application/vnd.openxmlformats-officedocument.presentationml.slideLayout+xml"/>
  <Override PartName="/ppt/slideLayouts/slideLayout15039.xml" ContentType="application/vnd.openxmlformats-officedocument.presentationml.slideLayout+xml"/>
  <Override PartName="/ppt/slideLayouts/slideLayout15040.xml" ContentType="application/vnd.openxmlformats-officedocument.presentationml.slideLayout+xml"/>
  <Override PartName="/ppt/slideLayouts/slideLayout15041.xml" ContentType="application/vnd.openxmlformats-officedocument.presentationml.slideLayout+xml"/>
  <Override PartName="/ppt/slideLayouts/slideLayout15042.xml" ContentType="application/vnd.openxmlformats-officedocument.presentationml.slideLayout+xml"/>
  <Override PartName="/ppt/slideLayouts/slideLayout15043.xml" ContentType="application/vnd.openxmlformats-officedocument.presentationml.slideLayout+xml"/>
  <Override PartName="/ppt/slideLayouts/slideLayout15044.xml" ContentType="application/vnd.openxmlformats-officedocument.presentationml.slideLayout+xml"/>
  <Override PartName="/ppt/slideLayouts/slideLayout15045.xml" ContentType="application/vnd.openxmlformats-officedocument.presentationml.slideLayout+xml"/>
  <Override PartName="/ppt/slideLayouts/slideLayout15046.xml" ContentType="application/vnd.openxmlformats-officedocument.presentationml.slideLayout+xml"/>
  <Override PartName="/ppt/slideLayouts/slideLayout15047.xml" ContentType="application/vnd.openxmlformats-officedocument.presentationml.slideLayout+xml"/>
  <Override PartName="/ppt/slideLayouts/slideLayout15048.xml" ContentType="application/vnd.openxmlformats-officedocument.presentationml.slideLayout+xml"/>
  <Override PartName="/ppt/slideLayouts/slideLayout15049.xml" ContentType="application/vnd.openxmlformats-officedocument.presentationml.slideLayout+xml"/>
  <Override PartName="/ppt/slideLayouts/slideLayout15050.xml" ContentType="application/vnd.openxmlformats-officedocument.presentationml.slideLayout+xml"/>
  <Override PartName="/ppt/slideLayouts/slideLayout15051.xml" ContentType="application/vnd.openxmlformats-officedocument.presentationml.slideLayout+xml"/>
  <Override PartName="/ppt/slideLayouts/slideLayout15052.xml" ContentType="application/vnd.openxmlformats-officedocument.presentationml.slideLayout+xml"/>
  <Override PartName="/ppt/slideLayouts/slideLayout15053.xml" ContentType="application/vnd.openxmlformats-officedocument.presentationml.slideLayout+xml"/>
  <Override PartName="/ppt/slideLayouts/slideLayout15054.xml" ContentType="application/vnd.openxmlformats-officedocument.presentationml.slideLayout+xml"/>
  <Override PartName="/ppt/slideLayouts/slideLayout15055.xml" ContentType="application/vnd.openxmlformats-officedocument.presentationml.slideLayout+xml"/>
  <Override PartName="/ppt/slideLayouts/slideLayout15056.xml" ContentType="application/vnd.openxmlformats-officedocument.presentationml.slideLayout+xml"/>
  <Override PartName="/ppt/slideLayouts/slideLayout15057.xml" ContentType="application/vnd.openxmlformats-officedocument.presentationml.slideLayout+xml"/>
  <Override PartName="/ppt/slideLayouts/slideLayout15058.xml" ContentType="application/vnd.openxmlformats-officedocument.presentationml.slideLayout+xml"/>
  <Override PartName="/ppt/slideLayouts/slideLayout15059.xml" ContentType="application/vnd.openxmlformats-officedocument.presentationml.slideLayout+xml"/>
  <Override PartName="/ppt/slideLayouts/slideLayout15060.xml" ContentType="application/vnd.openxmlformats-officedocument.presentationml.slideLayout+xml"/>
  <Override PartName="/ppt/slideLayouts/slideLayout15061.xml" ContentType="application/vnd.openxmlformats-officedocument.presentationml.slideLayout+xml"/>
  <Override PartName="/ppt/slideLayouts/slideLayout15062.xml" ContentType="application/vnd.openxmlformats-officedocument.presentationml.slideLayout+xml"/>
  <Override PartName="/ppt/slideLayouts/slideLayout15063.xml" ContentType="application/vnd.openxmlformats-officedocument.presentationml.slideLayout+xml"/>
  <Override PartName="/ppt/slideLayouts/slideLayout15064.xml" ContentType="application/vnd.openxmlformats-officedocument.presentationml.slideLayout+xml"/>
  <Override PartName="/ppt/slideLayouts/slideLayout15065.xml" ContentType="application/vnd.openxmlformats-officedocument.presentationml.slideLayout+xml"/>
  <Override PartName="/ppt/slideLayouts/slideLayout15066.xml" ContentType="application/vnd.openxmlformats-officedocument.presentationml.slideLayout+xml"/>
  <Override PartName="/ppt/slideLayouts/slideLayout15067.xml" ContentType="application/vnd.openxmlformats-officedocument.presentationml.slideLayout+xml"/>
  <Override PartName="/ppt/slideLayouts/slideLayout15068.xml" ContentType="application/vnd.openxmlformats-officedocument.presentationml.slideLayout+xml"/>
  <Override PartName="/ppt/slideLayouts/slideLayout15069.xml" ContentType="application/vnd.openxmlformats-officedocument.presentationml.slideLayout+xml"/>
  <Override PartName="/ppt/slideLayouts/slideLayout15070.xml" ContentType="application/vnd.openxmlformats-officedocument.presentationml.slideLayout+xml"/>
  <Override PartName="/ppt/slideLayouts/slideLayout15071.xml" ContentType="application/vnd.openxmlformats-officedocument.presentationml.slideLayout+xml"/>
  <Override PartName="/ppt/slideLayouts/slideLayout15072.xml" ContentType="application/vnd.openxmlformats-officedocument.presentationml.slideLayout+xml"/>
  <Override PartName="/ppt/slideLayouts/slideLayout15073.xml" ContentType="application/vnd.openxmlformats-officedocument.presentationml.slideLayout+xml"/>
  <Override PartName="/ppt/slideLayouts/slideLayout15074.xml" ContentType="application/vnd.openxmlformats-officedocument.presentationml.slideLayout+xml"/>
  <Override PartName="/ppt/slideLayouts/slideLayout15075.xml" ContentType="application/vnd.openxmlformats-officedocument.presentationml.slideLayout+xml"/>
  <Override PartName="/ppt/slideLayouts/slideLayout15076.xml" ContentType="application/vnd.openxmlformats-officedocument.presentationml.slideLayout+xml"/>
  <Override PartName="/ppt/slideLayouts/slideLayout15077.xml" ContentType="application/vnd.openxmlformats-officedocument.presentationml.slideLayout+xml"/>
  <Override PartName="/ppt/slideLayouts/slideLayout15078.xml" ContentType="application/vnd.openxmlformats-officedocument.presentationml.slideLayout+xml"/>
  <Override PartName="/ppt/slideLayouts/slideLayout15079.xml" ContentType="application/vnd.openxmlformats-officedocument.presentationml.slideLayout+xml"/>
  <Override PartName="/ppt/slideLayouts/slideLayout15080.xml" ContentType="application/vnd.openxmlformats-officedocument.presentationml.slideLayout+xml"/>
  <Override PartName="/ppt/slideLayouts/slideLayout15081.xml" ContentType="application/vnd.openxmlformats-officedocument.presentationml.slideLayout+xml"/>
  <Override PartName="/ppt/slideLayouts/slideLayout15082.xml" ContentType="application/vnd.openxmlformats-officedocument.presentationml.slideLayout+xml"/>
  <Override PartName="/ppt/slideLayouts/slideLayout15083.xml" ContentType="application/vnd.openxmlformats-officedocument.presentationml.slideLayout+xml"/>
  <Override PartName="/ppt/slideLayouts/slideLayout15084.xml" ContentType="application/vnd.openxmlformats-officedocument.presentationml.slideLayout+xml"/>
  <Override PartName="/ppt/slideLayouts/slideLayout15085.xml" ContentType="application/vnd.openxmlformats-officedocument.presentationml.slideLayout+xml"/>
  <Override PartName="/ppt/slideLayouts/slideLayout15086.xml" ContentType="application/vnd.openxmlformats-officedocument.presentationml.slideLayout+xml"/>
  <Override PartName="/ppt/slideLayouts/slideLayout15087.xml" ContentType="application/vnd.openxmlformats-officedocument.presentationml.slideLayout+xml"/>
  <Override PartName="/ppt/slideLayouts/slideLayout15088.xml" ContentType="application/vnd.openxmlformats-officedocument.presentationml.slideLayout+xml"/>
  <Override PartName="/ppt/slideLayouts/slideLayout15089.xml" ContentType="application/vnd.openxmlformats-officedocument.presentationml.slideLayout+xml"/>
  <Override PartName="/ppt/slideLayouts/slideLayout15090.xml" ContentType="application/vnd.openxmlformats-officedocument.presentationml.slideLayout+xml"/>
  <Override PartName="/ppt/slideLayouts/slideLayout15091.xml" ContentType="application/vnd.openxmlformats-officedocument.presentationml.slideLayout+xml"/>
  <Override PartName="/ppt/slideLayouts/slideLayout15092.xml" ContentType="application/vnd.openxmlformats-officedocument.presentationml.slideLayout+xml"/>
  <Override PartName="/ppt/slideLayouts/slideLayout15093.xml" ContentType="application/vnd.openxmlformats-officedocument.presentationml.slideLayout+xml"/>
  <Override PartName="/ppt/slideLayouts/slideLayout15094.xml" ContentType="application/vnd.openxmlformats-officedocument.presentationml.slideLayout+xml"/>
  <Override PartName="/ppt/slideLayouts/slideLayout15095.xml" ContentType="application/vnd.openxmlformats-officedocument.presentationml.slideLayout+xml"/>
  <Override PartName="/ppt/slideLayouts/slideLayout15096.xml" ContentType="application/vnd.openxmlformats-officedocument.presentationml.slideLayout+xml"/>
  <Override PartName="/ppt/slideLayouts/slideLayout15097.xml" ContentType="application/vnd.openxmlformats-officedocument.presentationml.slideLayout+xml"/>
  <Override PartName="/ppt/slideLayouts/slideLayout15098.xml" ContentType="application/vnd.openxmlformats-officedocument.presentationml.slideLayout+xml"/>
  <Override PartName="/ppt/slideLayouts/slideLayout15099.xml" ContentType="application/vnd.openxmlformats-officedocument.presentationml.slideLayout+xml"/>
  <Override PartName="/ppt/slideLayouts/slideLayout15100.xml" ContentType="application/vnd.openxmlformats-officedocument.presentationml.slideLayout+xml"/>
  <Override PartName="/ppt/slideLayouts/slideLayout15101.xml" ContentType="application/vnd.openxmlformats-officedocument.presentationml.slideLayout+xml"/>
  <Override PartName="/ppt/slideLayouts/slideLayout15102.xml" ContentType="application/vnd.openxmlformats-officedocument.presentationml.slideLayout+xml"/>
  <Override PartName="/ppt/slideLayouts/slideLayout15103.xml" ContentType="application/vnd.openxmlformats-officedocument.presentationml.slideLayout+xml"/>
  <Override PartName="/ppt/slideLayouts/slideLayout15104.xml" ContentType="application/vnd.openxmlformats-officedocument.presentationml.slideLayout+xml"/>
  <Override PartName="/ppt/slideLayouts/slideLayout15105.xml" ContentType="application/vnd.openxmlformats-officedocument.presentationml.slideLayout+xml"/>
  <Override PartName="/ppt/slideLayouts/slideLayout15106.xml" ContentType="application/vnd.openxmlformats-officedocument.presentationml.slideLayout+xml"/>
  <Override PartName="/ppt/slideLayouts/slideLayout15107.xml" ContentType="application/vnd.openxmlformats-officedocument.presentationml.slideLayout+xml"/>
  <Override PartName="/ppt/slideLayouts/slideLayout15108.xml" ContentType="application/vnd.openxmlformats-officedocument.presentationml.slideLayout+xml"/>
  <Override PartName="/ppt/slideLayouts/slideLayout15109.xml" ContentType="application/vnd.openxmlformats-officedocument.presentationml.slideLayout+xml"/>
  <Override PartName="/ppt/slideLayouts/slideLayout15110.xml" ContentType="application/vnd.openxmlformats-officedocument.presentationml.slideLayout+xml"/>
  <Override PartName="/ppt/slideLayouts/slideLayout15111.xml" ContentType="application/vnd.openxmlformats-officedocument.presentationml.slideLayout+xml"/>
  <Override PartName="/ppt/slideLayouts/slideLayout15112.xml" ContentType="application/vnd.openxmlformats-officedocument.presentationml.slideLayout+xml"/>
  <Override PartName="/ppt/slideLayouts/slideLayout15113.xml" ContentType="application/vnd.openxmlformats-officedocument.presentationml.slideLayout+xml"/>
  <Override PartName="/ppt/slideLayouts/slideLayout15114.xml" ContentType="application/vnd.openxmlformats-officedocument.presentationml.slideLayout+xml"/>
  <Override PartName="/ppt/slideLayouts/slideLayout15115.xml" ContentType="application/vnd.openxmlformats-officedocument.presentationml.slideLayout+xml"/>
  <Override PartName="/ppt/slideLayouts/slideLayout15116.xml" ContentType="application/vnd.openxmlformats-officedocument.presentationml.slideLayout+xml"/>
  <Override PartName="/ppt/slideLayouts/slideLayout15117.xml" ContentType="application/vnd.openxmlformats-officedocument.presentationml.slideLayout+xml"/>
  <Override PartName="/ppt/slideLayouts/slideLayout15118.xml" ContentType="application/vnd.openxmlformats-officedocument.presentationml.slideLayout+xml"/>
  <Override PartName="/ppt/slideLayouts/slideLayout15119.xml" ContentType="application/vnd.openxmlformats-officedocument.presentationml.slideLayout+xml"/>
  <Override PartName="/ppt/slideLayouts/slideLayout15120.xml" ContentType="application/vnd.openxmlformats-officedocument.presentationml.slideLayout+xml"/>
  <Override PartName="/ppt/slideLayouts/slideLayout15121.xml" ContentType="application/vnd.openxmlformats-officedocument.presentationml.slideLayout+xml"/>
  <Override PartName="/ppt/slideLayouts/slideLayout15122.xml" ContentType="application/vnd.openxmlformats-officedocument.presentationml.slideLayout+xml"/>
  <Override PartName="/ppt/slideLayouts/slideLayout15123.xml" ContentType="application/vnd.openxmlformats-officedocument.presentationml.slideLayout+xml"/>
  <Override PartName="/ppt/slideLayouts/slideLayout15124.xml" ContentType="application/vnd.openxmlformats-officedocument.presentationml.slideLayout+xml"/>
  <Override PartName="/ppt/slideLayouts/slideLayout15125.xml" ContentType="application/vnd.openxmlformats-officedocument.presentationml.slideLayout+xml"/>
  <Override PartName="/ppt/slideLayouts/slideLayout15126.xml" ContentType="application/vnd.openxmlformats-officedocument.presentationml.slideLayout+xml"/>
  <Override PartName="/ppt/slideLayouts/slideLayout15127.xml" ContentType="application/vnd.openxmlformats-officedocument.presentationml.slideLayout+xml"/>
  <Override PartName="/ppt/slideLayouts/slideLayout15128.xml" ContentType="application/vnd.openxmlformats-officedocument.presentationml.slideLayout+xml"/>
  <Override PartName="/ppt/slideLayouts/slideLayout15129.xml" ContentType="application/vnd.openxmlformats-officedocument.presentationml.slideLayout+xml"/>
  <Override PartName="/ppt/slideLayouts/slideLayout15130.xml" ContentType="application/vnd.openxmlformats-officedocument.presentationml.slideLayout+xml"/>
  <Override PartName="/ppt/slideLayouts/slideLayout15131.xml" ContentType="application/vnd.openxmlformats-officedocument.presentationml.slideLayout+xml"/>
  <Override PartName="/ppt/slideLayouts/slideLayout15132.xml" ContentType="application/vnd.openxmlformats-officedocument.presentationml.slideLayout+xml"/>
  <Override PartName="/ppt/slideLayouts/slideLayout15133.xml" ContentType="application/vnd.openxmlformats-officedocument.presentationml.slideLayout+xml"/>
  <Override PartName="/ppt/slideLayouts/slideLayout15134.xml" ContentType="application/vnd.openxmlformats-officedocument.presentationml.slideLayout+xml"/>
  <Override PartName="/ppt/slideLayouts/slideLayout15135.xml" ContentType="application/vnd.openxmlformats-officedocument.presentationml.slideLayout+xml"/>
  <Override PartName="/ppt/slideLayouts/slideLayout15136.xml" ContentType="application/vnd.openxmlformats-officedocument.presentationml.slideLayout+xml"/>
  <Override PartName="/ppt/slideLayouts/slideLayout15137.xml" ContentType="application/vnd.openxmlformats-officedocument.presentationml.slideLayout+xml"/>
  <Override PartName="/ppt/slideLayouts/slideLayout15138.xml" ContentType="application/vnd.openxmlformats-officedocument.presentationml.slideLayout+xml"/>
  <Override PartName="/ppt/slideLayouts/slideLayout15139.xml" ContentType="application/vnd.openxmlformats-officedocument.presentationml.slideLayout+xml"/>
  <Override PartName="/ppt/slideLayouts/slideLayout15140.xml" ContentType="application/vnd.openxmlformats-officedocument.presentationml.slideLayout+xml"/>
  <Override PartName="/ppt/slideLayouts/slideLayout15141.xml" ContentType="application/vnd.openxmlformats-officedocument.presentationml.slideLayout+xml"/>
  <Override PartName="/ppt/slideLayouts/slideLayout15142.xml" ContentType="application/vnd.openxmlformats-officedocument.presentationml.slideLayout+xml"/>
  <Override PartName="/ppt/slideLayouts/slideLayout15143.xml" ContentType="application/vnd.openxmlformats-officedocument.presentationml.slideLayout+xml"/>
  <Override PartName="/ppt/slideLayouts/slideLayout15144.xml" ContentType="application/vnd.openxmlformats-officedocument.presentationml.slideLayout+xml"/>
  <Override PartName="/ppt/slideLayouts/slideLayout15145.xml" ContentType="application/vnd.openxmlformats-officedocument.presentationml.slideLayout+xml"/>
  <Override PartName="/ppt/slideLayouts/slideLayout15146.xml" ContentType="application/vnd.openxmlformats-officedocument.presentationml.slideLayout+xml"/>
  <Override PartName="/ppt/slideLayouts/slideLayout15147.xml" ContentType="application/vnd.openxmlformats-officedocument.presentationml.slideLayout+xml"/>
  <Override PartName="/ppt/slideLayouts/slideLayout15148.xml" ContentType="application/vnd.openxmlformats-officedocument.presentationml.slideLayout+xml"/>
  <Override PartName="/ppt/slideLayouts/slideLayout15149.xml" ContentType="application/vnd.openxmlformats-officedocument.presentationml.slideLayout+xml"/>
  <Override PartName="/ppt/slideLayouts/slideLayout15150.xml" ContentType="application/vnd.openxmlformats-officedocument.presentationml.slideLayout+xml"/>
  <Override PartName="/ppt/slideLayouts/slideLayout15151.xml" ContentType="application/vnd.openxmlformats-officedocument.presentationml.slideLayout+xml"/>
  <Override PartName="/ppt/slideLayouts/slideLayout15152.xml" ContentType="application/vnd.openxmlformats-officedocument.presentationml.slideLayout+xml"/>
  <Override PartName="/ppt/slideLayouts/slideLayout15153.xml" ContentType="application/vnd.openxmlformats-officedocument.presentationml.slideLayout+xml"/>
  <Override PartName="/ppt/slideLayouts/slideLayout15154.xml" ContentType="application/vnd.openxmlformats-officedocument.presentationml.slideLayout+xml"/>
  <Override PartName="/ppt/slideLayouts/slideLayout15155.xml" ContentType="application/vnd.openxmlformats-officedocument.presentationml.slideLayout+xml"/>
  <Override PartName="/ppt/slideLayouts/slideLayout15156.xml" ContentType="application/vnd.openxmlformats-officedocument.presentationml.slideLayout+xml"/>
  <Override PartName="/ppt/slideLayouts/slideLayout15157.xml" ContentType="application/vnd.openxmlformats-officedocument.presentationml.slideLayout+xml"/>
  <Override PartName="/ppt/slideLayouts/slideLayout15158.xml" ContentType="application/vnd.openxmlformats-officedocument.presentationml.slideLayout+xml"/>
  <Override PartName="/ppt/slideLayouts/slideLayout15159.xml" ContentType="application/vnd.openxmlformats-officedocument.presentationml.slideLayout+xml"/>
  <Override PartName="/ppt/slideLayouts/slideLayout15160.xml" ContentType="application/vnd.openxmlformats-officedocument.presentationml.slideLayout+xml"/>
  <Override PartName="/ppt/slideLayouts/slideLayout15161.xml" ContentType="application/vnd.openxmlformats-officedocument.presentationml.slideLayout+xml"/>
  <Override PartName="/ppt/slideLayouts/slideLayout15162.xml" ContentType="application/vnd.openxmlformats-officedocument.presentationml.slideLayout+xml"/>
  <Override PartName="/ppt/slideLayouts/slideLayout15163.xml" ContentType="application/vnd.openxmlformats-officedocument.presentationml.slideLayout+xml"/>
  <Override PartName="/ppt/slideLayouts/slideLayout15164.xml" ContentType="application/vnd.openxmlformats-officedocument.presentationml.slideLayout+xml"/>
  <Override PartName="/ppt/slideLayouts/slideLayout15165.xml" ContentType="application/vnd.openxmlformats-officedocument.presentationml.slideLayout+xml"/>
  <Override PartName="/ppt/slideLayouts/slideLayout15166.xml" ContentType="application/vnd.openxmlformats-officedocument.presentationml.slideLayout+xml"/>
  <Override PartName="/ppt/slideLayouts/slideLayout15167.xml" ContentType="application/vnd.openxmlformats-officedocument.presentationml.slideLayout+xml"/>
  <Override PartName="/ppt/slideLayouts/slideLayout15168.xml" ContentType="application/vnd.openxmlformats-officedocument.presentationml.slideLayout+xml"/>
  <Override PartName="/ppt/slideLayouts/slideLayout15169.xml" ContentType="application/vnd.openxmlformats-officedocument.presentationml.slideLayout+xml"/>
  <Override PartName="/ppt/slideLayouts/slideLayout15170.xml" ContentType="application/vnd.openxmlformats-officedocument.presentationml.slideLayout+xml"/>
  <Override PartName="/ppt/slideLayouts/slideLayout15171.xml" ContentType="application/vnd.openxmlformats-officedocument.presentationml.slideLayout+xml"/>
  <Override PartName="/ppt/slideLayouts/slideLayout15172.xml" ContentType="application/vnd.openxmlformats-officedocument.presentationml.slideLayout+xml"/>
  <Override PartName="/ppt/slideLayouts/slideLayout15173.xml" ContentType="application/vnd.openxmlformats-officedocument.presentationml.slideLayout+xml"/>
  <Override PartName="/ppt/slideLayouts/slideLayout15174.xml" ContentType="application/vnd.openxmlformats-officedocument.presentationml.slideLayout+xml"/>
  <Override PartName="/ppt/slideLayouts/slideLayout15175.xml" ContentType="application/vnd.openxmlformats-officedocument.presentationml.slideLayout+xml"/>
  <Override PartName="/ppt/slideLayouts/slideLayout15176.xml" ContentType="application/vnd.openxmlformats-officedocument.presentationml.slideLayout+xml"/>
  <Override PartName="/ppt/slideLayouts/slideLayout15177.xml" ContentType="application/vnd.openxmlformats-officedocument.presentationml.slideLayout+xml"/>
  <Override PartName="/ppt/slideLayouts/slideLayout15178.xml" ContentType="application/vnd.openxmlformats-officedocument.presentationml.slideLayout+xml"/>
  <Override PartName="/ppt/slideLayouts/slideLayout15179.xml" ContentType="application/vnd.openxmlformats-officedocument.presentationml.slideLayout+xml"/>
  <Override PartName="/ppt/slideLayouts/slideLayout15180.xml" ContentType="application/vnd.openxmlformats-officedocument.presentationml.slideLayout+xml"/>
  <Override PartName="/ppt/slideLayouts/slideLayout15181.xml" ContentType="application/vnd.openxmlformats-officedocument.presentationml.slideLayout+xml"/>
  <Override PartName="/ppt/slideLayouts/slideLayout15182.xml" ContentType="application/vnd.openxmlformats-officedocument.presentationml.slideLayout+xml"/>
  <Override PartName="/ppt/slideLayouts/slideLayout15183.xml" ContentType="application/vnd.openxmlformats-officedocument.presentationml.slideLayout+xml"/>
  <Override PartName="/ppt/slideLayouts/slideLayout15184.xml" ContentType="application/vnd.openxmlformats-officedocument.presentationml.slideLayout+xml"/>
  <Override PartName="/ppt/slideLayouts/slideLayout15185.xml" ContentType="application/vnd.openxmlformats-officedocument.presentationml.slideLayout+xml"/>
  <Override PartName="/ppt/slideLayouts/slideLayout15186.xml" ContentType="application/vnd.openxmlformats-officedocument.presentationml.slideLayout+xml"/>
  <Override PartName="/ppt/slideLayouts/slideLayout15187.xml" ContentType="application/vnd.openxmlformats-officedocument.presentationml.slideLayout+xml"/>
  <Override PartName="/ppt/slideLayouts/slideLayout15188.xml" ContentType="application/vnd.openxmlformats-officedocument.presentationml.slideLayout+xml"/>
  <Override PartName="/ppt/slideLayouts/slideLayout15189.xml" ContentType="application/vnd.openxmlformats-officedocument.presentationml.slideLayout+xml"/>
  <Override PartName="/ppt/slideLayouts/slideLayout15190.xml" ContentType="application/vnd.openxmlformats-officedocument.presentationml.slideLayout+xml"/>
  <Override PartName="/ppt/slideLayouts/slideLayout15191.xml" ContentType="application/vnd.openxmlformats-officedocument.presentationml.slideLayout+xml"/>
  <Override PartName="/ppt/slideLayouts/slideLayout15192.xml" ContentType="application/vnd.openxmlformats-officedocument.presentationml.slideLayout+xml"/>
  <Override PartName="/ppt/slideLayouts/slideLayout15193.xml" ContentType="application/vnd.openxmlformats-officedocument.presentationml.slideLayout+xml"/>
  <Override PartName="/ppt/slideLayouts/slideLayout15194.xml" ContentType="application/vnd.openxmlformats-officedocument.presentationml.slideLayout+xml"/>
  <Override PartName="/ppt/slideLayouts/slideLayout15195.xml" ContentType="application/vnd.openxmlformats-officedocument.presentationml.slideLayout+xml"/>
  <Override PartName="/ppt/slideLayouts/slideLayout15196.xml" ContentType="application/vnd.openxmlformats-officedocument.presentationml.slideLayout+xml"/>
  <Override PartName="/ppt/slideLayouts/slideLayout15197.xml" ContentType="application/vnd.openxmlformats-officedocument.presentationml.slideLayout+xml"/>
  <Override PartName="/ppt/slideLayouts/slideLayout15198.xml" ContentType="application/vnd.openxmlformats-officedocument.presentationml.slideLayout+xml"/>
  <Override PartName="/ppt/slideLayouts/slideLayout15199.xml" ContentType="application/vnd.openxmlformats-officedocument.presentationml.slideLayout+xml"/>
  <Override PartName="/ppt/slideLayouts/slideLayout15200.xml" ContentType="application/vnd.openxmlformats-officedocument.presentationml.slideLayout+xml"/>
  <Override PartName="/ppt/slideLayouts/slideLayout15201.xml" ContentType="application/vnd.openxmlformats-officedocument.presentationml.slideLayout+xml"/>
  <Override PartName="/ppt/slideLayouts/slideLayout15202.xml" ContentType="application/vnd.openxmlformats-officedocument.presentationml.slideLayout+xml"/>
  <Override PartName="/ppt/slideLayouts/slideLayout15203.xml" ContentType="application/vnd.openxmlformats-officedocument.presentationml.slideLayout+xml"/>
  <Override PartName="/ppt/slideLayouts/slideLayout15204.xml" ContentType="application/vnd.openxmlformats-officedocument.presentationml.slideLayout+xml"/>
  <Override PartName="/ppt/slideLayouts/slideLayout15205.xml" ContentType="application/vnd.openxmlformats-officedocument.presentationml.slideLayout+xml"/>
  <Override PartName="/ppt/slideLayouts/slideLayout15206.xml" ContentType="application/vnd.openxmlformats-officedocument.presentationml.slideLayout+xml"/>
  <Override PartName="/ppt/slideLayouts/slideLayout15207.xml" ContentType="application/vnd.openxmlformats-officedocument.presentationml.slideLayout+xml"/>
  <Override PartName="/ppt/slideLayouts/slideLayout15208.xml" ContentType="application/vnd.openxmlformats-officedocument.presentationml.slideLayout+xml"/>
  <Override PartName="/ppt/slideLayouts/slideLayout15209.xml" ContentType="application/vnd.openxmlformats-officedocument.presentationml.slideLayout+xml"/>
  <Override PartName="/ppt/slideLayouts/slideLayout15210.xml" ContentType="application/vnd.openxmlformats-officedocument.presentationml.slideLayout+xml"/>
  <Override PartName="/ppt/slideLayouts/slideLayout15211.xml" ContentType="application/vnd.openxmlformats-officedocument.presentationml.slideLayout+xml"/>
  <Override PartName="/ppt/slideLayouts/slideLayout15212.xml" ContentType="application/vnd.openxmlformats-officedocument.presentationml.slideLayout+xml"/>
  <Override PartName="/ppt/slideLayouts/slideLayout15213.xml" ContentType="application/vnd.openxmlformats-officedocument.presentationml.slideLayout+xml"/>
  <Override PartName="/ppt/slideLayouts/slideLayout15214.xml" ContentType="application/vnd.openxmlformats-officedocument.presentationml.slideLayout+xml"/>
  <Override PartName="/ppt/slideLayouts/slideLayout15215.xml" ContentType="application/vnd.openxmlformats-officedocument.presentationml.slideLayout+xml"/>
  <Override PartName="/ppt/slideLayouts/slideLayout15216.xml" ContentType="application/vnd.openxmlformats-officedocument.presentationml.slideLayout+xml"/>
  <Override PartName="/ppt/slideLayouts/slideLayout15217.xml" ContentType="application/vnd.openxmlformats-officedocument.presentationml.slideLayout+xml"/>
  <Override PartName="/ppt/slideLayouts/slideLayout15218.xml" ContentType="application/vnd.openxmlformats-officedocument.presentationml.slideLayout+xml"/>
  <Override PartName="/ppt/slideLayouts/slideLayout15219.xml" ContentType="application/vnd.openxmlformats-officedocument.presentationml.slideLayout+xml"/>
  <Override PartName="/ppt/slideLayouts/slideLayout15220.xml" ContentType="application/vnd.openxmlformats-officedocument.presentationml.slideLayout+xml"/>
  <Override PartName="/ppt/slideLayouts/slideLayout15221.xml" ContentType="application/vnd.openxmlformats-officedocument.presentationml.slideLayout+xml"/>
  <Override PartName="/ppt/slideLayouts/slideLayout15222.xml" ContentType="application/vnd.openxmlformats-officedocument.presentationml.slideLayout+xml"/>
  <Override PartName="/ppt/slideLayouts/slideLayout15223.xml" ContentType="application/vnd.openxmlformats-officedocument.presentationml.slideLayout+xml"/>
  <Override PartName="/ppt/slideLayouts/slideLayout15224.xml" ContentType="application/vnd.openxmlformats-officedocument.presentationml.slideLayout+xml"/>
  <Override PartName="/ppt/slideLayouts/slideLayout15225.xml" ContentType="application/vnd.openxmlformats-officedocument.presentationml.slideLayout+xml"/>
  <Override PartName="/ppt/slideLayouts/slideLayout15226.xml" ContentType="application/vnd.openxmlformats-officedocument.presentationml.slideLayout+xml"/>
  <Override PartName="/ppt/slideLayouts/slideLayout15227.xml" ContentType="application/vnd.openxmlformats-officedocument.presentationml.slideLayout+xml"/>
  <Override PartName="/ppt/slideLayouts/slideLayout15228.xml" ContentType="application/vnd.openxmlformats-officedocument.presentationml.slideLayout+xml"/>
  <Override PartName="/ppt/slideLayouts/slideLayout15229.xml" ContentType="application/vnd.openxmlformats-officedocument.presentationml.slideLayout+xml"/>
  <Override PartName="/ppt/slideLayouts/slideLayout15230.xml" ContentType="application/vnd.openxmlformats-officedocument.presentationml.slideLayout+xml"/>
  <Override PartName="/ppt/slideLayouts/slideLayout15231.xml" ContentType="application/vnd.openxmlformats-officedocument.presentationml.slideLayout+xml"/>
  <Override PartName="/ppt/slideLayouts/slideLayout15232.xml" ContentType="application/vnd.openxmlformats-officedocument.presentationml.slideLayout+xml"/>
  <Override PartName="/ppt/slideLayouts/slideLayout15233.xml" ContentType="application/vnd.openxmlformats-officedocument.presentationml.slideLayout+xml"/>
  <Override PartName="/ppt/slideLayouts/slideLayout15234.xml" ContentType="application/vnd.openxmlformats-officedocument.presentationml.slideLayout+xml"/>
  <Override PartName="/ppt/slideLayouts/slideLayout15235.xml" ContentType="application/vnd.openxmlformats-officedocument.presentationml.slideLayout+xml"/>
  <Override PartName="/ppt/slideLayouts/slideLayout15236.xml" ContentType="application/vnd.openxmlformats-officedocument.presentationml.slideLayout+xml"/>
  <Override PartName="/ppt/slideLayouts/slideLayout15237.xml" ContentType="application/vnd.openxmlformats-officedocument.presentationml.slideLayout+xml"/>
  <Override PartName="/ppt/slideLayouts/slideLayout15238.xml" ContentType="application/vnd.openxmlformats-officedocument.presentationml.slideLayout+xml"/>
  <Override PartName="/ppt/slideLayouts/slideLayout15239.xml" ContentType="application/vnd.openxmlformats-officedocument.presentationml.slideLayout+xml"/>
  <Override PartName="/ppt/slideLayouts/slideLayout15240.xml" ContentType="application/vnd.openxmlformats-officedocument.presentationml.slideLayout+xml"/>
  <Override PartName="/ppt/slideLayouts/slideLayout15241.xml" ContentType="application/vnd.openxmlformats-officedocument.presentationml.slideLayout+xml"/>
  <Override PartName="/ppt/slideLayouts/slideLayout15242.xml" ContentType="application/vnd.openxmlformats-officedocument.presentationml.slideLayout+xml"/>
  <Override PartName="/ppt/slideLayouts/slideLayout15243.xml" ContentType="application/vnd.openxmlformats-officedocument.presentationml.slideLayout+xml"/>
  <Override PartName="/ppt/slideLayouts/slideLayout15244.xml" ContentType="application/vnd.openxmlformats-officedocument.presentationml.slideLayout+xml"/>
  <Override PartName="/ppt/slideLayouts/slideLayout15245.xml" ContentType="application/vnd.openxmlformats-officedocument.presentationml.slideLayout+xml"/>
  <Override PartName="/ppt/slideLayouts/slideLayout15246.xml" ContentType="application/vnd.openxmlformats-officedocument.presentationml.slideLayout+xml"/>
  <Override PartName="/ppt/slideLayouts/slideLayout15247.xml" ContentType="application/vnd.openxmlformats-officedocument.presentationml.slideLayout+xml"/>
  <Override PartName="/ppt/slideLayouts/slideLayout15248.xml" ContentType="application/vnd.openxmlformats-officedocument.presentationml.slideLayout+xml"/>
  <Override PartName="/ppt/slideLayouts/slideLayout15249.xml" ContentType="application/vnd.openxmlformats-officedocument.presentationml.slideLayout+xml"/>
  <Override PartName="/ppt/slideLayouts/slideLayout15250.xml" ContentType="application/vnd.openxmlformats-officedocument.presentationml.slideLayout+xml"/>
  <Override PartName="/ppt/slideLayouts/slideLayout15251.xml" ContentType="application/vnd.openxmlformats-officedocument.presentationml.slideLayout+xml"/>
  <Override PartName="/ppt/slideLayouts/slideLayout15252.xml" ContentType="application/vnd.openxmlformats-officedocument.presentationml.slideLayout+xml"/>
  <Override PartName="/ppt/slideLayouts/slideLayout15253.xml" ContentType="application/vnd.openxmlformats-officedocument.presentationml.slideLayout+xml"/>
  <Override PartName="/ppt/slideLayouts/slideLayout15254.xml" ContentType="application/vnd.openxmlformats-officedocument.presentationml.slideLayout+xml"/>
  <Override PartName="/ppt/slideLayouts/slideLayout15255.xml" ContentType="application/vnd.openxmlformats-officedocument.presentationml.slideLayout+xml"/>
  <Override PartName="/ppt/slideLayouts/slideLayout15256.xml" ContentType="application/vnd.openxmlformats-officedocument.presentationml.slideLayout+xml"/>
  <Override PartName="/ppt/slideLayouts/slideLayout15257.xml" ContentType="application/vnd.openxmlformats-officedocument.presentationml.slideLayout+xml"/>
  <Override PartName="/ppt/slideLayouts/slideLayout15258.xml" ContentType="application/vnd.openxmlformats-officedocument.presentationml.slideLayout+xml"/>
  <Override PartName="/ppt/slideLayouts/slideLayout15259.xml" ContentType="application/vnd.openxmlformats-officedocument.presentationml.slideLayout+xml"/>
  <Override PartName="/ppt/slideLayouts/slideLayout15260.xml" ContentType="application/vnd.openxmlformats-officedocument.presentationml.slideLayout+xml"/>
  <Override PartName="/ppt/slideLayouts/slideLayout15261.xml" ContentType="application/vnd.openxmlformats-officedocument.presentationml.slideLayout+xml"/>
  <Override PartName="/ppt/slideLayouts/slideLayout15262.xml" ContentType="application/vnd.openxmlformats-officedocument.presentationml.slideLayout+xml"/>
  <Override PartName="/ppt/slideLayouts/slideLayout15263.xml" ContentType="application/vnd.openxmlformats-officedocument.presentationml.slideLayout+xml"/>
  <Override PartName="/ppt/slideLayouts/slideLayout15264.xml" ContentType="application/vnd.openxmlformats-officedocument.presentationml.slideLayout+xml"/>
  <Override PartName="/ppt/slideLayouts/slideLayout15265.xml" ContentType="application/vnd.openxmlformats-officedocument.presentationml.slideLayout+xml"/>
  <Override PartName="/ppt/slideLayouts/slideLayout15266.xml" ContentType="application/vnd.openxmlformats-officedocument.presentationml.slideLayout+xml"/>
  <Override PartName="/ppt/slideLayouts/slideLayout15267.xml" ContentType="application/vnd.openxmlformats-officedocument.presentationml.slideLayout+xml"/>
  <Override PartName="/ppt/slideLayouts/slideLayout15268.xml" ContentType="application/vnd.openxmlformats-officedocument.presentationml.slideLayout+xml"/>
  <Override PartName="/ppt/slideLayouts/slideLayout15269.xml" ContentType="application/vnd.openxmlformats-officedocument.presentationml.slideLayout+xml"/>
  <Override PartName="/ppt/slideLayouts/slideLayout15270.xml" ContentType="application/vnd.openxmlformats-officedocument.presentationml.slideLayout+xml"/>
  <Override PartName="/ppt/slideLayouts/slideLayout15271.xml" ContentType="application/vnd.openxmlformats-officedocument.presentationml.slideLayout+xml"/>
  <Override PartName="/ppt/slideLayouts/slideLayout15272.xml" ContentType="application/vnd.openxmlformats-officedocument.presentationml.slideLayout+xml"/>
  <Override PartName="/ppt/slideLayouts/slideLayout15273.xml" ContentType="application/vnd.openxmlformats-officedocument.presentationml.slideLayout+xml"/>
  <Override PartName="/ppt/slideLayouts/slideLayout15274.xml" ContentType="application/vnd.openxmlformats-officedocument.presentationml.slideLayout+xml"/>
  <Override PartName="/ppt/slideLayouts/slideLayout15275.xml" ContentType="application/vnd.openxmlformats-officedocument.presentationml.slideLayout+xml"/>
  <Override PartName="/ppt/slideLayouts/slideLayout15276.xml" ContentType="application/vnd.openxmlformats-officedocument.presentationml.slideLayout+xml"/>
  <Override PartName="/ppt/slideLayouts/slideLayout15277.xml" ContentType="application/vnd.openxmlformats-officedocument.presentationml.slideLayout+xml"/>
  <Override PartName="/ppt/slideLayouts/slideLayout15278.xml" ContentType="application/vnd.openxmlformats-officedocument.presentationml.slideLayout+xml"/>
  <Override PartName="/ppt/slideLayouts/slideLayout15279.xml" ContentType="application/vnd.openxmlformats-officedocument.presentationml.slideLayout+xml"/>
  <Override PartName="/ppt/slideLayouts/slideLayout15280.xml" ContentType="application/vnd.openxmlformats-officedocument.presentationml.slideLayout+xml"/>
  <Override PartName="/ppt/slideLayouts/slideLayout15281.xml" ContentType="application/vnd.openxmlformats-officedocument.presentationml.slideLayout+xml"/>
  <Override PartName="/ppt/slideLayouts/slideLayout15282.xml" ContentType="application/vnd.openxmlformats-officedocument.presentationml.slideLayout+xml"/>
  <Override PartName="/ppt/slideLayouts/slideLayout15283.xml" ContentType="application/vnd.openxmlformats-officedocument.presentationml.slideLayout+xml"/>
  <Override PartName="/ppt/slideLayouts/slideLayout15284.xml" ContentType="application/vnd.openxmlformats-officedocument.presentationml.slideLayout+xml"/>
  <Override PartName="/ppt/slideLayouts/slideLayout15285.xml" ContentType="application/vnd.openxmlformats-officedocument.presentationml.slideLayout+xml"/>
  <Override PartName="/ppt/slideLayouts/slideLayout15286.xml" ContentType="application/vnd.openxmlformats-officedocument.presentationml.slideLayout+xml"/>
  <Override PartName="/ppt/slideLayouts/slideLayout15287.xml" ContentType="application/vnd.openxmlformats-officedocument.presentationml.slideLayout+xml"/>
  <Override PartName="/ppt/slideLayouts/slideLayout15288.xml" ContentType="application/vnd.openxmlformats-officedocument.presentationml.slideLayout+xml"/>
  <Override PartName="/ppt/slideLayouts/slideLayout15289.xml" ContentType="application/vnd.openxmlformats-officedocument.presentationml.slideLayout+xml"/>
  <Override PartName="/ppt/slideLayouts/slideLayout15290.xml" ContentType="application/vnd.openxmlformats-officedocument.presentationml.slideLayout+xml"/>
  <Override PartName="/ppt/slideLayouts/slideLayout15291.xml" ContentType="application/vnd.openxmlformats-officedocument.presentationml.slideLayout+xml"/>
  <Override PartName="/ppt/slideLayouts/slideLayout15292.xml" ContentType="application/vnd.openxmlformats-officedocument.presentationml.slideLayout+xml"/>
  <Override PartName="/ppt/slideLayouts/slideLayout15293.xml" ContentType="application/vnd.openxmlformats-officedocument.presentationml.slideLayout+xml"/>
  <Override PartName="/ppt/slideLayouts/slideLayout15294.xml" ContentType="application/vnd.openxmlformats-officedocument.presentationml.slideLayout+xml"/>
  <Override PartName="/ppt/slideLayouts/slideLayout15295.xml" ContentType="application/vnd.openxmlformats-officedocument.presentationml.slideLayout+xml"/>
  <Override PartName="/ppt/slideLayouts/slideLayout15296.xml" ContentType="application/vnd.openxmlformats-officedocument.presentationml.slideLayout+xml"/>
  <Override PartName="/ppt/slideLayouts/slideLayout15297.xml" ContentType="application/vnd.openxmlformats-officedocument.presentationml.slideLayout+xml"/>
  <Override PartName="/ppt/slideLayouts/slideLayout15298.xml" ContentType="application/vnd.openxmlformats-officedocument.presentationml.slideLayout+xml"/>
  <Override PartName="/ppt/slideLayouts/slideLayout15299.xml" ContentType="application/vnd.openxmlformats-officedocument.presentationml.slideLayout+xml"/>
  <Override PartName="/ppt/slideLayouts/slideLayout15300.xml" ContentType="application/vnd.openxmlformats-officedocument.presentationml.slideLayout+xml"/>
  <Override PartName="/ppt/slideLayouts/slideLayout15301.xml" ContentType="application/vnd.openxmlformats-officedocument.presentationml.slideLayout+xml"/>
  <Override PartName="/ppt/slideLayouts/slideLayout15302.xml" ContentType="application/vnd.openxmlformats-officedocument.presentationml.slideLayout+xml"/>
  <Override PartName="/ppt/slideLayouts/slideLayout15303.xml" ContentType="application/vnd.openxmlformats-officedocument.presentationml.slideLayout+xml"/>
  <Override PartName="/ppt/slideLayouts/slideLayout15304.xml" ContentType="application/vnd.openxmlformats-officedocument.presentationml.slideLayout+xml"/>
  <Override PartName="/ppt/slideLayouts/slideLayout15305.xml" ContentType="application/vnd.openxmlformats-officedocument.presentationml.slideLayout+xml"/>
  <Override PartName="/ppt/slideLayouts/slideLayout15306.xml" ContentType="application/vnd.openxmlformats-officedocument.presentationml.slideLayout+xml"/>
  <Override PartName="/ppt/slideLayouts/slideLayout15307.xml" ContentType="application/vnd.openxmlformats-officedocument.presentationml.slideLayout+xml"/>
  <Override PartName="/ppt/slideLayouts/slideLayout15308.xml" ContentType="application/vnd.openxmlformats-officedocument.presentationml.slideLayout+xml"/>
  <Override PartName="/ppt/slideLayouts/slideLayout15309.xml" ContentType="application/vnd.openxmlformats-officedocument.presentationml.slideLayout+xml"/>
  <Override PartName="/ppt/slideLayouts/slideLayout15310.xml" ContentType="application/vnd.openxmlformats-officedocument.presentationml.slideLayout+xml"/>
  <Override PartName="/ppt/slideLayouts/slideLayout15311.xml" ContentType="application/vnd.openxmlformats-officedocument.presentationml.slideLayout+xml"/>
  <Override PartName="/ppt/slideLayouts/slideLayout15312.xml" ContentType="application/vnd.openxmlformats-officedocument.presentationml.slideLayout+xml"/>
  <Override PartName="/ppt/slideLayouts/slideLayout15313.xml" ContentType="application/vnd.openxmlformats-officedocument.presentationml.slideLayout+xml"/>
  <Override PartName="/ppt/slideLayouts/slideLayout15314.xml" ContentType="application/vnd.openxmlformats-officedocument.presentationml.slideLayout+xml"/>
  <Override PartName="/ppt/slideLayouts/slideLayout15315.xml" ContentType="application/vnd.openxmlformats-officedocument.presentationml.slideLayout+xml"/>
  <Override PartName="/ppt/slideLayouts/slideLayout15316.xml" ContentType="application/vnd.openxmlformats-officedocument.presentationml.slideLayout+xml"/>
  <Override PartName="/ppt/slideLayouts/slideLayout15317.xml" ContentType="application/vnd.openxmlformats-officedocument.presentationml.slideLayout+xml"/>
  <Override PartName="/ppt/slideLayouts/slideLayout15318.xml" ContentType="application/vnd.openxmlformats-officedocument.presentationml.slideLayout+xml"/>
  <Override PartName="/ppt/slideLayouts/slideLayout15319.xml" ContentType="application/vnd.openxmlformats-officedocument.presentationml.slideLayout+xml"/>
  <Override PartName="/ppt/slideLayouts/slideLayout15320.xml" ContentType="application/vnd.openxmlformats-officedocument.presentationml.slideLayout+xml"/>
  <Override PartName="/ppt/slideLayouts/slideLayout15321.xml" ContentType="application/vnd.openxmlformats-officedocument.presentationml.slideLayout+xml"/>
  <Override PartName="/ppt/slideLayouts/slideLayout15322.xml" ContentType="application/vnd.openxmlformats-officedocument.presentationml.slideLayout+xml"/>
  <Override PartName="/ppt/slideLayouts/slideLayout15323.xml" ContentType="application/vnd.openxmlformats-officedocument.presentationml.slideLayout+xml"/>
  <Override PartName="/ppt/slideLayouts/slideLayout15324.xml" ContentType="application/vnd.openxmlformats-officedocument.presentationml.slideLayout+xml"/>
  <Override PartName="/ppt/slideLayouts/slideLayout15325.xml" ContentType="application/vnd.openxmlformats-officedocument.presentationml.slideLayout+xml"/>
  <Override PartName="/ppt/slideLayouts/slideLayout15326.xml" ContentType="application/vnd.openxmlformats-officedocument.presentationml.slideLayout+xml"/>
  <Override PartName="/ppt/slideLayouts/slideLayout15327.xml" ContentType="application/vnd.openxmlformats-officedocument.presentationml.slideLayout+xml"/>
  <Override PartName="/ppt/slideLayouts/slideLayout15328.xml" ContentType="application/vnd.openxmlformats-officedocument.presentationml.slideLayout+xml"/>
  <Override PartName="/ppt/slideLayouts/slideLayout15329.xml" ContentType="application/vnd.openxmlformats-officedocument.presentationml.slideLayout+xml"/>
  <Override PartName="/ppt/slideLayouts/slideLayout15330.xml" ContentType="application/vnd.openxmlformats-officedocument.presentationml.slideLayout+xml"/>
  <Override PartName="/ppt/slideLayouts/slideLayout15331.xml" ContentType="application/vnd.openxmlformats-officedocument.presentationml.slideLayout+xml"/>
  <Override PartName="/ppt/slideLayouts/slideLayout15332.xml" ContentType="application/vnd.openxmlformats-officedocument.presentationml.slideLayout+xml"/>
  <Override PartName="/ppt/slideLayouts/slideLayout15333.xml" ContentType="application/vnd.openxmlformats-officedocument.presentationml.slideLayout+xml"/>
  <Override PartName="/ppt/slideLayouts/slideLayout15334.xml" ContentType="application/vnd.openxmlformats-officedocument.presentationml.slideLayout+xml"/>
  <Override PartName="/ppt/slideLayouts/slideLayout15335.xml" ContentType="application/vnd.openxmlformats-officedocument.presentationml.slideLayout+xml"/>
  <Override PartName="/ppt/slideLayouts/slideLayout15336.xml" ContentType="application/vnd.openxmlformats-officedocument.presentationml.slideLayout+xml"/>
  <Override PartName="/ppt/slideLayouts/slideLayout15337.xml" ContentType="application/vnd.openxmlformats-officedocument.presentationml.slideLayout+xml"/>
  <Override PartName="/ppt/slideLayouts/slideLayout15338.xml" ContentType="application/vnd.openxmlformats-officedocument.presentationml.slideLayout+xml"/>
  <Override PartName="/ppt/slideLayouts/slideLayout15339.xml" ContentType="application/vnd.openxmlformats-officedocument.presentationml.slideLayout+xml"/>
  <Override PartName="/ppt/slideLayouts/slideLayout15340.xml" ContentType="application/vnd.openxmlformats-officedocument.presentationml.slideLayout+xml"/>
  <Override PartName="/ppt/slideLayouts/slideLayout15341.xml" ContentType="application/vnd.openxmlformats-officedocument.presentationml.slideLayout+xml"/>
  <Override PartName="/ppt/slideLayouts/slideLayout15342.xml" ContentType="application/vnd.openxmlformats-officedocument.presentationml.slideLayout+xml"/>
  <Override PartName="/ppt/slideLayouts/slideLayout15343.xml" ContentType="application/vnd.openxmlformats-officedocument.presentationml.slideLayout+xml"/>
  <Override PartName="/ppt/slideLayouts/slideLayout15344.xml" ContentType="application/vnd.openxmlformats-officedocument.presentationml.slideLayout+xml"/>
  <Override PartName="/ppt/slideLayouts/slideLayout15345.xml" ContentType="application/vnd.openxmlformats-officedocument.presentationml.slideLayout+xml"/>
  <Override PartName="/ppt/slideLayouts/slideLayout15346.xml" ContentType="application/vnd.openxmlformats-officedocument.presentationml.slideLayout+xml"/>
  <Override PartName="/ppt/slideLayouts/slideLayout15347.xml" ContentType="application/vnd.openxmlformats-officedocument.presentationml.slideLayout+xml"/>
  <Override PartName="/ppt/slideLayouts/slideLayout15348.xml" ContentType="application/vnd.openxmlformats-officedocument.presentationml.slideLayout+xml"/>
  <Override PartName="/ppt/slideLayouts/slideLayout15349.xml" ContentType="application/vnd.openxmlformats-officedocument.presentationml.slideLayout+xml"/>
  <Override PartName="/ppt/slideLayouts/slideLayout15350.xml" ContentType="application/vnd.openxmlformats-officedocument.presentationml.slideLayout+xml"/>
  <Override PartName="/ppt/slideLayouts/slideLayout15351.xml" ContentType="application/vnd.openxmlformats-officedocument.presentationml.slideLayout+xml"/>
  <Override PartName="/ppt/slideLayouts/slideLayout15352.xml" ContentType="application/vnd.openxmlformats-officedocument.presentationml.slideLayout+xml"/>
  <Override PartName="/ppt/slideLayouts/slideLayout15353.xml" ContentType="application/vnd.openxmlformats-officedocument.presentationml.slideLayout+xml"/>
  <Override PartName="/ppt/slideLayouts/slideLayout15354.xml" ContentType="application/vnd.openxmlformats-officedocument.presentationml.slideLayout+xml"/>
  <Override PartName="/ppt/slideLayouts/slideLayout15355.xml" ContentType="application/vnd.openxmlformats-officedocument.presentationml.slideLayout+xml"/>
  <Override PartName="/ppt/slideLayouts/slideLayout15356.xml" ContentType="application/vnd.openxmlformats-officedocument.presentationml.slideLayout+xml"/>
  <Override PartName="/ppt/slideLayouts/slideLayout15357.xml" ContentType="application/vnd.openxmlformats-officedocument.presentationml.slideLayout+xml"/>
  <Override PartName="/ppt/slideLayouts/slideLayout15358.xml" ContentType="application/vnd.openxmlformats-officedocument.presentationml.slideLayout+xml"/>
  <Override PartName="/ppt/slideLayouts/slideLayout15359.xml" ContentType="application/vnd.openxmlformats-officedocument.presentationml.slideLayout+xml"/>
  <Override PartName="/ppt/slideLayouts/slideLayout15360.xml" ContentType="application/vnd.openxmlformats-officedocument.presentationml.slideLayout+xml"/>
  <Override PartName="/ppt/slideLayouts/slideLayout15361.xml" ContentType="application/vnd.openxmlformats-officedocument.presentationml.slideLayout+xml"/>
  <Override PartName="/ppt/slideLayouts/slideLayout15362.xml" ContentType="application/vnd.openxmlformats-officedocument.presentationml.slideLayout+xml"/>
  <Override PartName="/ppt/slideLayouts/slideLayout15363.xml" ContentType="application/vnd.openxmlformats-officedocument.presentationml.slideLayout+xml"/>
  <Override PartName="/ppt/slideLayouts/slideLayout15364.xml" ContentType="application/vnd.openxmlformats-officedocument.presentationml.slideLayout+xml"/>
  <Override PartName="/ppt/slideLayouts/slideLayout15365.xml" ContentType="application/vnd.openxmlformats-officedocument.presentationml.slideLayout+xml"/>
  <Override PartName="/ppt/slideLayouts/slideLayout15366.xml" ContentType="application/vnd.openxmlformats-officedocument.presentationml.slideLayout+xml"/>
  <Override PartName="/ppt/slideLayouts/slideLayout15367.xml" ContentType="application/vnd.openxmlformats-officedocument.presentationml.slideLayout+xml"/>
  <Override PartName="/ppt/slideLayouts/slideLayout15368.xml" ContentType="application/vnd.openxmlformats-officedocument.presentationml.slideLayout+xml"/>
  <Override PartName="/ppt/slideLayouts/slideLayout15369.xml" ContentType="application/vnd.openxmlformats-officedocument.presentationml.slideLayout+xml"/>
  <Override PartName="/ppt/slideLayouts/slideLayout15370.xml" ContentType="application/vnd.openxmlformats-officedocument.presentationml.slideLayout+xml"/>
  <Override PartName="/ppt/slideLayouts/slideLayout15371.xml" ContentType="application/vnd.openxmlformats-officedocument.presentationml.slideLayout+xml"/>
  <Override PartName="/ppt/slideLayouts/slideLayout15372.xml" ContentType="application/vnd.openxmlformats-officedocument.presentationml.slideLayout+xml"/>
  <Override PartName="/ppt/slideLayouts/slideLayout15373.xml" ContentType="application/vnd.openxmlformats-officedocument.presentationml.slideLayout+xml"/>
  <Override PartName="/ppt/slideLayouts/slideLayout15374.xml" ContentType="application/vnd.openxmlformats-officedocument.presentationml.slideLayout+xml"/>
  <Override PartName="/ppt/slideLayouts/slideLayout15375.xml" ContentType="application/vnd.openxmlformats-officedocument.presentationml.slideLayout+xml"/>
  <Override PartName="/ppt/slideLayouts/slideLayout15376.xml" ContentType="application/vnd.openxmlformats-officedocument.presentationml.slideLayout+xml"/>
  <Override PartName="/ppt/slideLayouts/slideLayout15377.xml" ContentType="application/vnd.openxmlformats-officedocument.presentationml.slideLayout+xml"/>
  <Override PartName="/ppt/slideLayouts/slideLayout15378.xml" ContentType="application/vnd.openxmlformats-officedocument.presentationml.slideLayout+xml"/>
  <Override PartName="/ppt/slideLayouts/slideLayout15379.xml" ContentType="application/vnd.openxmlformats-officedocument.presentationml.slideLayout+xml"/>
  <Override PartName="/ppt/slideLayouts/slideLayout15380.xml" ContentType="application/vnd.openxmlformats-officedocument.presentationml.slideLayout+xml"/>
  <Override PartName="/ppt/slideLayouts/slideLayout15381.xml" ContentType="application/vnd.openxmlformats-officedocument.presentationml.slideLayout+xml"/>
  <Override PartName="/ppt/slideLayouts/slideLayout15382.xml" ContentType="application/vnd.openxmlformats-officedocument.presentationml.slideLayout+xml"/>
  <Override PartName="/ppt/slideLayouts/slideLayout15383.xml" ContentType="application/vnd.openxmlformats-officedocument.presentationml.slideLayout+xml"/>
  <Override PartName="/ppt/slideLayouts/slideLayout15384.xml" ContentType="application/vnd.openxmlformats-officedocument.presentationml.slideLayout+xml"/>
  <Override PartName="/ppt/slideLayouts/slideLayout15385.xml" ContentType="application/vnd.openxmlformats-officedocument.presentationml.slideLayout+xml"/>
  <Override PartName="/ppt/slideLayouts/slideLayout15386.xml" ContentType="application/vnd.openxmlformats-officedocument.presentationml.slideLayout+xml"/>
  <Override PartName="/ppt/slideLayouts/slideLayout15387.xml" ContentType="application/vnd.openxmlformats-officedocument.presentationml.slideLayout+xml"/>
  <Override PartName="/ppt/slideLayouts/slideLayout15388.xml" ContentType="application/vnd.openxmlformats-officedocument.presentationml.slideLayout+xml"/>
  <Override PartName="/ppt/slideLayouts/slideLayout15389.xml" ContentType="application/vnd.openxmlformats-officedocument.presentationml.slideLayout+xml"/>
  <Override PartName="/ppt/slideLayouts/slideLayout15390.xml" ContentType="application/vnd.openxmlformats-officedocument.presentationml.slideLayout+xml"/>
  <Override PartName="/ppt/slideLayouts/slideLayout15391.xml" ContentType="application/vnd.openxmlformats-officedocument.presentationml.slideLayout+xml"/>
  <Override PartName="/ppt/slideLayouts/slideLayout15392.xml" ContentType="application/vnd.openxmlformats-officedocument.presentationml.slideLayout+xml"/>
  <Override PartName="/ppt/slideLayouts/slideLayout15393.xml" ContentType="application/vnd.openxmlformats-officedocument.presentationml.slideLayout+xml"/>
  <Override PartName="/ppt/slideLayouts/slideLayout15394.xml" ContentType="application/vnd.openxmlformats-officedocument.presentationml.slideLayout+xml"/>
  <Override PartName="/ppt/slideLayouts/slideLayout15395.xml" ContentType="application/vnd.openxmlformats-officedocument.presentationml.slideLayout+xml"/>
  <Override PartName="/ppt/slideLayouts/slideLayout15396.xml" ContentType="application/vnd.openxmlformats-officedocument.presentationml.slideLayout+xml"/>
  <Override PartName="/ppt/slideLayouts/slideLayout15397.xml" ContentType="application/vnd.openxmlformats-officedocument.presentationml.slideLayout+xml"/>
  <Override PartName="/ppt/slideLayouts/slideLayout15398.xml" ContentType="application/vnd.openxmlformats-officedocument.presentationml.slideLayout+xml"/>
  <Override PartName="/ppt/slideLayouts/slideLayout15399.xml" ContentType="application/vnd.openxmlformats-officedocument.presentationml.slideLayout+xml"/>
  <Override PartName="/ppt/slideLayouts/slideLayout15400.xml" ContentType="application/vnd.openxmlformats-officedocument.presentationml.slideLayout+xml"/>
  <Override PartName="/ppt/slideLayouts/slideLayout15401.xml" ContentType="application/vnd.openxmlformats-officedocument.presentationml.slideLayout+xml"/>
  <Override PartName="/ppt/slideLayouts/slideLayout15402.xml" ContentType="application/vnd.openxmlformats-officedocument.presentationml.slideLayout+xml"/>
  <Override PartName="/ppt/slideLayouts/slideLayout15403.xml" ContentType="application/vnd.openxmlformats-officedocument.presentationml.slideLayout+xml"/>
  <Override PartName="/ppt/slideLayouts/slideLayout15404.xml" ContentType="application/vnd.openxmlformats-officedocument.presentationml.slideLayout+xml"/>
  <Override PartName="/ppt/slideLayouts/slideLayout15405.xml" ContentType="application/vnd.openxmlformats-officedocument.presentationml.slideLayout+xml"/>
  <Override PartName="/ppt/slideLayouts/slideLayout15406.xml" ContentType="application/vnd.openxmlformats-officedocument.presentationml.slideLayout+xml"/>
  <Override PartName="/ppt/slideLayouts/slideLayout15407.xml" ContentType="application/vnd.openxmlformats-officedocument.presentationml.slideLayout+xml"/>
  <Override PartName="/ppt/slideLayouts/slideLayout15408.xml" ContentType="application/vnd.openxmlformats-officedocument.presentationml.slideLayout+xml"/>
  <Override PartName="/ppt/slideLayouts/slideLayout15409.xml" ContentType="application/vnd.openxmlformats-officedocument.presentationml.slideLayout+xml"/>
  <Override PartName="/ppt/slideLayouts/slideLayout15410.xml" ContentType="application/vnd.openxmlformats-officedocument.presentationml.slideLayout+xml"/>
  <Override PartName="/ppt/slideLayouts/slideLayout15411.xml" ContentType="application/vnd.openxmlformats-officedocument.presentationml.slideLayout+xml"/>
  <Override PartName="/ppt/slideLayouts/slideLayout15412.xml" ContentType="application/vnd.openxmlformats-officedocument.presentationml.slideLayout+xml"/>
  <Override PartName="/ppt/slideLayouts/slideLayout15413.xml" ContentType="application/vnd.openxmlformats-officedocument.presentationml.slideLayout+xml"/>
  <Override PartName="/ppt/slideLayouts/slideLayout15414.xml" ContentType="application/vnd.openxmlformats-officedocument.presentationml.slideLayout+xml"/>
  <Override PartName="/ppt/slideLayouts/slideLayout15415.xml" ContentType="application/vnd.openxmlformats-officedocument.presentationml.slideLayout+xml"/>
  <Override PartName="/ppt/slideLayouts/slideLayout15416.xml" ContentType="application/vnd.openxmlformats-officedocument.presentationml.slideLayout+xml"/>
  <Override PartName="/ppt/slideLayouts/slideLayout15417.xml" ContentType="application/vnd.openxmlformats-officedocument.presentationml.slideLayout+xml"/>
  <Override PartName="/ppt/slideLayouts/slideLayout15418.xml" ContentType="application/vnd.openxmlformats-officedocument.presentationml.slideLayout+xml"/>
  <Override PartName="/ppt/slideLayouts/slideLayout15419.xml" ContentType="application/vnd.openxmlformats-officedocument.presentationml.slideLayout+xml"/>
  <Override PartName="/ppt/slideLayouts/slideLayout15420.xml" ContentType="application/vnd.openxmlformats-officedocument.presentationml.slideLayout+xml"/>
  <Override PartName="/ppt/slideLayouts/slideLayout15421.xml" ContentType="application/vnd.openxmlformats-officedocument.presentationml.slideLayout+xml"/>
  <Override PartName="/ppt/slideLayouts/slideLayout15422.xml" ContentType="application/vnd.openxmlformats-officedocument.presentationml.slideLayout+xml"/>
  <Override PartName="/ppt/slideLayouts/slideLayout15423.xml" ContentType="application/vnd.openxmlformats-officedocument.presentationml.slideLayout+xml"/>
  <Override PartName="/ppt/slideLayouts/slideLayout15424.xml" ContentType="application/vnd.openxmlformats-officedocument.presentationml.slideLayout+xml"/>
  <Override PartName="/ppt/slideLayouts/slideLayout15425.xml" ContentType="application/vnd.openxmlformats-officedocument.presentationml.slideLayout+xml"/>
  <Override PartName="/ppt/slideLayouts/slideLayout15426.xml" ContentType="application/vnd.openxmlformats-officedocument.presentationml.slideLayout+xml"/>
  <Override PartName="/ppt/slideLayouts/slideLayout15427.xml" ContentType="application/vnd.openxmlformats-officedocument.presentationml.slideLayout+xml"/>
  <Override PartName="/ppt/slideLayouts/slideLayout15428.xml" ContentType="application/vnd.openxmlformats-officedocument.presentationml.slideLayout+xml"/>
  <Override PartName="/ppt/slideLayouts/slideLayout15429.xml" ContentType="application/vnd.openxmlformats-officedocument.presentationml.slideLayout+xml"/>
  <Override PartName="/ppt/slideLayouts/slideLayout15430.xml" ContentType="application/vnd.openxmlformats-officedocument.presentationml.slideLayout+xml"/>
  <Override PartName="/ppt/slideLayouts/slideLayout15431.xml" ContentType="application/vnd.openxmlformats-officedocument.presentationml.slideLayout+xml"/>
  <Override PartName="/ppt/slideLayouts/slideLayout15432.xml" ContentType="application/vnd.openxmlformats-officedocument.presentationml.slideLayout+xml"/>
  <Override PartName="/ppt/slideLayouts/slideLayout15433.xml" ContentType="application/vnd.openxmlformats-officedocument.presentationml.slideLayout+xml"/>
  <Override PartName="/ppt/slideLayouts/slideLayout15434.xml" ContentType="application/vnd.openxmlformats-officedocument.presentationml.slideLayout+xml"/>
  <Override PartName="/ppt/slideLayouts/slideLayout15435.xml" ContentType="application/vnd.openxmlformats-officedocument.presentationml.slideLayout+xml"/>
  <Override PartName="/ppt/slideLayouts/slideLayout15436.xml" ContentType="application/vnd.openxmlformats-officedocument.presentationml.slideLayout+xml"/>
  <Override PartName="/ppt/slideLayouts/slideLayout15437.xml" ContentType="application/vnd.openxmlformats-officedocument.presentationml.slideLayout+xml"/>
  <Override PartName="/ppt/slideLayouts/slideLayout15438.xml" ContentType="application/vnd.openxmlformats-officedocument.presentationml.slideLayout+xml"/>
  <Override PartName="/ppt/slideLayouts/slideLayout15439.xml" ContentType="application/vnd.openxmlformats-officedocument.presentationml.slideLayout+xml"/>
  <Override PartName="/ppt/slideLayouts/slideLayout15440.xml" ContentType="application/vnd.openxmlformats-officedocument.presentationml.slideLayout+xml"/>
  <Override PartName="/ppt/slideLayouts/slideLayout15441.xml" ContentType="application/vnd.openxmlformats-officedocument.presentationml.slideLayout+xml"/>
  <Override PartName="/ppt/slideLayouts/slideLayout15442.xml" ContentType="application/vnd.openxmlformats-officedocument.presentationml.slideLayout+xml"/>
  <Override PartName="/ppt/slideLayouts/slideLayout15443.xml" ContentType="application/vnd.openxmlformats-officedocument.presentationml.slideLayout+xml"/>
  <Override PartName="/ppt/slideLayouts/slideLayout15444.xml" ContentType="application/vnd.openxmlformats-officedocument.presentationml.slideLayout+xml"/>
  <Override PartName="/ppt/slideLayouts/slideLayout15445.xml" ContentType="application/vnd.openxmlformats-officedocument.presentationml.slideLayout+xml"/>
  <Override PartName="/ppt/slideLayouts/slideLayout15446.xml" ContentType="application/vnd.openxmlformats-officedocument.presentationml.slideLayout+xml"/>
  <Override PartName="/ppt/slideLayouts/slideLayout15447.xml" ContentType="application/vnd.openxmlformats-officedocument.presentationml.slideLayout+xml"/>
  <Override PartName="/ppt/slideLayouts/slideLayout15448.xml" ContentType="application/vnd.openxmlformats-officedocument.presentationml.slideLayout+xml"/>
  <Override PartName="/ppt/slideLayouts/slideLayout15449.xml" ContentType="application/vnd.openxmlformats-officedocument.presentationml.slideLayout+xml"/>
  <Override PartName="/ppt/slideLayouts/slideLayout15450.xml" ContentType="application/vnd.openxmlformats-officedocument.presentationml.slideLayout+xml"/>
  <Override PartName="/ppt/slideLayouts/slideLayout15451.xml" ContentType="application/vnd.openxmlformats-officedocument.presentationml.slideLayout+xml"/>
  <Override PartName="/ppt/slideLayouts/slideLayout15452.xml" ContentType="application/vnd.openxmlformats-officedocument.presentationml.slideLayout+xml"/>
  <Override PartName="/ppt/slideLayouts/slideLayout15453.xml" ContentType="application/vnd.openxmlformats-officedocument.presentationml.slideLayout+xml"/>
  <Override PartName="/ppt/slideLayouts/slideLayout15454.xml" ContentType="application/vnd.openxmlformats-officedocument.presentationml.slideLayout+xml"/>
  <Override PartName="/ppt/slideLayouts/slideLayout15455.xml" ContentType="application/vnd.openxmlformats-officedocument.presentationml.slideLayout+xml"/>
  <Override PartName="/ppt/slideLayouts/slideLayout15456.xml" ContentType="application/vnd.openxmlformats-officedocument.presentationml.slideLayout+xml"/>
  <Override PartName="/ppt/slideLayouts/slideLayout15457.xml" ContentType="application/vnd.openxmlformats-officedocument.presentationml.slideLayout+xml"/>
  <Override PartName="/ppt/slideLayouts/slideLayout15458.xml" ContentType="application/vnd.openxmlformats-officedocument.presentationml.slideLayout+xml"/>
  <Override PartName="/ppt/slideLayouts/slideLayout15459.xml" ContentType="application/vnd.openxmlformats-officedocument.presentationml.slideLayout+xml"/>
  <Override PartName="/ppt/slideLayouts/slideLayout15460.xml" ContentType="application/vnd.openxmlformats-officedocument.presentationml.slideLayout+xml"/>
  <Override PartName="/ppt/slideLayouts/slideLayout15461.xml" ContentType="application/vnd.openxmlformats-officedocument.presentationml.slideLayout+xml"/>
  <Override PartName="/ppt/slideLayouts/slideLayout15462.xml" ContentType="application/vnd.openxmlformats-officedocument.presentationml.slideLayout+xml"/>
  <Override PartName="/ppt/slideLayouts/slideLayout15463.xml" ContentType="application/vnd.openxmlformats-officedocument.presentationml.slideLayout+xml"/>
  <Override PartName="/ppt/slideLayouts/slideLayout15464.xml" ContentType="application/vnd.openxmlformats-officedocument.presentationml.slideLayout+xml"/>
  <Override PartName="/ppt/slideLayouts/slideLayout15465.xml" ContentType="application/vnd.openxmlformats-officedocument.presentationml.slideLayout+xml"/>
  <Override PartName="/ppt/slideLayouts/slideLayout15466.xml" ContentType="application/vnd.openxmlformats-officedocument.presentationml.slideLayout+xml"/>
  <Override PartName="/ppt/slideLayouts/slideLayout15467.xml" ContentType="application/vnd.openxmlformats-officedocument.presentationml.slideLayout+xml"/>
  <Override PartName="/ppt/slideLayouts/slideLayout15468.xml" ContentType="application/vnd.openxmlformats-officedocument.presentationml.slideLayout+xml"/>
  <Override PartName="/ppt/slideLayouts/slideLayout15469.xml" ContentType="application/vnd.openxmlformats-officedocument.presentationml.slideLayout+xml"/>
  <Override PartName="/ppt/slideLayouts/slideLayout15470.xml" ContentType="application/vnd.openxmlformats-officedocument.presentationml.slideLayout+xml"/>
  <Override PartName="/ppt/slideLayouts/slideLayout15471.xml" ContentType="application/vnd.openxmlformats-officedocument.presentationml.slideLayout+xml"/>
  <Override PartName="/ppt/slideLayouts/slideLayout15472.xml" ContentType="application/vnd.openxmlformats-officedocument.presentationml.slideLayout+xml"/>
  <Override PartName="/ppt/slideLayouts/slideLayout15473.xml" ContentType="application/vnd.openxmlformats-officedocument.presentationml.slideLayout+xml"/>
  <Override PartName="/ppt/slideLayouts/slideLayout15474.xml" ContentType="application/vnd.openxmlformats-officedocument.presentationml.slideLayout+xml"/>
  <Override PartName="/ppt/slideLayouts/slideLayout15475.xml" ContentType="application/vnd.openxmlformats-officedocument.presentationml.slideLayout+xml"/>
  <Override PartName="/ppt/slideLayouts/slideLayout15476.xml" ContentType="application/vnd.openxmlformats-officedocument.presentationml.slideLayout+xml"/>
  <Override PartName="/ppt/slideLayouts/slideLayout15477.xml" ContentType="application/vnd.openxmlformats-officedocument.presentationml.slideLayout+xml"/>
  <Override PartName="/ppt/slideLayouts/slideLayout15478.xml" ContentType="application/vnd.openxmlformats-officedocument.presentationml.slideLayout+xml"/>
  <Override PartName="/ppt/slideLayouts/slideLayout15479.xml" ContentType="application/vnd.openxmlformats-officedocument.presentationml.slideLayout+xml"/>
  <Override PartName="/ppt/slideLayouts/slideLayout15480.xml" ContentType="application/vnd.openxmlformats-officedocument.presentationml.slideLayout+xml"/>
  <Override PartName="/ppt/slideLayouts/slideLayout15481.xml" ContentType="application/vnd.openxmlformats-officedocument.presentationml.slideLayout+xml"/>
  <Override PartName="/ppt/slideLayouts/slideLayout15482.xml" ContentType="application/vnd.openxmlformats-officedocument.presentationml.slideLayout+xml"/>
  <Override PartName="/ppt/slideLayouts/slideLayout15483.xml" ContentType="application/vnd.openxmlformats-officedocument.presentationml.slideLayout+xml"/>
  <Override PartName="/ppt/slideLayouts/slideLayout15484.xml" ContentType="application/vnd.openxmlformats-officedocument.presentationml.slideLayout+xml"/>
  <Override PartName="/ppt/slideLayouts/slideLayout15485.xml" ContentType="application/vnd.openxmlformats-officedocument.presentationml.slideLayout+xml"/>
  <Override PartName="/ppt/slideLayouts/slideLayout15486.xml" ContentType="application/vnd.openxmlformats-officedocument.presentationml.slideLayout+xml"/>
  <Override PartName="/ppt/slideLayouts/slideLayout15487.xml" ContentType="application/vnd.openxmlformats-officedocument.presentationml.slideLayout+xml"/>
  <Override PartName="/ppt/slideLayouts/slideLayout15488.xml" ContentType="application/vnd.openxmlformats-officedocument.presentationml.slideLayout+xml"/>
  <Override PartName="/ppt/slideLayouts/slideLayout15489.xml" ContentType="application/vnd.openxmlformats-officedocument.presentationml.slideLayout+xml"/>
  <Override PartName="/ppt/slideLayouts/slideLayout15490.xml" ContentType="application/vnd.openxmlformats-officedocument.presentationml.slideLayout+xml"/>
  <Override PartName="/ppt/slideLayouts/slideLayout15491.xml" ContentType="application/vnd.openxmlformats-officedocument.presentationml.slideLayout+xml"/>
  <Override PartName="/ppt/slideLayouts/slideLayout15492.xml" ContentType="application/vnd.openxmlformats-officedocument.presentationml.slideLayout+xml"/>
  <Override PartName="/ppt/slideLayouts/slideLayout15493.xml" ContentType="application/vnd.openxmlformats-officedocument.presentationml.slideLayout+xml"/>
  <Override PartName="/ppt/slideLayouts/slideLayout15494.xml" ContentType="application/vnd.openxmlformats-officedocument.presentationml.slideLayout+xml"/>
  <Override PartName="/ppt/slideLayouts/slideLayout15495.xml" ContentType="application/vnd.openxmlformats-officedocument.presentationml.slideLayout+xml"/>
  <Override PartName="/ppt/slideLayouts/slideLayout15496.xml" ContentType="application/vnd.openxmlformats-officedocument.presentationml.slideLayout+xml"/>
  <Override PartName="/ppt/slideLayouts/slideLayout15497.xml" ContentType="application/vnd.openxmlformats-officedocument.presentationml.slideLayout+xml"/>
  <Override PartName="/ppt/slideLayouts/slideLayout15498.xml" ContentType="application/vnd.openxmlformats-officedocument.presentationml.slideLayout+xml"/>
  <Override PartName="/ppt/slideLayouts/slideLayout15499.xml" ContentType="application/vnd.openxmlformats-officedocument.presentationml.slideLayout+xml"/>
  <Override PartName="/ppt/slideLayouts/slideLayout15500.xml" ContentType="application/vnd.openxmlformats-officedocument.presentationml.slideLayout+xml"/>
  <Override PartName="/ppt/slideLayouts/slideLayout15501.xml" ContentType="application/vnd.openxmlformats-officedocument.presentationml.slideLayout+xml"/>
  <Override PartName="/ppt/slideLayouts/slideLayout15502.xml" ContentType="application/vnd.openxmlformats-officedocument.presentationml.slideLayout+xml"/>
  <Override PartName="/ppt/slideLayouts/slideLayout15503.xml" ContentType="application/vnd.openxmlformats-officedocument.presentationml.slideLayout+xml"/>
  <Override PartName="/ppt/slideLayouts/slideLayout15504.xml" ContentType="application/vnd.openxmlformats-officedocument.presentationml.slideLayout+xml"/>
  <Override PartName="/ppt/slideLayouts/slideLayout15505.xml" ContentType="application/vnd.openxmlformats-officedocument.presentationml.slideLayout+xml"/>
  <Override PartName="/ppt/slideLayouts/slideLayout15506.xml" ContentType="application/vnd.openxmlformats-officedocument.presentationml.slideLayout+xml"/>
  <Override PartName="/ppt/slideLayouts/slideLayout15507.xml" ContentType="application/vnd.openxmlformats-officedocument.presentationml.slideLayout+xml"/>
  <Override PartName="/ppt/slideLayouts/slideLayout15508.xml" ContentType="application/vnd.openxmlformats-officedocument.presentationml.slideLayout+xml"/>
  <Override PartName="/ppt/slideLayouts/slideLayout15509.xml" ContentType="application/vnd.openxmlformats-officedocument.presentationml.slideLayout+xml"/>
  <Override PartName="/ppt/slideLayouts/slideLayout15510.xml" ContentType="application/vnd.openxmlformats-officedocument.presentationml.slideLayout+xml"/>
  <Override PartName="/ppt/slideLayouts/slideLayout15511.xml" ContentType="application/vnd.openxmlformats-officedocument.presentationml.slideLayout+xml"/>
  <Override PartName="/ppt/slideLayouts/slideLayout15512.xml" ContentType="application/vnd.openxmlformats-officedocument.presentationml.slideLayout+xml"/>
  <Override PartName="/ppt/slideLayouts/slideLayout15513.xml" ContentType="application/vnd.openxmlformats-officedocument.presentationml.slideLayout+xml"/>
  <Override PartName="/ppt/slideLayouts/slideLayout15514.xml" ContentType="application/vnd.openxmlformats-officedocument.presentationml.slideLayout+xml"/>
  <Override PartName="/ppt/slideLayouts/slideLayout15515.xml" ContentType="application/vnd.openxmlformats-officedocument.presentationml.slideLayout+xml"/>
  <Override PartName="/ppt/slideLayouts/slideLayout15516.xml" ContentType="application/vnd.openxmlformats-officedocument.presentationml.slideLayout+xml"/>
  <Override PartName="/ppt/slideLayouts/slideLayout15517.xml" ContentType="application/vnd.openxmlformats-officedocument.presentationml.slideLayout+xml"/>
  <Override PartName="/ppt/slideLayouts/slideLayout15518.xml" ContentType="application/vnd.openxmlformats-officedocument.presentationml.slideLayout+xml"/>
  <Override PartName="/ppt/slideLayouts/slideLayout15519.xml" ContentType="application/vnd.openxmlformats-officedocument.presentationml.slideLayout+xml"/>
  <Override PartName="/ppt/slideLayouts/slideLayout15520.xml" ContentType="application/vnd.openxmlformats-officedocument.presentationml.slideLayout+xml"/>
  <Override PartName="/ppt/slideLayouts/slideLayout15521.xml" ContentType="application/vnd.openxmlformats-officedocument.presentationml.slideLayout+xml"/>
  <Override PartName="/ppt/slideLayouts/slideLayout15522.xml" ContentType="application/vnd.openxmlformats-officedocument.presentationml.slideLayout+xml"/>
  <Override PartName="/ppt/slideLayouts/slideLayout15523.xml" ContentType="application/vnd.openxmlformats-officedocument.presentationml.slideLayout+xml"/>
  <Override PartName="/ppt/slideLayouts/slideLayout15524.xml" ContentType="application/vnd.openxmlformats-officedocument.presentationml.slideLayout+xml"/>
  <Override PartName="/ppt/slideLayouts/slideLayout15525.xml" ContentType="application/vnd.openxmlformats-officedocument.presentationml.slideLayout+xml"/>
  <Override PartName="/ppt/slideLayouts/slideLayout15526.xml" ContentType="application/vnd.openxmlformats-officedocument.presentationml.slideLayout+xml"/>
  <Override PartName="/ppt/slideLayouts/slideLayout15527.xml" ContentType="application/vnd.openxmlformats-officedocument.presentationml.slideLayout+xml"/>
  <Override PartName="/ppt/slideLayouts/slideLayout15528.xml" ContentType="application/vnd.openxmlformats-officedocument.presentationml.slideLayout+xml"/>
  <Override PartName="/ppt/slideLayouts/slideLayout15529.xml" ContentType="application/vnd.openxmlformats-officedocument.presentationml.slideLayout+xml"/>
  <Override PartName="/ppt/slideLayouts/slideLayout15530.xml" ContentType="application/vnd.openxmlformats-officedocument.presentationml.slideLayout+xml"/>
  <Override PartName="/ppt/slideLayouts/slideLayout15531.xml" ContentType="application/vnd.openxmlformats-officedocument.presentationml.slideLayout+xml"/>
  <Override PartName="/ppt/slideLayouts/slideLayout15532.xml" ContentType="application/vnd.openxmlformats-officedocument.presentationml.slideLayout+xml"/>
  <Override PartName="/ppt/slideLayouts/slideLayout15533.xml" ContentType="application/vnd.openxmlformats-officedocument.presentationml.slideLayout+xml"/>
  <Override PartName="/ppt/slideLayouts/slideLayout15534.xml" ContentType="application/vnd.openxmlformats-officedocument.presentationml.slideLayout+xml"/>
  <Override PartName="/ppt/slideLayouts/slideLayout15535.xml" ContentType="application/vnd.openxmlformats-officedocument.presentationml.slideLayout+xml"/>
  <Override PartName="/ppt/slideLayouts/slideLayout15536.xml" ContentType="application/vnd.openxmlformats-officedocument.presentationml.slideLayout+xml"/>
  <Override PartName="/ppt/slideLayouts/slideLayout15537.xml" ContentType="application/vnd.openxmlformats-officedocument.presentationml.slideLayout+xml"/>
  <Override PartName="/ppt/slideLayouts/slideLayout15538.xml" ContentType="application/vnd.openxmlformats-officedocument.presentationml.slideLayout+xml"/>
  <Override PartName="/ppt/slideLayouts/slideLayout15539.xml" ContentType="application/vnd.openxmlformats-officedocument.presentationml.slideLayout+xml"/>
  <Override PartName="/ppt/slideLayouts/slideLayout15540.xml" ContentType="application/vnd.openxmlformats-officedocument.presentationml.slideLayout+xml"/>
  <Override PartName="/ppt/slideLayouts/slideLayout15541.xml" ContentType="application/vnd.openxmlformats-officedocument.presentationml.slideLayout+xml"/>
  <Override PartName="/ppt/slideLayouts/slideLayout15542.xml" ContentType="application/vnd.openxmlformats-officedocument.presentationml.slideLayout+xml"/>
  <Override PartName="/ppt/slideLayouts/slideLayout15543.xml" ContentType="application/vnd.openxmlformats-officedocument.presentationml.slideLayout+xml"/>
  <Override PartName="/ppt/slideLayouts/slideLayout15544.xml" ContentType="application/vnd.openxmlformats-officedocument.presentationml.slideLayout+xml"/>
  <Override PartName="/ppt/slideLayouts/slideLayout15545.xml" ContentType="application/vnd.openxmlformats-officedocument.presentationml.slideLayout+xml"/>
  <Override PartName="/ppt/slideLayouts/slideLayout15546.xml" ContentType="application/vnd.openxmlformats-officedocument.presentationml.slideLayout+xml"/>
  <Override PartName="/ppt/slideLayouts/slideLayout15547.xml" ContentType="application/vnd.openxmlformats-officedocument.presentationml.slideLayout+xml"/>
  <Override PartName="/ppt/slideLayouts/slideLayout15548.xml" ContentType="application/vnd.openxmlformats-officedocument.presentationml.slideLayout+xml"/>
  <Override PartName="/ppt/slideLayouts/slideLayout15549.xml" ContentType="application/vnd.openxmlformats-officedocument.presentationml.slideLayout+xml"/>
  <Override PartName="/ppt/slideLayouts/slideLayout15550.xml" ContentType="application/vnd.openxmlformats-officedocument.presentationml.slideLayout+xml"/>
  <Override PartName="/ppt/slideLayouts/slideLayout15551.xml" ContentType="application/vnd.openxmlformats-officedocument.presentationml.slideLayout+xml"/>
  <Override PartName="/ppt/slideLayouts/slideLayout15552.xml" ContentType="application/vnd.openxmlformats-officedocument.presentationml.slideLayout+xml"/>
  <Override PartName="/ppt/slideLayouts/slideLayout15553.xml" ContentType="application/vnd.openxmlformats-officedocument.presentationml.slideLayout+xml"/>
  <Override PartName="/ppt/slideLayouts/slideLayout15554.xml" ContentType="application/vnd.openxmlformats-officedocument.presentationml.slideLayout+xml"/>
  <Override PartName="/ppt/slideLayouts/slideLayout15555.xml" ContentType="application/vnd.openxmlformats-officedocument.presentationml.slideLayout+xml"/>
  <Override PartName="/ppt/slideLayouts/slideLayout15556.xml" ContentType="application/vnd.openxmlformats-officedocument.presentationml.slideLayout+xml"/>
  <Override PartName="/ppt/slideLayouts/slideLayout15557.xml" ContentType="application/vnd.openxmlformats-officedocument.presentationml.slideLayout+xml"/>
  <Override PartName="/ppt/slideLayouts/slideLayout15558.xml" ContentType="application/vnd.openxmlformats-officedocument.presentationml.slideLayout+xml"/>
  <Override PartName="/ppt/slideLayouts/slideLayout15559.xml" ContentType="application/vnd.openxmlformats-officedocument.presentationml.slideLayout+xml"/>
  <Override PartName="/ppt/slideLayouts/slideLayout15560.xml" ContentType="application/vnd.openxmlformats-officedocument.presentationml.slideLayout+xml"/>
  <Override PartName="/ppt/slideLayouts/slideLayout15561.xml" ContentType="application/vnd.openxmlformats-officedocument.presentationml.slideLayout+xml"/>
  <Override PartName="/ppt/slideLayouts/slideLayout15562.xml" ContentType="application/vnd.openxmlformats-officedocument.presentationml.slideLayout+xml"/>
  <Override PartName="/ppt/slideLayouts/slideLayout15563.xml" ContentType="application/vnd.openxmlformats-officedocument.presentationml.slideLayout+xml"/>
  <Override PartName="/ppt/slideLayouts/slideLayout15564.xml" ContentType="application/vnd.openxmlformats-officedocument.presentationml.slideLayout+xml"/>
  <Override PartName="/ppt/slideLayouts/slideLayout15565.xml" ContentType="application/vnd.openxmlformats-officedocument.presentationml.slideLayout+xml"/>
  <Override PartName="/ppt/slideLayouts/slideLayout15566.xml" ContentType="application/vnd.openxmlformats-officedocument.presentationml.slideLayout+xml"/>
  <Override PartName="/ppt/slideLayouts/slideLayout15567.xml" ContentType="application/vnd.openxmlformats-officedocument.presentationml.slideLayout+xml"/>
  <Override PartName="/ppt/slideLayouts/slideLayout15568.xml" ContentType="application/vnd.openxmlformats-officedocument.presentationml.slideLayout+xml"/>
  <Override PartName="/ppt/slideLayouts/slideLayout15569.xml" ContentType="application/vnd.openxmlformats-officedocument.presentationml.slideLayout+xml"/>
  <Override PartName="/ppt/slideLayouts/slideLayout15570.xml" ContentType="application/vnd.openxmlformats-officedocument.presentationml.slideLayout+xml"/>
  <Override PartName="/ppt/slideLayouts/slideLayout15571.xml" ContentType="application/vnd.openxmlformats-officedocument.presentationml.slideLayout+xml"/>
  <Override PartName="/ppt/slideLayouts/slideLayout15572.xml" ContentType="application/vnd.openxmlformats-officedocument.presentationml.slideLayout+xml"/>
  <Override PartName="/ppt/slideLayouts/slideLayout15573.xml" ContentType="application/vnd.openxmlformats-officedocument.presentationml.slideLayout+xml"/>
  <Override PartName="/ppt/slideLayouts/slideLayout15574.xml" ContentType="application/vnd.openxmlformats-officedocument.presentationml.slideLayout+xml"/>
  <Override PartName="/ppt/slideLayouts/slideLayout15575.xml" ContentType="application/vnd.openxmlformats-officedocument.presentationml.slideLayout+xml"/>
  <Override PartName="/ppt/slideLayouts/slideLayout15576.xml" ContentType="application/vnd.openxmlformats-officedocument.presentationml.slideLayout+xml"/>
  <Override PartName="/ppt/slideLayouts/slideLayout15577.xml" ContentType="application/vnd.openxmlformats-officedocument.presentationml.slideLayout+xml"/>
  <Override PartName="/ppt/slideLayouts/slideLayout15578.xml" ContentType="application/vnd.openxmlformats-officedocument.presentationml.slideLayout+xml"/>
  <Override PartName="/ppt/slideLayouts/slideLayout15579.xml" ContentType="application/vnd.openxmlformats-officedocument.presentationml.slideLayout+xml"/>
  <Override PartName="/ppt/slideLayouts/slideLayout15580.xml" ContentType="application/vnd.openxmlformats-officedocument.presentationml.slideLayout+xml"/>
  <Override PartName="/ppt/slideLayouts/slideLayout15581.xml" ContentType="application/vnd.openxmlformats-officedocument.presentationml.slideLayout+xml"/>
  <Override PartName="/ppt/slideLayouts/slideLayout15582.xml" ContentType="application/vnd.openxmlformats-officedocument.presentationml.slideLayout+xml"/>
  <Override PartName="/ppt/slideLayouts/slideLayout15583.xml" ContentType="application/vnd.openxmlformats-officedocument.presentationml.slideLayout+xml"/>
  <Override PartName="/ppt/slideLayouts/slideLayout15584.xml" ContentType="application/vnd.openxmlformats-officedocument.presentationml.slideLayout+xml"/>
  <Override PartName="/ppt/slideLayouts/slideLayout15585.xml" ContentType="application/vnd.openxmlformats-officedocument.presentationml.slideLayout+xml"/>
  <Override PartName="/ppt/slideLayouts/slideLayout15586.xml" ContentType="application/vnd.openxmlformats-officedocument.presentationml.slideLayout+xml"/>
  <Override PartName="/ppt/slideLayouts/slideLayout15587.xml" ContentType="application/vnd.openxmlformats-officedocument.presentationml.slideLayout+xml"/>
  <Override PartName="/ppt/slideLayouts/slideLayout15588.xml" ContentType="application/vnd.openxmlformats-officedocument.presentationml.slideLayout+xml"/>
  <Override PartName="/ppt/slideLayouts/slideLayout15589.xml" ContentType="application/vnd.openxmlformats-officedocument.presentationml.slideLayout+xml"/>
  <Override PartName="/ppt/slideLayouts/slideLayout15590.xml" ContentType="application/vnd.openxmlformats-officedocument.presentationml.slideLayout+xml"/>
  <Override PartName="/ppt/slideLayouts/slideLayout15591.xml" ContentType="application/vnd.openxmlformats-officedocument.presentationml.slideLayout+xml"/>
  <Override PartName="/ppt/slideLayouts/slideLayout15592.xml" ContentType="application/vnd.openxmlformats-officedocument.presentationml.slideLayout+xml"/>
  <Override PartName="/ppt/slideLayouts/slideLayout15593.xml" ContentType="application/vnd.openxmlformats-officedocument.presentationml.slideLayout+xml"/>
  <Override PartName="/ppt/slideLayouts/slideLayout15594.xml" ContentType="application/vnd.openxmlformats-officedocument.presentationml.slideLayout+xml"/>
  <Override PartName="/ppt/slideLayouts/slideLayout15595.xml" ContentType="application/vnd.openxmlformats-officedocument.presentationml.slideLayout+xml"/>
  <Override PartName="/ppt/slideLayouts/slideLayout15596.xml" ContentType="application/vnd.openxmlformats-officedocument.presentationml.slideLayout+xml"/>
  <Override PartName="/ppt/slideLayouts/slideLayout15597.xml" ContentType="application/vnd.openxmlformats-officedocument.presentationml.slideLayout+xml"/>
  <Override PartName="/ppt/slideLayouts/slideLayout15598.xml" ContentType="application/vnd.openxmlformats-officedocument.presentationml.slideLayout+xml"/>
  <Override PartName="/ppt/slideLayouts/slideLayout15599.xml" ContentType="application/vnd.openxmlformats-officedocument.presentationml.slideLayout+xml"/>
  <Override PartName="/ppt/slideLayouts/slideLayout15600.xml" ContentType="application/vnd.openxmlformats-officedocument.presentationml.slideLayout+xml"/>
  <Override PartName="/ppt/slideLayouts/slideLayout15601.xml" ContentType="application/vnd.openxmlformats-officedocument.presentationml.slideLayout+xml"/>
  <Override PartName="/ppt/slideLayouts/slideLayout15602.xml" ContentType="application/vnd.openxmlformats-officedocument.presentationml.slideLayout+xml"/>
  <Override PartName="/ppt/slideLayouts/slideLayout15603.xml" ContentType="application/vnd.openxmlformats-officedocument.presentationml.slideLayout+xml"/>
  <Override PartName="/ppt/slideLayouts/slideLayout15604.xml" ContentType="application/vnd.openxmlformats-officedocument.presentationml.slideLayout+xml"/>
  <Override PartName="/ppt/slideLayouts/slideLayout15605.xml" ContentType="application/vnd.openxmlformats-officedocument.presentationml.slideLayout+xml"/>
  <Override PartName="/ppt/slideLayouts/slideLayout15606.xml" ContentType="application/vnd.openxmlformats-officedocument.presentationml.slideLayout+xml"/>
  <Override PartName="/ppt/slideLayouts/slideLayout15607.xml" ContentType="application/vnd.openxmlformats-officedocument.presentationml.slideLayout+xml"/>
  <Override PartName="/ppt/slideLayouts/slideLayout15608.xml" ContentType="application/vnd.openxmlformats-officedocument.presentationml.slideLayout+xml"/>
  <Override PartName="/ppt/slideLayouts/slideLayout15609.xml" ContentType="application/vnd.openxmlformats-officedocument.presentationml.slideLayout+xml"/>
  <Override PartName="/ppt/slideLayouts/slideLayout15610.xml" ContentType="application/vnd.openxmlformats-officedocument.presentationml.slideLayout+xml"/>
  <Override PartName="/ppt/slideLayouts/slideLayout15611.xml" ContentType="application/vnd.openxmlformats-officedocument.presentationml.slideLayout+xml"/>
  <Override PartName="/ppt/slideLayouts/slideLayout15612.xml" ContentType="application/vnd.openxmlformats-officedocument.presentationml.slideLayout+xml"/>
  <Override PartName="/ppt/slideLayouts/slideLayout15613.xml" ContentType="application/vnd.openxmlformats-officedocument.presentationml.slideLayout+xml"/>
  <Override PartName="/ppt/slideLayouts/slideLayout15614.xml" ContentType="application/vnd.openxmlformats-officedocument.presentationml.slideLayout+xml"/>
  <Override PartName="/ppt/slideLayouts/slideLayout15615.xml" ContentType="application/vnd.openxmlformats-officedocument.presentationml.slideLayout+xml"/>
  <Override PartName="/ppt/slideLayouts/slideLayout15616.xml" ContentType="application/vnd.openxmlformats-officedocument.presentationml.slideLayout+xml"/>
  <Override PartName="/ppt/slideLayouts/slideLayout15617.xml" ContentType="application/vnd.openxmlformats-officedocument.presentationml.slideLayout+xml"/>
  <Override PartName="/ppt/slideLayouts/slideLayout15618.xml" ContentType="application/vnd.openxmlformats-officedocument.presentationml.slideLayout+xml"/>
  <Override PartName="/ppt/slideLayouts/slideLayout15619.xml" ContentType="application/vnd.openxmlformats-officedocument.presentationml.slideLayout+xml"/>
  <Override PartName="/ppt/slideLayouts/slideLayout15620.xml" ContentType="application/vnd.openxmlformats-officedocument.presentationml.slideLayout+xml"/>
  <Override PartName="/ppt/slideLayouts/slideLayout15621.xml" ContentType="application/vnd.openxmlformats-officedocument.presentationml.slideLayout+xml"/>
  <Override PartName="/ppt/slideLayouts/slideLayout15622.xml" ContentType="application/vnd.openxmlformats-officedocument.presentationml.slideLayout+xml"/>
  <Override PartName="/ppt/slideLayouts/slideLayout15623.xml" ContentType="application/vnd.openxmlformats-officedocument.presentationml.slideLayout+xml"/>
  <Override PartName="/ppt/slideLayouts/slideLayout15624.xml" ContentType="application/vnd.openxmlformats-officedocument.presentationml.slideLayout+xml"/>
  <Override PartName="/ppt/slideLayouts/slideLayout15625.xml" ContentType="application/vnd.openxmlformats-officedocument.presentationml.slideLayout+xml"/>
  <Override PartName="/ppt/slideLayouts/slideLayout15626.xml" ContentType="application/vnd.openxmlformats-officedocument.presentationml.slideLayout+xml"/>
  <Override PartName="/ppt/slideLayouts/slideLayout15627.xml" ContentType="application/vnd.openxmlformats-officedocument.presentationml.slideLayout+xml"/>
  <Override PartName="/ppt/slideLayouts/slideLayout15628.xml" ContentType="application/vnd.openxmlformats-officedocument.presentationml.slideLayout+xml"/>
  <Override PartName="/ppt/slideLayouts/slideLayout15629.xml" ContentType="application/vnd.openxmlformats-officedocument.presentationml.slideLayout+xml"/>
  <Override PartName="/ppt/slideLayouts/slideLayout15630.xml" ContentType="application/vnd.openxmlformats-officedocument.presentationml.slideLayout+xml"/>
  <Override PartName="/ppt/slideLayouts/slideLayout15631.xml" ContentType="application/vnd.openxmlformats-officedocument.presentationml.slideLayout+xml"/>
  <Override PartName="/ppt/slideLayouts/slideLayout15632.xml" ContentType="application/vnd.openxmlformats-officedocument.presentationml.slideLayout+xml"/>
  <Override PartName="/ppt/slideLayouts/slideLayout15633.xml" ContentType="application/vnd.openxmlformats-officedocument.presentationml.slideLayout+xml"/>
  <Override PartName="/ppt/slideLayouts/slideLayout15634.xml" ContentType="application/vnd.openxmlformats-officedocument.presentationml.slideLayout+xml"/>
  <Override PartName="/ppt/slideLayouts/slideLayout15635.xml" ContentType="application/vnd.openxmlformats-officedocument.presentationml.slideLayout+xml"/>
  <Override PartName="/ppt/slideLayouts/slideLayout15636.xml" ContentType="application/vnd.openxmlformats-officedocument.presentationml.slideLayout+xml"/>
  <Override PartName="/ppt/slideLayouts/slideLayout15637.xml" ContentType="application/vnd.openxmlformats-officedocument.presentationml.slideLayout+xml"/>
  <Override PartName="/ppt/slideLayouts/slideLayout15638.xml" ContentType="application/vnd.openxmlformats-officedocument.presentationml.slideLayout+xml"/>
  <Override PartName="/ppt/slideLayouts/slideLayout15639.xml" ContentType="application/vnd.openxmlformats-officedocument.presentationml.slideLayout+xml"/>
  <Override PartName="/ppt/slideLayouts/slideLayout15640.xml" ContentType="application/vnd.openxmlformats-officedocument.presentationml.slideLayout+xml"/>
  <Override PartName="/ppt/slideLayouts/slideLayout15641.xml" ContentType="application/vnd.openxmlformats-officedocument.presentationml.slideLayout+xml"/>
  <Override PartName="/ppt/slideLayouts/slideLayout15642.xml" ContentType="application/vnd.openxmlformats-officedocument.presentationml.slideLayout+xml"/>
  <Override PartName="/ppt/slideLayouts/slideLayout15643.xml" ContentType="application/vnd.openxmlformats-officedocument.presentationml.slideLayout+xml"/>
  <Override PartName="/ppt/slideLayouts/slideLayout15644.xml" ContentType="application/vnd.openxmlformats-officedocument.presentationml.slideLayout+xml"/>
  <Override PartName="/ppt/slideLayouts/slideLayout15645.xml" ContentType="application/vnd.openxmlformats-officedocument.presentationml.slideLayout+xml"/>
  <Override PartName="/ppt/slideLayouts/slideLayout15646.xml" ContentType="application/vnd.openxmlformats-officedocument.presentationml.slideLayout+xml"/>
  <Override PartName="/ppt/slideLayouts/slideLayout15647.xml" ContentType="application/vnd.openxmlformats-officedocument.presentationml.slideLayout+xml"/>
  <Override PartName="/ppt/slideLayouts/slideLayout15648.xml" ContentType="application/vnd.openxmlformats-officedocument.presentationml.slideLayout+xml"/>
  <Override PartName="/ppt/slideLayouts/slideLayout15649.xml" ContentType="application/vnd.openxmlformats-officedocument.presentationml.slideLayout+xml"/>
  <Override PartName="/ppt/slideLayouts/slideLayout15650.xml" ContentType="application/vnd.openxmlformats-officedocument.presentationml.slideLayout+xml"/>
  <Override PartName="/ppt/slideLayouts/slideLayout15651.xml" ContentType="application/vnd.openxmlformats-officedocument.presentationml.slideLayout+xml"/>
  <Override PartName="/ppt/slideLayouts/slideLayout15652.xml" ContentType="application/vnd.openxmlformats-officedocument.presentationml.slideLayout+xml"/>
  <Override PartName="/ppt/slideLayouts/slideLayout15653.xml" ContentType="application/vnd.openxmlformats-officedocument.presentationml.slideLayout+xml"/>
  <Override PartName="/ppt/slideLayouts/slideLayout15654.xml" ContentType="application/vnd.openxmlformats-officedocument.presentationml.slideLayout+xml"/>
  <Override PartName="/ppt/slideLayouts/slideLayout15655.xml" ContentType="application/vnd.openxmlformats-officedocument.presentationml.slideLayout+xml"/>
  <Override PartName="/ppt/slideLayouts/slideLayout15656.xml" ContentType="application/vnd.openxmlformats-officedocument.presentationml.slideLayout+xml"/>
  <Override PartName="/ppt/slideLayouts/slideLayout15657.xml" ContentType="application/vnd.openxmlformats-officedocument.presentationml.slideLayout+xml"/>
  <Override PartName="/ppt/slideLayouts/slideLayout15658.xml" ContentType="application/vnd.openxmlformats-officedocument.presentationml.slideLayout+xml"/>
  <Override PartName="/ppt/slideLayouts/slideLayout15659.xml" ContentType="application/vnd.openxmlformats-officedocument.presentationml.slideLayout+xml"/>
  <Override PartName="/ppt/slideLayouts/slideLayout15660.xml" ContentType="application/vnd.openxmlformats-officedocument.presentationml.slideLayout+xml"/>
  <Override PartName="/ppt/slideLayouts/slideLayout15661.xml" ContentType="application/vnd.openxmlformats-officedocument.presentationml.slideLayout+xml"/>
  <Override PartName="/ppt/slideLayouts/slideLayout15662.xml" ContentType="application/vnd.openxmlformats-officedocument.presentationml.slideLayout+xml"/>
  <Override PartName="/ppt/slideLayouts/slideLayout15663.xml" ContentType="application/vnd.openxmlformats-officedocument.presentationml.slideLayout+xml"/>
  <Override PartName="/ppt/slideLayouts/slideLayout15664.xml" ContentType="application/vnd.openxmlformats-officedocument.presentationml.slideLayout+xml"/>
  <Override PartName="/ppt/slideLayouts/slideLayout15665.xml" ContentType="application/vnd.openxmlformats-officedocument.presentationml.slideLayout+xml"/>
  <Override PartName="/ppt/slideLayouts/slideLayout15666.xml" ContentType="application/vnd.openxmlformats-officedocument.presentationml.slideLayout+xml"/>
  <Override PartName="/ppt/slideLayouts/slideLayout15667.xml" ContentType="application/vnd.openxmlformats-officedocument.presentationml.slideLayout+xml"/>
  <Override PartName="/ppt/slideLayouts/slideLayout15668.xml" ContentType="application/vnd.openxmlformats-officedocument.presentationml.slideLayout+xml"/>
  <Override PartName="/ppt/slideLayouts/slideLayout15669.xml" ContentType="application/vnd.openxmlformats-officedocument.presentationml.slideLayout+xml"/>
  <Override PartName="/ppt/slideLayouts/slideLayout15670.xml" ContentType="application/vnd.openxmlformats-officedocument.presentationml.slideLayout+xml"/>
  <Override PartName="/ppt/slideLayouts/slideLayout15671.xml" ContentType="application/vnd.openxmlformats-officedocument.presentationml.slideLayout+xml"/>
  <Override PartName="/ppt/slideLayouts/slideLayout15672.xml" ContentType="application/vnd.openxmlformats-officedocument.presentationml.slideLayout+xml"/>
  <Override PartName="/ppt/slideLayouts/slideLayout15673.xml" ContentType="application/vnd.openxmlformats-officedocument.presentationml.slideLayout+xml"/>
  <Override PartName="/ppt/slideLayouts/slideLayout15674.xml" ContentType="application/vnd.openxmlformats-officedocument.presentationml.slideLayout+xml"/>
  <Override PartName="/ppt/slideLayouts/slideLayout15675.xml" ContentType="application/vnd.openxmlformats-officedocument.presentationml.slideLayout+xml"/>
  <Override PartName="/ppt/slideLayouts/slideLayout15676.xml" ContentType="application/vnd.openxmlformats-officedocument.presentationml.slideLayout+xml"/>
  <Override PartName="/ppt/slideLayouts/slideLayout15677.xml" ContentType="application/vnd.openxmlformats-officedocument.presentationml.slideLayout+xml"/>
  <Override PartName="/ppt/slideLayouts/slideLayout15678.xml" ContentType="application/vnd.openxmlformats-officedocument.presentationml.slideLayout+xml"/>
  <Override PartName="/ppt/slideLayouts/slideLayout15679.xml" ContentType="application/vnd.openxmlformats-officedocument.presentationml.slideLayout+xml"/>
  <Override PartName="/ppt/slideLayouts/slideLayout15680.xml" ContentType="application/vnd.openxmlformats-officedocument.presentationml.slideLayout+xml"/>
  <Override PartName="/ppt/slideLayouts/slideLayout15681.xml" ContentType="application/vnd.openxmlformats-officedocument.presentationml.slideLayout+xml"/>
  <Override PartName="/ppt/slideLayouts/slideLayout15682.xml" ContentType="application/vnd.openxmlformats-officedocument.presentationml.slideLayout+xml"/>
  <Override PartName="/ppt/slideLayouts/slideLayout15683.xml" ContentType="application/vnd.openxmlformats-officedocument.presentationml.slideLayout+xml"/>
  <Override PartName="/ppt/slideLayouts/slideLayout15684.xml" ContentType="application/vnd.openxmlformats-officedocument.presentationml.slideLayout+xml"/>
  <Override PartName="/ppt/slideLayouts/slideLayout15685.xml" ContentType="application/vnd.openxmlformats-officedocument.presentationml.slideLayout+xml"/>
  <Override PartName="/ppt/slideLayouts/slideLayout15686.xml" ContentType="application/vnd.openxmlformats-officedocument.presentationml.slideLayout+xml"/>
  <Override PartName="/ppt/slideLayouts/slideLayout15687.xml" ContentType="application/vnd.openxmlformats-officedocument.presentationml.slideLayout+xml"/>
  <Override PartName="/ppt/slideLayouts/slideLayout15688.xml" ContentType="application/vnd.openxmlformats-officedocument.presentationml.slideLayout+xml"/>
  <Override PartName="/ppt/slideLayouts/slideLayout15689.xml" ContentType="application/vnd.openxmlformats-officedocument.presentationml.slideLayout+xml"/>
  <Override PartName="/ppt/slideLayouts/slideLayout15690.xml" ContentType="application/vnd.openxmlformats-officedocument.presentationml.slideLayout+xml"/>
  <Override PartName="/ppt/slideLayouts/slideLayout15691.xml" ContentType="application/vnd.openxmlformats-officedocument.presentationml.slideLayout+xml"/>
  <Override PartName="/ppt/slideLayouts/slideLayout15692.xml" ContentType="application/vnd.openxmlformats-officedocument.presentationml.slideLayout+xml"/>
  <Override PartName="/ppt/slideLayouts/slideLayout15693.xml" ContentType="application/vnd.openxmlformats-officedocument.presentationml.slideLayout+xml"/>
  <Override PartName="/ppt/slideLayouts/slideLayout15694.xml" ContentType="application/vnd.openxmlformats-officedocument.presentationml.slideLayout+xml"/>
  <Override PartName="/ppt/slideLayouts/slideLayout15695.xml" ContentType="application/vnd.openxmlformats-officedocument.presentationml.slideLayout+xml"/>
  <Override PartName="/ppt/slideLayouts/slideLayout15696.xml" ContentType="application/vnd.openxmlformats-officedocument.presentationml.slideLayout+xml"/>
  <Override PartName="/ppt/slideLayouts/slideLayout15697.xml" ContentType="application/vnd.openxmlformats-officedocument.presentationml.slideLayout+xml"/>
  <Override PartName="/ppt/slideLayouts/slideLayout15698.xml" ContentType="application/vnd.openxmlformats-officedocument.presentationml.slideLayout+xml"/>
  <Override PartName="/ppt/slideLayouts/slideLayout15699.xml" ContentType="application/vnd.openxmlformats-officedocument.presentationml.slideLayout+xml"/>
  <Override PartName="/ppt/slideLayouts/slideLayout15700.xml" ContentType="application/vnd.openxmlformats-officedocument.presentationml.slideLayout+xml"/>
  <Override PartName="/ppt/slideLayouts/slideLayout15701.xml" ContentType="application/vnd.openxmlformats-officedocument.presentationml.slideLayout+xml"/>
  <Override PartName="/ppt/slideLayouts/slideLayout15702.xml" ContentType="application/vnd.openxmlformats-officedocument.presentationml.slideLayout+xml"/>
  <Override PartName="/ppt/slideLayouts/slideLayout15703.xml" ContentType="application/vnd.openxmlformats-officedocument.presentationml.slideLayout+xml"/>
  <Override PartName="/ppt/slideLayouts/slideLayout15704.xml" ContentType="application/vnd.openxmlformats-officedocument.presentationml.slideLayout+xml"/>
  <Override PartName="/ppt/slideLayouts/slideLayout15705.xml" ContentType="application/vnd.openxmlformats-officedocument.presentationml.slideLayout+xml"/>
  <Override PartName="/ppt/slideLayouts/slideLayout15706.xml" ContentType="application/vnd.openxmlformats-officedocument.presentationml.slideLayout+xml"/>
  <Override PartName="/ppt/slideLayouts/slideLayout15707.xml" ContentType="application/vnd.openxmlformats-officedocument.presentationml.slideLayout+xml"/>
  <Override PartName="/ppt/slideLayouts/slideLayout15708.xml" ContentType="application/vnd.openxmlformats-officedocument.presentationml.slideLayout+xml"/>
  <Override PartName="/ppt/slideLayouts/slideLayout15709.xml" ContentType="application/vnd.openxmlformats-officedocument.presentationml.slideLayout+xml"/>
  <Override PartName="/ppt/slideLayouts/slideLayout15710.xml" ContentType="application/vnd.openxmlformats-officedocument.presentationml.slideLayout+xml"/>
  <Override PartName="/ppt/slideLayouts/slideLayout15711.xml" ContentType="application/vnd.openxmlformats-officedocument.presentationml.slideLayout+xml"/>
  <Override PartName="/ppt/slideLayouts/slideLayout15712.xml" ContentType="application/vnd.openxmlformats-officedocument.presentationml.slideLayout+xml"/>
  <Override PartName="/ppt/slideLayouts/slideLayout15713.xml" ContentType="application/vnd.openxmlformats-officedocument.presentationml.slideLayout+xml"/>
  <Override PartName="/ppt/slideLayouts/slideLayout15714.xml" ContentType="application/vnd.openxmlformats-officedocument.presentationml.slideLayout+xml"/>
  <Override PartName="/ppt/slideLayouts/slideLayout15715.xml" ContentType="application/vnd.openxmlformats-officedocument.presentationml.slideLayout+xml"/>
  <Override PartName="/ppt/slideLayouts/slideLayout15716.xml" ContentType="application/vnd.openxmlformats-officedocument.presentationml.slideLayout+xml"/>
  <Override PartName="/ppt/slideLayouts/slideLayout15717.xml" ContentType="application/vnd.openxmlformats-officedocument.presentationml.slideLayout+xml"/>
  <Override PartName="/ppt/slideLayouts/slideLayout15718.xml" ContentType="application/vnd.openxmlformats-officedocument.presentationml.slideLayout+xml"/>
  <Override PartName="/ppt/slideLayouts/slideLayout15719.xml" ContentType="application/vnd.openxmlformats-officedocument.presentationml.slideLayout+xml"/>
  <Override PartName="/ppt/slideLayouts/slideLayout15720.xml" ContentType="application/vnd.openxmlformats-officedocument.presentationml.slideLayout+xml"/>
  <Override PartName="/ppt/slideLayouts/slideLayout15721.xml" ContentType="application/vnd.openxmlformats-officedocument.presentationml.slideLayout+xml"/>
  <Override PartName="/ppt/slideLayouts/slideLayout15722.xml" ContentType="application/vnd.openxmlformats-officedocument.presentationml.slideLayout+xml"/>
  <Override PartName="/ppt/slideLayouts/slideLayout15723.xml" ContentType="application/vnd.openxmlformats-officedocument.presentationml.slideLayout+xml"/>
  <Override PartName="/ppt/slideLayouts/slideLayout15724.xml" ContentType="application/vnd.openxmlformats-officedocument.presentationml.slideLayout+xml"/>
  <Override PartName="/ppt/slideLayouts/slideLayout15725.xml" ContentType="application/vnd.openxmlformats-officedocument.presentationml.slideLayout+xml"/>
  <Override PartName="/ppt/slideLayouts/slideLayout15726.xml" ContentType="application/vnd.openxmlformats-officedocument.presentationml.slideLayout+xml"/>
  <Override PartName="/ppt/slideLayouts/slideLayout15727.xml" ContentType="application/vnd.openxmlformats-officedocument.presentationml.slideLayout+xml"/>
  <Override PartName="/ppt/slideLayouts/slideLayout15728.xml" ContentType="application/vnd.openxmlformats-officedocument.presentationml.slideLayout+xml"/>
  <Override PartName="/ppt/slideLayouts/slideLayout15729.xml" ContentType="application/vnd.openxmlformats-officedocument.presentationml.slideLayout+xml"/>
  <Override PartName="/ppt/slideLayouts/slideLayout15730.xml" ContentType="application/vnd.openxmlformats-officedocument.presentationml.slideLayout+xml"/>
  <Override PartName="/ppt/slideLayouts/slideLayout15731.xml" ContentType="application/vnd.openxmlformats-officedocument.presentationml.slideLayout+xml"/>
  <Override PartName="/ppt/slideLayouts/slideLayout15732.xml" ContentType="application/vnd.openxmlformats-officedocument.presentationml.slideLayout+xml"/>
  <Override PartName="/ppt/slideLayouts/slideLayout15733.xml" ContentType="application/vnd.openxmlformats-officedocument.presentationml.slideLayout+xml"/>
  <Override PartName="/ppt/slideLayouts/slideLayout15734.xml" ContentType="application/vnd.openxmlformats-officedocument.presentationml.slideLayout+xml"/>
  <Override PartName="/ppt/slideLayouts/slideLayout15735.xml" ContentType="application/vnd.openxmlformats-officedocument.presentationml.slideLayout+xml"/>
  <Override PartName="/ppt/slideLayouts/slideLayout15736.xml" ContentType="application/vnd.openxmlformats-officedocument.presentationml.slideLayout+xml"/>
  <Override PartName="/ppt/slideLayouts/slideLayout15737.xml" ContentType="application/vnd.openxmlformats-officedocument.presentationml.slideLayout+xml"/>
  <Override PartName="/ppt/slideLayouts/slideLayout15738.xml" ContentType="application/vnd.openxmlformats-officedocument.presentationml.slideLayout+xml"/>
  <Override PartName="/ppt/slideLayouts/slideLayout15739.xml" ContentType="application/vnd.openxmlformats-officedocument.presentationml.slideLayout+xml"/>
  <Override PartName="/ppt/slideLayouts/slideLayout15740.xml" ContentType="application/vnd.openxmlformats-officedocument.presentationml.slideLayout+xml"/>
  <Override PartName="/ppt/slideLayouts/slideLayout15741.xml" ContentType="application/vnd.openxmlformats-officedocument.presentationml.slideLayout+xml"/>
  <Override PartName="/ppt/slideLayouts/slideLayout15742.xml" ContentType="application/vnd.openxmlformats-officedocument.presentationml.slideLayout+xml"/>
  <Override PartName="/ppt/slideLayouts/slideLayout15743.xml" ContentType="application/vnd.openxmlformats-officedocument.presentationml.slideLayout+xml"/>
  <Override PartName="/ppt/slideLayouts/slideLayout15744.xml" ContentType="application/vnd.openxmlformats-officedocument.presentationml.slideLayout+xml"/>
  <Override PartName="/ppt/slideLayouts/slideLayout15745.xml" ContentType="application/vnd.openxmlformats-officedocument.presentationml.slideLayout+xml"/>
  <Override PartName="/ppt/slideLayouts/slideLayout15746.xml" ContentType="application/vnd.openxmlformats-officedocument.presentationml.slideLayout+xml"/>
  <Override PartName="/ppt/slideLayouts/slideLayout15747.xml" ContentType="application/vnd.openxmlformats-officedocument.presentationml.slideLayout+xml"/>
  <Override PartName="/ppt/slideLayouts/slideLayout15748.xml" ContentType="application/vnd.openxmlformats-officedocument.presentationml.slideLayout+xml"/>
  <Override PartName="/ppt/slideLayouts/slideLayout15749.xml" ContentType="application/vnd.openxmlformats-officedocument.presentationml.slideLayout+xml"/>
  <Override PartName="/ppt/slideLayouts/slideLayout15750.xml" ContentType="application/vnd.openxmlformats-officedocument.presentationml.slideLayout+xml"/>
  <Override PartName="/ppt/slideLayouts/slideLayout15751.xml" ContentType="application/vnd.openxmlformats-officedocument.presentationml.slideLayout+xml"/>
  <Override PartName="/ppt/slideLayouts/slideLayout15752.xml" ContentType="application/vnd.openxmlformats-officedocument.presentationml.slideLayout+xml"/>
  <Override PartName="/ppt/slideLayouts/slideLayout15753.xml" ContentType="application/vnd.openxmlformats-officedocument.presentationml.slideLayout+xml"/>
  <Override PartName="/ppt/slideLayouts/slideLayout15754.xml" ContentType="application/vnd.openxmlformats-officedocument.presentationml.slideLayout+xml"/>
  <Override PartName="/ppt/slideLayouts/slideLayout15755.xml" ContentType="application/vnd.openxmlformats-officedocument.presentationml.slideLayout+xml"/>
  <Override PartName="/ppt/slideLayouts/slideLayout15756.xml" ContentType="application/vnd.openxmlformats-officedocument.presentationml.slideLayout+xml"/>
  <Override PartName="/ppt/slideLayouts/slideLayout15757.xml" ContentType="application/vnd.openxmlformats-officedocument.presentationml.slideLayout+xml"/>
  <Override PartName="/ppt/slideLayouts/slideLayout15758.xml" ContentType="application/vnd.openxmlformats-officedocument.presentationml.slideLayout+xml"/>
  <Override PartName="/ppt/slideLayouts/slideLayout15759.xml" ContentType="application/vnd.openxmlformats-officedocument.presentationml.slideLayout+xml"/>
  <Override PartName="/ppt/slideLayouts/slideLayout15760.xml" ContentType="application/vnd.openxmlformats-officedocument.presentationml.slideLayout+xml"/>
  <Override PartName="/ppt/slideLayouts/slideLayout15761.xml" ContentType="application/vnd.openxmlformats-officedocument.presentationml.slideLayout+xml"/>
  <Override PartName="/ppt/slideLayouts/slideLayout15762.xml" ContentType="application/vnd.openxmlformats-officedocument.presentationml.slideLayout+xml"/>
  <Override PartName="/ppt/slideLayouts/slideLayout15763.xml" ContentType="application/vnd.openxmlformats-officedocument.presentationml.slideLayout+xml"/>
  <Override PartName="/ppt/slideLayouts/slideLayout15764.xml" ContentType="application/vnd.openxmlformats-officedocument.presentationml.slideLayout+xml"/>
  <Override PartName="/ppt/slideLayouts/slideLayout15765.xml" ContentType="application/vnd.openxmlformats-officedocument.presentationml.slideLayout+xml"/>
  <Override PartName="/ppt/slideLayouts/slideLayout15766.xml" ContentType="application/vnd.openxmlformats-officedocument.presentationml.slideLayout+xml"/>
  <Override PartName="/ppt/slideLayouts/slideLayout15767.xml" ContentType="application/vnd.openxmlformats-officedocument.presentationml.slideLayout+xml"/>
  <Override PartName="/ppt/slideLayouts/slideLayout15768.xml" ContentType="application/vnd.openxmlformats-officedocument.presentationml.slideLayout+xml"/>
  <Override PartName="/ppt/slideLayouts/slideLayout15769.xml" ContentType="application/vnd.openxmlformats-officedocument.presentationml.slideLayout+xml"/>
  <Override PartName="/ppt/slideLayouts/slideLayout15770.xml" ContentType="application/vnd.openxmlformats-officedocument.presentationml.slideLayout+xml"/>
  <Override PartName="/ppt/slideLayouts/slideLayout15771.xml" ContentType="application/vnd.openxmlformats-officedocument.presentationml.slideLayout+xml"/>
  <Override PartName="/ppt/slideLayouts/slideLayout15772.xml" ContentType="application/vnd.openxmlformats-officedocument.presentationml.slideLayout+xml"/>
  <Override PartName="/ppt/slideLayouts/slideLayout15773.xml" ContentType="application/vnd.openxmlformats-officedocument.presentationml.slideLayout+xml"/>
  <Override PartName="/ppt/slideLayouts/slideLayout15774.xml" ContentType="application/vnd.openxmlformats-officedocument.presentationml.slideLayout+xml"/>
  <Override PartName="/ppt/slideLayouts/slideLayout15775.xml" ContentType="application/vnd.openxmlformats-officedocument.presentationml.slideLayout+xml"/>
  <Override PartName="/ppt/slideLayouts/slideLayout15776.xml" ContentType="application/vnd.openxmlformats-officedocument.presentationml.slideLayout+xml"/>
  <Override PartName="/ppt/slideLayouts/slideLayout15777.xml" ContentType="application/vnd.openxmlformats-officedocument.presentationml.slideLayout+xml"/>
  <Override PartName="/ppt/slideLayouts/slideLayout15778.xml" ContentType="application/vnd.openxmlformats-officedocument.presentationml.slideLayout+xml"/>
  <Override PartName="/ppt/slideLayouts/slideLayout15779.xml" ContentType="application/vnd.openxmlformats-officedocument.presentationml.slideLayout+xml"/>
  <Override PartName="/ppt/slideLayouts/slideLayout15780.xml" ContentType="application/vnd.openxmlformats-officedocument.presentationml.slideLayout+xml"/>
  <Override PartName="/ppt/slideLayouts/slideLayout15781.xml" ContentType="application/vnd.openxmlformats-officedocument.presentationml.slideLayout+xml"/>
  <Override PartName="/ppt/slideLayouts/slideLayout15782.xml" ContentType="application/vnd.openxmlformats-officedocument.presentationml.slideLayout+xml"/>
  <Override PartName="/ppt/slideLayouts/slideLayout15783.xml" ContentType="application/vnd.openxmlformats-officedocument.presentationml.slideLayout+xml"/>
  <Override PartName="/ppt/slideLayouts/slideLayout15784.xml" ContentType="application/vnd.openxmlformats-officedocument.presentationml.slideLayout+xml"/>
  <Override PartName="/ppt/slideLayouts/slideLayout15785.xml" ContentType="application/vnd.openxmlformats-officedocument.presentationml.slideLayout+xml"/>
  <Override PartName="/ppt/slideLayouts/slideLayout15786.xml" ContentType="application/vnd.openxmlformats-officedocument.presentationml.slideLayout+xml"/>
  <Override PartName="/ppt/slideLayouts/slideLayout15787.xml" ContentType="application/vnd.openxmlformats-officedocument.presentationml.slideLayout+xml"/>
  <Override PartName="/ppt/slideLayouts/slideLayout15788.xml" ContentType="application/vnd.openxmlformats-officedocument.presentationml.slideLayout+xml"/>
  <Override PartName="/ppt/slideLayouts/slideLayout15789.xml" ContentType="application/vnd.openxmlformats-officedocument.presentationml.slideLayout+xml"/>
  <Override PartName="/ppt/slideLayouts/slideLayout15790.xml" ContentType="application/vnd.openxmlformats-officedocument.presentationml.slideLayout+xml"/>
  <Override PartName="/ppt/slideLayouts/slideLayout15791.xml" ContentType="application/vnd.openxmlformats-officedocument.presentationml.slideLayout+xml"/>
  <Override PartName="/ppt/slideLayouts/slideLayout15792.xml" ContentType="application/vnd.openxmlformats-officedocument.presentationml.slideLayout+xml"/>
  <Override PartName="/ppt/slideLayouts/slideLayout15793.xml" ContentType="application/vnd.openxmlformats-officedocument.presentationml.slideLayout+xml"/>
  <Override PartName="/ppt/slideLayouts/slideLayout15794.xml" ContentType="application/vnd.openxmlformats-officedocument.presentationml.slideLayout+xml"/>
  <Override PartName="/ppt/slideLayouts/slideLayout15795.xml" ContentType="application/vnd.openxmlformats-officedocument.presentationml.slideLayout+xml"/>
  <Override PartName="/ppt/slideLayouts/slideLayout15796.xml" ContentType="application/vnd.openxmlformats-officedocument.presentationml.slideLayout+xml"/>
  <Override PartName="/ppt/slideLayouts/slideLayout15797.xml" ContentType="application/vnd.openxmlformats-officedocument.presentationml.slideLayout+xml"/>
  <Override PartName="/ppt/slideLayouts/slideLayout15798.xml" ContentType="application/vnd.openxmlformats-officedocument.presentationml.slideLayout+xml"/>
  <Override PartName="/ppt/slideLayouts/slideLayout15799.xml" ContentType="application/vnd.openxmlformats-officedocument.presentationml.slideLayout+xml"/>
  <Override PartName="/ppt/slideLayouts/slideLayout15800.xml" ContentType="application/vnd.openxmlformats-officedocument.presentationml.slideLayout+xml"/>
  <Override PartName="/ppt/slideLayouts/slideLayout15801.xml" ContentType="application/vnd.openxmlformats-officedocument.presentationml.slideLayout+xml"/>
  <Override PartName="/ppt/slideLayouts/slideLayout15802.xml" ContentType="application/vnd.openxmlformats-officedocument.presentationml.slideLayout+xml"/>
  <Override PartName="/ppt/slideLayouts/slideLayout15803.xml" ContentType="application/vnd.openxmlformats-officedocument.presentationml.slideLayout+xml"/>
  <Override PartName="/ppt/slideLayouts/slideLayout15804.xml" ContentType="application/vnd.openxmlformats-officedocument.presentationml.slideLayout+xml"/>
  <Override PartName="/ppt/slideLayouts/slideLayout15805.xml" ContentType="application/vnd.openxmlformats-officedocument.presentationml.slideLayout+xml"/>
  <Override PartName="/ppt/slideLayouts/slideLayout15806.xml" ContentType="application/vnd.openxmlformats-officedocument.presentationml.slideLayout+xml"/>
  <Override PartName="/ppt/slideLayouts/slideLayout15807.xml" ContentType="application/vnd.openxmlformats-officedocument.presentationml.slideLayout+xml"/>
  <Override PartName="/ppt/slideLayouts/slideLayout15808.xml" ContentType="application/vnd.openxmlformats-officedocument.presentationml.slideLayout+xml"/>
  <Override PartName="/ppt/slideLayouts/slideLayout15809.xml" ContentType="application/vnd.openxmlformats-officedocument.presentationml.slideLayout+xml"/>
  <Override PartName="/ppt/slideLayouts/slideLayout15810.xml" ContentType="application/vnd.openxmlformats-officedocument.presentationml.slideLayout+xml"/>
  <Override PartName="/ppt/slideLayouts/slideLayout15811.xml" ContentType="application/vnd.openxmlformats-officedocument.presentationml.slideLayout+xml"/>
  <Override PartName="/ppt/slideLayouts/slideLayout15812.xml" ContentType="application/vnd.openxmlformats-officedocument.presentationml.slideLayout+xml"/>
  <Override PartName="/ppt/slideLayouts/slideLayout15813.xml" ContentType="application/vnd.openxmlformats-officedocument.presentationml.slideLayout+xml"/>
  <Override PartName="/ppt/slideLayouts/slideLayout15814.xml" ContentType="application/vnd.openxmlformats-officedocument.presentationml.slideLayout+xml"/>
  <Override PartName="/ppt/slideLayouts/slideLayout15815.xml" ContentType="application/vnd.openxmlformats-officedocument.presentationml.slideLayout+xml"/>
  <Override PartName="/ppt/slideLayouts/slideLayout15816.xml" ContentType="application/vnd.openxmlformats-officedocument.presentationml.slideLayout+xml"/>
  <Override PartName="/ppt/slideLayouts/slideLayout15817.xml" ContentType="application/vnd.openxmlformats-officedocument.presentationml.slideLayout+xml"/>
  <Override PartName="/ppt/slideLayouts/slideLayout15818.xml" ContentType="application/vnd.openxmlformats-officedocument.presentationml.slideLayout+xml"/>
  <Override PartName="/ppt/slideLayouts/slideLayout15819.xml" ContentType="application/vnd.openxmlformats-officedocument.presentationml.slideLayout+xml"/>
  <Override PartName="/ppt/slideLayouts/slideLayout15820.xml" ContentType="application/vnd.openxmlformats-officedocument.presentationml.slideLayout+xml"/>
  <Override PartName="/ppt/slideLayouts/slideLayout15821.xml" ContentType="application/vnd.openxmlformats-officedocument.presentationml.slideLayout+xml"/>
  <Override PartName="/ppt/slideLayouts/slideLayout15822.xml" ContentType="application/vnd.openxmlformats-officedocument.presentationml.slideLayout+xml"/>
  <Override PartName="/ppt/slideLayouts/slideLayout15823.xml" ContentType="application/vnd.openxmlformats-officedocument.presentationml.slideLayout+xml"/>
  <Override PartName="/ppt/slideLayouts/slideLayout15824.xml" ContentType="application/vnd.openxmlformats-officedocument.presentationml.slideLayout+xml"/>
  <Override PartName="/ppt/slideLayouts/slideLayout15825.xml" ContentType="application/vnd.openxmlformats-officedocument.presentationml.slideLayout+xml"/>
  <Override PartName="/ppt/slideLayouts/slideLayout15826.xml" ContentType="application/vnd.openxmlformats-officedocument.presentationml.slideLayout+xml"/>
  <Override PartName="/ppt/slideLayouts/slideLayout15827.xml" ContentType="application/vnd.openxmlformats-officedocument.presentationml.slideLayout+xml"/>
  <Override PartName="/ppt/slideLayouts/slideLayout15828.xml" ContentType="application/vnd.openxmlformats-officedocument.presentationml.slideLayout+xml"/>
  <Override PartName="/ppt/slideLayouts/slideLayout15829.xml" ContentType="application/vnd.openxmlformats-officedocument.presentationml.slideLayout+xml"/>
  <Override PartName="/ppt/slideLayouts/slideLayout15830.xml" ContentType="application/vnd.openxmlformats-officedocument.presentationml.slideLayout+xml"/>
  <Override PartName="/ppt/slideLayouts/slideLayout15831.xml" ContentType="application/vnd.openxmlformats-officedocument.presentationml.slideLayout+xml"/>
  <Override PartName="/ppt/slideLayouts/slideLayout15832.xml" ContentType="application/vnd.openxmlformats-officedocument.presentationml.slideLayout+xml"/>
  <Override PartName="/ppt/slideLayouts/slideLayout15833.xml" ContentType="application/vnd.openxmlformats-officedocument.presentationml.slideLayout+xml"/>
  <Override PartName="/ppt/slideLayouts/slideLayout15834.xml" ContentType="application/vnd.openxmlformats-officedocument.presentationml.slideLayout+xml"/>
  <Override PartName="/ppt/slideLayouts/slideLayout15835.xml" ContentType="application/vnd.openxmlformats-officedocument.presentationml.slideLayout+xml"/>
  <Override PartName="/ppt/slideLayouts/slideLayout15836.xml" ContentType="application/vnd.openxmlformats-officedocument.presentationml.slideLayout+xml"/>
  <Override PartName="/ppt/slideLayouts/slideLayout15837.xml" ContentType="application/vnd.openxmlformats-officedocument.presentationml.slideLayout+xml"/>
  <Override PartName="/ppt/slideLayouts/slideLayout15838.xml" ContentType="application/vnd.openxmlformats-officedocument.presentationml.slideLayout+xml"/>
  <Override PartName="/ppt/slideLayouts/slideLayout15839.xml" ContentType="application/vnd.openxmlformats-officedocument.presentationml.slideLayout+xml"/>
  <Override PartName="/ppt/slideLayouts/slideLayout15840.xml" ContentType="application/vnd.openxmlformats-officedocument.presentationml.slideLayout+xml"/>
  <Override PartName="/ppt/slideLayouts/slideLayout15841.xml" ContentType="application/vnd.openxmlformats-officedocument.presentationml.slideLayout+xml"/>
  <Override PartName="/ppt/slideLayouts/slideLayout15842.xml" ContentType="application/vnd.openxmlformats-officedocument.presentationml.slideLayout+xml"/>
  <Override PartName="/ppt/slideLayouts/slideLayout15843.xml" ContentType="application/vnd.openxmlformats-officedocument.presentationml.slideLayout+xml"/>
  <Override PartName="/ppt/slideLayouts/slideLayout15844.xml" ContentType="application/vnd.openxmlformats-officedocument.presentationml.slideLayout+xml"/>
  <Override PartName="/ppt/slideLayouts/slideLayout15845.xml" ContentType="application/vnd.openxmlformats-officedocument.presentationml.slideLayout+xml"/>
  <Override PartName="/ppt/slideLayouts/slideLayout15846.xml" ContentType="application/vnd.openxmlformats-officedocument.presentationml.slideLayout+xml"/>
  <Override PartName="/ppt/slideLayouts/slideLayout15847.xml" ContentType="application/vnd.openxmlformats-officedocument.presentationml.slideLayout+xml"/>
  <Override PartName="/ppt/slideLayouts/slideLayout15848.xml" ContentType="application/vnd.openxmlformats-officedocument.presentationml.slideLayout+xml"/>
  <Override PartName="/ppt/slideLayouts/slideLayout15849.xml" ContentType="application/vnd.openxmlformats-officedocument.presentationml.slideLayout+xml"/>
  <Override PartName="/ppt/slideLayouts/slideLayout15850.xml" ContentType="application/vnd.openxmlformats-officedocument.presentationml.slideLayout+xml"/>
  <Override PartName="/ppt/slideLayouts/slideLayout15851.xml" ContentType="application/vnd.openxmlformats-officedocument.presentationml.slideLayout+xml"/>
  <Override PartName="/ppt/slideLayouts/slideLayout15852.xml" ContentType="application/vnd.openxmlformats-officedocument.presentationml.slideLayout+xml"/>
  <Override PartName="/ppt/slideLayouts/slideLayout15853.xml" ContentType="application/vnd.openxmlformats-officedocument.presentationml.slideLayout+xml"/>
  <Override PartName="/ppt/slideLayouts/slideLayout15854.xml" ContentType="application/vnd.openxmlformats-officedocument.presentationml.slideLayout+xml"/>
  <Override PartName="/ppt/slideLayouts/slideLayout15855.xml" ContentType="application/vnd.openxmlformats-officedocument.presentationml.slideLayout+xml"/>
  <Override PartName="/ppt/slideLayouts/slideLayout15856.xml" ContentType="application/vnd.openxmlformats-officedocument.presentationml.slideLayout+xml"/>
  <Override PartName="/ppt/slideLayouts/slideLayout15857.xml" ContentType="application/vnd.openxmlformats-officedocument.presentationml.slideLayout+xml"/>
  <Override PartName="/ppt/slideLayouts/slideLayout15858.xml" ContentType="application/vnd.openxmlformats-officedocument.presentationml.slideLayout+xml"/>
  <Override PartName="/ppt/slideLayouts/slideLayout15859.xml" ContentType="application/vnd.openxmlformats-officedocument.presentationml.slideLayout+xml"/>
  <Override PartName="/ppt/slideLayouts/slideLayout15860.xml" ContentType="application/vnd.openxmlformats-officedocument.presentationml.slideLayout+xml"/>
  <Override PartName="/ppt/slideLayouts/slideLayout15861.xml" ContentType="application/vnd.openxmlformats-officedocument.presentationml.slideLayout+xml"/>
  <Override PartName="/ppt/slideLayouts/slideLayout15862.xml" ContentType="application/vnd.openxmlformats-officedocument.presentationml.slideLayout+xml"/>
  <Override PartName="/ppt/slideLayouts/slideLayout15863.xml" ContentType="application/vnd.openxmlformats-officedocument.presentationml.slideLayout+xml"/>
  <Override PartName="/ppt/slideLayouts/slideLayout15864.xml" ContentType="application/vnd.openxmlformats-officedocument.presentationml.slideLayout+xml"/>
  <Override PartName="/ppt/slideLayouts/slideLayout15865.xml" ContentType="application/vnd.openxmlformats-officedocument.presentationml.slideLayout+xml"/>
  <Override PartName="/ppt/slideLayouts/slideLayout15866.xml" ContentType="application/vnd.openxmlformats-officedocument.presentationml.slideLayout+xml"/>
  <Override PartName="/ppt/slideLayouts/slideLayout15867.xml" ContentType="application/vnd.openxmlformats-officedocument.presentationml.slideLayout+xml"/>
  <Override PartName="/ppt/slideLayouts/slideLayout15868.xml" ContentType="application/vnd.openxmlformats-officedocument.presentationml.slideLayout+xml"/>
  <Override PartName="/ppt/slideLayouts/slideLayout15869.xml" ContentType="application/vnd.openxmlformats-officedocument.presentationml.slideLayout+xml"/>
  <Override PartName="/ppt/slideLayouts/slideLayout15870.xml" ContentType="application/vnd.openxmlformats-officedocument.presentationml.slideLayout+xml"/>
  <Override PartName="/ppt/slideLayouts/slideLayout15871.xml" ContentType="application/vnd.openxmlformats-officedocument.presentationml.slideLayout+xml"/>
  <Override PartName="/ppt/slideLayouts/slideLayout15872.xml" ContentType="application/vnd.openxmlformats-officedocument.presentationml.slideLayout+xml"/>
  <Override PartName="/ppt/slideLayouts/slideLayout15873.xml" ContentType="application/vnd.openxmlformats-officedocument.presentationml.slideLayout+xml"/>
  <Override PartName="/ppt/slideLayouts/slideLayout15874.xml" ContentType="application/vnd.openxmlformats-officedocument.presentationml.slideLayout+xml"/>
  <Override PartName="/ppt/slideLayouts/slideLayout15875.xml" ContentType="application/vnd.openxmlformats-officedocument.presentationml.slideLayout+xml"/>
  <Override PartName="/ppt/slideLayouts/slideLayout15876.xml" ContentType="application/vnd.openxmlformats-officedocument.presentationml.slideLayout+xml"/>
  <Override PartName="/ppt/slideLayouts/slideLayout15877.xml" ContentType="application/vnd.openxmlformats-officedocument.presentationml.slideLayout+xml"/>
  <Override PartName="/ppt/slideLayouts/slideLayout15878.xml" ContentType="application/vnd.openxmlformats-officedocument.presentationml.slideLayout+xml"/>
  <Override PartName="/ppt/slideLayouts/slideLayout15879.xml" ContentType="application/vnd.openxmlformats-officedocument.presentationml.slideLayout+xml"/>
  <Override PartName="/ppt/slideLayouts/slideLayout15880.xml" ContentType="application/vnd.openxmlformats-officedocument.presentationml.slideLayout+xml"/>
  <Override PartName="/ppt/slideLayouts/slideLayout15881.xml" ContentType="application/vnd.openxmlformats-officedocument.presentationml.slideLayout+xml"/>
  <Override PartName="/ppt/slideLayouts/slideLayout15882.xml" ContentType="application/vnd.openxmlformats-officedocument.presentationml.slideLayout+xml"/>
  <Override PartName="/ppt/slideLayouts/slideLayout15883.xml" ContentType="application/vnd.openxmlformats-officedocument.presentationml.slideLayout+xml"/>
  <Override PartName="/ppt/slideLayouts/slideLayout15884.xml" ContentType="application/vnd.openxmlformats-officedocument.presentationml.slideLayout+xml"/>
  <Override PartName="/ppt/slideLayouts/slideLayout15885.xml" ContentType="application/vnd.openxmlformats-officedocument.presentationml.slideLayout+xml"/>
  <Override PartName="/ppt/slideLayouts/slideLayout15886.xml" ContentType="application/vnd.openxmlformats-officedocument.presentationml.slideLayout+xml"/>
  <Override PartName="/ppt/slideLayouts/slideLayout15887.xml" ContentType="application/vnd.openxmlformats-officedocument.presentationml.slideLayout+xml"/>
  <Override PartName="/ppt/slideLayouts/slideLayout15888.xml" ContentType="application/vnd.openxmlformats-officedocument.presentationml.slideLayout+xml"/>
  <Override PartName="/ppt/slideLayouts/slideLayout15889.xml" ContentType="application/vnd.openxmlformats-officedocument.presentationml.slideLayout+xml"/>
  <Override PartName="/ppt/slideLayouts/slideLayout15890.xml" ContentType="application/vnd.openxmlformats-officedocument.presentationml.slideLayout+xml"/>
  <Override PartName="/ppt/slideLayouts/slideLayout15891.xml" ContentType="application/vnd.openxmlformats-officedocument.presentationml.slideLayout+xml"/>
  <Override PartName="/ppt/slideLayouts/slideLayout15892.xml" ContentType="application/vnd.openxmlformats-officedocument.presentationml.slideLayout+xml"/>
  <Override PartName="/ppt/slideLayouts/slideLayout15893.xml" ContentType="application/vnd.openxmlformats-officedocument.presentationml.slideLayout+xml"/>
  <Override PartName="/ppt/slideLayouts/slideLayout15894.xml" ContentType="application/vnd.openxmlformats-officedocument.presentationml.slideLayout+xml"/>
  <Override PartName="/ppt/slideLayouts/slideLayout15895.xml" ContentType="application/vnd.openxmlformats-officedocument.presentationml.slideLayout+xml"/>
  <Override PartName="/ppt/slideLayouts/slideLayout15896.xml" ContentType="application/vnd.openxmlformats-officedocument.presentationml.slideLayout+xml"/>
  <Override PartName="/ppt/slideLayouts/slideLayout15897.xml" ContentType="application/vnd.openxmlformats-officedocument.presentationml.slideLayout+xml"/>
  <Override PartName="/ppt/slideLayouts/slideLayout15898.xml" ContentType="application/vnd.openxmlformats-officedocument.presentationml.slideLayout+xml"/>
  <Override PartName="/ppt/slideLayouts/slideLayout15899.xml" ContentType="application/vnd.openxmlformats-officedocument.presentationml.slideLayout+xml"/>
  <Override PartName="/ppt/slideLayouts/slideLayout15900.xml" ContentType="application/vnd.openxmlformats-officedocument.presentationml.slideLayout+xml"/>
  <Override PartName="/ppt/slideLayouts/slideLayout15901.xml" ContentType="application/vnd.openxmlformats-officedocument.presentationml.slideLayout+xml"/>
  <Override PartName="/ppt/slideLayouts/slideLayout15902.xml" ContentType="application/vnd.openxmlformats-officedocument.presentationml.slideLayout+xml"/>
  <Override PartName="/ppt/slideLayouts/slideLayout15903.xml" ContentType="application/vnd.openxmlformats-officedocument.presentationml.slideLayout+xml"/>
  <Override PartName="/ppt/slideLayouts/slideLayout15904.xml" ContentType="application/vnd.openxmlformats-officedocument.presentationml.slideLayout+xml"/>
  <Override PartName="/ppt/slideLayouts/slideLayout15905.xml" ContentType="application/vnd.openxmlformats-officedocument.presentationml.slideLayout+xml"/>
  <Override PartName="/ppt/slideLayouts/slideLayout15906.xml" ContentType="application/vnd.openxmlformats-officedocument.presentationml.slideLayout+xml"/>
  <Override PartName="/ppt/slideLayouts/slideLayout15907.xml" ContentType="application/vnd.openxmlformats-officedocument.presentationml.slideLayout+xml"/>
  <Override PartName="/ppt/slideLayouts/slideLayout15908.xml" ContentType="application/vnd.openxmlformats-officedocument.presentationml.slideLayout+xml"/>
  <Override PartName="/ppt/slideLayouts/slideLayout15909.xml" ContentType="application/vnd.openxmlformats-officedocument.presentationml.slideLayout+xml"/>
  <Override PartName="/ppt/slideLayouts/slideLayout15910.xml" ContentType="application/vnd.openxmlformats-officedocument.presentationml.slideLayout+xml"/>
  <Override PartName="/ppt/slideLayouts/slideLayout15911.xml" ContentType="application/vnd.openxmlformats-officedocument.presentationml.slideLayout+xml"/>
  <Override PartName="/ppt/slideLayouts/slideLayout15912.xml" ContentType="application/vnd.openxmlformats-officedocument.presentationml.slideLayout+xml"/>
  <Override PartName="/ppt/slideLayouts/slideLayout15913.xml" ContentType="application/vnd.openxmlformats-officedocument.presentationml.slideLayout+xml"/>
  <Override PartName="/ppt/slideLayouts/slideLayout15914.xml" ContentType="application/vnd.openxmlformats-officedocument.presentationml.slideLayout+xml"/>
  <Override PartName="/ppt/slideLayouts/slideLayout15915.xml" ContentType="application/vnd.openxmlformats-officedocument.presentationml.slideLayout+xml"/>
  <Override PartName="/ppt/slideLayouts/slideLayout15916.xml" ContentType="application/vnd.openxmlformats-officedocument.presentationml.slideLayout+xml"/>
  <Override PartName="/ppt/slideLayouts/slideLayout15917.xml" ContentType="application/vnd.openxmlformats-officedocument.presentationml.slideLayout+xml"/>
  <Override PartName="/ppt/slideLayouts/slideLayout15918.xml" ContentType="application/vnd.openxmlformats-officedocument.presentationml.slideLayout+xml"/>
  <Override PartName="/ppt/slideLayouts/slideLayout15919.xml" ContentType="application/vnd.openxmlformats-officedocument.presentationml.slideLayout+xml"/>
  <Override PartName="/ppt/slideLayouts/slideLayout15920.xml" ContentType="application/vnd.openxmlformats-officedocument.presentationml.slideLayout+xml"/>
  <Override PartName="/ppt/slideLayouts/slideLayout15921.xml" ContentType="application/vnd.openxmlformats-officedocument.presentationml.slideLayout+xml"/>
  <Override PartName="/ppt/slideLayouts/slideLayout15922.xml" ContentType="application/vnd.openxmlformats-officedocument.presentationml.slideLayout+xml"/>
  <Override PartName="/ppt/slideLayouts/slideLayout15923.xml" ContentType="application/vnd.openxmlformats-officedocument.presentationml.slideLayout+xml"/>
  <Override PartName="/ppt/slideLayouts/slideLayout15924.xml" ContentType="application/vnd.openxmlformats-officedocument.presentationml.slideLayout+xml"/>
  <Override PartName="/ppt/slideLayouts/slideLayout15925.xml" ContentType="application/vnd.openxmlformats-officedocument.presentationml.slideLayout+xml"/>
  <Override PartName="/ppt/slideLayouts/slideLayout15926.xml" ContentType="application/vnd.openxmlformats-officedocument.presentationml.slideLayout+xml"/>
  <Override PartName="/ppt/slideLayouts/slideLayout15927.xml" ContentType="application/vnd.openxmlformats-officedocument.presentationml.slideLayout+xml"/>
  <Override PartName="/ppt/slideLayouts/slideLayout15928.xml" ContentType="application/vnd.openxmlformats-officedocument.presentationml.slideLayout+xml"/>
  <Override PartName="/ppt/slideLayouts/slideLayout15929.xml" ContentType="application/vnd.openxmlformats-officedocument.presentationml.slideLayout+xml"/>
  <Override PartName="/ppt/slideLayouts/slideLayout15930.xml" ContentType="application/vnd.openxmlformats-officedocument.presentationml.slideLayout+xml"/>
  <Override PartName="/ppt/slideLayouts/slideLayout15931.xml" ContentType="application/vnd.openxmlformats-officedocument.presentationml.slideLayout+xml"/>
  <Override PartName="/ppt/slideLayouts/slideLayout15932.xml" ContentType="application/vnd.openxmlformats-officedocument.presentationml.slideLayout+xml"/>
  <Override PartName="/ppt/slideLayouts/slideLayout15933.xml" ContentType="application/vnd.openxmlformats-officedocument.presentationml.slideLayout+xml"/>
  <Override PartName="/ppt/slideLayouts/slideLayout15934.xml" ContentType="application/vnd.openxmlformats-officedocument.presentationml.slideLayout+xml"/>
  <Override PartName="/ppt/slideLayouts/slideLayout15935.xml" ContentType="application/vnd.openxmlformats-officedocument.presentationml.slideLayout+xml"/>
  <Override PartName="/ppt/slideLayouts/slideLayout15936.xml" ContentType="application/vnd.openxmlformats-officedocument.presentationml.slideLayout+xml"/>
  <Override PartName="/ppt/slideLayouts/slideLayout15937.xml" ContentType="application/vnd.openxmlformats-officedocument.presentationml.slideLayout+xml"/>
  <Override PartName="/ppt/slideLayouts/slideLayout15938.xml" ContentType="application/vnd.openxmlformats-officedocument.presentationml.slideLayout+xml"/>
  <Override PartName="/ppt/slideLayouts/slideLayout15939.xml" ContentType="application/vnd.openxmlformats-officedocument.presentationml.slideLayout+xml"/>
  <Override PartName="/ppt/slideLayouts/slideLayout15940.xml" ContentType="application/vnd.openxmlformats-officedocument.presentationml.slideLayout+xml"/>
  <Override PartName="/ppt/slideLayouts/slideLayout15941.xml" ContentType="application/vnd.openxmlformats-officedocument.presentationml.slideLayout+xml"/>
  <Override PartName="/ppt/slideLayouts/slideLayout15942.xml" ContentType="application/vnd.openxmlformats-officedocument.presentationml.slideLayout+xml"/>
  <Override PartName="/ppt/slideLayouts/slideLayout15943.xml" ContentType="application/vnd.openxmlformats-officedocument.presentationml.slideLayout+xml"/>
  <Override PartName="/ppt/slideLayouts/slideLayout15944.xml" ContentType="application/vnd.openxmlformats-officedocument.presentationml.slideLayout+xml"/>
  <Override PartName="/ppt/slideLayouts/slideLayout15945.xml" ContentType="application/vnd.openxmlformats-officedocument.presentationml.slideLayout+xml"/>
  <Override PartName="/ppt/slideLayouts/slideLayout15946.xml" ContentType="application/vnd.openxmlformats-officedocument.presentationml.slideLayout+xml"/>
  <Override PartName="/ppt/slideLayouts/slideLayout15947.xml" ContentType="application/vnd.openxmlformats-officedocument.presentationml.slideLayout+xml"/>
  <Override PartName="/ppt/slideLayouts/slideLayout15948.xml" ContentType="application/vnd.openxmlformats-officedocument.presentationml.slideLayout+xml"/>
  <Override PartName="/ppt/slideLayouts/slideLayout15949.xml" ContentType="application/vnd.openxmlformats-officedocument.presentationml.slideLayout+xml"/>
  <Override PartName="/ppt/slideLayouts/slideLayout15950.xml" ContentType="application/vnd.openxmlformats-officedocument.presentationml.slideLayout+xml"/>
  <Override PartName="/ppt/slideLayouts/slideLayout15951.xml" ContentType="application/vnd.openxmlformats-officedocument.presentationml.slideLayout+xml"/>
  <Override PartName="/ppt/slideLayouts/slideLayout15952.xml" ContentType="application/vnd.openxmlformats-officedocument.presentationml.slideLayout+xml"/>
  <Override PartName="/ppt/slideLayouts/slideLayout15953.xml" ContentType="application/vnd.openxmlformats-officedocument.presentationml.slideLayout+xml"/>
  <Override PartName="/ppt/slideLayouts/slideLayout15954.xml" ContentType="application/vnd.openxmlformats-officedocument.presentationml.slideLayout+xml"/>
  <Override PartName="/ppt/slideLayouts/slideLayout15955.xml" ContentType="application/vnd.openxmlformats-officedocument.presentationml.slideLayout+xml"/>
  <Override PartName="/ppt/slideLayouts/slideLayout15956.xml" ContentType="application/vnd.openxmlformats-officedocument.presentationml.slideLayout+xml"/>
  <Override PartName="/ppt/slideLayouts/slideLayout15957.xml" ContentType="application/vnd.openxmlformats-officedocument.presentationml.slideLayout+xml"/>
  <Override PartName="/ppt/slideLayouts/slideLayout15958.xml" ContentType="application/vnd.openxmlformats-officedocument.presentationml.slideLayout+xml"/>
  <Override PartName="/ppt/slideLayouts/slideLayout15959.xml" ContentType="application/vnd.openxmlformats-officedocument.presentationml.slideLayout+xml"/>
  <Override PartName="/ppt/slideLayouts/slideLayout15960.xml" ContentType="application/vnd.openxmlformats-officedocument.presentationml.slideLayout+xml"/>
  <Override PartName="/ppt/slideLayouts/slideLayout15961.xml" ContentType="application/vnd.openxmlformats-officedocument.presentationml.slideLayout+xml"/>
  <Override PartName="/ppt/slideLayouts/slideLayout15962.xml" ContentType="application/vnd.openxmlformats-officedocument.presentationml.slideLayout+xml"/>
  <Override PartName="/ppt/slideLayouts/slideLayout15963.xml" ContentType="application/vnd.openxmlformats-officedocument.presentationml.slideLayout+xml"/>
  <Override PartName="/ppt/slideLayouts/slideLayout15964.xml" ContentType="application/vnd.openxmlformats-officedocument.presentationml.slideLayout+xml"/>
  <Override PartName="/ppt/slideLayouts/slideLayout15965.xml" ContentType="application/vnd.openxmlformats-officedocument.presentationml.slideLayout+xml"/>
  <Override PartName="/ppt/slideLayouts/slideLayout15966.xml" ContentType="application/vnd.openxmlformats-officedocument.presentationml.slideLayout+xml"/>
  <Override PartName="/ppt/slideLayouts/slideLayout15967.xml" ContentType="application/vnd.openxmlformats-officedocument.presentationml.slideLayout+xml"/>
  <Override PartName="/ppt/slideLayouts/slideLayout15968.xml" ContentType="application/vnd.openxmlformats-officedocument.presentationml.slideLayout+xml"/>
  <Override PartName="/ppt/slideLayouts/slideLayout15969.xml" ContentType="application/vnd.openxmlformats-officedocument.presentationml.slideLayout+xml"/>
  <Override PartName="/ppt/slideLayouts/slideLayout15970.xml" ContentType="application/vnd.openxmlformats-officedocument.presentationml.slideLayout+xml"/>
  <Override PartName="/ppt/slideLayouts/slideLayout15971.xml" ContentType="application/vnd.openxmlformats-officedocument.presentationml.slideLayout+xml"/>
  <Override PartName="/ppt/slideLayouts/slideLayout15972.xml" ContentType="application/vnd.openxmlformats-officedocument.presentationml.slideLayout+xml"/>
  <Override PartName="/ppt/slideLayouts/slideLayout15973.xml" ContentType="application/vnd.openxmlformats-officedocument.presentationml.slideLayout+xml"/>
  <Override PartName="/ppt/slideLayouts/slideLayout15974.xml" ContentType="application/vnd.openxmlformats-officedocument.presentationml.slideLayout+xml"/>
  <Override PartName="/ppt/slideLayouts/slideLayout15975.xml" ContentType="application/vnd.openxmlformats-officedocument.presentationml.slideLayout+xml"/>
  <Override PartName="/ppt/slideLayouts/slideLayout15976.xml" ContentType="application/vnd.openxmlformats-officedocument.presentationml.slideLayout+xml"/>
  <Override PartName="/ppt/slideLayouts/slideLayout15977.xml" ContentType="application/vnd.openxmlformats-officedocument.presentationml.slideLayout+xml"/>
  <Override PartName="/ppt/slideLayouts/slideLayout15978.xml" ContentType="application/vnd.openxmlformats-officedocument.presentationml.slideLayout+xml"/>
  <Override PartName="/ppt/slideLayouts/slideLayout15979.xml" ContentType="application/vnd.openxmlformats-officedocument.presentationml.slideLayout+xml"/>
  <Override PartName="/ppt/slideLayouts/slideLayout15980.xml" ContentType="application/vnd.openxmlformats-officedocument.presentationml.slideLayout+xml"/>
  <Override PartName="/ppt/slideLayouts/slideLayout15981.xml" ContentType="application/vnd.openxmlformats-officedocument.presentationml.slideLayout+xml"/>
  <Override PartName="/ppt/slideLayouts/slideLayout15982.xml" ContentType="application/vnd.openxmlformats-officedocument.presentationml.slideLayout+xml"/>
  <Override PartName="/ppt/slideLayouts/slideLayout15983.xml" ContentType="application/vnd.openxmlformats-officedocument.presentationml.slideLayout+xml"/>
  <Override PartName="/ppt/slideLayouts/slideLayout15984.xml" ContentType="application/vnd.openxmlformats-officedocument.presentationml.slideLayout+xml"/>
  <Override PartName="/ppt/slideLayouts/slideLayout15985.xml" ContentType="application/vnd.openxmlformats-officedocument.presentationml.slideLayout+xml"/>
  <Override PartName="/ppt/slideLayouts/slideLayout15986.xml" ContentType="application/vnd.openxmlformats-officedocument.presentationml.slideLayout+xml"/>
  <Override PartName="/ppt/slideLayouts/slideLayout15987.xml" ContentType="application/vnd.openxmlformats-officedocument.presentationml.slideLayout+xml"/>
  <Override PartName="/ppt/slideLayouts/slideLayout15988.xml" ContentType="application/vnd.openxmlformats-officedocument.presentationml.slideLayout+xml"/>
  <Override PartName="/ppt/slideLayouts/slideLayout15989.xml" ContentType="application/vnd.openxmlformats-officedocument.presentationml.slideLayout+xml"/>
  <Override PartName="/ppt/slideLayouts/slideLayout15990.xml" ContentType="application/vnd.openxmlformats-officedocument.presentationml.slideLayout+xml"/>
  <Override PartName="/ppt/slideLayouts/slideLayout15991.xml" ContentType="application/vnd.openxmlformats-officedocument.presentationml.slideLayout+xml"/>
  <Override PartName="/ppt/slideLayouts/slideLayout15992.xml" ContentType="application/vnd.openxmlformats-officedocument.presentationml.slideLayout+xml"/>
  <Override PartName="/ppt/slideLayouts/slideLayout15993.xml" ContentType="application/vnd.openxmlformats-officedocument.presentationml.slideLayout+xml"/>
  <Override PartName="/ppt/slideLayouts/slideLayout15994.xml" ContentType="application/vnd.openxmlformats-officedocument.presentationml.slideLayout+xml"/>
  <Override PartName="/ppt/slideLayouts/slideLayout15995.xml" ContentType="application/vnd.openxmlformats-officedocument.presentationml.slideLayout+xml"/>
  <Override PartName="/ppt/slideLayouts/slideLayout15996.xml" ContentType="application/vnd.openxmlformats-officedocument.presentationml.slideLayout+xml"/>
  <Override PartName="/ppt/slideLayouts/slideLayout15997.xml" ContentType="application/vnd.openxmlformats-officedocument.presentationml.slideLayout+xml"/>
  <Override PartName="/ppt/slideLayouts/slideLayout15998.xml" ContentType="application/vnd.openxmlformats-officedocument.presentationml.slideLayout+xml"/>
  <Override PartName="/ppt/slideLayouts/slideLayout15999.xml" ContentType="application/vnd.openxmlformats-officedocument.presentationml.slideLayout+xml"/>
  <Override PartName="/ppt/slideLayouts/slideLayout16000.xml" ContentType="application/vnd.openxmlformats-officedocument.presentationml.slideLayout+xml"/>
  <Override PartName="/ppt/slideLayouts/slideLayout16001.xml" ContentType="application/vnd.openxmlformats-officedocument.presentationml.slideLayout+xml"/>
  <Override PartName="/ppt/slideLayouts/slideLayout16002.xml" ContentType="application/vnd.openxmlformats-officedocument.presentationml.slideLayout+xml"/>
  <Override PartName="/ppt/slideLayouts/slideLayout16003.xml" ContentType="application/vnd.openxmlformats-officedocument.presentationml.slideLayout+xml"/>
  <Override PartName="/ppt/slideLayouts/slideLayout16004.xml" ContentType="application/vnd.openxmlformats-officedocument.presentationml.slideLayout+xml"/>
  <Override PartName="/ppt/slideLayouts/slideLayout16005.xml" ContentType="application/vnd.openxmlformats-officedocument.presentationml.slideLayout+xml"/>
  <Override PartName="/ppt/slideLayouts/slideLayout16006.xml" ContentType="application/vnd.openxmlformats-officedocument.presentationml.slideLayout+xml"/>
  <Override PartName="/ppt/slideLayouts/slideLayout16007.xml" ContentType="application/vnd.openxmlformats-officedocument.presentationml.slideLayout+xml"/>
  <Override PartName="/ppt/slideLayouts/slideLayout16008.xml" ContentType="application/vnd.openxmlformats-officedocument.presentationml.slideLayout+xml"/>
  <Override PartName="/ppt/slideLayouts/slideLayout16009.xml" ContentType="application/vnd.openxmlformats-officedocument.presentationml.slideLayout+xml"/>
  <Override PartName="/ppt/slideLayouts/slideLayout16010.xml" ContentType="application/vnd.openxmlformats-officedocument.presentationml.slideLayout+xml"/>
  <Override PartName="/ppt/slideLayouts/slideLayout16011.xml" ContentType="application/vnd.openxmlformats-officedocument.presentationml.slideLayout+xml"/>
  <Override PartName="/ppt/slideLayouts/slideLayout16012.xml" ContentType="application/vnd.openxmlformats-officedocument.presentationml.slideLayout+xml"/>
  <Override PartName="/ppt/slideLayouts/slideLayout16013.xml" ContentType="application/vnd.openxmlformats-officedocument.presentationml.slideLayout+xml"/>
  <Override PartName="/ppt/slideLayouts/slideLayout16014.xml" ContentType="application/vnd.openxmlformats-officedocument.presentationml.slideLayout+xml"/>
  <Override PartName="/ppt/slideLayouts/slideLayout16015.xml" ContentType="application/vnd.openxmlformats-officedocument.presentationml.slideLayout+xml"/>
  <Override PartName="/ppt/slideLayouts/slideLayout16016.xml" ContentType="application/vnd.openxmlformats-officedocument.presentationml.slideLayout+xml"/>
  <Override PartName="/ppt/slideLayouts/slideLayout16017.xml" ContentType="application/vnd.openxmlformats-officedocument.presentationml.slideLayout+xml"/>
  <Override PartName="/ppt/slideLayouts/slideLayout16018.xml" ContentType="application/vnd.openxmlformats-officedocument.presentationml.slideLayout+xml"/>
  <Override PartName="/ppt/slideLayouts/slideLayout16019.xml" ContentType="application/vnd.openxmlformats-officedocument.presentationml.slideLayout+xml"/>
  <Override PartName="/ppt/slideLayouts/slideLayout16020.xml" ContentType="application/vnd.openxmlformats-officedocument.presentationml.slideLayout+xml"/>
  <Override PartName="/ppt/slideLayouts/slideLayout16021.xml" ContentType="application/vnd.openxmlformats-officedocument.presentationml.slideLayout+xml"/>
  <Override PartName="/ppt/slideLayouts/slideLayout16022.xml" ContentType="application/vnd.openxmlformats-officedocument.presentationml.slideLayout+xml"/>
  <Override PartName="/ppt/slideLayouts/slideLayout16023.xml" ContentType="application/vnd.openxmlformats-officedocument.presentationml.slideLayout+xml"/>
  <Override PartName="/ppt/slideLayouts/slideLayout16024.xml" ContentType="application/vnd.openxmlformats-officedocument.presentationml.slideLayout+xml"/>
  <Override PartName="/ppt/slideLayouts/slideLayout16025.xml" ContentType="application/vnd.openxmlformats-officedocument.presentationml.slideLayout+xml"/>
  <Override PartName="/ppt/slideLayouts/slideLayout16026.xml" ContentType="application/vnd.openxmlformats-officedocument.presentationml.slideLayout+xml"/>
  <Override PartName="/ppt/slideLayouts/slideLayout16027.xml" ContentType="application/vnd.openxmlformats-officedocument.presentationml.slideLayout+xml"/>
  <Override PartName="/ppt/slideLayouts/slideLayout16028.xml" ContentType="application/vnd.openxmlformats-officedocument.presentationml.slideLayout+xml"/>
  <Override PartName="/ppt/slideLayouts/slideLayout16029.xml" ContentType="application/vnd.openxmlformats-officedocument.presentationml.slideLayout+xml"/>
  <Override PartName="/ppt/slideLayouts/slideLayout16030.xml" ContentType="application/vnd.openxmlformats-officedocument.presentationml.slideLayout+xml"/>
  <Override PartName="/ppt/slideLayouts/slideLayout16031.xml" ContentType="application/vnd.openxmlformats-officedocument.presentationml.slideLayout+xml"/>
  <Override PartName="/ppt/slideLayouts/slideLayout16032.xml" ContentType="application/vnd.openxmlformats-officedocument.presentationml.slideLayout+xml"/>
  <Override PartName="/ppt/slideLayouts/slideLayout16033.xml" ContentType="application/vnd.openxmlformats-officedocument.presentationml.slideLayout+xml"/>
  <Override PartName="/ppt/slideLayouts/slideLayout16034.xml" ContentType="application/vnd.openxmlformats-officedocument.presentationml.slideLayout+xml"/>
  <Override PartName="/ppt/slideLayouts/slideLayout16035.xml" ContentType="application/vnd.openxmlformats-officedocument.presentationml.slideLayout+xml"/>
  <Override PartName="/ppt/slideLayouts/slideLayout16036.xml" ContentType="application/vnd.openxmlformats-officedocument.presentationml.slideLayout+xml"/>
  <Override PartName="/ppt/slideLayouts/slideLayout16037.xml" ContentType="application/vnd.openxmlformats-officedocument.presentationml.slideLayout+xml"/>
  <Override PartName="/ppt/slideLayouts/slideLayout16038.xml" ContentType="application/vnd.openxmlformats-officedocument.presentationml.slideLayout+xml"/>
  <Override PartName="/ppt/slideLayouts/slideLayout16039.xml" ContentType="application/vnd.openxmlformats-officedocument.presentationml.slideLayout+xml"/>
  <Override PartName="/ppt/slideLayouts/slideLayout16040.xml" ContentType="application/vnd.openxmlformats-officedocument.presentationml.slideLayout+xml"/>
  <Override PartName="/ppt/slideLayouts/slideLayout16041.xml" ContentType="application/vnd.openxmlformats-officedocument.presentationml.slideLayout+xml"/>
  <Override PartName="/ppt/slideLayouts/slideLayout16042.xml" ContentType="application/vnd.openxmlformats-officedocument.presentationml.slideLayout+xml"/>
  <Override PartName="/ppt/slideLayouts/slideLayout16043.xml" ContentType="application/vnd.openxmlformats-officedocument.presentationml.slideLayout+xml"/>
  <Override PartName="/ppt/slideLayouts/slideLayout16044.xml" ContentType="application/vnd.openxmlformats-officedocument.presentationml.slideLayout+xml"/>
  <Override PartName="/ppt/slideLayouts/slideLayout16045.xml" ContentType="application/vnd.openxmlformats-officedocument.presentationml.slideLayout+xml"/>
  <Override PartName="/ppt/slideLayouts/slideLayout16046.xml" ContentType="application/vnd.openxmlformats-officedocument.presentationml.slideLayout+xml"/>
  <Override PartName="/ppt/slideLayouts/slideLayout16047.xml" ContentType="application/vnd.openxmlformats-officedocument.presentationml.slideLayout+xml"/>
  <Override PartName="/ppt/slideLayouts/slideLayout16048.xml" ContentType="application/vnd.openxmlformats-officedocument.presentationml.slideLayout+xml"/>
  <Override PartName="/ppt/slideLayouts/slideLayout16049.xml" ContentType="application/vnd.openxmlformats-officedocument.presentationml.slideLayout+xml"/>
  <Override PartName="/ppt/slideLayouts/slideLayout16050.xml" ContentType="application/vnd.openxmlformats-officedocument.presentationml.slideLayout+xml"/>
  <Override PartName="/ppt/slideLayouts/slideLayout16051.xml" ContentType="application/vnd.openxmlformats-officedocument.presentationml.slideLayout+xml"/>
  <Override PartName="/ppt/slideLayouts/slideLayout16052.xml" ContentType="application/vnd.openxmlformats-officedocument.presentationml.slideLayout+xml"/>
  <Override PartName="/ppt/slideLayouts/slideLayout16053.xml" ContentType="application/vnd.openxmlformats-officedocument.presentationml.slideLayout+xml"/>
  <Override PartName="/ppt/slideLayouts/slideLayout16054.xml" ContentType="application/vnd.openxmlformats-officedocument.presentationml.slideLayout+xml"/>
  <Override PartName="/ppt/slideLayouts/slideLayout16055.xml" ContentType="application/vnd.openxmlformats-officedocument.presentationml.slideLayout+xml"/>
  <Override PartName="/ppt/slideLayouts/slideLayout16056.xml" ContentType="application/vnd.openxmlformats-officedocument.presentationml.slideLayout+xml"/>
  <Override PartName="/ppt/slideLayouts/slideLayout16057.xml" ContentType="application/vnd.openxmlformats-officedocument.presentationml.slideLayout+xml"/>
  <Override PartName="/ppt/slideLayouts/slideLayout16058.xml" ContentType="application/vnd.openxmlformats-officedocument.presentationml.slideLayout+xml"/>
  <Override PartName="/ppt/slideLayouts/slideLayout16059.xml" ContentType="application/vnd.openxmlformats-officedocument.presentationml.slideLayout+xml"/>
  <Override PartName="/ppt/slideLayouts/slideLayout16060.xml" ContentType="application/vnd.openxmlformats-officedocument.presentationml.slideLayout+xml"/>
  <Override PartName="/ppt/slideLayouts/slideLayout16061.xml" ContentType="application/vnd.openxmlformats-officedocument.presentationml.slideLayout+xml"/>
  <Override PartName="/ppt/slideLayouts/slideLayout16062.xml" ContentType="application/vnd.openxmlformats-officedocument.presentationml.slideLayout+xml"/>
  <Override PartName="/ppt/slideLayouts/slideLayout16063.xml" ContentType="application/vnd.openxmlformats-officedocument.presentationml.slideLayout+xml"/>
  <Override PartName="/ppt/slideLayouts/slideLayout16064.xml" ContentType="application/vnd.openxmlformats-officedocument.presentationml.slideLayout+xml"/>
  <Override PartName="/ppt/slideLayouts/slideLayout16065.xml" ContentType="application/vnd.openxmlformats-officedocument.presentationml.slideLayout+xml"/>
  <Override PartName="/ppt/slideLayouts/slideLayout16066.xml" ContentType="application/vnd.openxmlformats-officedocument.presentationml.slideLayout+xml"/>
  <Override PartName="/ppt/slideLayouts/slideLayout16067.xml" ContentType="application/vnd.openxmlformats-officedocument.presentationml.slideLayout+xml"/>
  <Override PartName="/ppt/slideLayouts/slideLayout16068.xml" ContentType="application/vnd.openxmlformats-officedocument.presentationml.slideLayout+xml"/>
  <Override PartName="/ppt/slideLayouts/slideLayout16069.xml" ContentType="application/vnd.openxmlformats-officedocument.presentationml.slideLayout+xml"/>
  <Override PartName="/ppt/slideLayouts/slideLayout16070.xml" ContentType="application/vnd.openxmlformats-officedocument.presentationml.slideLayout+xml"/>
  <Override PartName="/ppt/slideLayouts/slideLayout16071.xml" ContentType="application/vnd.openxmlformats-officedocument.presentationml.slideLayout+xml"/>
  <Override PartName="/ppt/slideLayouts/slideLayout16072.xml" ContentType="application/vnd.openxmlformats-officedocument.presentationml.slideLayout+xml"/>
  <Override PartName="/ppt/slideLayouts/slideLayout16073.xml" ContentType="application/vnd.openxmlformats-officedocument.presentationml.slideLayout+xml"/>
  <Override PartName="/ppt/slideLayouts/slideLayout16074.xml" ContentType="application/vnd.openxmlformats-officedocument.presentationml.slideLayout+xml"/>
  <Override PartName="/ppt/slideLayouts/slideLayout16075.xml" ContentType="application/vnd.openxmlformats-officedocument.presentationml.slideLayout+xml"/>
  <Override PartName="/ppt/slideLayouts/slideLayout16076.xml" ContentType="application/vnd.openxmlformats-officedocument.presentationml.slideLayout+xml"/>
  <Override PartName="/ppt/slideLayouts/slideLayout16077.xml" ContentType="application/vnd.openxmlformats-officedocument.presentationml.slideLayout+xml"/>
  <Override PartName="/ppt/slideLayouts/slideLayout16078.xml" ContentType="application/vnd.openxmlformats-officedocument.presentationml.slideLayout+xml"/>
  <Override PartName="/ppt/slideLayouts/slideLayout16079.xml" ContentType="application/vnd.openxmlformats-officedocument.presentationml.slideLayout+xml"/>
  <Override PartName="/ppt/slideLayouts/slideLayout16080.xml" ContentType="application/vnd.openxmlformats-officedocument.presentationml.slideLayout+xml"/>
  <Override PartName="/ppt/slideLayouts/slideLayout16081.xml" ContentType="application/vnd.openxmlformats-officedocument.presentationml.slideLayout+xml"/>
  <Override PartName="/ppt/slideLayouts/slideLayout16082.xml" ContentType="application/vnd.openxmlformats-officedocument.presentationml.slideLayout+xml"/>
  <Override PartName="/ppt/slideLayouts/slideLayout16083.xml" ContentType="application/vnd.openxmlformats-officedocument.presentationml.slideLayout+xml"/>
  <Override PartName="/ppt/slideLayouts/slideLayout16084.xml" ContentType="application/vnd.openxmlformats-officedocument.presentationml.slideLayout+xml"/>
  <Override PartName="/ppt/slideLayouts/slideLayout16085.xml" ContentType="application/vnd.openxmlformats-officedocument.presentationml.slideLayout+xml"/>
  <Override PartName="/ppt/slideLayouts/slideLayout16086.xml" ContentType="application/vnd.openxmlformats-officedocument.presentationml.slideLayout+xml"/>
  <Override PartName="/ppt/slideLayouts/slideLayout16087.xml" ContentType="application/vnd.openxmlformats-officedocument.presentationml.slideLayout+xml"/>
  <Override PartName="/ppt/slideLayouts/slideLayout16088.xml" ContentType="application/vnd.openxmlformats-officedocument.presentationml.slideLayout+xml"/>
  <Override PartName="/ppt/slideLayouts/slideLayout16089.xml" ContentType="application/vnd.openxmlformats-officedocument.presentationml.slideLayout+xml"/>
  <Override PartName="/ppt/slideLayouts/slideLayout16090.xml" ContentType="application/vnd.openxmlformats-officedocument.presentationml.slideLayout+xml"/>
  <Override PartName="/ppt/slideLayouts/slideLayout16091.xml" ContentType="application/vnd.openxmlformats-officedocument.presentationml.slideLayout+xml"/>
  <Override PartName="/ppt/slideLayouts/slideLayout16092.xml" ContentType="application/vnd.openxmlformats-officedocument.presentationml.slideLayout+xml"/>
  <Override PartName="/ppt/slideLayouts/slideLayout16093.xml" ContentType="application/vnd.openxmlformats-officedocument.presentationml.slideLayout+xml"/>
  <Override PartName="/ppt/slideLayouts/slideLayout16094.xml" ContentType="application/vnd.openxmlformats-officedocument.presentationml.slideLayout+xml"/>
  <Override PartName="/ppt/slideLayouts/slideLayout16095.xml" ContentType="application/vnd.openxmlformats-officedocument.presentationml.slideLayout+xml"/>
  <Override PartName="/ppt/slideLayouts/slideLayout16096.xml" ContentType="application/vnd.openxmlformats-officedocument.presentationml.slideLayout+xml"/>
  <Override PartName="/ppt/slideLayouts/slideLayout16097.xml" ContentType="application/vnd.openxmlformats-officedocument.presentationml.slideLayout+xml"/>
  <Override PartName="/ppt/slideLayouts/slideLayout16098.xml" ContentType="application/vnd.openxmlformats-officedocument.presentationml.slideLayout+xml"/>
  <Override PartName="/ppt/slideLayouts/slideLayout16099.xml" ContentType="application/vnd.openxmlformats-officedocument.presentationml.slideLayout+xml"/>
  <Override PartName="/ppt/slideLayouts/slideLayout16100.xml" ContentType="application/vnd.openxmlformats-officedocument.presentationml.slideLayout+xml"/>
  <Override PartName="/ppt/slideLayouts/slideLayout16101.xml" ContentType="application/vnd.openxmlformats-officedocument.presentationml.slideLayout+xml"/>
  <Override PartName="/ppt/slideLayouts/slideLayout16102.xml" ContentType="application/vnd.openxmlformats-officedocument.presentationml.slideLayout+xml"/>
  <Override PartName="/ppt/slideLayouts/slideLayout16103.xml" ContentType="application/vnd.openxmlformats-officedocument.presentationml.slideLayout+xml"/>
  <Override PartName="/ppt/slideLayouts/slideLayout16104.xml" ContentType="application/vnd.openxmlformats-officedocument.presentationml.slideLayout+xml"/>
  <Override PartName="/ppt/slideLayouts/slideLayout16105.xml" ContentType="application/vnd.openxmlformats-officedocument.presentationml.slideLayout+xml"/>
  <Override PartName="/ppt/slideLayouts/slideLayout16106.xml" ContentType="application/vnd.openxmlformats-officedocument.presentationml.slideLayout+xml"/>
  <Override PartName="/ppt/slideLayouts/slideLayout16107.xml" ContentType="application/vnd.openxmlformats-officedocument.presentationml.slideLayout+xml"/>
  <Override PartName="/ppt/slideLayouts/slideLayout16108.xml" ContentType="application/vnd.openxmlformats-officedocument.presentationml.slideLayout+xml"/>
  <Override PartName="/ppt/slideLayouts/slideLayout16109.xml" ContentType="application/vnd.openxmlformats-officedocument.presentationml.slideLayout+xml"/>
  <Override PartName="/ppt/slideLayouts/slideLayout16110.xml" ContentType="application/vnd.openxmlformats-officedocument.presentationml.slideLayout+xml"/>
  <Override PartName="/ppt/slideLayouts/slideLayout16111.xml" ContentType="application/vnd.openxmlformats-officedocument.presentationml.slideLayout+xml"/>
  <Override PartName="/ppt/slideLayouts/slideLayout16112.xml" ContentType="application/vnd.openxmlformats-officedocument.presentationml.slideLayout+xml"/>
  <Override PartName="/ppt/slideLayouts/slideLayout16113.xml" ContentType="application/vnd.openxmlformats-officedocument.presentationml.slideLayout+xml"/>
  <Override PartName="/ppt/slideLayouts/slideLayout16114.xml" ContentType="application/vnd.openxmlformats-officedocument.presentationml.slideLayout+xml"/>
  <Override PartName="/ppt/slideLayouts/slideLayout16115.xml" ContentType="application/vnd.openxmlformats-officedocument.presentationml.slideLayout+xml"/>
  <Override PartName="/ppt/slideLayouts/slideLayout16116.xml" ContentType="application/vnd.openxmlformats-officedocument.presentationml.slideLayout+xml"/>
  <Override PartName="/ppt/slideLayouts/slideLayout16117.xml" ContentType="application/vnd.openxmlformats-officedocument.presentationml.slideLayout+xml"/>
  <Override PartName="/ppt/slideLayouts/slideLayout16118.xml" ContentType="application/vnd.openxmlformats-officedocument.presentationml.slideLayout+xml"/>
  <Override PartName="/ppt/slideLayouts/slideLayout16119.xml" ContentType="application/vnd.openxmlformats-officedocument.presentationml.slideLayout+xml"/>
  <Override PartName="/ppt/slideLayouts/slideLayout16120.xml" ContentType="application/vnd.openxmlformats-officedocument.presentationml.slideLayout+xml"/>
  <Override PartName="/ppt/slideLayouts/slideLayout16121.xml" ContentType="application/vnd.openxmlformats-officedocument.presentationml.slideLayout+xml"/>
  <Override PartName="/ppt/slideLayouts/slideLayout16122.xml" ContentType="application/vnd.openxmlformats-officedocument.presentationml.slideLayout+xml"/>
  <Override PartName="/ppt/slideLayouts/slideLayout16123.xml" ContentType="application/vnd.openxmlformats-officedocument.presentationml.slideLayout+xml"/>
  <Override PartName="/ppt/slideLayouts/slideLayout16124.xml" ContentType="application/vnd.openxmlformats-officedocument.presentationml.slideLayout+xml"/>
  <Override PartName="/ppt/slideLayouts/slideLayout16125.xml" ContentType="application/vnd.openxmlformats-officedocument.presentationml.slideLayout+xml"/>
  <Override PartName="/ppt/slideLayouts/slideLayout16126.xml" ContentType="application/vnd.openxmlformats-officedocument.presentationml.slideLayout+xml"/>
  <Override PartName="/ppt/slideLayouts/slideLayout16127.xml" ContentType="application/vnd.openxmlformats-officedocument.presentationml.slideLayout+xml"/>
  <Override PartName="/ppt/slideLayouts/slideLayout16128.xml" ContentType="application/vnd.openxmlformats-officedocument.presentationml.slideLayout+xml"/>
  <Override PartName="/ppt/slideLayouts/slideLayout16129.xml" ContentType="application/vnd.openxmlformats-officedocument.presentationml.slideLayout+xml"/>
  <Override PartName="/ppt/slideLayouts/slideLayout16130.xml" ContentType="application/vnd.openxmlformats-officedocument.presentationml.slideLayout+xml"/>
  <Override PartName="/ppt/slideLayouts/slideLayout16131.xml" ContentType="application/vnd.openxmlformats-officedocument.presentationml.slideLayout+xml"/>
  <Override PartName="/ppt/slideLayouts/slideLayout16132.xml" ContentType="application/vnd.openxmlformats-officedocument.presentationml.slideLayout+xml"/>
  <Override PartName="/ppt/slideLayouts/slideLayout16133.xml" ContentType="application/vnd.openxmlformats-officedocument.presentationml.slideLayout+xml"/>
  <Override PartName="/ppt/slideLayouts/slideLayout16134.xml" ContentType="application/vnd.openxmlformats-officedocument.presentationml.slideLayout+xml"/>
  <Override PartName="/ppt/slideLayouts/slideLayout16135.xml" ContentType="application/vnd.openxmlformats-officedocument.presentationml.slideLayout+xml"/>
  <Override PartName="/ppt/slideLayouts/slideLayout16136.xml" ContentType="application/vnd.openxmlformats-officedocument.presentationml.slideLayout+xml"/>
  <Override PartName="/ppt/slideLayouts/slideLayout16137.xml" ContentType="application/vnd.openxmlformats-officedocument.presentationml.slideLayout+xml"/>
  <Override PartName="/ppt/slideLayouts/slideLayout16138.xml" ContentType="application/vnd.openxmlformats-officedocument.presentationml.slideLayout+xml"/>
  <Override PartName="/ppt/slideLayouts/slideLayout16139.xml" ContentType="application/vnd.openxmlformats-officedocument.presentationml.slideLayout+xml"/>
  <Override PartName="/ppt/slideLayouts/slideLayout16140.xml" ContentType="application/vnd.openxmlformats-officedocument.presentationml.slideLayout+xml"/>
  <Override PartName="/ppt/slideLayouts/slideLayout16141.xml" ContentType="application/vnd.openxmlformats-officedocument.presentationml.slideLayout+xml"/>
  <Override PartName="/ppt/slideLayouts/slideLayout16142.xml" ContentType="application/vnd.openxmlformats-officedocument.presentationml.slideLayout+xml"/>
  <Override PartName="/ppt/slideLayouts/slideLayout16143.xml" ContentType="application/vnd.openxmlformats-officedocument.presentationml.slideLayout+xml"/>
  <Override PartName="/ppt/slideLayouts/slideLayout16144.xml" ContentType="application/vnd.openxmlformats-officedocument.presentationml.slideLayout+xml"/>
  <Override PartName="/ppt/slideLayouts/slideLayout16145.xml" ContentType="application/vnd.openxmlformats-officedocument.presentationml.slideLayout+xml"/>
  <Override PartName="/ppt/slideLayouts/slideLayout16146.xml" ContentType="application/vnd.openxmlformats-officedocument.presentationml.slideLayout+xml"/>
  <Override PartName="/ppt/slideLayouts/slideLayout16147.xml" ContentType="application/vnd.openxmlformats-officedocument.presentationml.slideLayout+xml"/>
  <Override PartName="/ppt/slideLayouts/slideLayout16148.xml" ContentType="application/vnd.openxmlformats-officedocument.presentationml.slideLayout+xml"/>
  <Override PartName="/ppt/slideLayouts/slideLayout16149.xml" ContentType="application/vnd.openxmlformats-officedocument.presentationml.slideLayout+xml"/>
  <Override PartName="/ppt/slideLayouts/slideLayout16150.xml" ContentType="application/vnd.openxmlformats-officedocument.presentationml.slideLayout+xml"/>
  <Override PartName="/ppt/slideLayouts/slideLayout16151.xml" ContentType="application/vnd.openxmlformats-officedocument.presentationml.slideLayout+xml"/>
  <Override PartName="/ppt/slideLayouts/slideLayout16152.xml" ContentType="application/vnd.openxmlformats-officedocument.presentationml.slideLayout+xml"/>
  <Override PartName="/ppt/slideLayouts/slideLayout16153.xml" ContentType="application/vnd.openxmlformats-officedocument.presentationml.slideLayout+xml"/>
  <Override PartName="/ppt/slideLayouts/slideLayout16154.xml" ContentType="application/vnd.openxmlformats-officedocument.presentationml.slideLayout+xml"/>
  <Override PartName="/ppt/slideLayouts/slideLayout16155.xml" ContentType="application/vnd.openxmlformats-officedocument.presentationml.slideLayout+xml"/>
  <Override PartName="/ppt/slideLayouts/slideLayout16156.xml" ContentType="application/vnd.openxmlformats-officedocument.presentationml.slideLayout+xml"/>
  <Override PartName="/ppt/slideLayouts/slideLayout16157.xml" ContentType="application/vnd.openxmlformats-officedocument.presentationml.slideLayout+xml"/>
  <Override PartName="/ppt/slideLayouts/slideLayout16158.xml" ContentType="application/vnd.openxmlformats-officedocument.presentationml.slideLayout+xml"/>
  <Override PartName="/ppt/slideLayouts/slideLayout16159.xml" ContentType="application/vnd.openxmlformats-officedocument.presentationml.slideLayout+xml"/>
  <Override PartName="/ppt/slideLayouts/slideLayout16160.xml" ContentType="application/vnd.openxmlformats-officedocument.presentationml.slideLayout+xml"/>
  <Override PartName="/ppt/slideLayouts/slideLayout16161.xml" ContentType="application/vnd.openxmlformats-officedocument.presentationml.slideLayout+xml"/>
  <Override PartName="/ppt/slideLayouts/slideLayout16162.xml" ContentType="application/vnd.openxmlformats-officedocument.presentationml.slideLayout+xml"/>
  <Override PartName="/ppt/slideLayouts/slideLayout16163.xml" ContentType="application/vnd.openxmlformats-officedocument.presentationml.slideLayout+xml"/>
  <Override PartName="/ppt/slideLayouts/slideLayout16164.xml" ContentType="application/vnd.openxmlformats-officedocument.presentationml.slideLayout+xml"/>
  <Override PartName="/ppt/slideLayouts/slideLayout16165.xml" ContentType="application/vnd.openxmlformats-officedocument.presentationml.slideLayout+xml"/>
  <Override PartName="/ppt/slideLayouts/slideLayout16166.xml" ContentType="application/vnd.openxmlformats-officedocument.presentationml.slideLayout+xml"/>
  <Override PartName="/ppt/slideLayouts/slideLayout16167.xml" ContentType="application/vnd.openxmlformats-officedocument.presentationml.slideLayout+xml"/>
  <Override PartName="/ppt/slideLayouts/slideLayout16168.xml" ContentType="application/vnd.openxmlformats-officedocument.presentationml.slideLayout+xml"/>
  <Override PartName="/ppt/slideLayouts/slideLayout16169.xml" ContentType="application/vnd.openxmlformats-officedocument.presentationml.slideLayout+xml"/>
  <Override PartName="/ppt/slideLayouts/slideLayout16170.xml" ContentType="application/vnd.openxmlformats-officedocument.presentationml.slideLayout+xml"/>
  <Override PartName="/ppt/slideLayouts/slideLayout16171.xml" ContentType="application/vnd.openxmlformats-officedocument.presentationml.slideLayout+xml"/>
  <Override PartName="/ppt/slideLayouts/slideLayout16172.xml" ContentType="application/vnd.openxmlformats-officedocument.presentationml.slideLayout+xml"/>
  <Override PartName="/ppt/slideLayouts/slideLayout16173.xml" ContentType="application/vnd.openxmlformats-officedocument.presentationml.slideLayout+xml"/>
  <Override PartName="/ppt/slideLayouts/slideLayout16174.xml" ContentType="application/vnd.openxmlformats-officedocument.presentationml.slideLayout+xml"/>
  <Override PartName="/ppt/slideLayouts/slideLayout16175.xml" ContentType="application/vnd.openxmlformats-officedocument.presentationml.slideLayout+xml"/>
  <Override PartName="/ppt/slideLayouts/slideLayout16176.xml" ContentType="application/vnd.openxmlformats-officedocument.presentationml.slideLayout+xml"/>
  <Override PartName="/ppt/slideLayouts/slideLayout16177.xml" ContentType="application/vnd.openxmlformats-officedocument.presentationml.slideLayout+xml"/>
  <Override PartName="/ppt/slideLayouts/slideLayout16178.xml" ContentType="application/vnd.openxmlformats-officedocument.presentationml.slideLayout+xml"/>
  <Override PartName="/ppt/slideLayouts/slideLayout16179.xml" ContentType="application/vnd.openxmlformats-officedocument.presentationml.slideLayout+xml"/>
  <Override PartName="/ppt/slideLayouts/slideLayout16180.xml" ContentType="application/vnd.openxmlformats-officedocument.presentationml.slideLayout+xml"/>
  <Override PartName="/ppt/slideLayouts/slideLayout16181.xml" ContentType="application/vnd.openxmlformats-officedocument.presentationml.slideLayout+xml"/>
  <Override PartName="/ppt/slideLayouts/slideLayout16182.xml" ContentType="application/vnd.openxmlformats-officedocument.presentationml.slideLayout+xml"/>
  <Override PartName="/ppt/slideLayouts/slideLayout16183.xml" ContentType="application/vnd.openxmlformats-officedocument.presentationml.slideLayout+xml"/>
  <Override PartName="/ppt/slideLayouts/slideLayout16184.xml" ContentType="application/vnd.openxmlformats-officedocument.presentationml.slideLayout+xml"/>
  <Override PartName="/ppt/slideLayouts/slideLayout16185.xml" ContentType="application/vnd.openxmlformats-officedocument.presentationml.slideLayout+xml"/>
  <Override PartName="/ppt/slideLayouts/slideLayout16186.xml" ContentType="application/vnd.openxmlformats-officedocument.presentationml.slideLayout+xml"/>
  <Override PartName="/ppt/slideLayouts/slideLayout16187.xml" ContentType="application/vnd.openxmlformats-officedocument.presentationml.slideLayout+xml"/>
  <Override PartName="/ppt/slideLayouts/slideLayout16188.xml" ContentType="application/vnd.openxmlformats-officedocument.presentationml.slideLayout+xml"/>
  <Override PartName="/ppt/slideLayouts/slideLayout16189.xml" ContentType="application/vnd.openxmlformats-officedocument.presentationml.slideLayout+xml"/>
  <Override PartName="/ppt/slideLayouts/slideLayout16190.xml" ContentType="application/vnd.openxmlformats-officedocument.presentationml.slideLayout+xml"/>
  <Override PartName="/ppt/slideLayouts/slideLayout16191.xml" ContentType="application/vnd.openxmlformats-officedocument.presentationml.slideLayout+xml"/>
  <Override PartName="/ppt/slideLayouts/slideLayout16192.xml" ContentType="application/vnd.openxmlformats-officedocument.presentationml.slideLayout+xml"/>
  <Override PartName="/ppt/slideLayouts/slideLayout16193.xml" ContentType="application/vnd.openxmlformats-officedocument.presentationml.slideLayout+xml"/>
  <Override PartName="/ppt/slideLayouts/slideLayout16194.xml" ContentType="application/vnd.openxmlformats-officedocument.presentationml.slideLayout+xml"/>
  <Override PartName="/ppt/slideLayouts/slideLayout16195.xml" ContentType="application/vnd.openxmlformats-officedocument.presentationml.slideLayout+xml"/>
  <Override PartName="/ppt/slideLayouts/slideLayout16196.xml" ContentType="application/vnd.openxmlformats-officedocument.presentationml.slideLayout+xml"/>
  <Override PartName="/ppt/slideLayouts/slideLayout16197.xml" ContentType="application/vnd.openxmlformats-officedocument.presentationml.slideLayout+xml"/>
  <Override PartName="/ppt/slideLayouts/slideLayout16198.xml" ContentType="application/vnd.openxmlformats-officedocument.presentationml.slideLayout+xml"/>
  <Override PartName="/ppt/slideLayouts/slideLayout16199.xml" ContentType="application/vnd.openxmlformats-officedocument.presentationml.slideLayout+xml"/>
  <Override PartName="/ppt/slideLayouts/slideLayout16200.xml" ContentType="application/vnd.openxmlformats-officedocument.presentationml.slideLayout+xml"/>
  <Override PartName="/ppt/slideLayouts/slideLayout16201.xml" ContentType="application/vnd.openxmlformats-officedocument.presentationml.slideLayout+xml"/>
  <Override PartName="/ppt/slideLayouts/slideLayout16202.xml" ContentType="application/vnd.openxmlformats-officedocument.presentationml.slideLayout+xml"/>
  <Override PartName="/ppt/slideLayouts/slideLayout16203.xml" ContentType="application/vnd.openxmlformats-officedocument.presentationml.slideLayout+xml"/>
  <Override PartName="/ppt/slideLayouts/slideLayout16204.xml" ContentType="application/vnd.openxmlformats-officedocument.presentationml.slideLayout+xml"/>
  <Override PartName="/ppt/slideLayouts/slideLayout16205.xml" ContentType="application/vnd.openxmlformats-officedocument.presentationml.slideLayout+xml"/>
  <Override PartName="/ppt/slideLayouts/slideLayout16206.xml" ContentType="application/vnd.openxmlformats-officedocument.presentationml.slideLayout+xml"/>
  <Override PartName="/ppt/slideLayouts/slideLayout16207.xml" ContentType="application/vnd.openxmlformats-officedocument.presentationml.slideLayout+xml"/>
  <Override PartName="/ppt/slideLayouts/slideLayout16208.xml" ContentType="application/vnd.openxmlformats-officedocument.presentationml.slideLayout+xml"/>
  <Override PartName="/ppt/slideLayouts/slideLayout16209.xml" ContentType="application/vnd.openxmlformats-officedocument.presentationml.slideLayout+xml"/>
  <Override PartName="/ppt/slideLayouts/slideLayout16210.xml" ContentType="application/vnd.openxmlformats-officedocument.presentationml.slideLayout+xml"/>
  <Override PartName="/ppt/slideLayouts/slideLayout16211.xml" ContentType="application/vnd.openxmlformats-officedocument.presentationml.slideLayout+xml"/>
  <Override PartName="/ppt/slideLayouts/slideLayout16212.xml" ContentType="application/vnd.openxmlformats-officedocument.presentationml.slideLayout+xml"/>
  <Override PartName="/ppt/slideLayouts/slideLayout16213.xml" ContentType="application/vnd.openxmlformats-officedocument.presentationml.slideLayout+xml"/>
  <Override PartName="/ppt/slideLayouts/slideLayout16214.xml" ContentType="application/vnd.openxmlformats-officedocument.presentationml.slideLayout+xml"/>
  <Override PartName="/ppt/slideLayouts/slideLayout16215.xml" ContentType="application/vnd.openxmlformats-officedocument.presentationml.slideLayout+xml"/>
  <Override PartName="/ppt/slideLayouts/slideLayout16216.xml" ContentType="application/vnd.openxmlformats-officedocument.presentationml.slideLayout+xml"/>
  <Override PartName="/ppt/slideLayouts/slideLayout16217.xml" ContentType="application/vnd.openxmlformats-officedocument.presentationml.slideLayout+xml"/>
  <Override PartName="/ppt/slideLayouts/slideLayout16218.xml" ContentType="application/vnd.openxmlformats-officedocument.presentationml.slideLayout+xml"/>
  <Override PartName="/ppt/slideLayouts/slideLayout16219.xml" ContentType="application/vnd.openxmlformats-officedocument.presentationml.slideLayout+xml"/>
  <Override PartName="/ppt/slideLayouts/slideLayout16220.xml" ContentType="application/vnd.openxmlformats-officedocument.presentationml.slideLayout+xml"/>
  <Override PartName="/ppt/slideLayouts/slideLayout16221.xml" ContentType="application/vnd.openxmlformats-officedocument.presentationml.slideLayout+xml"/>
  <Override PartName="/ppt/slideLayouts/slideLayout16222.xml" ContentType="application/vnd.openxmlformats-officedocument.presentationml.slideLayout+xml"/>
  <Override PartName="/ppt/slideLayouts/slideLayout16223.xml" ContentType="application/vnd.openxmlformats-officedocument.presentationml.slideLayout+xml"/>
  <Override PartName="/ppt/slideLayouts/slideLayout16224.xml" ContentType="application/vnd.openxmlformats-officedocument.presentationml.slideLayout+xml"/>
  <Override PartName="/ppt/slideLayouts/slideLayout16225.xml" ContentType="application/vnd.openxmlformats-officedocument.presentationml.slideLayout+xml"/>
  <Override PartName="/ppt/slideLayouts/slideLayout16226.xml" ContentType="application/vnd.openxmlformats-officedocument.presentationml.slideLayout+xml"/>
  <Override PartName="/ppt/slideLayouts/slideLayout16227.xml" ContentType="application/vnd.openxmlformats-officedocument.presentationml.slideLayout+xml"/>
  <Override PartName="/ppt/slideLayouts/slideLayout16228.xml" ContentType="application/vnd.openxmlformats-officedocument.presentationml.slideLayout+xml"/>
  <Override PartName="/ppt/slideLayouts/slideLayout16229.xml" ContentType="application/vnd.openxmlformats-officedocument.presentationml.slideLayout+xml"/>
  <Override PartName="/ppt/slideLayouts/slideLayout16230.xml" ContentType="application/vnd.openxmlformats-officedocument.presentationml.slideLayout+xml"/>
  <Override PartName="/ppt/slideLayouts/slideLayout16231.xml" ContentType="application/vnd.openxmlformats-officedocument.presentationml.slideLayout+xml"/>
  <Override PartName="/ppt/slideLayouts/slideLayout16232.xml" ContentType="application/vnd.openxmlformats-officedocument.presentationml.slideLayout+xml"/>
  <Override PartName="/ppt/slideLayouts/slideLayout16233.xml" ContentType="application/vnd.openxmlformats-officedocument.presentationml.slideLayout+xml"/>
  <Override PartName="/ppt/slideLayouts/slideLayout16234.xml" ContentType="application/vnd.openxmlformats-officedocument.presentationml.slideLayout+xml"/>
  <Override PartName="/ppt/slideLayouts/slideLayout16235.xml" ContentType="application/vnd.openxmlformats-officedocument.presentationml.slideLayout+xml"/>
  <Override PartName="/ppt/slideLayouts/slideLayout16236.xml" ContentType="application/vnd.openxmlformats-officedocument.presentationml.slideLayout+xml"/>
  <Override PartName="/ppt/slideLayouts/slideLayout16237.xml" ContentType="application/vnd.openxmlformats-officedocument.presentationml.slideLayout+xml"/>
  <Override PartName="/ppt/slideLayouts/slideLayout16238.xml" ContentType="application/vnd.openxmlformats-officedocument.presentationml.slideLayout+xml"/>
  <Override PartName="/ppt/slideLayouts/slideLayout16239.xml" ContentType="application/vnd.openxmlformats-officedocument.presentationml.slideLayout+xml"/>
  <Override PartName="/ppt/slideLayouts/slideLayout16240.xml" ContentType="application/vnd.openxmlformats-officedocument.presentationml.slideLayout+xml"/>
  <Override PartName="/ppt/slideLayouts/slideLayout16241.xml" ContentType="application/vnd.openxmlformats-officedocument.presentationml.slideLayout+xml"/>
  <Override PartName="/ppt/slideLayouts/slideLayout16242.xml" ContentType="application/vnd.openxmlformats-officedocument.presentationml.slideLayout+xml"/>
  <Override PartName="/ppt/slideLayouts/slideLayout16243.xml" ContentType="application/vnd.openxmlformats-officedocument.presentationml.slideLayout+xml"/>
  <Override PartName="/ppt/slideLayouts/slideLayout16244.xml" ContentType="application/vnd.openxmlformats-officedocument.presentationml.slideLayout+xml"/>
  <Override PartName="/ppt/slideLayouts/slideLayout16245.xml" ContentType="application/vnd.openxmlformats-officedocument.presentationml.slideLayout+xml"/>
  <Override PartName="/ppt/slideLayouts/slideLayout16246.xml" ContentType="application/vnd.openxmlformats-officedocument.presentationml.slideLayout+xml"/>
  <Override PartName="/ppt/slideLayouts/slideLayout16247.xml" ContentType="application/vnd.openxmlformats-officedocument.presentationml.slideLayout+xml"/>
  <Override PartName="/ppt/slideLayouts/slideLayout16248.xml" ContentType="application/vnd.openxmlformats-officedocument.presentationml.slideLayout+xml"/>
  <Override PartName="/ppt/slideLayouts/slideLayout16249.xml" ContentType="application/vnd.openxmlformats-officedocument.presentationml.slideLayout+xml"/>
  <Override PartName="/ppt/slideLayouts/slideLayout16250.xml" ContentType="application/vnd.openxmlformats-officedocument.presentationml.slideLayout+xml"/>
  <Override PartName="/ppt/slideLayouts/slideLayout16251.xml" ContentType="application/vnd.openxmlformats-officedocument.presentationml.slideLayout+xml"/>
  <Override PartName="/ppt/slideLayouts/slideLayout16252.xml" ContentType="application/vnd.openxmlformats-officedocument.presentationml.slideLayout+xml"/>
  <Override PartName="/ppt/slideLayouts/slideLayout16253.xml" ContentType="application/vnd.openxmlformats-officedocument.presentationml.slideLayout+xml"/>
  <Override PartName="/ppt/slideLayouts/slideLayout16254.xml" ContentType="application/vnd.openxmlformats-officedocument.presentationml.slideLayout+xml"/>
  <Override PartName="/ppt/slideLayouts/slideLayout16255.xml" ContentType="application/vnd.openxmlformats-officedocument.presentationml.slideLayout+xml"/>
  <Override PartName="/ppt/slideLayouts/slideLayout16256.xml" ContentType="application/vnd.openxmlformats-officedocument.presentationml.slideLayout+xml"/>
  <Override PartName="/ppt/slideLayouts/slideLayout16257.xml" ContentType="application/vnd.openxmlformats-officedocument.presentationml.slideLayout+xml"/>
  <Override PartName="/ppt/slideLayouts/slideLayout16258.xml" ContentType="application/vnd.openxmlformats-officedocument.presentationml.slideLayout+xml"/>
  <Override PartName="/ppt/slideLayouts/slideLayout16259.xml" ContentType="application/vnd.openxmlformats-officedocument.presentationml.slideLayout+xml"/>
  <Override PartName="/ppt/slideLayouts/slideLayout16260.xml" ContentType="application/vnd.openxmlformats-officedocument.presentationml.slideLayout+xml"/>
  <Override PartName="/ppt/slideLayouts/slideLayout16261.xml" ContentType="application/vnd.openxmlformats-officedocument.presentationml.slideLayout+xml"/>
  <Override PartName="/ppt/slideLayouts/slideLayout16262.xml" ContentType="application/vnd.openxmlformats-officedocument.presentationml.slideLayout+xml"/>
  <Override PartName="/ppt/slideLayouts/slideLayout16263.xml" ContentType="application/vnd.openxmlformats-officedocument.presentationml.slideLayout+xml"/>
  <Override PartName="/ppt/slideLayouts/slideLayout16264.xml" ContentType="application/vnd.openxmlformats-officedocument.presentationml.slideLayout+xml"/>
  <Override PartName="/ppt/slideLayouts/slideLayout16265.xml" ContentType="application/vnd.openxmlformats-officedocument.presentationml.slideLayout+xml"/>
  <Override PartName="/ppt/slideLayouts/slideLayout16266.xml" ContentType="application/vnd.openxmlformats-officedocument.presentationml.slideLayout+xml"/>
  <Override PartName="/ppt/slideLayouts/slideLayout16267.xml" ContentType="application/vnd.openxmlformats-officedocument.presentationml.slideLayout+xml"/>
  <Override PartName="/ppt/slideLayouts/slideLayout16268.xml" ContentType="application/vnd.openxmlformats-officedocument.presentationml.slideLayout+xml"/>
  <Override PartName="/ppt/slideLayouts/slideLayout16269.xml" ContentType="application/vnd.openxmlformats-officedocument.presentationml.slideLayout+xml"/>
  <Override PartName="/ppt/slideLayouts/slideLayout16270.xml" ContentType="application/vnd.openxmlformats-officedocument.presentationml.slideLayout+xml"/>
  <Override PartName="/ppt/slideLayouts/slideLayout16271.xml" ContentType="application/vnd.openxmlformats-officedocument.presentationml.slideLayout+xml"/>
  <Override PartName="/ppt/slideLayouts/slideLayout16272.xml" ContentType="application/vnd.openxmlformats-officedocument.presentationml.slideLayout+xml"/>
  <Override PartName="/ppt/slideLayouts/slideLayout16273.xml" ContentType="application/vnd.openxmlformats-officedocument.presentationml.slideLayout+xml"/>
  <Override PartName="/ppt/slideLayouts/slideLayout16274.xml" ContentType="application/vnd.openxmlformats-officedocument.presentationml.slideLayout+xml"/>
  <Override PartName="/ppt/slideLayouts/slideLayout16275.xml" ContentType="application/vnd.openxmlformats-officedocument.presentationml.slideLayout+xml"/>
  <Override PartName="/ppt/slideLayouts/slideLayout16276.xml" ContentType="application/vnd.openxmlformats-officedocument.presentationml.slideLayout+xml"/>
  <Override PartName="/ppt/slideLayouts/slideLayout16277.xml" ContentType="application/vnd.openxmlformats-officedocument.presentationml.slideLayout+xml"/>
  <Override PartName="/ppt/slideLayouts/slideLayout16278.xml" ContentType="application/vnd.openxmlformats-officedocument.presentationml.slideLayout+xml"/>
  <Override PartName="/ppt/slideLayouts/slideLayout16279.xml" ContentType="application/vnd.openxmlformats-officedocument.presentationml.slideLayout+xml"/>
  <Override PartName="/ppt/slideLayouts/slideLayout16280.xml" ContentType="application/vnd.openxmlformats-officedocument.presentationml.slideLayout+xml"/>
  <Override PartName="/ppt/slideLayouts/slideLayout16281.xml" ContentType="application/vnd.openxmlformats-officedocument.presentationml.slideLayout+xml"/>
  <Override PartName="/ppt/slideLayouts/slideLayout16282.xml" ContentType="application/vnd.openxmlformats-officedocument.presentationml.slideLayout+xml"/>
  <Override PartName="/ppt/slideLayouts/slideLayout16283.xml" ContentType="application/vnd.openxmlformats-officedocument.presentationml.slideLayout+xml"/>
  <Override PartName="/ppt/slideLayouts/slideLayout16284.xml" ContentType="application/vnd.openxmlformats-officedocument.presentationml.slideLayout+xml"/>
  <Override PartName="/ppt/slideLayouts/slideLayout16285.xml" ContentType="application/vnd.openxmlformats-officedocument.presentationml.slideLayout+xml"/>
  <Override PartName="/ppt/slideLayouts/slideLayout16286.xml" ContentType="application/vnd.openxmlformats-officedocument.presentationml.slideLayout+xml"/>
  <Override PartName="/ppt/slideLayouts/slideLayout16287.xml" ContentType="application/vnd.openxmlformats-officedocument.presentationml.slideLayout+xml"/>
  <Override PartName="/ppt/slideLayouts/slideLayout16288.xml" ContentType="application/vnd.openxmlformats-officedocument.presentationml.slideLayout+xml"/>
  <Override PartName="/ppt/slideLayouts/slideLayout16289.xml" ContentType="application/vnd.openxmlformats-officedocument.presentationml.slideLayout+xml"/>
  <Override PartName="/ppt/slideLayouts/slideLayout16290.xml" ContentType="application/vnd.openxmlformats-officedocument.presentationml.slideLayout+xml"/>
  <Override PartName="/ppt/slideLayouts/slideLayout16291.xml" ContentType="application/vnd.openxmlformats-officedocument.presentationml.slideLayout+xml"/>
  <Override PartName="/ppt/slideLayouts/slideLayout16292.xml" ContentType="application/vnd.openxmlformats-officedocument.presentationml.slideLayout+xml"/>
  <Override PartName="/ppt/slideLayouts/slideLayout16293.xml" ContentType="application/vnd.openxmlformats-officedocument.presentationml.slideLayout+xml"/>
  <Override PartName="/ppt/slideLayouts/slideLayout16294.xml" ContentType="application/vnd.openxmlformats-officedocument.presentationml.slideLayout+xml"/>
  <Override PartName="/ppt/slideLayouts/slideLayout16295.xml" ContentType="application/vnd.openxmlformats-officedocument.presentationml.slideLayout+xml"/>
  <Override PartName="/ppt/slideLayouts/slideLayout16296.xml" ContentType="application/vnd.openxmlformats-officedocument.presentationml.slideLayout+xml"/>
  <Override PartName="/ppt/slideLayouts/slideLayout16297.xml" ContentType="application/vnd.openxmlformats-officedocument.presentationml.slideLayout+xml"/>
  <Override PartName="/ppt/slideLayouts/slideLayout16298.xml" ContentType="application/vnd.openxmlformats-officedocument.presentationml.slideLayout+xml"/>
  <Override PartName="/ppt/slideLayouts/slideLayout16299.xml" ContentType="application/vnd.openxmlformats-officedocument.presentationml.slideLayout+xml"/>
  <Override PartName="/ppt/slideLayouts/slideLayout16300.xml" ContentType="application/vnd.openxmlformats-officedocument.presentationml.slideLayout+xml"/>
  <Override PartName="/ppt/slideLayouts/slideLayout16301.xml" ContentType="application/vnd.openxmlformats-officedocument.presentationml.slideLayout+xml"/>
  <Override PartName="/ppt/slideLayouts/slideLayout16302.xml" ContentType="application/vnd.openxmlformats-officedocument.presentationml.slideLayout+xml"/>
  <Override PartName="/ppt/slideLayouts/slideLayout16303.xml" ContentType="application/vnd.openxmlformats-officedocument.presentationml.slideLayout+xml"/>
  <Override PartName="/ppt/slideLayouts/slideLayout16304.xml" ContentType="application/vnd.openxmlformats-officedocument.presentationml.slideLayout+xml"/>
  <Override PartName="/ppt/slideLayouts/slideLayout16305.xml" ContentType="application/vnd.openxmlformats-officedocument.presentationml.slideLayout+xml"/>
  <Override PartName="/ppt/slideLayouts/slideLayout16306.xml" ContentType="application/vnd.openxmlformats-officedocument.presentationml.slideLayout+xml"/>
  <Override PartName="/ppt/slideLayouts/slideLayout16307.xml" ContentType="application/vnd.openxmlformats-officedocument.presentationml.slideLayout+xml"/>
  <Override PartName="/ppt/slideLayouts/slideLayout16308.xml" ContentType="application/vnd.openxmlformats-officedocument.presentationml.slideLayout+xml"/>
  <Override PartName="/ppt/slideLayouts/slideLayout16309.xml" ContentType="application/vnd.openxmlformats-officedocument.presentationml.slideLayout+xml"/>
  <Override PartName="/ppt/slideLayouts/slideLayout16310.xml" ContentType="application/vnd.openxmlformats-officedocument.presentationml.slideLayout+xml"/>
  <Override PartName="/ppt/slideLayouts/slideLayout16311.xml" ContentType="application/vnd.openxmlformats-officedocument.presentationml.slideLayout+xml"/>
  <Override PartName="/ppt/slideLayouts/slideLayout16312.xml" ContentType="application/vnd.openxmlformats-officedocument.presentationml.slideLayout+xml"/>
  <Override PartName="/ppt/slideLayouts/slideLayout16313.xml" ContentType="application/vnd.openxmlformats-officedocument.presentationml.slideLayout+xml"/>
  <Override PartName="/ppt/slideLayouts/slideLayout16314.xml" ContentType="application/vnd.openxmlformats-officedocument.presentationml.slideLayout+xml"/>
  <Override PartName="/ppt/slideLayouts/slideLayout16315.xml" ContentType="application/vnd.openxmlformats-officedocument.presentationml.slideLayout+xml"/>
  <Override PartName="/ppt/slideLayouts/slideLayout16316.xml" ContentType="application/vnd.openxmlformats-officedocument.presentationml.slideLayout+xml"/>
  <Override PartName="/ppt/slideLayouts/slideLayout16317.xml" ContentType="application/vnd.openxmlformats-officedocument.presentationml.slideLayout+xml"/>
  <Override PartName="/ppt/slideLayouts/slideLayout16318.xml" ContentType="application/vnd.openxmlformats-officedocument.presentationml.slideLayout+xml"/>
  <Override PartName="/ppt/slideLayouts/slideLayout16319.xml" ContentType="application/vnd.openxmlformats-officedocument.presentationml.slideLayout+xml"/>
  <Override PartName="/ppt/slideLayouts/slideLayout16320.xml" ContentType="application/vnd.openxmlformats-officedocument.presentationml.slideLayout+xml"/>
  <Override PartName="/ppt/slideLayouts/slideLayout16321.xml" ContentType="application/vnd.openxmlformats-officedocument.presentationml.slideLayout+xml"/>
  <Override PartName="/ppt/slideLayouts/slideLayout16322.xml" ContentType="application/vnd.openxmlformats-officedocument.presentationml.slideLayout+xml"/>
  <Override PartName="/ppt/slideLayouts/slideLayout16323.xml" ContentType="application/vnd.openxmlformats-officedocument.presentationml.slideLayout+xml"/>
  <Override PartName="/ppt/slideLayouts/slideLayout16324.xml" ContentType="application/vnd.openxmlformats-officedocument.presentationml.slideLayout+xml"/>
  <Override PartName="/ppt/slideLayouts/slideLayout16325.xml" ContentType="application/vnd.openxmlformats-officedocument.presentationml.slideLayout+xml"/>
  <Override PartName="/ppt/slideLayouts/slideLayout16326.xml" ContentType="application/vnd.openxmlformats-officedocument.presentationml.slideLayout+xml"/>
  <Override PartName="/ppt/slideLayouts/slideLayout16327.xml" ContentType="application/vnd.openxmlformats-officedocument.presentationml.slideLayout+xml"/>
  <Override PartName="/ppt/slideLayouts/slideLayout16328.xml" ContentType="application/vnd.openxmlformats-officedocument.presentationml.slideLayout+xml"/>
  <Override PartName="/ppt/slideLayouts/slideLayout16329.xml" ContentType="application/vnd.openxmlformats-officedocument.presentationml.slideLayout+xml"/>
  <Override PartName="/ppt/slideLayouts/slideLayout16330.xml" ContentType="application/vnd.openxmlformats-officedocument.presentationml.slideLayout+xml"/>
  <Override PartName="/ppt/slideLayouts/slideLayout16331.xml" ContentType="application/vnd.openxmlformats-officedocument.presentationml.slideLayout+xml"/>
  <Override PartName="/ppt/slideLayouts/slideLayout16332.xml" ContentType="application/vnd.openxmlformats-officedocument.presentationml.slideLayout+xml"/>
  <Override PartName="/ppt/slideLayouts/slideLayout16333.xml" ContentType="application/vnd.openxmlformats-officedocument.presentationml.slideLayout+xml"/>
  <Override PartName="/ppt/slideLayouts/slideLayout16334.xml" ContentType="application/vnd.openxmlformats-officedocument.presentationml.slideLayout+xml"/>
  <Override PartName="/ppt/slideLayouts/slideLayout16335.xml" ContentType="application/vnd.openxmlformats-officedocument.presentationml.slideLayout+xml"/>
  <Override PartName="/ppt/slideLayouts/slideLayout16336.xml" ContentType="application/vnd.openxmlformats-officedocument.presentationml.slideLayout+xml"/>
  <Override PartName="/ppt/slideLayouts/slideLayout16337.xml" ContentType="application/vnd.openxmlformats-officedocument.presentationml.slideLayout+xml"/>
  <Override PartName="/ppt/slideLayouts/slideLayout16338.xml" ContentType="application/vnd.openxmlformats-officedocument.presentationml.slideLayout+xml"/>
  <Override PartName="/ppt/slideLayouts/slideLayout16339.xml" ContentType="application/vnd.openxmlformats-officedocument.presentationml.slideLayout+xml"/>
  <Override PartName="/ppt/slideLayouts/slideLayout16340.xml" ContentType="application/vnd.openxmlformats-officedocument.presentationml.slideLayout+xml"/>
  <Override PartName="/ppt/slideLayouts/slideLayout16341.xml" ContentType="application/vnd.openxmlformats-officedocument.presentationml.slideLayout+xml"/>
  <Override PartName="/ppt/slideLayouts/slideLayout16342.xml" ContentType="application/vnd.openxmlformats-officedocument.presentationml.slideLayout+xml"/>
  <Override PartName="/ppt/slideLayouts/slideLayout16343.xml" ContentType="application/vnd.openxmlformats-officedocument.presentationml.slideLayout+xml"/>
  <Override PartName="/ppt/slideLayouts/slideLayout16344.xml" ContentType="application/vnd.openxmlformats-officedocument.presentationml.slideLayout+xml"/>
  <Override PartName="/ppt/slideLayouts/slideLayout16345.xml" ContentType="application/vnd.openxmlformats-officedocument.presentationml.slideLayout+xml"/>
  <Override PartName="/ppt/slideLayouts/slideLayout16346.xml" ContentType="application/vnd.openxmlformats-officedocument.presentationml.slideLayout+xml"/>
  <Override PartName="/ppt/slideLayouts/slideLayout16347.xml" ContentType="application/vnd.openxmlformats-officedocument.presentationml.slideLayout+xml"/>
  <Override PartName="/ppt/slideLayouts/slideLayout16348.xml" ContentType="application/vnd.openxmlformats-officedocument.presentationml.slideLayout+xml"/>
  <Override PartName="/ppt/slideLayouts/slideLayout16349.xml" ContentType="application/vnd.openxmlformats-officedocument.presentationml.slideLayout+xml"/>
  <Override PartName="/ppt/slideLayouts/slideLayout16350.xml" ContentType="application/vnd.openxmlformats-officedocument.presentationml.slideLayout+xml"/>
  <Override PartName="/ppt/slideLayouts/slideLayout16351.xml" ContentType="application/vnd.openxmlformats-officedocument.presentationml.slideLayout+xml"/>
  <Override PartName="/ppt/slideLayouts/slideLayout16352.xml" ContentType="application/vnd.openxmlformats-officedocument.presentationml.slideLayout+xml"/>
  <Override PartName="/ppt/slideLayouts/slideLayout16353.xml" ContentType="application/vnd.openxmlformats-officedocument.presentationml.slideLayout+xml"/>
  <Override PartName="/ppt/slideLayouts/slideLayout16354.xml" ContentType="application/vnd.openxmlformats-officedocument.presentationml.slideLayout+xml"/>
  <Override PartName="/ppt/slideLayouts/slideLayout16355.xml" ContentType="application/vnd.openxmlformats-officedocument.presentationml.slideLayout+xml"/>
  <Override PartName="/ppt/slideLayouts/slideLayout16356.xml" ContentType="application/vnd.openxmlformats-officedocument.presentationml.slideLayout+xml"/>
  <Override PartName="/ppt/slideLayouts/slideLayout16357.xml" ContentType="application/vnd.openxmlformats-officedocument.presentationml.slideLayout+xml"/>
  <Override PartName="/ppt/slideLayouts/slideLayout16358.xml" ContentType="application/vnd.openxmlformats-officedocument.presentationml.slideLayout+xml"/>
  <Override PartName="/ppt/slideLayouts/slideLayout16359.xml" ContentType="application/vnd.openxmlformats-officedocument.presentationml.slideLayout+xml"/>
  <Override PartName="/ppt/slideLayouts/slideLayout16360.xml" ContentType="application/vnd.openxmlformats-officedocument.presentationml.slideLayout+xml"/>
  <Override PartName="/ppt/slideLayouts/slideLayout16361.xml" ContentType="application/vnd.openxmlformats-officedocument.presentationml.slideLayout+xml"/>
  <Override PartName="/ppt/slideLayouts/slideLayout16362.xml" ContentType="application/vnd.openxmlformats-officedocument.presentationml.slideLayout+xml"/>
  <Override PartName="/ppt/slideLayouts/slideLayout16363.xml" ContentType="application/vnd.openxmlformats-officedocument.presentationml.slideLayout+xml"/>
  <Override PartName="/ppt/slideLayouts/slideLayout16364.xml" ContentType="application/vnd.openxmlformats-officedocument.presentationml.slideLayout+xml"/>
  <Override PartName="/ppt/slideLayouts/slideLayout16365.xml" ContentType="application/vnd.openxmlformats-officedocument.presentationml.slideLayout+xml"/>
  <Override PartName="/ppt/slideLayouts/slideLayout16366.xml" ContentType="application/vnd.openxmlformats-officedocument.presentationml.slideLayout+xml"/>
  <Override PartName="/ppt/slideLayouts/slideLayout16367.xml" ContentType="application/vnd.openxmlformats-officedocument.presentationml.slideLayout+xml"/>
  <Override PartName="/ppt/slideLayouts/slideLayout16368.xml" ContentType="application/vnd.openxmlformats-officedocument.presentationml.slideLayout+xml"/>
  <Override PartName="/ppt/slideLayouts/slideLayout16369.xml" ContentType="application/vnd.openxmlformats-officedocument.presentationml.slideLayout+xml"/>
  <Override PartName="/ppt/slideLayouts/slideLayout16370.xml" ContentType="application/vnd.openxmlformats-officedocument.presentationml.slideLayout+xml"/>
  <Override PartName="/ppt/slideLayouts/slideLayout16371.xml" ContentType="application/vnd.openxmlformats-officedocument.presentationml.slideLayout+xml"/>
  <Override PartName="/ppt/slideLayouts/slideLayout16372.xml" ContentType="application/vnd.openxmlformats-officedocument.presentationml.slideLayout+xml"/>
  <Override PartName="/ppt/slideLayouts/slideLayout16373.xml" ContentType="application/vnd.openxmlformats-officedocument.presentationml.slideLayout+xml"/>
  <Override PartName="/ppt/slideLayouts/slideLayout16374.xml" ContentType="application/vnd.openxmlformats-officedocument.presentationml.slideLayout+xml"/>
  <Override PartName="/ppt/slideLayouts/slideLayout16375.xml" ContentType="application/vnd.openxmlformats-officedocument.presentationml.slideLayout+xml"/>
  <Override PartName="/ppt/slideLayouts/slideLayout16376.xml" ContentType="application/vnd.openxmlformats-officedocument.presentationml.slideLayout+xml"/>
  <Override PartName="/ppt/slideLayouts/slideLayout16377.xml" ContentType="application/vnd.openxmlformats-officedocument.presentationml.slideLayout+xml"/>
  <Override PartName="/ppt/slideLayouts/slideLayout16378.xml" ContentType="application/vnd.openxmlformats-officedocument.presentationml.slideLayout+xml"/>
  <Override PartName="/ppt/slideLayouts/slideLayout16379.xml" ContentType="application/vnd.openxmlformats-officedocument.presentationml.slideLayout+xml"/>
  <Override PartName="/ppt/slideLayouts/slideLayout16380.xml" ContentType="application/vnd.openxmlformats-officedocument.presentationml.slideLayout+xml"/>
  <Override PartName="/ppt/slideLayouts/slideLayout16381.xml" ContentType="application/vnd.openxmlformats-officedocument.presentationml.slideLayout+xml"/>
  <Override PartName="/ppt/slideLayouts/slideLayout16382.xml" ContentType="application/vnd.openxmlformats-officedocument.presentationml.slideLayout+xml"/>
  <Override PartName="/ppt/slideLayouts/slideLayout16383.xml" ContentType="application/vnd.openxmlformats-officedocument.presentationml.slideLayout+xml"/>
  <Override PartName="/ppt/slideLayouts/slideLayout16384.xml" ContentType="application/vnd.openxmlformats-officedocument.presentationml.slideLayout+xml"/>
  <Override PartName="/ppt/slideLayouts/slideLayout16385.xml" ContentType="application/vnd.openxmlformats-officedocument.presentationml.slideLayout+xml"/>
  <Override PartName="/ppt/slideLayouts/slideLayout16386.xml" ContentType="application/vnd.openxmlformats-officedocument.presentationml.slideLayout+xml"/>
  <Override PartName="/ppt/slideLayouts/slideLayout16387.xml" ContentType="application/vnd.openxmlformats-officedocument.presentationml.slideLayout+xml"/>
  <Override PartName="/ppt/slideLayouts/slideLayout16388.xml" ContentType="application/vnd.openxmlformats-officedocument.presentationml.slideLayout+xml"/>
  <Override PartName="/ppt/slideLayouts/slideLayout16389.xml" ContentType="application/vnd.openxmlformats-officedocument.presentationml.slideLayout+xml"/>
  <Override PartName="/ppt/slideLayouts/slideLayout16390.xml" ContentType="application/vnd.openxmlformats-officedocument.presentationml.slideLayout+xml"/>
  <Override PartName="/ppt/slideLayouts/slideLayout16391.xml" ContentType="application/vnd.openxmlformats-officedocument.presentationml.slideLayout+xml"/>
  <Override PartName="/ppt/slideLayouts/slideLayout16392.xml" ContentType="application/vnd.openxmlformats-officedocument.presentationml.slideLayout+xml"/>
  <Override PartName="/ppt/slideLayouts/slideLayout16393.xml" ContentType="application/vnd.openxmlformats-officedocument.presentationml.slideLayout+xml"/>
  <Override PartName="/ppt/slideLayouts/slideLayout16394.xml" ContentType="application/vnd.openxmlformats-officedocument.presentationml.slideLayout+xml"/>
  <Override PartName="/ppt/slideLayouts/slideLayout16395.xml" ContentType="application/vnd.openxmlformats-officedocument.presentationml.slideLayout+xml"/>
  <Override PartName="/ppt/slideLayouts/slideLayout16396.xml" ContentType="application/vnd.openxmlformats-officedocument.presentationml.slideLayout+xml"/>
  <Override PartName="/ppt/slideLayouts/slideLayout16397.xml" ContentType="application/vnd.openxmlformats-officedocument.presentationml.slideLayout+xml"/>
  <Override PartName="/ppt/slideLayouts/slideLayout16398.xml" ContentType="application/vnd.openxmlformats-officedocument.presentationml.slideLayout+xml"/>
  <Override PartName="/ppt/slideLayouts/slideLayout16399.xml" ContentType="application/vnd.openxmlformats-officedocument.presentationml.slideLayout+xml"/>
  <Override PartName="/ppt/slideLayouts/slideLayout16400.xml" ContentType="application/vnd.openxmlformats-officedocument.presentationml.slideLayout+xml"/>
  <Override PartName="/ppt/slideLayouts/slideLayout16401.xml" ContentType="application/vnd.openxmlformats-officedocument.presentationml.slideLayout+xml"/>
  <Override PartName="/ppt/slideLayouts/slideLayout16402.xml" ContentType="application/vnd.openxmlformats-officedocument.presentationml.slideLayout+xml"/>
  <Override PartName="/ppt/slideLayouts/slideLayout16403.xml" ContentType="application/vnd.openxmlformats-officedocument.presentationml.slideLayout+xml"/>
  <Override PartName="/ppt/slideLayouts/slideLayout16404.xml" ContentType="application/vnd.openxmlformats-officedocument.presentationml.slideLayout+xml"/>
  <Override PartName="/ppt/slideLayouts/slideLayout16405.xml" ContentType="application/vnd.openxmlformats-officedocument.presentationml.slideLayout+xml"/>
  <Override PartName="/ppt/slideLayouts/slideLayout16406.xml" ContentType="application/vnd.openxmlformats-officedocument.presentationml.slideLayout+xml"/>
  <Override PartName="/ppt/slideLayouts/slideLayout16407.xml" ContentType="application/vnd.openxmlformats-officedocument.presentationml.slideLayout+xml"/>
  <Override PartName="/ppt/slideLayouts/slideLayout16408.xml" ContentType="application/vnd.openxmlformats-officedocument.presentationml.slideLayout+xml"/>
  <Override PartName="/ppt/slideLayouts/slideLayout16409.xml" ContentType="application/vnd.openxmlformats-officedocument.presentationml.slideLayout+xml"/>
  <Override PartName="/ppt/slideLayouts/slideLayout16410.xml" ContentType="application/vnd.openxmlformats-officedocument.presentationml.slideLayout+xml"/>
  <Override PartName="/ppt/slideLayouts/slideLayout16411.xml" ContentType="application/vnd.openxmlformats-officedocument.presentationml.slideLayout+xml"/>
  <Override PartName="/ppt/slideLayouts/slideLayout16412.xml" ContentType="application/vnd.openxmlformats-officedocument.presentationml.slideLayout+xml"/>
  <Override PartName="/ppt/slideLayouts/slideLayout16413.xml" ContentType="application/vnd.openxmlformats-officedocument.presentationml.slideLayout+xml"/>
  <Override PartName="/ppt/slideLayouts/slideLayout16414.xml" ContentType="application/vnd.openxmlformats-officedocument.presentationml.slideLayout+xml"/>
  <Override PartName="/ppt/slideLayouts/slideLayout16415.xml" ContentType="application/vnd.openxmlformats-officedocument.presentationml.slideLayout+xml"/>
  <Override PartName="/ppt/slideLayouts/slideLayout16416.xml" ContentType="application/vnd.openxmlformats-officedocument.presentationml.slideLayout+xml"/>
  <Override PartName="/ppt/slideLayouts/slideLayout16417.xml" ContentType="application/vnd.openxmlformats-officedocument.presentationml.slideLayout+xml"/>
  <Override PartName="/ppt/slideLayouts/slideLayout16418.xml" ContentType="application/vnd.openxmlformats-officedocument.presentationml.slideLayout+xml"/>
  <Override PartName="/ppt/slideLayouts/slideLayout16419.xml" ContentType="application/vnd.openxmlformats-officedocument.presentationml.slideLayout+xml"/>
  <Override PartName="/ppt/slideLayouts/slideLayout16420.xml" ContentType="application/vnd.openxmlformats-officedocument.presentationml.slideLayout+xml"/>
  <Override PartName="/ppt/slideLayouts/slideLayout16421.xml" ContentType="application/vnd.openxmlformats-officedocument.presentationml.slideLayout+xml"/>
  <Override PartName="/ppt/slideLayouts/slideLayout16422.xml" ContentType="application/vnd.openxmlformats-officedocument.presentationml.slideLayout+xml"/>
  <Override PartName="/ppt/slideLayouts/slideLayout16423.xml" ContentType="application/vnd.openxmlformats-officedocument.presentationml.slideLayout+xml"/>
  <Override PartName="/ppt/slideLayouts/slideLayout16424.xml" ContentType="application/vnd.openxmlformats-officedocument.presentationml.slideLayout+xml"/>
  <Override PartName="/ppt/slideLayouts/slideLayout16425.xml" ContentType="application/vnd.openxmlformats-officedocument.presentationml.slideLayout+xml"/>
  <Override PartName="/ppt/slideLayouts/slideLayout16426.xml" ContentType="application/vnd.openxmlformats-officedocument.presentationml.slideLayout+xml"/>
  <Override PartName="/ppt/slideLayouts/slideLayout16427.xml" ContentType="application/vnd.openxmlformats-officedocument.presentationml.slideLayout+xml"/>
  <Override PartName="/ppt/slideLayouts/slideLayout16428.xml" ContentType="application/vnd.openxmlformats-officedocument.presentationml.slideLayout+xml"/>
  <Override PartName="/ppt/slideLayouts/slideLayout16429.xml" ContentType="application/vnd.openxmlformats-officedocument.presentationml.slideLayout+xml"/>
  <Override PartName="/ppt/slideLayouts/slideLayout16430.xml" ContentType="application/vnd.openxmlformats-officedocument.presentationml.slideLayout+xml"/>
  <Override PartName="/ppt/slideLayouts/slideLayout16431.xml" ContentType="application/vnd.openxmlformats-officedocument.presentationml.slideLayout+xml"/>
  <Override PartName="/ppt/slideLayouts/slideLayout16432.xml" ContentType="application/vnd.openxmlformats-officedocument.presentationml.slideLayout+xml"/>
  <Override PartName="/ppt/slideLayouts/slideLayout16433.xml" ContentType="application/vnd.openxmlformats-officedocument.presentationml.slideLayout+xml"/>
  <Override PartName="/ppt/slideLayouts/slideLayout16434.xml" ContentType="application/vnd.openxmlformats-officedocument.presentationml.slideLayout+xml"/>
  <Override PartName="/ppt/slideLayouts/slideLayout16435.xml" ContentType="application/vnd.openxmlformats-officedocument.presentationml.slideLayout+xml"/>
  <Override PartName="/ppt/slideLayouts/slideLayout16436.xml" ContentType="application/vnd.openxmlformats-officedocument.presentationml.slideLayout+xml"/>
  <Override PartName="/ppt/slideLayouts/slideLayout16437.xml" ContentType="application/vnd.openxmlformats-officedocument.presentationml.slideLayout+xml"/>
  <Override PartName="/ppt/slideLayouts/slideLayout16438.xml" ContentType="application/vnd.openxmlformats-officedocument.presentationml.slideLayout+xml"/>
  <Override PartName="/ppt/slideLayouts/slideLayout16439.xml" ContentType="application/vnd.openxmlformats-officedocument.presentationml.slideLayout+xml"/>
  <Override PartName="/ppt/slideLayouts/slideLayout16440.xml" ContentType="application/vnd.openxmlformats-officedocument.presentationml.slideLayout+xml"/>
  <Override PartName="/ppt/slideLayouts/slideLayout16441.xml" ContentType="application/vnd.openxmlformats-officedocument.presentationml.slideLayout+xml"/>
  <Override PartName="/ppt/slideLayouts/slideLayout16442.xml" ContentType="application/vnd.openxmlformats-officedocument.presentationml.slideLayout+xml"/>
  <Override PartName="/ppt/slideLayouts/slideLayout16443.xml" ContentType="application/vnd.openxmlformats-officedocument.presentationml.slideLayout+xml"/>
  <Override PartName="/ppt/slideLayouts/slideLayout16444.xml" ContentType="application/vnd.openxmlformats-officedocument.presentationml.slideLayout+xml"/>
  <Override PartName="/ppt/slideLayouts/slideLayout16445.xml" ContentType="application/vnd.openxmlformats-officedocument.presentationml.slideLayout+xml"/>
  <Override PartName="/ppt/slideLayouts/slideLayout16446.xml" ContentType="application/vnd.openxmlformats-officedocument.presentationml.slideLayout+xml"/>
  <Override PartName="/ppt/slideLayouts/slideLayout16447.xml" ContentType="application/vnd.openxmlformats-officedocument.presentationml.slideLayout+xml"/>
  <Override PartName="/ppt/slideLayouts/slideLayout16448.xml" ContentType="application/vnd.openxmlformats-officedocument.presentationml.slideLayout+xml"/>
  <Override PartName="/ppt/slideLayouts/slideLayout16449.xml" ContentType="application/vnd.openxmlformats-officedocument.presentationml.slideLayout+xml"/>
  <Override PartName="/ppt/slideLayouts/slideLayout16450.xml" ContentType="application/vnd.openxmlformats-officedocument.presentationml.slideLayout+xml"/>
  <Override PartName="/ppt/slideLayouts/slideLayout16451.xml" ContentType="application/vnd.openxmlformats-officedocument.presentationml.slideLayout+xml"/>
  <Override PartName="/ppt/slideLayouts/slideLayout16452.xml" ContentType="application/vnd.openxmlformats-officedocument.presentationml.slideLayout+xml"/>
  <Override PartName="/ppt/slideLayouts/slideLayout16453.xml" ContentType="application/vnd.openxmlformats-officedocument.presentationml.slideLayout+xml"/>
  <Override PartName="/ppt/slideLayouts/slideLayout16454.xml" ContentType="application/vnd.openxmlformats-officedocument.presentationml.slideLayout+xml"/>
  <Override PartName="/ppt/slideLayouts/slideLayout16455.xml" ContentType="application/vnd.openxmlformats-officedocument.presentationml.slideLayout+xml"/>
  <Override PartName="/ppt/slideLayouts/slideLayout16456.xml" ContentType="application/vnd.openxmlformats-officedocument.presentationml.slideLayout+xml"/>
  <Override PartName="/ppt/slideLayouts/slideLayout16457.xml" ContentType="application/vnd.openxmlformats-officedocument.presentationml.slideLayout+xml"/>
  <Override PartName="/ppt/slideLayouts/slideLayout16458.xml" ContentType="application/vnd.openxmlformats-officedocument.presentationml.slideLayout+xml"/>
  <Override PartName="/ppt/slideLayouts/slideLayout16459.xml" ContentType="application/vnd.openxmlformats-officedocument.presentationml.slideLayout+xml"/>
  <Override PartName="/ppt/slideLayouts/slideLayout16460.xml" ContentType="application/vnd.openxmlformats-officedocument.presentationml.slideLayout+xml"/>
  <Override PartName="/ppt/slideLayouts/slideLayout16461.xml" ContentType="application/vnd.openxmlformats-officedocument.presentationml.slideLayout+xml"/>
  <Override PartName="/ppt/slideLayouts/slideLayout16462.xml" ContentType="application/vnd.openxmlformats-officedocument.presentationml.slideLayout+xml"/>
  <Override PartName="/ppt/slideLayouts/slideLayout16463.xml" ContentType="application/vnd.openxmlformats-officedocument.presentationml.slideLayout+xml"/>
  <Override PartName="/ppt/slideLayouts/slideLayout16464.xml" ContentType="application/vnd.openxmlformats-officedocument.presentationml.slideLayout+xml"/>
  <Override PartName="/ppt/slideLayouts/slideLayout16465.xml" ContentType="application/vnd.openxmlformats-officedocument.presentationml.slideLayout+xml"/>
  <Override PartName="/ppt/slideLayouts/slideLayout16466.xml" ContentType="application/vnd.openxmlformats-officedocument.presentationml.slideLayout+xml"/>
  <Override PartName="/ppt/slideLayouts/slideLayout16467.xml" ContentType="application/vnd.openxmlformats-officedocument.presentationml.slideLayout+xml"/>
  <Override PartName="/ppt/slideLayouts/slideLayout16468.xml" ContentType="application/vnd.openxmlformats-officedocument.presentationml.slideLayout+xml"/>
  <Override PartName="/ppt/slideLayouts/slideLayout16469.xml" ContentType="application/vnd.openxmlformats-officedocument.presentationml.slideLayout+xml"/>
  <Override PartName="/ppt/slideLayouts/slideLayout16470.xml" ContentType="application/vnd.openxmlformats-officedocument.presentationml.slideLayout+xml"/>
  <Override PartName="/ppt/slideLayouts/slideLayout16471.xml" ContentType="application/vnd.openxmlformats-officedocument.presentationml.slideLayout+xml"/>
  <Override PartName="/ppt/slideLayouts/slideLayout16472.xml" ContentType="application/vnd.openxmlformats-officedocument.presentationml.slideLayout+xml"/>
  <Override PartName="/ppt/slideLayouts/slideLayout16473.xml" ContentType="application/vnd.openxmlformats-officedocument.presentationml.slideLayout+xml"/>
  <Override PartName="/ppt/slideLayouts/slideLayout16474.xml" ContentType="application/vnd.openxmlformats-officedocument.presentationml.slideLayout+xml"/>
  <Override PartName="/ppt/slideLayouts/slideLayout16475.xml" ContentType="application/vnd.openxmlformats-officedocument.presentationml.slideLayout+xml"/>
  <Override PartName="/ppt/slideLayouts/slideLayout16476.xml" ContentType="application/vnd.openxmlformats-officedocument.presentationml.slideLayout+xml"/>
  <Override PartName="/ppt/slideLayouts/slideLayout16477.xml" ContentType="application/vnd.openxmlformats-officedocument.presentationml.slideLayout+xml"/>
  <Override PartName="/ppt/slideLayouts/slideLayout16478.xml" ContentType="application/vnd.openxmlformats-officedocument.presentationml.slideLayout+xml"/>
  <Override PartName="/ppt/slideLayouts/slideLayout16479.xml" ContentType="application/vnd.openxmlformats-officedocument.presentationml.slideLayout+xml"/>
  <Override PartName="/ppt/slideLayouts/slideLayout16480.xml" ContentType="application/vnd.openxmlformats-officedocument.presentationml.slideLayout+xml"/>
  <Override PartName="/ppt/slideLayouts/slideLayout16481.xml" ContentType="application/vnd.openxmlformats-officedocument.presentationml.slideLayout+xml"/>
  <Override PartName="/ppt/slideLayouts/slideLayout16482.xml" ContentType="application/vnd.openxmlformats-officedocument.presentationml.slideLayout+xml"/>
  <Override PartName="/ppt/slideLayouts/slideLayout16483.xml" ContentType="application/vnd.openxmlformats-officedocument.presentationml.slideLayout+xml"/>
  <Override PartName="/ppt/slideLayouts/slideLayout16484.xml" ContentType="application/vnd.openxmlformats-officedocument.presentationml.slideLayout+xml"/>
  <Override PartName="/ppt/slideLayouts/slideLayout16485.xml" ContentType="application/vnd.openxmlformats-officedocument.presentationml.slideLayout+xml"/>
  <Override PartName="/ppt/slideLayouts/slideLayout16486.xml" ContentType="application/vnd.openxmlformats-officedocument.presentationml.slideLayout+xml"/>
  <Override PartName="/ppt/slideLayouts/slideLayout16487.xml" ContentType="application/vnd.openxmlformats-officedocument.presentationml.slideLayout+xml"/>
  <Override PartName="/ppt/slideLayouts/slideLayout16488.xml" ContentType="application/vnd.openxmlformats-officedocument.presentationml.slideLayout+xml"/>
  <Override PartName="/ppt/slideLayouts/slideLayout16489.xml" ContentType="application/vnd.openxmlformats-officedocument.presentationml.slideLayout+xml"/>
  <Override PartName="/ppt/slideLayouts/slideLayout16490.xml" ContentType="application/vnd.openxmlformats-officedocument.presentationml.slideLayout+xml"/>
  <Override PartName="/ppt/slideLayouts/slideLayout16491.xml" ContentType="application/vnd.openxmlformats-officedocument.presentationml.slideLayout+xml"/>
  <Override PartName="/ppt/slideLayouts/slideLayout16492.xml" ContentType="application/vnd.openxmlformats-officedocument.presentationml.slideLayout+xml"/>
  <Override PartName="/ppt/slideLayouts/slideLayout16493.xml" ContentType="application/vnd.openxmlformats-officedocument.presentationml.slideLayout+xml"/>
  <Override PartName="/ppt/slideLayouts/slideLayout16494.xml" ContentType="application/vnd.openxmlformats-officedocument.presentationml.slideLayout+xml"/>
  <Override PartName="/ppt/slideLayouts/slideLayout16495.xml" ContentType="application/vnd.openxmlformats-officedocument.presentationml.slideLayout+xml"/>
  <Override PartName="/ppt/slideLayouts/slideLayout16496.xml" ContentType="application/vnd.openxmlformats-officedocument.presentationml.slideLayout+xml"/>
  <Override PartName="/ppt/slideLayouts/slideLayout16497.xml" ContentType="application/vnd.openxmlformats-officedocument.presentationml.slideLayout+xml"/>
  <Override PartName="/ppt/slideLayouts/slideLayout16498.xml" ContentType="application/vnd.openxmlformats-officedocument.presentationml.slideLayout+xml"/>
  <Override PartName="/ppt/slideLayouts/slideLayout16499.xml" ContentType="application/vnd.openxmlformats-officedocument.presentationml.slideLayout+xml"/>
  <Override PartName="/ppt/slideLayouts/slideLayout16500.xml" ContentType="application/vnd.openxmlformats-officedocument.presentationml.slideLayout+xml"/>
  <Override PartName="/ppt/slideLayouts/slideLayout16501.xml" ContentType="application/vnd.openxmlformats-officedocument.presentationml.slideLayout+xml"/>
  <Override PartName="/ppt/slideLayouts/slideLayout16502.xml" ContentType="application/vnd.openxmlformats-officedocument.presentationml.slideLayout+xml"/>
  <Override PartName="/ppt/slideLayouts/slideLayout16503.xml" ContentType="application/vnd.openxmlformats-officedocument.presentationml.slideLayout+xml"/>
  <Override PartName="/ppt/slideLayouts/slideLayout16504.xml" ContentType="application/vnd.openxmlformats-officedocument.presentationml.slideLayout+xml"/>
  <Override PartName="/ppt/slideLayouts/slideLayout16505.xml" ContentType="application/vnd.openxmlformats-officedocument.presentationml.slideLayout+xml"/>
  <Override PartName="/ppt/slideLayouts/slideLayout16506.xml" ContentType="application/vnd.openxmlformats-officedocument.presentationml.slideLayout+xml"/>
  <Override PartName="/ppt/slideLayouts/slideLayout16507.xml" ContentType="application/vnd.openxmlformats-officedocument.presentationml.slideLayout+xml"/>
  <Override PartName="/ppt/slideLayouts/slideLayout16508.xml" ContentType="application/vnd.openxmlformats-officedocument.presentationml.slideLayout+xml"/>
  <Override PartName="/ppt/slideLayouts/slideLayout16509.xml" ContentType="application/vnd.openxmlformats-officedocument.presentationml.slideLayout+xml"/>
  <Override PartName="/ppt/slideLayouts/slideLayout16510.xml" ContentType="application/vnd.openxmlformats-officedocument.presentationml.slideLayout+xml"/>
  <Override PartName="/ppt/slideLayouts/slideLayout16511.xml" ContentType="application/vnd.openxmlformats-officedocument.presentationml.slideLayout+xml"/>
  <Override PartName="/ppt/slideLayouts/slideLayout16512.xml" ContentType="application/vnd.openxmlformats-officedocument.presentationml.slideLayout+xml"/>
  <Override PartName="/ppt/slideLayouts/slideLayout16513.xml" ContentType="application/vnd.openxmlformats-officedocument.presentationml.slideLayout+xml"/>
  <Override PartName="/ppt/slideLayouts/slideLayout16514.xml" ContentType="application/vnd.openxmlformats-officedocument.presentationml.slideLayout+xml"/>
  <Override PartName="/ppt/slideLayouts/slideLayout16515.xml" ContentType="application/vnd.openxmlformats-officedocument.presentationml.slideLayout+xml"/>
  <Override PartName="/ppt/slideLayouts/slideLayout16516.xml" ContentType="application/vnd.openxmlformats-officedocument.presentationml.slideLayout+xml"/>
  <Override PartName="/ppt/slideLayouts/slideLayout16517.xml" ContentType="application/vnd.openxmlformats-officedocument.presentationml.slideLayout+xml"/>
  <Override PartName="/ppt/slideLayouts/slideLayout16518.xml" ContentType="application/vnd.openxmlformats-officedocument.presentationml.slideLayout+xml"/>
  <Override PartName="/ppt/slideLayouts/slideLayout16519.xml" ContentType="application/vnd.openxmlformats-officedocument.presentationml.slideLayout+xml"/>
  <Override PartName="/ppt/slideLayouts/slideLayout16520.xml" ContentType="application/vnd.openxmlformats-officedocument.presentationml.slideLayout+xml"/>
  <Override PartName="/ppt/slideLayouts/slideLayout16521.xml" ContentType="application/vnd.openxmlformats-officedocument.presentationml.slideLayout+xml"/>
  <Override PartName="/ppt/slideLayouts/slideLayout16522.xml" ContentType="application/vnd.openxmlformats-officedocument.presentationml.slideLayout+xml"/>
  <Override PartName="/ppt/slideLayouts/slideLayout16523.xml" ContentType="application/vnd.openxmlformats-officedocument.presentationml.slideLayout+xml"/>
  <Override PartName="/ppt/slideLayouts/slideLayout16524.xml" ContentType="application/vnd.openxmlformats-officedocument.presentationml.slideLayout+xml"/>
  <Override PartName="/ppt/slideLayouts/slideLayout16525.xml" ContentType="application/vnd.openxmlformats-officedocument.presentationml.slideLayout+xml"/>
  <Override PartName="/ppt/slideLayouts/slideLayout16526.xml" ContentType="application/vnd.openxmlformats-officedocument.presentationml.slideLayout+xml"/>
  <Override PartName="/ppt/slideLayouts/slideLayout16527.xml" ContentType="application/vnd.openxmlformats-officedocument.presentationml.slideLayout+xml"/>
  <Override PartName="/ppt/slideLayouts/slideLayout16528.xml" ContentType="application/vnd.openxmlformats-officedocument.presentationml.slideLayout+xml"/>
  <Override PartName="/ppt/slideLayouts/slideLayout16529.xml" ContentType="application/vnd.openxmlformats-officedocument.presentationml.slideLayout+xml"/>
  <Override PartName="/ppt/slideLayouts/slideLayout16530.xml" ContentType="application/vnd.openxmlformats-officedocument.presentationml.slideLayout+xml"/>
  <Override PartName="/ppt/slideLayouts/slideLayout16531.xml" ContentType="application/vnd.openxmlformats-officedocument.presentationml.slideLayout+xml"/>
  <Override PartName="/ppt/slideLayouts/slideLayout16532.xml" ContentType="application/vnd.openxmlformats-officedocument.presentationml.slideLayout+xml"/>
  <Override PartName="/ppt/slideLayouts/slideLayout16533.xml" ContentType="application/vnd.openxmlformats-officedocument.presentationml.slideLayout+xml"/>
  <Override PartName="/ppt/slideLayouts/slideLayout16534.xml" ContentType="application/vnd.openxmlformats-officedocument.presentationml.slideLayout+xml"/>
  <Override PartName="/ppt/slideLayouts/slideLayout16535.xml" ContentType="application/vnd.openxmlformats-officedocument.presentationml.slideLayout+xml"/>
  <Override PartName="/ppt/slideLayouts/slideLayout16536.xml" ContentType="application/vnd.openxmlformats-officedocument.presentationml.slideLayout+xml"/>
  <Override PartName="/ppt/slideLayouts/slideLayout16537.xml" ContentType="application/vnd.openxmlformats-officedocument.presentationml.slideLayout+xml"/>
  <Override PartName="/ppt/slideLayouts/slideLayout16538.xml" ContentType="application/vnd.openxmlformats-officedocument.presentationml.slideLayout+xml"/>
  <Override PartName="/ppt/slideLayouts/slideLayout16539.xml" ContentType="application/vnd.openxmlformats-officedocument.presentationml.slideLayout+xml"/>
  <Override PartName="/ppt/slideLayouts/slideLayout16540.xml" ContentType="application/vnd.openxmlformats-officedocument.presentationml.slideLayout+xml"/>
  <Override PartName="/ppt/slideLayouts/slideLayout16541.xml" ContentType="application/vnd.openxmlformats-officedocument.presentationml.slideLayout+xml"/>
  <Override PartName="/ppt/slideLayouts/slideLayout16542.xml" ContentType="application/vnd.openxmlformats-officedocument.presentationml.slideLayout+xml"/>
  <Override PartName="/ppt/slideLayouts/slideLayout16543.xml" ContentType="application/vnd.openxmlformats-officedocument.presentationml.slideLayout+xml"/>
  <Override PartName="/ppt/slideLayouts/slideLayout16544.xml" ContentType="application/vnd.openxmlformats-officedocument.presentationml.slideLayout+xml"/>
  <Override PartName="/ppt/slideLayouts/slideLayout16545.xml" ContentType="application/vnd.openxmlformats-officedocument.presentationml.slideLayout+xml"/>
  <Override PartName="/ppt/slideLayouts/slideLayout16546.xml" ContentType="application/vnd.openxmlformats-officedocument.presentationml.slideLayout+xml"/>
  <Override PartName="/ppt/slideLayouts/slideLayout16547.xml" ContentType="application/vnd.openxmlformats-officedocument.presentationml.slideLayout+xml"/>
  <Override PartName="/ppt/slideLayouts/slideLayout16548.xml" ContentType="application/vnd.openxmlformats-officedocument.presentationml.slideLayout+xml"/>
  <Override PartName="/ppt/slideLayouts/slideLayout16549.xml" ContentType="application/vnd.openxmlformats-officedocument.presentationml.slideLayout+xml"/>
  <Override PartName="/ppt/slideLayouts/slideLayout16550.xml" ContentType="application/vnd.openxmlformats-officedocument.presentationml.slideLayout+xml"/>
  <Override PartName="/ppt/slideLayouts/slideLayout16551.xml" ContentType="application/vnd.openxmlformats-officedocument.presentationml.slideLayout+xml"/>
  <Override PartName="/ppt/slideLayouts/slideLayout16552.xml" ContentType="application/vnd.openxmlformats-officedocument.presentationml.slideLayout+xml"/>
  <Override PartName="/ppt/slideLayouts/slideLayout16553.xml" ContentType="application/vnd.openxmlformats-officedocument.presentationml.slideLayout+xml"/>
  <Override PartName="/ppt/slideLayouts/slideLayout16554.xml" ContentType="application/vnd.openxmlformats-officedocument.presentationml.slideLayout+xml"/>
  <Override PartName="/ppt/slideLayouts/slideLayout16555.xml" ContentType="application/vnd.openxmlformats-officedocument.presentationml.slideLayout+xml"/>
  <Override PartName="/ppt/slideLayouts/slideLayout16556.xml" ContentType="application/vnd.openxmlformats-officedocument.presentationml.slideLayout+xml"/>
  <Override PartName="/ppt/slideLayouts/slideLayout16557.xml" ContentType="application/vnd.openxmlformats-officedocument.presentationml.slideLayout+xml"/>
  <Override PartName="/ppt/slideLayouts/slideLayout16558.xml" ContentType="application/vnd.openxmlformats-officedocument.presentationml.slideLayout+xml"/>
  <Override PartName="/ppt/slideLayouts/slideLayout16559.xml" ContentType="application/vnd.openxmlformats-officedocument.presentationml.slideLayout+xml"/>
  <Override PartName="/ppt/slideLayouts/slideLayout16560.xml" ContentType="application/vnd.openxmlformats-officedocument.presentationml.slideLayout+xml"/>
  <Override PartName="/ppt/slideLayouts/slideLayout16561.xml" ContentType="application/vnd.openxmlformats-officedocument.presentationml.slideLayout+xml"/>
  <Override PartName="/ppt/slideLayouts/slideLayout16562.xml" ContentType="application/vnd.openxmlformats-officedocument.presentationml.slideLayout+xml"/>
  <Override PartName="/ppt/slideLayouts/slideLayout16563.xml" ContentType="application/vnd.openxmlformats-officedocument.presentationml.slideLayout+xml"/>
  <Override PartName="/ppt/slideLayouts/slideLayout16564.xml" ContentType="application/vnd.openxmlformats-officedocument.presentationml.slideLayout+xml"/>
  <Override PartName="/ppt/slideLayouts/slideLayout16565.xml" ContentType="application/vnd.openxmlformats-officedocument.presentationml.slideLayout+xml"/>
  <Override PartName="/ppt/slideLayouts/slideLayout16566.xml" ContentType="application/vnd.openxmlformats-officedocument.presentationml.slideLayout+xml"/>
  <Override PartName="/ppt/slideLayouts/slideLayout16567.xml" ContentType="application/vnd.openxmlformats-officedocument.presentationml.slideLayout+xml"/>
  <Override PartName="/ppt/slideLayouts/slideLayout16568.xml" ContentType="application/vnd.openxmlformats-officedocument.presentationml.slideLayout+xml"/>
  <Override PartName="/ppt/slideLayouts/slideLayout16569.xml" ContentType="application/vnd.openxmlformats-officedocument.presentationml.slideLayout+xml"/>
  <Override PartName="/ppt/slideLayouts/slideLayout16570.xml" ContentType="application/vnd.openxmlformats-officedocument.presentationml.slideLayout+xml"/>
  <Override PartName="/ppt/slideLayouts/slideLayout16571.xml" ContentType="application/vnd.openxmlformats-officedocument.presentationml.slideLayout+xml"/>
  <Override PartName="/ppt/slideLayouts/slideLayout16572.xml" ContentType="application/vnd.openxmlformats-officedocument.presentationml.slideLayout+xml"/>
  <Override PartName="/ppt/slideLayouts/slideLayout16573.xml" ContentType="application/vnd.openxmlformats-officedocument.presentationml.slideLayout+xml"/>
  <Override PartName="/ppt/slideLayouts/slideLayout16574.xml" ContentType="application/vnd.openxmlformats-officedocument.presentationml.slideLayout+xml"/>
  <Override PartName="/ppt/slideLayouts/slideLayout16575.xml" ContentType="application/vnd.openxmlformats-officedocument.presentationml.slideLayout+xml"/>
  <Override PartName="/ppt/slideLayouts/slideLayout16576.xml" ContentType="application/vnd.openxmlformats-officedocument.presentationml.slideLayout+xml"/>
  <Override PartName="/ppt/slideLayouts/slideLayout16577.xml" ContentType="application/vnd.openxmlformats-officedocument.presentationml.slideLayout+xml"/>
  <Override PartName="/ppt/slideLayouts/slideLayout16578.xml" ContentType="application/vnd.openxmlformats-officedocument.presentationml.slideLayout+xml"/>
  <Override PartName="/ppt/slideLayouts/slideLayout16579.xml" ContentType="application/vnd.openxmlformats-officedocument.presentationml.slideLayout+xml"/>
  <Override PartName="/ppt/slideLayouts/slideLayout16580.xml" ContentType="application/vnd.openxmlformats-officedocument.presentationml.slideLayout+xml"/>
  <Override PartName="/ppt/slideLayouts/slideLayout16581.xml" ContentType="application/vnd.openxmlformats-officedocument.presentationml.slideLayout+xml"/>
  <Override PartName="/ppt/slideLayouts/slideLayout16582.xml" ContentType="application/vnd.openxmlformats-officedocument.presentationml.slideLayout+xml"/>
  <Override PartName="/ppt/slideLayouts/slideLayout16583.xml" ContentType="application/vnd.openxmlformats-officedocument.presentationml.slideLayout+xml"/>
  <Override PartName="/ppt/slideLayouts/slideLayout16584.xml" ContentType="application/vnd.openxmlformats-officedocument.presentationml.slideLayout+xml"/>
  <Override PartName="/ppt/slideLayouts/slideLayout16585.xml" ContentType="application/vnd.openxmlformats-officedocument.presentationml.slideLayout+xml"/>
  <Override PartName="/ppt/slideLayouts/slideLayout16586.xml" ContentType="application/vnd.openxmlformats-officedocument.presentationml.slideLayout+xml"/>
  <Override PartName="/ppt/slideLayouts/slideLayout16587.xml" ContentType="application/vnd.openxmlformats-officedocument.presentationml.slideLayout+xml"/>
  <Override PartName="/ppt/slideLayouts/slideLayout16588.xml" ContentType="application/vnd.openxmlformats-officedocument.presentationml.slideLayout+xml"/>
  <Override PartName="/ppt/slideLayouts/slideLayout16589.xml" ContentType="application/vnd.openxmlformats-officedocument.presentationml.slideLayout+xml"/>
  <Override PartName="/ppt/slideLayouts/slideLayout16590.xml" ContentType="application/vnd.openxmlformats-officedocument.presentationml.slideLayout+xml"/>
  <Override PartName="/ppt/slideLayouts/slideLayout16591.xml" ContentType="application/vnd.openxmlformats-officedocument.presentationml.slideLayout+xml"/>
  <Override PartName="/ppt/slideLayouts/slideLayout16592.xml" ContentType="application/vnd.openxmlformats-officedocument.presentationml.slideLayout+xml"/>
  <Override PartName="/ppt/slideLayouts/slideLayout16593.xml" ContentType="application/vnd.openxmlformats-officedocument.presentationml.slideLayout+xml"/>
  <Override PartName="/ppt/slideLayouts/slideLayout16594.xml" ContentType="application/vnd.openxmlformats-officedocument.presentationml.slideLayout+xml"/>
  <Override PartName="/ppt/slideLayouts/slideLayout16595.xml" ContentType="application/vnd.openxmlformats-officedocument.presentationml.slideLayout+xml"/>
  <Override PartName="/ppt/slideLayouts/slideLayout16596.xml" ContentType="application/vnd.openxmlformats-officedocument.presentationml.slideLayout+xml"/>
  <Override PartName="/ppt/slideLayouts/slideLayout16597.xml" ContentType="application/vnd.openxmlformats-officedocument.presentationml.slideLayout+xml"/>
  <Override PartName="/ppt/slideLayouts/slideLayout16598.xml" ContentType="application/vnd.openxmlformats-officedocument.presentationml.slideLayout+xml"/>
  <Override PartName="/ppt/slideLayouts/slideLayout16599.xml" ContentType="application/vnd.openxmlformats-officedocument.presentationml.slideLayout+xml"/>
  <Override PartName="/ppt/slideLayouts/slideLayout16600.xml" ContentType="application/vnd.openxmlformats-officedocument.presentationml.slideLayout+xml"/>
  <Override PartName="/ppt/slideLayouts/slideLayout16601.xml" ContentType="application/vnd.openxmlformats-officedocument.presentationml.slideLayout+xml"/>
  <Override PartName="/ppt/slideLayouts/slideLayout16602.xml" ContentType="application/vnd.openxmlformats-officedocument.presentationml.slideLayout+xml"/>
  <Override PartName="/ppt/slideLayouts/slideLayout16603.xml" ContentType="application/vnd.openxmlformats-officedocument.presentationml.slideLayout+xml"/>
  <Override PartName="/ppt/slideLayouts/slideLayout16604.xml" ContentType="application/vnd.openxmlformats-officedocument.presentationml.slideLayout+xml"/>
  <Override PartName="/ppt/slideLayouts/slideLayout16605.xml" ContentType="application/vnd.openxmlformats-officedocument.presentationml.slideLayout+xml"/>
  <Override PartName="/ppt/slideLayouts/slideLayout16606.xml" ContentType="application/vnd.openxmlformats-officedocument.presentationml.slideLayout+xml"/>
  <Override PartName="/ppt/slideLayouts/slideLayout16607.xml" ContentType="application/vnd.openxmlformats-officedocument.presentationml.slideLayout+xml"/>
  <Override PartName="/ppt/slideLayouts/slideLayout16608.xml" ContentType="application/vnd.openxmlformats-officedocument.presentationml.slideLayout+xml"/>
  <Override PartName="/ppt/slideLayouts/slideLayout16609.xml" ContentType="application/vnd.openxmlformats-officedocument.presentationml.slideLayout+xml"/>
  <Override PartName="/ppt/slideLayouts/slideLayout16610.xml" ContentType="application/vnd.openxmlformats-officedocument.presentationml.slideLayout+xml"/>
  <Override PartName="/ppt/slideLayouts/slideLayout16611.xml" ContentType="application/vnd.openxmlformats-officedocument.presentationml.slideLayout+xml"/>
  <Override PartName="/ppt/slideLayouts/slideLayout16612.xml" ContentType="application/vnd.openxmlformats-officedocument.presentationml.slideLayout+xml"/>
  <Override PartName="/ppt/slideLayouts/slideLayout16613.xml" ContentType="application/vnd.openxmlformats-officedocument.presentationml.slideLayout+xml"/>
  <Override PartName="/ppt/slideLayouts/slideLayout16614.xml" ContentType="application/vnd.openxmlformats-officedocument.presentationml.slideLayout+xml"/>
  <Override PartName="/ppt/slideLayouts/slideLayout16615.xml" ContentType="application/vnd.openxmlformats-officedocument.presentationml.slideLayout+xml"/>
  <Override PartName="/ppt/slideLayouts/slideLayout16616.xml" ContentType="application/vnd.openxmlformats-officedocument.presentationml.slideLayout+xml"/>
  <Override PartName="/ppt/slideLayouts/slideLayout16617.xml" ContentType="application/vnd.openxmlformats-officedocument.presentationml.slideLayout+xml"/>
  <Override PartName="/ppt/slideLayouts/slideLayout16618.xml" ContentType="application/vnd.openxmlformats-officedocument.presentationml.slideLayout+xml"/>
  <Override PartName="/ppt/slideLayouts/slideLayout16619.xml" ContentType="application/vnd.openxmlformats-officedocument.presentationml.slideLayout+xml"/>
  <Override PartName="/ppt/slideLayouts/slideLayout16620.xml" ContentType="application/vnd.openxmlformats-officedocument.presentationml.slideLayout+xml"/>
  <Override PartName="/ppt/slideLayouts/slideLayout16621.xml" ContentType="application/vnd.openxmlformats-officedocument.presentationml.slideLayout+xml"/>
  <Override PartName="/ppt/slideLayouts/slideLayout16622.xml" ContentType="application/vnd.openxmlformats-officedocument.presentationml.slideLayout+xml"/>
  <Override PartName="/ppt/slideLayouts/slideLayout16623.xml" ContentType="application/vnd.openxmlformats-officedocument.presentationml.slideLayout+xml"/>
  <Override PartName="/ppt/slideLayouts/slideLayout16624.xml" ContentType="application/vnd.openxmlformats-officedocument.presentationml.slideLayout+xml"/>
  <Override PartName="/ppt/slideLayouts/slideLayout16625.xml" ContentType="application/vnd.openxmlformats-officedocument.presentationml.slideLayout+xml"/>
  <Override PartName="/ppt/slideLayouts/slideLayout16626.xml" ContentType="application/vnd.openxmlformats-officedocument.presentationml.slideLayout+xml"/>
  <Override PartName="/ppt/slideLayouts/slideLayout16627.xml" ContentType="application/vnd.openxmlformats-officedocument.presentationml.slideLayout+xml"/>
  <Override PartName="/ppt/slideLayouts/slideLayout16628.xml" ContentType="application/vnd.openxmlformats-officedocument.presentationml.slideLayout+xml"/>
  <Override PartName="/ppt/slideLayouts/slideLayout16629.xml" ContentType="application/vnd.openxmlformats-officedocument.presentationml.slideLayout+xml"/>
  <Override PartName="/ppt/slideLayouts/slideLayout16630.xml" ContentType="application/vnd.openxmlformats-officedocument.presentationml.slideLayout+xml"/>
  <Override PartName="/ppt/slideLayouts/slideLayout16631.xml" ContentType="application/vnd.openxmlformats-officedocument.presentationml.slideLayout+xml"/>
  <Override PartName="/ppt/slideLayouts/slideLayout16632.xml" ContentType="application/vnd.openxmlformats-officedocument.presentationml.slideLayout+xml"/>
  <Override PartName="/ppt/slideLayouts/slideLayout16633.xml" ContentType="application/vnd.openxmlformats-officedocument.presentationml.slideLayout+xml"/>
  <Override PartName="/ppt/slideLayouts/slideLayout16634.xml" ContentType="application/vnd.openxmlformats-officedocument.presentationml.slideLayout+xml"/>
  <Override PartName="/ppt/slideLayouts/slideLayout16635.xml" ContentType="application/vnd.openxmlformats-officedocument.presentationml.slideLayout+xml"/>
  <Override PartName="/ppt/slideLayouts/slideLayout16636.xml" ContentType="application/vnd.openxmlformats-officedocument.presentationml.slideLayout+xml"/>
  <Override PartName="/ppt/slideLayouts/slideLayout16637.xml" ContentType="application/vnd.openxmlformats-officedocument.presentationml.slideLayout+xml"/>
  <Override PartName="/ppt/slideLayouts/slideLayout16638.xml" ContentType="application/vnd.openxmlformats-officedocument.presentationml.slideLayout+xml"/>
  <Override PartName="/ppt/slideLayouts/slideLayout16639.xml" ContentType="application/vnd.openxmlformats-officedocument.presentationml.slideLayout+xml"/>
  <Override PartName="/ppt/slideLayouts/slideLayout16640.xml" ContentType="application/vnd.openxmlformats-officedocument.presentationml.slideLayout+xml"/>
  <Override PartName="/ppt/slideLayouts/slideLayout16641.xml" ContentType="application/vnd.openxmlformats-officedocument.presentationml.slideLayout+xml"/>
  <Override PartName="/ppt/slideLayouts/slideLayout16642.xml" ContentType="application/vnd.openxmlformats-officedocument.presentationml.slideLayout+xml"/>
  <Override PartName="/ppt/slideLayouts/slideLayout16643.xml" ContentType="application/vnd.openxmlformats-officedocument.presentationml.slideLayout+xml"/>
  <Override PartName="/ppt/slideLayouts/slideLayout16644.xml" ContentType="application/vnd.openxmlformats-officedocument.presentationml.slideLayout+xml"/>
  <Override PartName="/ppt/slideLayouts/slideLayout16645.xml" ContentType="application/vnd.openxmlformats-officedocument.presentationml.slideLayout+xml"/>
  <Override PartName="/ppt/slideLayouts/slideLayout16646.xml" ContentType="application/vnd.openxmlformats-officedocument.presentationml.slideLayout+xml"/>
  <Override PartName="/ppt/slideLayouts/slideLayout16647.xml" ContentType="application/vnd.openxmlformats-officedocument.presentationml.slideLayout+xml"/>
  <Override PartName="/ppt/slideLayouts/slideLayout16648.xml" ContentType="application/vnd.openxmlformats-officedocument.presentationml.slideLayout+xml"/>
  <Override PartName="/ppt/slideLayouts/slideLayout16649.xml" ContentType="application/vnd.openxmlformats-officedocument.presentationml.slideLayout+xml"/>
  <Override PartName="/ppt/slideLayouts/slideLayout16650.xml" ContentType="application/vnd.openxmlformats-officedocument.presentationml.slideLayout+xml"/>
  <Override PartName="/ppt/slideLayouts/slideLayout16651.xml" ContentType="application/vnd.openxmlformats-officedocument.presentationml.slideLayout+xml"/>
  <Override PartName="/ppt/slideLayouts/slideLayout16652.xml" ContentType="application/vnd.openxmlformats-officedocument.presentationml.slideLayout+xml"/>
  <Override PartName="/ppt/slideLayouts/slideLayout16653.xml" ContentType="application/vnd.openxmlformats-officedocument.presentationml.slideLayout+xml"/>
  <Override PartName="/ppt/slideLayouts/slideLayout16654.xml" ContentType="application/vnd.openxmlformats-officedocument.presentationml.slideLayout+xml"/>
  <Override PartName="/ppt/slideLayouts/slideLayout16655.xml" ContentType="application/vnd.openxmlformats-officedocument.presentationml.slideLayout+xml"/>
  <Override PartName="/ppt/slideLayouts/slideLayout16656.xml" ContentType="application/vnd.openxmlformats-officedocument.presentationml.slideLayout+xml"/>
  <Override PartName="/ppt/slideLayouts/slideLayout16657.xml" ContentType="application/vnd.openxmlformats-officedocument.presentationml.slideLayout+xml"/>
  <Override PartName="/ppt/slideLayouts/slideLayout16658.xml" ContentType="application/vnd.openxmlformats-officedocument.presentationml.slideLayout+xml"/>
  <Override PartName="/ppt/slideLayouts/slideLayout16659.xml" ContentType="application/vnd.openxmlformats-officedocument.presentationml.slideLayout+xml"/>
  <Override PartName="/ppt/slideLayouts/slideLayout16660.xml" ContentType="application/vnd.openxmlformats-officedocument.presentationml.slideLayout+xml"/>
  <Override PartName="/ppt/slideLayouts/slideLayout16661.xml" ContentType="application/vnd.openxmlformats-officedocument.presentationml.slideLayout+xml"/>
  <Override PartName="/ppt/slideLayouts/slideLayout16662.xml" ContentType="application/vnd.openxmlformats-officedocument.presentationml.slideLayout+xml"/>
  <Override PartName="/ppt/slideLayouts/slideLayout16663.xml" ContentType="application/vnd.openxmlformats-officedocument.presentationml.slideLayout+xml"/>
  <Override PartName="/ppt/slideLayouts/slideLayout16664.xml" ContentType="application/vnd.openxmlformats-officedocument.presentationml.slideLayout+xml"/>
  <Override PartName="/ppt/slideLayouts/slideLayout16665.xml" ContentType="application/vnd.openxmlformats-officedocument.presentationml.slideLayout+xml"/>
  <Override PartName="/ppt/slideLayouts/slideLayout16666.xml" ContentType="application/vnd.openxmlformats-officedocument.presentationml.slideLayout+xml"/>
  <Override PartName="/ppt/slideLayouts/slideLayout16667.xml" ContentType="application/vnd.openxmlformats-officedocument.presentationml.slideLayout+xml"/>
  <Override PartName="/ppt/slideLayouts/slideLayout16668.xml" ContentType="application/vnd.openxmlformats-officedocument.presentationml.slideLayout+xml"/>
  <Override PartName="/ppt/slideLayouts/slideLayout16669.xml" ContentType="application/vnd.openxmlformats-officedocument.presentationml.slideLayout+xml"/>
  <Override PartName="/ppt/slideLayouts/slideLayout16670.xml" ContentType="application/vnd.openxmlformats-officedocument.presentationml.slideLayout+xml"/>
  <Override PartName="/ppt/slideLayouts/slideLayout16671.xml" ContentType="application/vnd.openxmlformats-officedocument.presentationml.slideLayout+xml"/>
  <Override PartName="/ppt/slideLayouts/slideLayout16672.xml" ContentType="application/vnd.openxmlformats-officedocument.presentationml.slideLayout+xml"/>
  <Override PartName="/ppt/slideLayouts/slideLayout16673.xml" ContentType="application/vnd.openxmlformats-officedocument.presentationml.slideLayout+xml"/>
  <Override PartName="/ppt/slideLayouts/slideLayout16674.xml" ContentType="application/vnd.openxmlformats-officedocument.presentationml.slideLayout+xml"/>
  <Override PartName="/ppt/slideLayouts/slideLayout16675.xml" ContentType="application/vnd.openxmlformats-officedocument.presentationml.slideLayout+xml"/>
  <Override PartName="/ppt/slideLayouts/slideLayout16676.xml" ContentType="application/vnd.openxmlformats-officedocument.presentationml.slideLayout+xml"/>
  <Override PartName="/ppt/slideLayouts/slideLayout16677.xml" ContentType="application/vnd.openxmlformats-officedocument.presentationml.slideLayout+xml"/>
  <Override PartName="/ppt/slideLayouts/slideLayout16678.xml" ContentType="application/vnd.openxmlformats-officedocument.presentationml.slideLayout+xml"/>
  <Override PartName="/ppt/slideLayouts/slideLayout16679.xml" ContentType="application/vnd.openxmlformats-officedocument.presentationml.slideLayout+xml"/>
  <Override PartName="/ppt/slideLayouts/slideLayout16680.xml" ContentType="application/vnd.openxmlformats-officedocument.presentationml.slideLayout+xml"/>
  <Override PartName="/ppt/slideLayouts/slideLayout16681.xml" ContentType="application/vnd.openxmlformats-officedocument.presentationml.slideLayout+xml"/>
  <Override PartName="/ppt/slideLayouts/slideLayout16682.xml" ContentType="application/vnd.openxmlformats-officedocument.presentationml.slideLayout+xml"/>
  <Override PartName="/ppt/slideLayouts/slideLayout16683.xml" ContentType="application/vnd.openxmlformats-officedocument.presentationml.slideLayout+xml"/>
  <Override PartName="/ppt/slideLayouts/slideLayout16684.xml" ContentType="application/vnd.openxmlformats-officedocument.presentationml.slideLayout+xml"/>
  <Override PartName="/ppt/slideLayouts/slideLayout16685.xml" ContentType="application/vnd.openxmlformats-officedocument.presentationml.slideLayout+xml"/>
  <Override PartName="/ppt/slideLayouts/slideLayout16686.xml" ContentType="application/vnd.openxmlformats-officedocument.presentationml.slideLayout+xml"/>
  <Override PartName="/ppt/slideLayouts/slideLayout16687.xml" ContentType="application/vnd.openxmlformats-officedocument.presentationml.slideLayout+xml"/>
  <Override PartName="/ppt/slideLayouts/slideLayout16688.xml" ContentType="application/vnd.openxmlformats-officedocument.presentationml.slideLayout+xml"/>
  <Override PartName="/ppt/slideLayouts/slideLayout16689.xml" ContentType="application/vnd.openxmlformats-officedocument.presentationml.slideLayout+xml"/>
  <Override PartName="/ppt/slideLayouts/slideLayout16690.xml" ContentType="application/vnd.openxmlformats-officedocument.presentationml.slideLayout+xml"/>
  <Override PartName="/ppt/slideLayouts/slideLayout16691.xml" ContentType="application/vnd.openxmlformats-officedocument.presentationml.slideLayout+xml"/>
  <Override PartName="/ppt/slideLayouts/slideLayout16692.xml" ContentType="application/vnd.openxmlformats-officedocument.presentationml.slideLayout+xml"/>
  <Override PartName="/ppt/slideLayouts/slideLayout16693.xml" ContentType="application/vnd.openxmlformats-officedocument.presentationml.slideLayout+xml"/>
  <Override PartName="/ppt/slideLayouts/slideLayout16694.xml" ContentType="application/vnd.openxmlformats-officedocument.presentationml.slideLayout+xml"/>
  <Override PartName="/ppt/slideLayouts/slideLayout16695.xml" ContentType="application/vnd.openxmlformats-officedocument.presentationml.slideLayout+xml"/>
  <Override PartName="/ppt/slideLayouts/slideLayout16696.xml" ContentType="application/vnd.openxmlformats-officedocument.presentationml.slideLayout+xml"/>
  <Override PartName="/ppt/slideLayouts/slideLayout16697.xml" ContentType="application/vnd.openxmlformats-officedocument.presentationml.slideLayout+xml"/>
  <Override PartName="/ppt/slideLayouts/slideLayout16698.xml" ContentType="application/vnd.openxmlformats-officedocument.presentationml.slideLayout+xml"/>
  <Override PartName="/ppt/slideLayouts/slideLayout16699.xml" ContentType="application/vnd.openxmlformats-officedocument.presentationml.slideLayout+xml"/>
  <Override PartName="/ppt/slideLayouts/slideLayout16700.xml" ContentType="application/vnd.openxmlformats-officedocument.presentationml.slideLayout+xml"/>
  <Override PartName="/ppt/slideLayouts/slideLayout16701.xml" ContentType="application/vnd.openxmlformats-officedocument.presentationml.slideLayout+xml"/>
  <Override PartName="/ppt/slideLayouts/slideLayout16702.xml" ContentType="application/vnd.openxmlformats-officedocument.presentationml.slideLayout+xml"/>
  <Override PartName="/ppt/slideLayouts/slideLayout16703.xml" ContentType="application/vnd.openxmlformats-officedocument.presentationml.slideLayout+xml"/>
  <Override PartName="/ppt/slideLayouts/slideLayout16704.xml" ContentType="application/vnd.openxmlformats-officedocument.presentationml.slideLayout+xml"/>
  <Override PartName="/ppt/slideLayouts/slideLayout16705.xml" ContentType="application/vnd.openxmlformats-officedocument.presentationml.slideLayout+xml"/>
  <Override PartName="/ppt/slideLayouts/slideLayout16706.xml" ContentType="application/vnd.openxmlformats-officedocument.presentationml.slideLayout+xml"/>
  <Override PartName="/ppt/slideLayouts/slideLayout16707.xml" ContentType="application/vnd.openxmlformats-officedocument.presentationml.slideLayout+xml"/>
  <Override PartName="/ppt/slideLayouts/slideLayout16708.xml" ContentType="application/vnd.openxmlformats-officedocument.presentationml.slideLayout+xml"/>
  <Override PartName="/ppt/slideLayouts/slideLayout16709.xml" ContentType="application/vnd.openxmlformats-officedocument.presentationml.slideLayout+xml"/>
  <Override PartName="/ppt/slideLayouts/slideLayout16710.xml" ContentType="application/vnd.openxmlformats-officedocument.presentationml.slideLayout+xml"/>
  <Override PartName="/ppt/slideLayouts/slideLayout16711.xml" ContentType="application/vnd.openxmlformats-officedocument.presentationml.slideLayout+xml"/>
  <Override PartName="/ppt/slideLayouts/slideLayout16712.xml" ContentType="application/vnd.openxmlformats-officedocument.presentationml.slideLayout+xml"/>
  <Override PartName="/ppt/slideLayouts/slideLayout16713.xml" ContentType="application/vnd.openxmlformats-officedocument.presentationml.slideLayout+xml"/>
  <Override PartName="/ppt/slideLayouts/slideLayout16714.xml" ContentType="application/vnd.openxmlformats-officedocument.presentationml.slideLayout+xml"/>
  <Override PartName="/ppt/slideLayouts/slideLayout16715.xml" ContentType="application/vnd.openxmlformats-officedocument.presentationml.slideLayout+xml"/>
  <Override PartName="/ppt/slideLayouts/slideLayout16716.xml" ContentType="application/vnd.openxmlformats-officedocument.presentationml.slideLayout+xml"/>
  <Override PartName="/ppt/slideLayouts/slideLayout16717.xml" ContentType="application/vnd.openxmlformats-officedocument.presentationml.slideLayout+xml"/>
  <Override PartName="/ppt/slideLayouts/slideLayout16718.xml" ContentType="application/vnd.openxmlformats-officedocument.presentationml.slideLayout+xml"/>
  <Override PartName="/ppt/slideLayouts/slideLayout16719.xml" ContentType="application/vnd.openxmlformats-officedocument.presentationml.slideLayout+xml"/>
  <Override PartName="/ppt/slideLayouts/slideLayout167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4.xml" ContentType="application/vnd.openxmlformats-officedocument.presentationml.tags+xml"/>
  <Override PartName="/ppt/notesSlides/notesSlide16.xml" ContentType="application/vnd.openxmlformats-officedocument.presentationml.notesSlide+xml"/>
  <Override PartName="/ppt/tags/tag5.xml" ContentType="application/vnd.openxmlformats-officedocument.presentationml.tags+xml"/>
  <Override PartName="/ppt/notesSlides/notesSlide17.xml" ContentType="application/vnd.openxmlformats-officedocument.presentationml.notesSlide+xml"/>
  <Override PartName="/ppt/tags/tag6.xml" ContentType="application/vnd.openxmlformats-officedocument.presentationml.tags+xml"/>
  <Override PartName="/ppt/notesSlides/notesSlide18.xml" ContentType="application/vnd.openxmlformats-officedocument.presentationml.notesSlide+xml"/>
  <Override PartName="/ppt/tags/tag7.xml" ContentType="application/vnd.openxmlformats-officedocument.presentationml.tags+xml"/>
  <Override PartName="/ppt/notesSlides/notesSlide19.xml" ContentType="application/vnd.openxmlformats-officedocument.presentationml.notesSlide+xml"/>
  <Override PartName="/ppt/tags/tag8.xml" ContentType="application/vnd.openxmlformats-officedocument.presentationml.tags+xml"/>
  <Override PartName="/ppt/notesSlides/notesSlide20.xml" ContentType="application/vnd.openxmlformats-officedocument.presentationml.notesSlide+xml"/>
  <Override PartName="/ppt/tags/tag9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0.xml" ContentType="application/vnd.openxmlformats-officedocument.presentationml.tags+xml"/>
  <Override PartName="/ppt/notesSlides/notesSlide23.xml" ContentType="application/vnd.openxmlformats-officedocument.presentationml.notesSlide+xml"/>
  <Override PartName="/ppt/tags/tag11.xml" ContentType="application/vnd.openxmlformats-officedocument.presentationml.tags+xml"/>
  <Override PartName="/ppt/notesSlides/notesSlide24.xml" ContentType="application/vnd.openxmlformats-officedocument.presentationml.notesSlide+xml"/>
  <Override PartName="/ppt/tags/tag12.xml" ContentType="application/vnd.openxmlformats-officedocument.presentationml.tags+xml"/>
  <Override PartName="/ppt/notesSlides/notesSlide25.xml" ContentType="application/vnd.openxmlformats-officedocument.presentationml.notesSlide+xml"/>
  <Override PartName="/ppt/tags/tag13.xml" ContentType="application/vnd.openxmlformats-officedocument.presentationml.tags+xml"/>
  <Override PartName="/ppt/notesSlides/notesSlide26.xml" ContentType="application/vnd.openxmlformats-officedocument.presentationml.notesSlide+xml"/>
  <Override PartName="/ppt/tags/tag14.xml" ContentType="application/vnd.openxmlformats-officedocument.presentationml.tags+xml"/>
  <Override PartName="/ppt/notesSlides/notesSlide27.xml" ContentType="application/vnd.openxmlformats-officedocument.presentationml.notesSlide+xml"/>
  <Override PartName="/ppt/tags/tag15.xml" ContentType="application/vnd.openxmlformats-officedocument.presentationml.tags+xml"/>
  <Override PartName="/ppt/notesSlides/notesSlide28.xml" ContentType="application/vnd.openxmlformats-officedocument.presentationml.notesSlide+xml"/>
  <Override PartName="/ppt/tags/tag16.xml" ContentType="application/vnd.openxmlformats-officedocument.presentationml.tags+xml"/>
  <Override PartName="/ppt/notesSlides/notesSlide29.xml" ContentType="application/vnd.openxmlformats-officedocument.presentationml.notesSlide+xml"/>
  <Override PartName="/ppt/tags/tag17.xml" ContentType="application/vnd.openxmlformats-officedocument.presentationml.tags+xml"/>
  <Override PartName="/ppt/notesSlides/notesSlide30.xml" ContentType="application/vnd.openxmlformats-officedocument.presentationml.notesSlide+xml"/>
  <Override PartName="/ppt/tags/tag18.xml" ContentType="application/vnd.openxmlformats-officedocument.presentationml.tags+xml"/>
  <Override PartName="/ppt/notesSlides/notesSlide31.xml" ContentType="application/vnd.openxmlformats-officedocument.presentationml.notesSlide+xml"/>
  <Override PartName="/ppt/tags/tag19.xml" ContentType="application/vnd.openxmlformats-officedocument.presentationml.tags+xml"/>
  <Override PartName="/ppt/notesSlides/notesSlide32.xml" ContentType="application/vnd.openxmlformats-officedocument.presentationml.notesSlide+xml"/>
  <Override PartName="/ppt/tags/tag20.xml" ContentType="application/vnd.openxmlformats-officedocument.presentationml.tags+xml"/>
  <Override PartName="/ppt/notesSlides/notesSlide33.xml" ContentType="application/vnd.openxmlformats-officedocument.presentationml.notesSlide+xml"/>
  <Override PartName="/ppt/tags/tag21.xml" ContentType="application/vnd.openxmlformats-officedocument.presentationml.tags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4" r:id="rId4"/>
  </p:sldMasterIdLst>
  <p:notesMasterIdLst>
    <p:notesMasterId r:id="rId40"/>
  </p:notesMasterIdLst>
  <p:sldIdLst>
    <p:sldId id="256" r:id="rId5"/>
    <p:sldId id="258" r:id="rId6"/>
    <p:sldId id="260" r:id="rId7"/>
    <p:sldId id="261" r:id="rId8"/>
    <p:sldId id="296" r:id="rId9"/>
    <p:sldId id="262" r:id="rId10"/>
    <p:sldId id="307" r:id="rId11"/>
    <p:sldId id="311" r:id="rId12"/>
    <p:sldId id="313" r:id="rId13"/>
    <p:sldId id="305" r:id="rId14"/>
    <p:sldId id="308" r:id="rId15"/>
    <p:sldId id="309" r:id="rId16"/>
    <p:sldId id="469" r:id="rId17"/>
    <p:sldId id="297" r:id="rId18"/>
    <p:sldId id="302" r:id="rId19"/>
    <p:sldId id="264" r:id="rId20"/>
    <p:sldId id="455" r:id="rId21"/>
    <p:sldId id="456" r:id="rId22"/>
    <p:sldId id="299" r:id="rId23"/>
    <p:sldId id="422" r:id="rId24"/>
    <p:sldId id="468" r:id="rId25"/>
    <p:sldId id="300" r:id="rId26"/>
    <p:sldId id="266" r:id="rId27"/>
    <p:sldId id="454" r:id="rId28"/>
    <p:sldId id="304" r:id="rId29"/>
    <p:sldId id="457" r:id="rId30"/>
    <p:sldId id="465" r:id="rId31"/>
    <p:sldId id="467" r:id="rId32"/>
    <p:sldId id="464" r:id="rId33"/>
    <p:sldId id="458" r:id="rId34"/>
    <p:sldId id="459" r:id="rId35"/>
    <p:sldId id="460" r:id="rId36"/>
    <p:sldId id="461" r:id="rId37"/>
    <p:sldId id="463" r:id="rId38"/>
    <p:sldId id="462" r:id="rId39"/>
  </p:sldIdLst>
  <p:sldSz cx="9144000" cy="5143500" type="screen16x9"/>
  <p:notesSz cx="6858000" cy="9144000"/>
  <p:embeddedFontLst>
    <p:embeddedFont>
      <p:font typeface="Anaheim" panose="020B0604020202020204" charset="0"/>
      <p:regular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Montserrat" panose="00000500000000000000" pitchFamily="2" charset="0"/>
      <p:regular r:id="rId46"/>
      <p:bold r:id="rId47"/>
      <p:italic r:id="rId48"/>
      <p:boldItalic r:id="rId49"/>
    </p:embeddedFont>
    <p:embeddedFont>
      <p:font typeface="Poppins" panose="00000500000000000000" pitchFamily="2" charset="0"/>
      <p:regular r:id="rId50"/>
      <p:bold r:id="rId51"/>
      <p:italic r:id="rId52"/>
      <p:boldItalic r:id="rId53"/>
    </p:embeddedFont>
    <p:embeddedFont>
      <p:font typeface="Poppins Medium" panose="00000600000000000000" pitchFamily="2" charset="0"/>
      <p:regular r:id="rId54"/>
      <p:bold r:id="rId55"/>
      <p:italic r:id="rId56"/>
      <p:boldItalic r:id="rId57"/>
    </p:embeddedFont>
    <p:embeddedFont>
      <p:font typeface="Source Sans Pro" panose="020B0503030403020204" pitchFamily="34" charset="0"/>
      <p:regular r:id="rId58"/>
      <p:bold r:id="rId59"/>
      <p:italic r:id="rId60"/>
      <p:boldItalic r:id="rId61"/>
    </p:embeddedFont>
  </p:embeddedFontLst>
  <p:custDataLst>
    <p:tags r:id="rId6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747775"/>
          </p15:clr>
        </p15:guide>
        <p15:guide id="2" pos="2880">
          <p15:clr>
            <a:srgbClr val="747775"/>
          </p15:clr>
        </p15:guide>
      </p15:sldGuideLst>
    </p:ext>
  </p:extLst>
</p:presentation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font" Target="fonts/font2.fntdata"/><Relationship Id="rId47" Type="http://schemas.openxmlformats.org/officeDocument/2006/relationships/font" Target="fonts/font7.fntdata"/><Relationship Id="rId50" Type="http://schemas.openxmlformats.org/officeDocument/2006/relationships/font" Target="fonts/font10.fntdata"/><Relationship Id="rId55" Type="http://schemas.openxmlformats.org/officeDocument/2006/relationships/font" Target="fonts/font15.fntdata"/><Relationship Id="rId63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5.fntdata"/><Relationship Id="rId53" Type="http://schemas.openxmlformats.org/officeDocument/2006/relationships/font" Target="fonts/font13.fntdata"/><Relationship Id="rId58" Type="http://schemas.openxmlformats.org/officeDocument/2006/relationships/font" Target="fonts/font18.fntdata"/><Relationship Id="rId66" Type="http://schemas.openxmlformats.org/officeDocument/2006/relationships/tableStyles" Target="tableStyles.xml"/><Relationship Id="rId5" Type="http://schemas.openxmlformats.org/officeDocument/2006/relationships/slide" Target="slides/slide1.xml"/><Relationship Id="rId61" Type="http://schemas.openxmlformats.org/officeDocument/2006/relationships/font" Target="fonts/font21.fntdata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font" Target="fonts/font3.fntdata"/><Relationship Id="rId48" Type="http://schemas.openxmlformats.org/officeDocument/2006/relationships/font" Target="fonts/font8.fntdata"/><Relationship Id="rId56" Type="http://schemas.openxmlformats.org/officeDocument/2006/relationships/font" Target="fonts/font16.fntdata"/><Relationship Id="rId64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font" Target="fonts/font11.fntdata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font" Target="fonts/font6.fntdata"/><Relationship Id="rId59" Type="http://schemas.openxmlformats.org/officeDocument/2006/relationships/font" Target="fonts/font19.fntdata"/><Relationship Id="rId20" Type="http://schemas.openxmlformats.org/officeDocument/2006/relationships/slide" Target="slides/slide16.xml"/><Relationship Id="rId41" Type="http://schemas.openxmlformats.org/officeDocument/2006/relationships/font" Target="fonts/font1.fntdata"/><Relationship Id="rId54" Type="http://schemas.openxmlformats.org/officeDocument/2006/relationships/font" Target="fonts/font14.fntdata"/><Relationship Id="rId62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font" Target="fonts/font9.fntdata"/><Relationship Id="rId57" Type="http://schemas.openxmlformats.org/officeDocument/2006/relationships/font" Target="fonts/font17.fntdata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font" Target="fonts/font4.fntdata"/><Relationship Id="rId52" Type="http://schemas.openxmlformats.org/officeDocument/2006/relationships/font" Target="fonts/font12.fntdata"/><Relationship Id="rId60" Type="http://schemas.openxmlformats.org/officeDocument/2006/relationships/font" Target="fonts/font20.fntdata"/><Relationship Id="rId65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slideLayouts/_rels/slideLayout16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7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713225" y="961275"/>
            <a:ext cx="4539900" cy="2451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000">
                <a:latin typeface="Poppins"/>
                <a:ea typeface="Poppins"/>
                <a:cs typeface="Poppins"/>
                <a:sym typeface="Poppins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1706525" y="3341875"/>
            <a:ext cx="2553300" cy="732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1803954">
            <a:off x="2335518" y="-249876"/>
            <a:ext cx="5829176" cy="2360777"/>
          </a:xfrm>
          <a:custGeom>
            <a:avLst/>
            <a:gdLst/>
            <a:ahLst/>
            <a:cxnLst/>
            <a:rect l="l" t="t" r="r" b="b"/>
            <a:pathLst>
              <a:path w="57117" h="23132" extrusionOk="0">
                <a:moveTo>
                  <a:pt x="3086" y="1"/>
                </a:moveTo>
                <a:cubicBezTo>
                  <a:pt x="3086" y="1"/>
                  <a:pt x="3075" y="12"/>
                  <a:pt x="3052" y="46"/>
                </a:cubicBezTo>
                <a:cubicBezTo>
                  <a:pt x="3075" y="23"/>
                  <a:pt x="3086" y="1"/>
                  <a:pt x="3086" y="1"/>
                </a:cubicBezTo>
                <a:close/>
                <a:moveTo>
                  <a:pt x="3052" y="46"/>
                </a:moveTo>
                <a:cubicBezTo>
                  <a:pt x="3030" y="80"/>
                  <a:pt x="2996" y="125"/>
                  <a:pt x="2962" y="181"/>
                </a:cubicBezTo>
                <a:cubicBezTo>
                  <a:pt x="2883" y="305"/>
                  <a:pt x="2760" y="474"/>
                  <a:pt x="2613" y="710"/>
                </a:cubicBezTo>
                <a:cubicBezTo>
                  <a:pt x="2320" y="1183"/>
                  <a:pt x="1904" y="1893"/>
                  <a:pt x="1442" y="2850"/>
                </a:cubicBezTo>
                <a:cubicBezTo>
                  <a:pt x="1217" y="3335"/>
                  <a:pt x="991" y="3875"/>
                  <a:pt x="777" y="4483"/>
                </a:cubicBezTo>
                <a:cubicBezTo>
                  <a:pt x="563" y="5092"/>
                  <a:pt x="361" y="5767"/>
                  <a:pt x="225" y="6511"/>
                </a:cubicBezTo>
                <a:cubicBezTo>
                  <a:pt x="90" y="7254"/>
                  <a:pt x="0" y="8065"/>
                  <a:pt x="23" y="8921"/>
                </a:cubicBezTo>
                <a:cubicBezTo>
                  <a:pt x="56" y="9777"/>
                  <a:pt x="203" y="10678"/>
                  <a:pt x="518" y="11579"/>
                </a:cubicBezTo>
                <a:cubicBezTo>
                  <a:pt x="822" y="12480"/>
                  <a:pt x="1273" y="13393"/>
                  <a:pt x="1926" y="14204"/>
                </a:cubicBezTo>
                <a:cubicBezTo>
                  <a:pt x="2241" y="14609"/>
                  <a:pt x="2624" y="14981"/>
                  <a:pt x="3041" y="15330"/>
                </a:cubicBezTo>
                <a:cubicBezTo>
                  <a:pt x="3154" y="15420"/>
                  <a:pt x="3255" y="15499"/>
                  <a:pt x="3368" y="15578"/>
                </a:cubicBezTo>
                <a:cubicBezTo>
                  <a:pt x="3424" y="15623"/>
                  <a:pt x="3480" y="15668"/>
                  <a:pt x="3537" y="15702"/>
                </a:cubicBezTo>
                <a:lnTo>
                  <a:pt x="3706" y="15803"/>
                </a:lnTo>
                <a:cubicBezTo>
                  <a:pt x="3942" y="15961"/>
                  <a:pt x="4190" y="16073"/>
                  <a:pt x="4449" y="16209"/>
                </a:cubicBezTo>
                <a:cubicBezTo>
                  <a:pt x="4573" y="16265"/>
                  <a:pt x="4708" y="16310"/>
                  <a:pt x="4832" y="16366"/>
                </a:cubicBezTo>
                <a:lnTo>
                  <a:pt x="5035" y="16445"/>
                </a:lnTo>
                <a:lnTo>
                  <a:pt x="5238" y="16501"/>
                </a:lnTo>
                <a:cubicBezTo>
                  <a:pt x="5384" y="16535"/>
                  <a:pt x="5519" y="16569"/>
                  <a:pt x="5654" y="16614"/>
                </a:cubicBezTo>
                <a:cubicBezTo>
                  <a:pt x="5801" y="16637"/>
                  <a:pt x="5947" y="16659"/>
                  <a:pt x="6082" y="16682"/>
                </a:cubicBezTo>
                <a:lnTo>
                  <a:pt x="6296" y="16727"/>
                </a:lnTo>
                <a:cubicBezTo>
                  <a:pt x="6375" y="16738"/>
                  <a:pt x="6443" y="16738"/>
                  <a:pt x="6522" y="16738"/>
                </a:cubicBezTo>
                <a:cubicBezTo>
                  <a:pt x="6668" y="16749"/>
                  <a:pt x="6814" y="16760"/>
                  <a:pt x="6961" y="16772"/>
                </a:cubicBezTo>
                <a:cubicBezTo>
                  <a:pt x="7107" y="16772"/>
                  <a:pt x="7254" y="16772"/>
                  <a:pt x="7400" y="16760"/>
                </a:cubicBezTo>
                <a:lnTo>
                  <a:pt x="7625" y="16760"/>
                </a:lnTo>
                <a:cubicBezTo>
                  <a:pt x="7693" y="16760"/>
                  <a:pt x="7772" y="16738"/>
                  <a:pt x="7851" y="16738"/>
                </a:cubicBezTo>
                <a:lnTo>
                  <a:pt x="8290" y="16682"/>
                </a:lnTo>
                <a:cubicBezTo>
                  <a:pt x="8436" y="16659"/>
                  <a:pt x="8594" y="16625"/>
                  <a:pt x="8740" y="16603"/>
                </a:cubicBezTo>
                <a:lnTo>
                  <a:pt x="8966" y="16558"/>
                </a:lnTo>
                <a:lnTo>
                  <a:pt x="9180" y="16490"/>
                </a:lnTo>
                <a:cubicBezTo>
                  <a:pt x="9326" y="16456"/>
                  <a:pt x="9473" y="16411"/>
                  <a:pt x="9630" y="16366"/>
                </a:cubicBezTo>
                <a:cubicBezTo>
                  <a:pt x="9765" y="16321"/>
                  <a:pt x="9912" y="16265"/>
                  <a:pt x="10058" y="16220"/>
                </a:cubicBezTo>
                <a:cubicBezTo>
                  <a:pt x="10137" y="16197"/>
                  <a:pt x="10205" y="16163"/>
                  <a:pt x="10283" y="16141"/>
                </a:cubicBezTo>
                <a:lnTo>
                  <a:pt x="10497" y="16051"/>
                </a:lnTo>
                <a:cubicBezTo>
                  <a:pt x="10633" y="15995"/>
                  <a:pt x="10779" y="15927"/>
                  <a:pt x="10925" y="15871"/>
                </a:cubicBezTo>
                <a:lnTo>
                  <a:pt x="11342" y="15657"/>
                </a:lnTo>
                <a:cubicBezTo>
                  <a:pt x="11489" y="15589"/>
                  <a:pt x="11624" y="15521"/>
                  <a:pt x="11770" y="15443"/>
                </a:cubicBezTo>
                <a:cubicBezTo>
                  <a:pt x="11905" y="15364"/>
                  <a:pt x="12041" y="15285"/>
                  <a:pt x="12176" y="15206"/>
                </a:cubicBezTo>
                <a:cubicBezTo>
                  <a:pt x="12446" y="15037"/>
                  <a:pt x="12728" y="14879"/>
                  <a:pt x="12987" y="14688"/>
                </a:cubicBezTo>
                <a:cubicBezTo>
                  <a:pt x="13527" y="14328"/>
                  <a:pt x="14034" y="13922"/>
                  <a:pt x="14541" y="13505"/>
                </a:cubicBezTo>
                <a:cubicBezTo>
                  <a:pt x="15532" y="12649"/>
                  <a:pt x="16478" y="11692"/>
                  <a:pt x="17447" y="10735"/>
                </a:cubicBezTo>
                <a:cubicBezTo>
                  <a:pt x="18416" y="9777"/>
                  <a:pt x="19407" y="8809"/>
                  <a:pt x="20511" y="7941"/>
                </a:cubicBezTo>
                <a:cubicBezTo>
                  <a:pt x="21062" y="7513"/>
                  <a:pt x="21648" y="7119"/>
                  <a:pt x="22268" y="6759"/>
                </a:cubicBezTo>
                <a:cubicBezTo>
                  <a:pt x="22572" y="6578"/>
                  <a:pt x="22898" y="6432"/>
                  <a:pt x="23214" y="6274"/>
                </a:cubicBezTo>
                <a:cubicBezTo>
                  <a:pt x="23383" y="6207"/>
                  <a:pt x="23540" y="6139"/>
                  <a:pt x="23709" y="6072"/>
                </a:cubicBezTo>
                <a:cubicBezTo>
                  <a:pt x="23878" y="6004"/>
                  <a:pt x="24047" y="5936"/>
                  <a:pt x="24216" y="5880"/>
                </a:cubicBezTo>
                <a:cubicBezTo>
                  <a:pt x="25343" y="5517"/>
                  <a:pt x="26516" y="5339"/>
                  <a:pt x="27678" y="5339"/>
                </a:cubicBezTo>
                <a:cubicBezTo>
                  <a:pt x="27921" y="5339"/>
                  <a:pt x="28164" y="5346"/>
                  <a:pt x="28406" y="5362"/>
                </a:cubicBezTo>
                <a:cubicBezTo>
                  <a:pt x="29803" y="5463"/>
                  <a:pt x="31154" y="5801"/>
                  <a:pt x="32393" y="6353"/>
                </a:cubicBezTo>
                <a:cubicBezTo>
                  <a:pt x="33632" y="6894"/>
                  <a:pt x="34759" y="7648"/>
                  <a:pt x="35671" y="8583"/>
                </a:cubicBezTo>
                <a:cubicBezTo>
                  <a:pt x="36595" y="9507"/>
                  <a:pt x="37293" y="10588"/>
                  <a:pt x="37901" y="11669"/>
                </a:cubicBezTo>
                <a:cubicBezTo>
                  <a:pt x="38498" y="12762"/>
                  <a:pt x="39005" y="13877"/>
                  <a:pt x="39500" y="14958"/>
                </a:cubicBezTo>
                <a:cubicBezTo>
                  <a:pt x="39996" y="16028"/>
                  <a:pt x="40492" y="17076"/>
                  <a:pt x="41055" y="18044"/>
                </a:cubicBezTo>
                <a:cubicBezTo>
                  <a:pt x="41336" y="18529"/>
                  <a:pt x="41629" y="18991"/>
                  <a:pt x="41945" y="19430"/>
                </a:cubicBezTo>
                <a:cubicBezTo>
                  <a:pt x="42260" y="19858"/>
                  <a:pt x="42609" y="20275"/>
                  <a:pt x="42970" y="20635"/>
                </a:cubicBezTo>
                <a:cubicBezTo>
                  <a:pt x="43150" y="20826"/>
                  <a:pt x="43353" y="20995"/>
                  <a:pt x="43544" y="21164"/>
                </a:cubicBezTo>
                <a:cubicBezTo>
                  <a:pt x="43735" y="21322"/>
                  <a:pt x="43938" y="21480"/>
                  <a:pt x="44141" y="21626"/>
                </a:cubicBezTo>
                <a:cubicBezTo>
                  <a:pt x="44546" y="21908"/>
                  <a:pt x="44974" y="22156"/>
                  <a:pt x="45414" y="22347"/>
                </a:cubicBezTo>
                <a:cubicBezTo>
                  <a:pt x="45842" y="22538"/>
                  <a:pt x="46281" y="22696"/>
                  <a:pt x="46720" y="22809"/>
                </a:cubicBezTo>
                <a:cubicBezTo>
                  <a:pt x="47160" y="22921"/>
                  <a:pt x="47599" y="23000"/>
                  <a:pt x="48016" y="23057"/>
                </a:cubicBezTo>
                <a:cubicBezTo>
                  <a:pt x="48458" y="23109"/>
                  <a:pt x="48888" y="23131"/>
                  <a:pt x="49305" y="23131"/>
                </a:cubicBezTo>
                <a:cubicBezTo>
                  <a:pt x="49695" y="23131"/>
                  <a:pt x="50072" y="23112"/>
                  <a:pt x="50437" y="23079"/>
                </a:cubicBezTo>
                <a:cubicBezTo>
                  <a:pt x="51935" y="22933"/>
                  <a:pt x="53197" y="22550"/>
                  <a:pt x="54165" y="22110"/>
                </a:cubicBezTo>
                <a:cubicBezTo>
                  <a:pt x="54650" y="21896"/>
                  <a:pt x="55066" y="21682"/>
                  <a:pt x="55427" y="21491"/>
                </a:cubicBezTo>
                <a:cubicBezTo>
                  <a:pt x="55798" y="21311"/>
                  <a:pt x="56103" y="21153"/>
                  <a:pt x="56350" y="21029"/>
                </a:cubicBezTo>
                <a:cubicBezTo>
                  <a:pt x="56598" y="20905"/>
                  <a:pt x="56790" y="20804"/>
                  <a:pt x="56925" y="20748"/>
                </a:cubicBezTo>
                <a:cubicBezTo>
                  <a:pt x="56981" y="20714"/>
                  <a:pt x="57026" y="20691"/>
                  <a:pt x="57060" y="20669"/>
                </a:cubicBezTo>
                <a:cubicBezTo>
                  <a:pt x="57094" y="20658"/>
                  <a:pt x="57116" y="20646"/>
                  <a:pt x="57116" y="20646"/>
                </a:cubicBezTo>
                <a:cubicBezTo>
                  <a:pt x="57116" y="20643"/>
                  <a:pt x="57114" y="20642"/>
                  <a:pt x="57111" y="20642"/>
                </a:cubicBezTo>
                <a:cubicBezTo>
                  <a:pt x="57102" y="20642"/>
                  <a:pt x="57084" y="20650"/>
                  <a:pt x="57060" y="20658"/>
                </a:cubicBezTo>
                <a:cubicBezTo>
                  <a:pt x="57026" y="20680"/>
                  <a:pt x="56981" y="20703"/>
                  <a:pt x="56914" y="20725"/>
                </a:cubicBezTo>
                <a:cubicBezTo>
                  <a:pt x="56790" y="20781"/>
                  <a:pt x="56587" y="20872"/>
                  <a:pt x="56339" y="20995"/>
                </a:cubicBezTo>
                <a:cubicBezTo>
                  <a:pt x="56091" y="21119"/>
                  <a:pt x="55776" y="21266"/>
                  <a:pt x="55416" y="21446"/>
                </a:cubicBezTo>
                <a:cubicBezTo>
                  <a:pt x="55044" y="21626"/>
                  <a:pt x="54627" y="21840"/>
                  <a:pt x="54143" y="22054"/>
                </a:cubicBezTo>
                <a:cubicBezTo>
                  <a:pt x="53174" y="22482"/>
                  <a:pt x="51924" y="22854"/>
                  <a:pt x="50426" y="22989"/>
                </a:cubicBezTo>
                <a:cubicBezTo>
                  <a:pt x="50092" y="23019"/>
                  <a:pt x="49744" y="23036"/>
                  <a:pt x="49386" y="23036"/>
                </a:cubicBezTo>
                <a:cubicBezTo>
                  <a:pt x="48947" y="23036"/>
                  <a:pt x="48492" y="23011"/>
                  <a:pt x="48027" y="22955"/>
                </a:cubicBezTo>
                <a:cubicBezTo>
                  <a:pt x="47610" y="22899"/>
                  <a:pt x="47182" y="22820"/>
                  <a:pt x="46743" y="22707"/>
                </a:cubicBezTo>
                <a:cubicBezTo>
                  <a:pt x="46315" y="22595"/>
                  <a:pt x="45876" y="22437"/>
                  <a:pt x="45448" y="22246"/>
                </a:cubicBezTo>
                <a:cubicBezTo>
                  <a:pt x="45020" y="22054"/>
                  <a:pt x="44603" y="21806"/>
                  <a:pt x="44197" y="21525"/>
                </a:cubicBezTo>
                <a:cubicBezTo>
                  <a:pt x="43995" y="21390"/>
                  <a:pt x="43803" y="21232"/>
                  <a:pt x="43612" y="21074"/>
                </a:cubicBezTo>
                <a:cubicBezTo>
                  <a:pt x="43420" y="20905"/>
                  <a:pt x="43229" y="20736"/>
                  <a:pt x="43060" y="20556"/>
                </a:cubicBezTo>
                <a:cubicBezTo>
                  <a:pt x="42699" y="20184"/>
                  <a:pt x="42350" y="19779"/>
                  <a:pt x="42035" y="19351"/>
                </a:cubicBezTo>
                <a:cubicBezTo>
                  <a:pt x="41731" y="18923"/>
                  <a:pt x="41438" y="18461"/>
                  <a:pt x="41156" y="17977"/>
                </a:cubicBezTo>
                <a:cubicBezTo>
                  <a:pt x="40604" y="17019"/>
                  <a:pt x="40120" y="15972"/>
                  <a:pt x="39624" y="14891"/>
                </a:cubicBezTo>
                <a:cubicBezTo>
                  <a:pt x="39129" y="13821"/>
                  <a:pt x="38622" y="12706"/>
                  <a:pt x="38014" y="11602"/>
                </a:cubicBezTo>
                <a:cubicBezTo>
                  <a:pt x="37406" y="10509"/>
                  <a:pt x="36707" y="9417"/>
                  <a:pt x="35761" y="8482"/>
                </a:cubicBezTo>
                <a:cubicBezTo>
                  <a:pt x="34837" y="7536"/>
                  <a:pt x="33700" y="6770"/>
                  <a:pt x="32450" y="6218"/>
                </a:cubicBezTo>
                <a:cubicBezTo>
                  <a:pt x="31199" y="5655"/>
                  <a:pt x="29825" y="5306"/>
                  <a:pt x="28417" y="5204"/>
                </a:cubicBezTo>
                <a:cubicBezTo>
                  <a:pt x="28173" y="5189"/>
                  <a:pt x="27929" y="5181"/>
                  <a:pt x="27684" y="5181"/>
                </a:cubicBezTo>
                <a:cubicBezTo>
                  <a:pt x="26504" y="5181"/>
                  <a:pt x="25318" y="5363"/>
                  <a:pt x="24171" y="5745"/>
                </a:cubicBezTo>
                <a:cubicBezTo>
                  <a:pt x="23991" y="5790"/>
                  <a:pt x="23822" y="5858"/>
                  <a:pt x="23653" y="5925"/>
                </a:cubicBezTo>
                <a:cubicBezTo>
                  <a:pt x="23484" y="5993"/>
                  <a:pt x="23326" y="6072"/>
                  <a:pt x="23157" y="6139"/>
                </a:cubicBezTo>
                <a:cubicBezTo>
                  <a:pt x="22831" y="6297"/>
                  <a:pt x="22504" y="6443"/>
                  <a:pt x="22200" y="6635"/>
                </a:cubicBezTo>
                <a:cubicBezTo>
                  <a:pt x="21569" y="6984"/>
                  <a:pt x="20984" y="7389"/>
                  <a:pt x="20432" y="7829"/>
                </a:cubicBezTo>
                <a:cubicBezTo>
                  <a:pt x="19305" y="8696"/>
                  <a:pt x="18314" y="9665"/>
                  <a:pt x="17346" y="10622"/>
                </a:cubicBezTo>
                <a:cubicBezTo>
                  <a:pt x="16377" y="11579"/>
                  <a:pt x="15442" y="12537"/>
                  <a:pt x="14451" y="13393"/>
                </a:cubicBezTo>
                <a:cubicBezTo>
                  <a:pt x="13944" y="13809"/>
                  <a:pt x="13437" y="14215"/>
                  <a:pt x="12908" y="14564"/>
                </a:cubicBezTo>
                <a:cubicBezTo>
                  <a:pt x="12649" y="14756"/>
                  <a:pt x="12378" y="14913"/>
                  <a:pt x="12108" y="15082"/>
                </a:cubicBezTo>
                <a:cubicBezTo>
                  <a:pt x="11973" y="15161"/>
                  <a:pt x="11838" y="15240"/>
                  <a:pt x="11703" y="15319"/>
                </a:cubicBezTo>
                <a:cubicBezTo>
                  <a:pt x="11567" y="15398"/>
                  <a:pt x="11421" y="15465"/>
                  <a:pt x="11286" y="15533"/>
                </a:cubicBezTo>
                <a:cubicBezTo>
                  <a:pt x="11151" y="15600"/>
                  <a:pt x="11004" y="15668"/>
                  <a:pt x="10869" y="15747"/>
                </a:cubicBezTo>
                <a:cubicBezTo>
                  <a:pt x="10723" y="15803"/>
                  <a:pt x="10588" y="15859"/>
                  <a:pt x="10441" y="15927"/>
                </a:cubicBezTo>
                <a:lnTo>
                  <a:pt x="10227" y="16017"/>
                </a:lnTo>
                <a:cubicBezTo>
                  <a:pt x="10160" y="16040"/>
                  <a:pt x="10092" y="16062"/>
                  <a:pt x="10013" y="16096"/>
                </a:cubicBezTo>
                <a:cubicBezTo>
                  <a:pt x="9867" y="16141"/>
                  <a:pt x="9732" y="16197"/>
                  <a:pt x="9585" y="16242"/>
                </a:cubicBezTo>
                <a:cubicBezTo>
                  <a:pt x="9439" y="16287"/>
                  <a:pt x="9292" y="16321"/>
                  <a:pt x="9146" y="16366"/>
                </a:cubicBezTo>
                <a:lnTo>
                  <a:pt x="8932" y="16423"/>
                </a:lnTo>
                <a:lnTo>
                  <a:pt x="8707" y="16468"/>
                </a:lnTo>
                <a:cubicBezTo>
                  <a:pt x="8560" y="16490"/>
                  <a:pt x="8414" y="16524"/>
                  <a:pt x="8267" y="16558"/>
                </a:cubicBezTo>
                <a:lnTo>
                  <a:pt x="7828" y="16603"/>
                </a:lnTo>
                <a:cubicBezTo>
                  <a:pt x="7761" y="16614"/>
                  <a:pt x="7693" y="16625"/>
                  <a:pt x="7614" y="16625"/>
                </a:cubicBezTo>
                <a:lnTo>
                  <a:pt x="7400" y="16637"/>
                </a:lnTo>
                <a:cubicBezTo>
                  <a:pt x="7302" y="16637"/>
                  <a:pt x="7205" y="16642"/>
                  <a:pt x="7107" y="16642"/>
                </a:cubicBezTo>
                <a:cubicBezTo>
                  <a:pt x="7058" y="16642"/>
                  <a:pt x="7010" y="16640"/>
                  <a:pt x="6961" y="16637"/>
                </a:cubicBezTo>
                <a:cubicBezTo>
                  <a:pt x="6814" y="16625"/>
                  <a:pt x="6668" y="16625"/>
                  <a:pt x="6522" y="16614"/>
                </a:cubicBezTo>
                <a:cubicBezTo>
                  <a:pt x="6454" y="16603"/>
                  <a:pt x="6386" y="16603"/>
                  <a:pt x="6308" y="16591"/>
                </a:cubicBezTo>
                <a:lnTo>
                  <a:pt x="6105" y="16558"/>
                </a:lnTo>
                <a:cubicBezTo>
                  <a:pt x="5958" y="16535"/>
                  <a:pt x="5823" y="16513"/>
                  <a:pt x="5677" y="16490"/>
                </a:cubicBezTo>
                <a:cubicBezTo>
                  <a:pt x="5542" y="16456"/>
                  <a:pt x="5406" y="16411"/>
                  <a:pt x="5271" y="16377"/>
                </a:cubicBezTo>
                <a:lnTo>
                  <a:pt x="5069" y="16321"/>
                </a:lnTo>
                <a:lnTo>
                  <a:pt x="4877" y="16242"/>
                </a:lnTo>
                <a:cubicBezTo>
                  <a:pt x="4753" y="16197"/>
                  <a:pt x="4618" y="16152"/>
                  <a:pt x="4494" y="16096"/>
                </a:cubicBezTo>
                <a:cubicBezTo>
                  <a:pt x="4246" y="15972"/>
                  <a:pt x="3999" y="15859"/>
                  <a:pt x="3773" y="15702"/>
                </a:cubicBezTo>
                <a:lnTo>
                  <a:pt x="3604" y="15600"/>
                </a:lnTo>
                <a:cubicBezTo>
                  <a:pt x="3537" y="15567"/>
                  <a:pt x="3480" y="15521"/>
                  <a:pt x="3435" y="15488"/>
                </a:cubicBezTo>
                <a:cubicBezTo>
                  <a:pt x="3323" y="15398"/>
                  <a:pt x="3221" y="15319"/>
                  <a:pt x="3109" y="15240"/>
                </a:cubicBezTo>
                <a:cubicBezTo>
                  <a:pt x="2703" y="14902"/>
                  <a:pt x="2320" y="14530"/>
                  <a:pt x="2016" y="14125"/>
                </a:cubicBezTo>
                <a:cubicBezTo>
                  <a:pt x="1363" y="13325"/>
                  <a:pt x="912" y="12435"/>
                  <a:pt x="608" y="11546"/>
                </a:cubicBezTo>
                <a:cubicBezTo>
                  <a:pt x="304" y="10656"/>
                  <a:pt x="147" y="9766"/>
                  <a:pt x="113" y="8921"/>
                </a:cubicBezTo>
                <a:cubicBezTo>
                  <a:pt x="90" y="8065"/>
                  <a:pt x="169" y="7266"/>
                  <a:pt x="304" y="6522"/>
                </a:cubicBezTo>
                <a:cubicBezTo>
                  <a:pt x="428" y="5790"/>
                  <a:pt x="631" y="5114"/>
                  <a:pt x="834" y="4506"/>
                </a:cubicBezTo>
                <a:cubicBezTo>
                  <a:pt x="1048" y="3898"/>
                  <a:pt x="1273" y="3357"/>
                  <a:pt x="1498" y="2873"/>
                </a:cubicBezTo>
                <a:cubicBezTo>
                  <a:pt x="1937" y="1915"/>
                  <a:pt x="2354" y="1206"/>
                  <a:pt x="2647" y="733"/>
                </a:cubicBezTo>
                <a:cubicBezTo>
                  <a:pt x="2782" y="485"/>
                  <a:pt x="2895" y="316"/>
                  <a:pt x="2974" y="192"/>
                </a:cubicBezTo>
                <a:cubicBezTo>
                  <a:pt x="3007" y="125"/>
                  <a:pt x="3041" y="80"/>
                  <a:pt x="3052" y="46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/>
          <p:nvPr/>
        </p:nvSpPr>
        <p:spPr>
          <a:xfrm rot="1228671">
            <a:off x="1533771" y="3505955"/>
            <a:ext cx="4525722" cy="2680896"/>
          </a:xfrm>
          <a:custGeom>
            <a:avLst/>
            <a:gdLst/>
            <a:ahLst/>
            <a:cxnLst/>
            <a:rect l="l" t="t" r="r" b="b"/>
            <a:pathLst>
              <a:path w="44344" h="26268" extrusionOk="0">
                <a:moveTo>
                  <a:pt x="0" y="25400"/>
                </a:moveTo>
                <a:cubicBezTo>
                  <a:pt x="0" y="25411"/>
                  <a:pt x="11" y="25411"/>
                  <a:pt x="34" y="25411"/>
                </a:cubicBezTo>
                <a:cubicBezTo>
                  <a:pt x="11" y="25400"/>
                  <a:pt x="0" y="25400"/>
                  <a:pt x="0" y="25400"/>
                </a:cubicBezTo>
                <a:close/>
                <a:moveTo>
                  <a:pt x="39805" y="1"/>
                </a:moveTo>
                <a:cubicBezTo>
                  <a:pt x="39748" y="1"/>
                  <a:pt x="39681" y="1"/>
                  <a:pt x="39613" y="12"/>
                </a:cubicBezTo>
                <a:cubicBezTo>
                  <a:pt x="39095" y="24"/>
                  <a:pt x="38532" y="102"/>
                  <a:pt x="37957" y="238"/>
                </a:cubicBezTo>
                <a:cubicBezTo>
                  <a:pt x="37372" y="373"/>
                  <a:pt x="36775" y="564"/>
                  <a:pt x="36178" y="834"/>
                </a:cubicBezTo>
                <a:cubicBezTo>
                  <a:pt x="34973" y="1375"/>
                  <a:pt x="33756" y="2197"/>
                  <a:pt x="32664" y="3301"/>
                </a:cubicBezTo>
                <a:cubicBezTo>
                  <a:pt x="31571" y="4394"/>
                  <a:pt x="30591" y="5745"/>
                  <a:pt x="29780" y="7288"/>
                </a:cubicBezTo>
                <a:cubicBezTo>
                  <a:pt x="28958" y="8820"/>
                  <a:pt x="28294" y="10532"/>
                  <a:pt x="27719" y="12334"/>
                </a:cubicBezTo>
                <a:cubicBezTo>
                  <a:pt x="27426" y="13224"/>
                  <a:pt x="27156" y="14148"/>
                  <a:pt x="26886" y="15082"/>
                </a:cubicBezTo>
                <a:cubicBezTo>
                  <a:pt x="26604" y="16017"/>
                  <a:pt x="26322" y="16963"/>
                  <a:pt x="25951" y="17887"/>
                </a:cubicBezTo>
                <a:cubicBezTo>
                  <a:pt x="25568" y="18811"/>
                  <a:pt x="25106" y="19689"/>
                  <a:pt x="24509" y="20444"/>
                </a:cubicBezTo>
                <a:cubicBezTo>
                  <a:pt x="23901" y="21198"/>
                  <a:pt x="23169" y="21829"/>
                  <a:pt x="22392" y="22347"/>
                </a:cubicBezTo>
                <a:cubicBezTo>
                  <a:pt x="21614" y="22877"/>
                  <a:pt x="20781" y="23293"/>
                  <a:pt x="19959" y="23654"/>
                </a:cubicBezTo>
                <a:cubicBezTo>
                  <a:pt x="19542" y="23823"/>
                  <a:pt x="19125" y="23992"/>
                  <a:pt x="18708" y="24149"/>
                </a:cubicBezTo>
                <a:cubicBezTo>
                  <a:pt x="18292" y="24285"/>
                  <a:pt x="17875" y="24442"/>
                  <a:pt x="17458" y="24566"/>
                </a:cubicBezTo>
                <a:cubicBezTo>
                  <a:pt x="14158" y="25625"/>
                  <a:pt x="11038" y="26053"/>
                  <a:pt x="8425" y="26143"/>
                </a:cubicBezTo>
                <a:cubicBezTo>
                  <a:pt x="8006" y="26157"/>
                  <a:pt x="7599" y="26164"/>
                  <a:pt x="7205" y="26164"/>
                </a:cubicBezTo>
                <a:cubicBezTo>
                  <a:pt x="5149" y="26164"/>
                  <a:pt x="3461" y="25983"/>
                  <a:pt x="2242" y="25794"/>
                </a:cubicBezTo>
                <a:cubicBezTo>
                  <a:pt x="1881" y="25738"/>
                  <a:pt x="1554" y="25692"/>
                  <a:pt x="1284" y="25647"/>
                </a:cubicBezTo>
                <a:cubicBezTo>
                  <a:pt x="1003" y="25591"/>
                  <a:pt x="766" y="25546"/>
                  <a:pt x="575" y="25512"/>
                </a:cubicBezTo>
                <a:cubicBezTo>
                  <a:pt x="394" y="25478"/>
                  <a:pt x="248" y="25445"/>
                  <a:pt x="147" y="25422"/>
                </a:cubicBezTo>
                <a:cubicBezTo>
                  <a:pt x="102" y="25422"/>
                  <a:pt x="68" y="25411"/>
                  <a:pt x="34" y="25411"/>
                </a:cubicBezTo>
                <a:cubicBezTo>
                  <a:pt x="68" y="25422"/>
                  <a:pt x="102" y="25433"/>
                  <a:pt x="147" y="25445"/>
                </a:cubicBezTo>
                <a:cubicBezTo>
                  <a:pt x="248" y="25467"/>
                  <a:pt x="383" y="25501"/>
                  <a:pt x="575" y="25535"/>
                </a:cubicBezTo>
                <a:cubicBezTo>
                  <a:pt x="766" y="25580"/>
                  <a:pt x="1003" y="25636"/>
                  <a:pt x="1273" y="25692"/>
                </a:cubicBezTo>
                <a:cubicBezTo>
                  <a:pt x="1554" y="25738"/>
                  <a:pt x="1870" y="25794"/>
                  <a:pt x="2230" y="25861"/>
                </a:cubicBezTo>
                <a:cubicBezTo>
                  <a:pt x="3505" y="26069"/>
                  <a:pt x="5291" y="26268"/>
                  <a:pt x="7491" y="26268"/>
                </a:cubicBezTo>
                <a:cubicBezTo>
                  <a:pt x="7798" y="26268"/>
                  <a:pt x="8113" y="26264"/>
                  <a:pt x="8436" y="26256"/>
                </a:cubicBezTo>
                <a:cubicBezTo>
                  <a:pt x="11061" y="26177"/>
                  <a:pt x="14192" y="25760"/>
                  <a:pt x="17503" y="24701"/>
                </a:cubicBezTo>
                <a:cubicBezTo>
                  <a:pt x="17920" y="24566"/>
                  <a:pt x="18337" y="24420"/>
                  <a:pt x="18754" y="24273"/>
                </a:cubicBezTo>
                <a:cubicBezTo>
                  <a:pt x="19170" y="24127"/>
                  <a:pt x="19587" y="23958"/>
                  <a:pt x="20015" y="23778"/>
                </a:cubicBezTo>
                <a:cubicBezTo>
                  <a:pt x="20849" y="23417"/>
                  <a:pt x="21682" y="23001"/>
                  <a:pt x="22470" y="22471"/>
                </a:cubicBezTo>
                <a:cubicBezTo>
                  <a:pt x="23259" y="21953"/>
                  <a:pt x="24002" y="21300"/>
                  <a:pt x="24622" y="20534"/>
                </a:cubicBezTo>
                <a:cubicBezTo>
                  <a:pt x="25230" y="19768"/>
                  <a:pt x="25703" y="18878"/>
                  <a:pt x="26086" y="17943"/>
                </a:cubicBezTo>
                <a:cubicBezTo>
                  <a:pt x="26458" y="17020"/>
                  <a:pt x="26750" y="16062"/>
                  <a:pt x="27021" y="15128"/>
                </a:cubicBezTo>
                <a:cubicBezTo>
                  <a:pt x="27291" y="14193"/>
                  <a:pt x="27561" y="13269"/>
                  <a:pt x="27854" y="12379"/>
                </a:cubicBezTo>
                <a:cubicBezTo>
                  <a:pt x="28429" y="10577"/>
                  <a:pt x="29082" y="8876"/>
                  <a:pt x="29893" y="7356"/>
                </a:cubicBezTo>
                <a:cubicBezTo>
                  <a:pt x="30693" y="5824"/>
                  <a:pt x="31673" y="4484"/>
                  <a:pt x="32754" y="3391"/>
                </a:cubicBezTo>
                <a:cubicBezTo>
                  <a:pt x="33835" y="2299"/>
                  <a:pt x="35029" y="1465"/>
                  <a:pt x="36212" y="925"/>
                </a:cubicBezTo>
                <a:cubicBezTo>
                  <a:pt x="36809" y="654"/>
                  <a:pt x="37406" y="463"/>
                  <a:pt x="37980" y="328"/>
                </a:cubicBezTo>
                <a:cubicBezTo>
                  <a:pt x="38543" y="192"/>
                  <a:pt x="39095" y="114"/>
                  <a:pt x="39613" y="91"/>
                </a:cubicBezTo>
                <a:cubicBezTo>
                  <a:pt x="39681" y="91"/>
                  <a:pt x="39748" y="91"/>
                  <a:pt x="39816" y="80"/>
                </a:cubicBezTo>
                <a:lnTo>
                  <a:pt x="40368" y="80"/>
                </a:lnTo>
                <a:cubicBezTo>
                  <a:pt x="40604" y="102"/>
                  <a:pt x="40841" y="102"/>
                  <a:pt x="41066" y="136"/>
                </a:cubicBezTo>
                <a:cubicBezTo>
                  <a:pt x="41168" y="147"/>
                  <a:pt x="41280" y="159"/>
                  <a:pt x="41382" y="170"/>
                </a:cubicBezTo>
                <a:cubicBezTo>
                  <a:pt x="41494" y="192"/>
                  <a:pt x="41596" y="215"/>
                  <a:pt x="41697" y="226"/>
                </a:cubicBezTo>
                <a:cubicBezTo>
                  <a:pt x="41900" y="260"/>
                  <a:pt x="42080" y="316"/>
                  <a:pt x="42260" y="361"/>
                </a:cubicBezTo>
                <a:cubicBezTo>
                  <a:pt x="42970" y="542"/>
                  <a:pt x="43488" y="789"/>
                  <a:pt x="43826" y="958"/>
                </a:cubicBezTo>
                <a:cubicBezTo>
                  <a:pt x="43995" y="1048"/>
                  <a:pt x="44119" y="1127"/>
                  <a:pt x="44209" y="1184"/>
                </a:cubicBezTo>
                <a:cubicBezTo>
                  <a:pt x="44254" y="1206"/>
                  <a:pt x="44276" y="1217"/>
                  <a:pt x="44299" y="1240"/>
                </a:cubicBezTo>
                <a:cubicBezTo>
                  <a:pt x="44321" y="1251"/>
                  <a:pt x="44333" y="1251"/>
                  <a:pt x="44333" y="1251"/>
                </a:cubicBezTo>
                <a:lnTo>
                  <a:pt x="44333" y="1240"/>
                </a:lnTo>
                <a:cubicBezTo>
                  <a:pt x="44344" y="1240"/>
                  <a:pt x="44333" y="1240"/>
                  <a:pt x="44310" y="1217"/>
                </a:cubicBezTo>
                <a:cubicBezTo>
                  <a:pt x="44287" y="1206"/>
                  <a:pt x="44254" y="1184"/>
                  <a:pt x="44209" y="1161"/>
                </a:cubicBezTo>
                <a:cubicBezTo>
                  <a:pt x="44130" y="1105"/>
                  <a:pt x="44006" y="1026"/>
                  <a:pt x="43837" y="936"/>
                </a:cubicBezTo>
                <a:cubicBezTo>
                  <a:pt x="43499" y="744"/>
                  <a:pt x="42981" y="497"/>
                  <a:pt x="42271" y="294"/>
                </a:cubicBezTo>
                <a:cubicBezTo>
                  <a:pt x="42091" y="249"/>
                  <a:pt x="41911" y="192"/>
                  <a:pt x="41708" y="159"/>
                </a:cubicBezTo>
                <a:cubicBezTo>
                  <a:pt x="41607" y="136"/>
                  <a:pt x="41505" y="125"/>
                  <a:pt x="41393" y="102"/>
                </a:cubicBezTo>
                <a:cubicBezTo>
                  <a:pt x="41291" y="91"/>
                  <a:pt x="41179" y="69"/>
                  <a:pt x="41066" y="57"/>
                </a:cubicBezTo>
                <a:cubicBezTo>
                  <a:pt x="40852" y="24"/>
                  <a:pt x="40616" y="24"/>
                  <a:pt x="40368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3;p2"/>
          <p:cNvSpPr/>
          <p:nvPr/>
        </p:nvSpPr>
        <p:spPr>
          <a:xfrm rot="9190242">
            <a:off x="-1185109" y="4246287"/>
            <a:ext cx="2308361" cy="1200209"/>
          </a:xfrm>
          <a:custGeom>
            <a:avLst/>
            <a:gdLst/>
            <a:ahLst/>
            <a:cxnLst/>
            <a:rect l="l" t="t" r="r" b="b"/>
            <a:pathLst>
              <a:path w="22618" h="11760" extrusionOk="0">
                <a:moveTo>
                  <a:pt x="19512" y="1"/>
                </a:moveTo>
                <a:cubicBezTo>
                  <a:pt x="18399" y="1"/>
                  <a:pt x="17014" y="42"/>
                  <a:pt x="15409" y="173"/>
                </a:cubicBezTo>
                <a:cubicBezTo>
                  <a:pt x="14305" y="275"/>
                  <a:pt x="13100" y="410"/>
                  <a:pt x="11816" y="613"/>
                </a:cubicBezTo>
                <a:cubicBezTo>
                  <a:pt x="10532" y="827"/>
                  <a:pt x="9169" y="1097"/>
                  <a:pt x="7750" y="1457"/>
                </a:cubicBezTo>
                <a:cubicBezTo>
                  <a:pt x="6331" y="1829"/>
                  <a:pt x="4855" y="2280"/>
                  <a:pt x="3368" y="2865"/>
                </a:cubicBezTo>
                <a:cubicBezTo>
                  <a:pt x="2636" y="3169"/>
                  <a:pt x="1870" y="3496"/>
                  <a:pt x="1228" y="4025"/>
                </a:cubicBezTo>
                <a:cubicBezTo>
                  <a:pt x="902" y="4296"/>
                  <a:pt x="620" y="4622"/>
                  <a:pt x="406" y="4983"/>
                </a:cubicBezTo>
                <a:cubicBezTo>
                  <a:pt x="192" y="5355"/>
                  <a:pt x="46" y="5771"/>
                  <a:pt x="23" y="6211"/>
                </a:cubicBezTo>
                <a:cubicBezTo>
                  <a:pt x="1" y="6650"/>
                  <a:pt x="113" y="7078"/>
                  <a:pt x="327" y="7449"/>
                </a:cubicBezTo>
                <a:cubicBezTo>
                  <a:pt x="553" y="7821"/>
                  <a:pt x="857" y="8125"/>
                  <a:pt x="1195" y="8373"/>
                </a:cubicBezTo>
                <a:cubicBezTo>
                  <a:pt x="1870" y="8869"/>
                  <a:pt x="2636" y="9173"/>
                  <a:pt x="3380" y="9443"/>
                </a:cubicBezTo>
                <a:cubicBezTo>
                  <a:pt x="4878" y="10006"/>
                  <a:pt x="6353" y="10445"/>
                  <a:pt x="7784" y="10783"/>
                </a:cubicBezTo>
                <a:cubicBezTo>
                  <a:pt x="9203" y="11121"/>
                  <a:pt x="10577" y="11347"/>
                  <a:pt x="11872" y="11504"/>
                </a:cubicBezTo>
                <a:cubicBezTo>
                  <a:pt x="12199" y="11538"/>
                  <a:pt x="12514" y="11583"/>
                  <a:pt x="12830" y="11606"/>
                </a:cubicBezTo>
                <a:cubicBezTo>
                  <a:pt x="13145" y="11628"/>
                  <a:pt x="13449" y="11662"/>
                  <a:pt x="13753" y="11684"/>
                </a:cubicBezTo>
                <a:cubicBezTo>
                  <a:pt x="14046" y="11707"/>
                  <a:pt x="14350" y="11718"/>
                  <a:pt x="14632" y="11730"/>
                </a:cubicBezTo>
                <a:cubicBezTo>
                  <a:pt x="14925" y="11741"/>
                  <a:pt x="15206" y="11752"/>
                  <a:pt x="15488" y="11752"/>
                </a:cubicBezTo>
                <a:cubicBezTo>
                  <a:pt x="15750" y="11757"/>
                  <a:pt x="16006" y="11760"/>
                  <a:pt x="16255" y="11760"/>
                </a:cubicBezTo>
                <a:cubicBezTo>
                  <a:pt x="18119" y="11760"/>
                  <a:pt x="19631" y="11621"/>
                  <a:pt x="20714" y="11482"/>
                </a:cubicBezTo>
                <a:cubicBezTo>
                  <a:pt x="21029" y="11448"/>
                  <a:pt x="21300" y="11414"/>
                  <a:pt x="21536" y="11380"/>
                </a:cubicBezTo>
                <a:cubicBezTo>
                  <a:pt x="21773" y="11335"/>
                  <a:pt x="21964" y="11302"/>
                  <a:pt x="22133" y="11279"/>
                </a:cubicBezTo>
                <a:cubicBezTo>
                  <a:pt x="22291" y="11245"/>
                  <a:pt x="22403" y="11234"/>
                  <a:pt x="22493" y="11211"/>
                </a:cubicBezTo>
                <a:cubicBezTo>
                  <a:pt x="22572" y="11200"/>
                  <a:pt x="22617" y="11189"/>
                  <a:pt x="22617" y="11189"/>
                </a:cubicBezTo>
                <a:lnTo>
                  <a:pt x="22584" y="11189"/>
                </a:lnTo>
                <a:cubicBezTo>
                  <a:pt x="22561" y="11189"/>
                  <a:pt x="22527" y="11189"/>
                  <a:pt x="22493" y="11200"/>
                </a:cubicBezTo>
                <a:cubicBezTo>
                  <a:pt x="22403" y="11211"/>
                  <a:pt x="22279" y="11223"/>
                  <a:pt x="22122" y="11245"/>
                </a:cubicBezTo>
                <a:cubicBezTo>
                  <a:pt x="21964" y="11268"/>
                  <a:pt x="21761" y="11302"/>
                  <a:pt x="21525" y="11335"/>
                </a:cubicBezTo>
                <a:cubicBezTo>
                  <a:pt x="21288" y="11369"/>
                  <a:pt x="21018" y="11392"/>
                  <a:pt x="20714" y="11425"/>
                </a:cubicBezTo>
                <a:cubicBezTo>
                  <a:pt x="19681" y="11549"/>
                  <a:pt x="18250" y="11664"/>
                  <a:pt x="16508" y="11664"/>
                </a:cubicBezTo>
                <a:cubicBezTo>
                  <a:pt x="16179" y="11664"/>
                  <a:pt x="15839" y="11660"/>
                  <a:pt x="15488" y="11651"/>
                </a:cubicBezTo>
                <a:cubicBezTo>
                  <a:pt x="15206" y="11651"/>
                  <a:pt x="14925" y="11639"/>
                  <a:pt x="14643" y="11617"/>
                </a:cubicBezTo>
                <a:cubicBezTo>
                  <a:pt x="14350" y="11606"/>
                  <a:pt x="14057" y="11594"/>
                  <a:pt x="13753" y="11572"/>
                </a:cubicBezTo>
                <a:cubicBezTo>
                  <a:pt x="13460" y="11538"/>
                  <a:pt x="13145" y="11516"/>
                  <a:pt x="12841" y="11493"/>
                </a:cubicBezTo>
                <a:cubicBezTo>
                  <a:pt x="12525" y="11459"/>
                  <a:pt x="12210" y="11414"/>
                  <a:pt x="11883" y="11380"/>
                </a:cubicBezTo>
                <a:cubicBezTo>
                  <a:pt x="10599" y="11223"/>
                  <a:pt x="9225" y="10986"/>
                  <a:pt x="7806" y="10648"/>
                </a:cubicBezTo>
                <a:cubicBezTo>
                  <a:pt x="6387" y="10310"/>
                  <a:pt x="4923" y="9871"/>
                  <a:pt x="3436" y="9308"/>
                </a:cubicBezTo>
                <a:cubicBezTo>
                  <a:pt x="2693" y="9038"/>
                  <a:pt x="1938" y="8733"/>
                  <a:pt x="1285" y="8260"/>
                </a:cubicBezTo>
                <a:cubicBezTo>
                  <a:pt x="958" y="8024"/>
                  <a:pt x="665" y="7731"/>
                  <a:pt x="462" y="7382"/>
                </a:cubicBezTo>
                <a:cubicBezTo>
                  <a:pt x="260" y="7033"/>
                  <a:pt x="147" y="6627"/>
                  <a:pt x="170" y="6222"/>
                </a:cubicBezTo>
                <a:cubicBezTo>
                  <a:pt x="192" y="5805"/>
                  <a:pt x="327" y="5411"/>
                  <a:pt x="530" y="5062"/>
                </a:cubicBezTo>
                <a:cubicBezTo>
                  <a:pt x="733" y="4701"/>
                  <a:pt x="1003" y="4397"/>
                  <a:pt x="1318" y="4138"/>
                </a:cubicBezTo>
                <a:cubicBezTo>
                  <a:pt x="1949" y="3620"/>
                  <a:pt x="2693" y="3293"/>
                  <a:pt x="3425" y="3000"/>
                </a:cubicBezTo>
                <a:cubicBezTo>
                  <a:pt x="4900" y="2415"/>
                  <a:pt x="6364" y="1953"/>
                  <a:pt x="7784" y="1593"/>
                </a:cubicBezTo>
                <a:cubicBezTo>
                  <a:pt x="9191" y="1221"/>
                  <a:pt x="10554" y="951"/>
                  <a:pt x="11838" y="737"/>
                </a:cubicBezTo>
                <a:cubicBezTo>
                  <a:pt x="13122" y="523"/>
                  <a:pt x="14316" y="387"/>
                  <a:pt x="15420" y="275"/>
                </a:cubicBezTo>
                <a:cubicBezTo>
                  <a:pt x="17337" y="109"/>
                  <a:pt x="18930" y="70"/>
                  <a:pt x="20128" y="70"/>
                </a:cubicBezTo>
                <a:cubicBezTo>
                  <a:pt x="20310" y="70"/>
                  <a:pt x="20483" y="71"/>
                  <a:pt x="20646" y="72"/>
                </a:cubicBezTo>
                <a:cubicBezTo>
                  <a:pt x="20962" y="72"/>
                  <a:pt x="21232" y="83"/>
                  <a:pt x="21468" y="83"/>
                </a:cubicBezTo>
                <a:cubicBezTo>
                  <a:pt x="21705" y="95"/>
                  <a:pt x="21908" y="95"/>
                  <a:pt x="22065" y="106"/>
                </a:cubicBezTo>
                <a:lnTo>
                  <a:pt x="22572" y="106"/>
                </a:lnTo>
                <a:cubicBezTo>
                  <a:pt x="22572" y="106"/>
                  <a:pt x="22527" y="106"/>
                  <a:pt x="22437" y="95"/>
                </a:cubicBezTo>
                <a:cubicBezTo>
                  <a:pt x="22358" y="95"/>
                  <a:pt x="22234" y="83"/>
                  <a:pt x="22077" y="72"/>
                </a:cubicBezTo>
                <a:cubicBezTo>
                  <a:pt x="21908" y="61"/>
                  <a:pt x="21705" y="50"/>
                  <a:pt x="21468" y="38"/>
                </a:cubicBezTo>
                <a:cubicBezTo>
                  <a:pt x="21232" y="27"/>
                  <a:pt x="20962" y="27"/>
                  <a:pt x="20646" y="16"/>
                </a:cubicBezTo>
                <a:cubicBezTo>
                  <a:pt x="20308" y="7"/>
                  <a:pt x="19929" y="1"/>
                  <a:pt x="195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2"/>
          <p:cNvSpPr/>
          <p:nvPr/>
        </p:nvSpPr>
        <p:spPr>
          <a:xfrm>
            <a:off x="-1746153" y="-1369752"/>
            <a:ext cx="3016002" cy="2360795"/>
          </a:xfrm>
          <a:custGeom>
            <a:avLst/>
            <a:gdLst/>
            <a:ahLst/>
            <a:cxnLst/>
            <a:rect l="l" t="t" r="r" b="b"/>
            <a:pathLst>
              <a:path w="22764" h="17819" extrusionOk="0">
                <a:moveTo>
                  <a:pt x="0" y="12199"/>
                </a:moveTo>
                <a:lnTo>
                  <a:pt x="0" y="12210"/>
                </a:lnTo>
                <a:cubicBezTo>
                  <a:pt x="0" y="12210"/>
                  <a:pt x="3" y="12211"/>
                  <a:pt x="7" y="12213"/>
                </a:cubicBezTo>
                <a:lnTo>
                  <a:pt x="7" y="12213"/>
                </a:lnTo>
                <a:cubicBezTo>
                  <a:pt x="2" y="12207"/>
                  <a:pt x="0" y="12203"/>
                  <a:pt x="0" y="12199"/>
                </a:cubicBezTo>
                <a:close/>
                <a:moveTo>
                  <a:pt x="21806" y="1"/>
                </a:moveTo>
                <a:cubicBezTo>
                  <a:pt x="21806" y="1"/>
                  <a:pt x="21840" y="12"/>
                  <a:pt x="21896" y="35"/>
                </a:cubicBezTo>
                <a:cubicBezTo>
                  <a:pt x="21930" y="46"/>
                  <a:pt x="21964" y="57"/>
                  <a:pt x="21997" y="80"/>
                </a:cubicBezTo>
                <a:cubicBezTo>
                  <a:pt x="22042" y="102"/>
                  <a:pt x="22087" y="125"/>
                  <a:pt x="22133" y="170"/>
                </a:cubicBezTo>
                <a:cubicBezTo>
                  <a:pt x="22335" y="305"/>
                  <a:pt x="22549" y="620"/>
                  <a:pt x="22628" y="1082"/>
                </a:cubicBezTo>
                <a:cubicBezTo>
                  <a:pt x="22673" y="1307"/>
                  <a:pt x="22696" y="1566"/>
                  <a:pt x="22684" y="1848"/>
                </a:cubicBezTo>
                <a:cubicBezTo>
                  <a:pt x="22673" y="2130"/>
                  <a:pt x="22628" y="2445"/>
                  <a:pt x="22583" y="2772"/>
                </a:cubicBezTo>
                <a:cubicBezTo>
                  <a:pt x="22504" y="3425"/>
                  <a:pt x="22392" y="4180"/>
                  <a:pt x="22245" y="5002"/>
                </a:cubicBezTo>
                <a:cubicBezTo>
                  <a:pt x="22099" y="5824"/>
                  <a:pt x="21907" y="6725"/>
                  <a:pt x="21693" y="7682"/>
                </a:cubicBezTo>
                <a:cubicBezTo>
                  <a:pt x="21457" y="8640"/>
                  <a:pt x="21198" y="9665"/>
                  <a:pt x="20837" y="10701"/>
                </a:cubicBezTo>
                <a:cubicBezTo>
                  <a:pt x="20657" y="11219"/>
                  <a:pt x="20443" y="11748"/>
                  <a:pt x="20207" y="12278"/>
                </a:cubicBezTo>
                <a:cubicBezTo>
                  <a:pt x="19959" y="12796"/>
                  <a:pt x="19677" y="13314"/>
                  <a:pt x="19351" y="13821"/>
                </a:cubicBezTo>
                <a:cubicBezTo>
                  <a:pt x="18708" y="14823"/>
                  <a:pt x="17830" y="15747"/>
                  <a:pt x="16760" y="16423"/>
                </a:cubicBezTo>
                <a:cubicBezTo>
                  <a:pt x="16219" y="16749"/>
                  <a:pt x="15645" y="17008"/>
                  <a:pt x="15059" y="17211"/>
                </a:cubicBezTo>
                <a:cubicBezTo>
                  <a:pt x="14473" y="17403"/>
                  <a:pt x="13877" y="17527"/>
                  <a:pt x="13280" y="17605"/>
                </a:cubicBezTo>
                <a:cubicBezTo>
                  <a:pt x="12840" y="17656"/>
                  <a:pt x="12395" y="17681"/>
                  <a:pt x="11957" y="17681"/>
                </a:cubicBezTo>
                <a:cubicBezTo>
                  <a:pt x="11811" y="17681"/>
                  <a:pt x="11666" y="17679"/>
                  <a:pt x="11523" y="17673"/>
                </a:cubicBezTo>
                <a:cubicBezTo>
                  <a:pt x="11376" y="17662"/>
                  <a:pt x="11241" y="17650"/>
                  <a:pt x="11095" y="17650"/>
                </a:cubicBezTo>
                <a:lnTo>
                  <a:pt x="10881" y="17628"/>
                </a:lnTo>
                <a:lnTo>
                  <a:pt x="10666" y="17605"/>
                </a:lnTo>
                <a:cubicBezTo>
                  <a:pt x="10531" y="17583"/>
                  <a:pt x="10396" y="17572"/>
                  <a:pt x="10250" y="17549"/>
                </a:cubicBezTo>
                <a:cubicBezTo>
                  <a:pt x="10115" y="17527"/>
                  <a:pt x="9979" y="17504"/>
                  <a:pt x="9844" y="17481"/>
                </a:cubicBezTo>
                <a:cubicBezTo>
                  <a:pt x="8752" y="17301"/>
                  <a:pt x="7761" y="16941"/>
                  <a:pt x="6860" y="16569"/>
                </a:cubicBezTo>
                <a:cubicBezTo>
                  <a:pt x="5947" y="16197"/>
                  <a:pt x="5136" y="15758"/>
                  <a:pt x="4415" y="15330"/>
                </a:cubicBezTo>
                <a:cubicBezTo>
                  <a:pt x="3706" y="14902"/>
                  <a:pt x="3075" y="14474"/>
                  <a:pt x="2534" y="14091"/>
                </a:cubicBezTo>
                <a:cubicBezTo>
                  <a:pt x="1994" y="13708"/>
                  <a:pt x="1532" y="13359"/>
                  <a:pt x="1160" y="13078"/>
                </a:cubicBezTo>
                <a:cubicBezTo>
                  <a:pt x="789" y="12796"/>
                  <a:pt x="507" y="12582"/>
                  <a:pt x="304" y="12424"/>
                </a:cubicBezTo>
                <a:cubicBezTo>
                  <a:pt x="203" y="12357"/>
                  <a:pt x="135" y="12300"/>
                  <a:pt x="79" y="12255"/>
                </a:cubicBezTo>
                <a:cubicBezTo>
                  <a:pt x="46" y="12231"/>
                  <a:pt x="19" y="12218"/>
                  <a:pt x="7" y="12213"/>
                </a:cubicBezTo>
                <a:lnTo>
                  <a:pt x="7" y="12213"/>
                </a:lnTo>
                <a:cubicBezTo>
                  <a:pt x="18" y="12226"/>
                  <a:pt x="40" y="12243"/>
                  <a:pt x="79" y="12267"/>
                </a:cubicBezTo>
                <a:cubicBezTo>
                  <a:pt x="124" y="12312"/>
                  <a:pt x="192" y="12368"/>
                  <a:pt x="293" y="12447"/>
                </a:cubicBezTo>
                <a:cubicBezTo>
                  <a:pt x="484" y="12604"/>
                  <a:pt x="766" y="12830"/>
                  <a:pt x="1138" y="13123"/>
                </a:cubicBezTo>
                <a:cubicBezTo>
                  <a:pt x="1498" y="13415"/>
                  <a:pt x="1949" y="13765"/>
                  <a:pt x="2489" y="14159"/>
                </a:cubicBezTo>
                <a:cubicBezTo>
                  <a:pt x="3030" y="14553"/>
                  <a:pt x="3649" y="14981"/>
                  <a:pt x="4370" y="15420"/>
                </a:cubicBezTo>
                <a:cubicBezTo>
                  <a:pt x="5091" y="15860"/>
                  <a:pt x="5902" y="16299"/>
                  <a:pt x="6814" y="16682"/>
                </a:cubicBezTo>
                <a:cubicBezTo>
                  <a:pt x="7727" y="17065"/>
                  <a:pt x="8729" y="17425"/>
                  <a:pt x="9822" y="17617"/>
                </a:cubicBezTo>
                <a:cubicBezTo>
                  <a:pt x="9957" y="17639"/>
                  <a:pt x="10103" y="17662"/>
                  <a:pt x="10238" y="17684"/>
                </a:cubicBezTo>
                <a:cubicBezTo>
                  <a:pt x="10374" y="17707"/>
                  <a:pt x="10520" y="17718"/>
                  <a:pt x="10655" y="17741"/>
                </a:cubicBezTo>
                <a:lnTo>
                  <a:pt x="10869" y="17763"/>
                </a:lnTo>
                <a:lnTo>
                  <a:pt x="11083" y="17786"/>
                </a:lnTo>
                <a:cubicBezTo>
                  <a:pt x="11230" y="17797"/>
                  <a:pt x="11376" y="17808"/>
                  <a:pt x="11523" y="17808"/>
                </a:cubicBezTo>
                <a:cubicBezTo>
                  <a:pt x="11700" y="17815"/>
                  <a:pt x="11878" y="17819"/>
                  <a:pt x="12057" y="17819"/>
                </a:cubicBezTo>
                <a:cubicBezTo>
                  <a:pt x="12470" y="17819"/>
                  <a:pt x="12886" y="17799"/>
                  <a:pt x="13302" y="17752"/>
                </a:cubicBezTo>
                <a:cubicBezTo>
                  <a:pt x="13910" y="17662"/>
                  <a:pt x="14519" y="17538"/>
                  <a:pt x="15116" y="17346"/>
                </a:cubicBezTo>
                <a:cubicBezTo>
                  <a:pt x="15701" y="17144"/>
                  <a:pt x="16287" y="16873"/>
                  <a:pt x="16839" y="16547"/>
                </a:cubicBezTo>
                <a:cubicBezTo>
                  <a:pt x="17931" y="15848"/>
                  <a:pt x="18821" y="14913"/>
                  <a:pt x="19474" y="13900"/>
                </a:cubicBezTo>
                <a:cubicBezTo>
                  <a:pt x="19801" y="13382"/>
                  <a:pt x="20094" y="12864"/>
                  <a:pt x="20330" y="12334"/>
                </a:cubicBezTo>
                <a:cubicBezTo>
                  <a:pt x="20578" y="11805"/>
                  <a:pt x="20781" y="11275"/>
                  <a:pt x="20961" y="10746"/>
                </a:cubicBezTo>
                <a:cubicBezTo>
                  <a:pt x="21333" y="9699"/>
                  <a:pt x="21581" y="8674"/>
                  <a:pt x="21806" y="7716"/>
                </a:cubicBezTo>
                <a:cubicBezTo>
                  <a:pt x="22031" y="6748"/>
                  <a:pt x="22200" y="5847"/>
                  <a:pt x="22347" y="5024"/>
                </a:cubicBezTo>
                <a:cubicBezTo>
                  <a:pt x="22482" y="4191"/>
                  <a:pt x="22594" y="3447"/>
                  <a:pt x="22673" y="2783"/>
                </a:cubicBezTo>
                <a:cubicBezTo>
                  <a:pt x="22707" y="2456"/>
                  <a:pt x="22752" y="2141"/>
                  <a:pt x="22752" y="1859"/>
                </a:cubicBezTo>
                <a:cubicBezTo>
                  <a:pt x="22763" y="1566"/>
                  <a:pt x="22741" y="1307"/>
                  <a:pt x="22684" y="1071"/>
                </a:cubicBezTo>
                <a:cubicBezTo>
                  <a:pt x="22594" y="609"/>
                  <a:pt x="22369" y="282"/>
                  <a:pt x="22155" y="147"/>
                </a:cubicBezTo>
                <a:cubicBezTo>
                  <a:pt x="22110" y="102"/>
                  <a:pt x="22054" y="91"/>
                  <a:pt x="22009" y="68"/>
                </a:cubicBezTo>
                <a:cubicBezTo>
                  <a:pt x="21975" y="35"/>
                  <a:pt x="21930" y="35"/>
                  <a:pt x="21896" y="23"/>
                </a:cubicBezTo>
                <a:cubicBezTo>
                  <a:pt x="21840" y="1"/>
                  <a:pt x="21806" y="1"/>
                  <a:pt x="21806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2"/>
          <p:cNvSpPr/>
          <p:nvPr/>
        </p:nvSpPr>
        <p:spPr>
          <a:xfrm>
            <a:off x="5972925" y="-14850"/>
            <a:ext cx="3323100" cy="51732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6" name="Google Shape;16;p2"/>
          <p:cNvPicPr preferRelativeResize="0"/>
          <p:nvPr/>
        </p:nvPicPr>
        <p:blipFill rotWithShape="1">
          <a:blip r:embed="rId2">
            <a:alphaModFix amt="38000"/>
          </a:blip>
          <a:srcRect l="49686" t="4540" r="1710" b="3165"/>
          <a:stretch/>
        </p:blipFill>
        <p:spPr>
          <a:xfrm>
            <a:off x="5972925" y="-14850"/>
            <a:ext cx="3323100" cy="51732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title"/>
          </p:nvPr>
        </p:nvSpPr>
        <p:spPr>
          <a:xfrm>
            <a:off x="3697353" y="2456343"/>
            <a:ext cx="4355700" cy="1759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50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title" idx="2" hasCustomPrompt="1"/>
          </p:nvPr>
        </p:nvSpPr>
        <p:spPr>
          <a:xfrm>
            <a:off x="5060553" y="940516"/>
            <a:ext cx="1629300" cy="14772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20" name="Google Shape;20;p3"/>
          <p:cNvSpPr/>
          <p:nvPr/>
        </p:nvSpPr>
        <p:spPr>
          <a:xfrm>
            <a:off x="3642458" y="-1252825"/>
            <a:ext cx="5829218" cy="2360794"/>
          </a:xfrm>
          <a:custGeom>
            <a:avLst/>
            <a:gdLst/>
            <a:ahLst/>
            <a:cxnLst/>
            <a:rect l="l" t="t" r="r" b="b"/>
            <a:pathLst>
              <a:path w="57117" h="23132" extrusionOk="0">
                <a:moveTo>
                  <a:pt x="3086" y="1"/>
                </a:moveTo>
                <a:cubicBezTo>
                  <a:pt x="3086" y="1"/>
                  <a:pt x="3075" y="12"/>
                  <a:pt x="3052" y="46"/>
                </a:cubicBezTo>
                <a:cubicBezTo>
                  <a:pt x="3075" y="23"/>
                  <a:pt x="3086" y="1"/>
                  <a:pt x="3086" y="1"/>
                </a:cubicBezTo>
                <a:close/>
                <a:moveTo>
                  <a:pt x="3052" y="46"/>
                </a:moveTo>
                <a:cubicBezTo>
                  <a:pt x="3030" y="80"/>
                  <a:pt x="2996" y="125"/>
                  <a:pt x="2962" y="181"/>
                </a:cubicBezTo>
                <a:cubicBezTo>
                  <a:pt x="2883" y="305"/>
                  <a:pt x="2760" y="474"/>
                  <a:pt x="2613" y="710"/>
                </a:cubicBezTo>
                <a:cubicBezTo>
                  <a:pt x="2320" y="1183"/>
                  <a:pt x="1904" y="1893"/>
                  <a:pt x="1442" y="2850"/>
                </a:cubicBezTo>
                <a:cubicBezTo>
                  <a:pt x="1217" y="3335"/>
                  <a:pt x="991" y="3875"/>
                  <a:pt x="777" y="4483"/>
                </a:cubicBezTo>
                <a:cubicBezTo>
                  <a:pt x="563" y="5092"/>
                  <a:pt x="361" y="5767"/>
                  <a:pt x="225" y="6511"/>
                </a:cubicBezTo>
                <a:cubicBezTo>
                  <a:pt x="90" y="7254"/>
                  <a:pt x="0" y="8065"/>
                  <a:pt x="23" y="8921"/>
                </a:cubicBezTo>
                <a:cubicBezTo>
                  <a:pt x="56" y="9777"/>
                  <a:pt x="203" y="10678"/>
                  <a:pt x="518" y="11579"/>
                </a:cubicBezTo>
                <a:cubicBezTo>
                  <a:pt x="822" y="12480"/>
                  <a:pt x="1273" y="13393"/>
                  <a:pt x="1926" y="14204"/>
                </a:cubicBezTo>
                <a:cubicBezTo>
                  <a:pt x="2241" y="14609"/>
                  <a:pt x="2624" y="14981"/>
                  <a:pt x="3041" y="15330"/>
                </a:cubicBezTo>
                <a:cubicBezTo>
                  <a:pt x="3154" y="15420"/>
                  <a:pt x="3255" y="15499"/>
                  <a:pt x="3368" y="15578"/>
                </a:cubicBezTo>
                <a:cubicBezTo>
                  <a:pt x="3424" y="15623"/>
                  <a:pt x="3480" y="15668"/>
                  <a:pt x="3537" y="15702"/>
                </a:cubicBezTo>
                <a:lnTo>
                  <a:pt x="3706" y="15803"/>
                </a:lnTo>
                <a:cubicBezTo>
                  <a:pt x="3942" y="15961"/>
                  <a:pt x="4190" y="16073"/>
                  <a:pt x="4449" y="16209"/>
                </a:cubicBezTo>
                <a:cubicBezTo>
                  <a:pt x="4573" y="16265"/>
                  <a:pt x="4708" y="16310"/>
                  <a:pt x="4832" y="16366"/>
                </a:cubicBezTo>
                <a:lnTo>
                  <a:pt x="5035" y="16445"/>
                </a:lnTo>
                <a:lnTo>
                  <a:pt x="5238" y="16501"/>
                </a:lnTo>
                <a:cubicBezTo>
                  <a:pt x="5384" y="16535"/>
                  <a:pt x="5519" y="16569"/>
                  <a:pt x="5654" y="16614"/>
                </a:cubicBezTo>
                <a:cubicBezTo>
                  <a:pt x="5801" y="16637"/>
                  <a:pt x="5947" y="16659"/>
                  <a:pt x="6082" y="16682"/>
                </a:cubicBezTo>
                <a:lnTo>
                  <a:pt x="6296" y="16727"/>
                </a:lnTo>
                <a:cubicBezTo>
                  <a:pt x="6375" y="16738"/>
                  <a:pt x="6443" y="16738"/>
                  <a:pt x="6522" y="16738"/>
                </a:cubicBezTo>
                <a:cubicBezTo>
                  <a:pt x="6668" y="16749"/>
                  <a:pt x="6814" y="16760"/>
                  <a:pt x="6961" y="16772"/>
                </a:cubicBezTo>
                <a:cubicBezTo>
                  <a:pt x="7107" y="16772"/>
                  <a:pt x="7254" y="16772"/>
                  <a:pt x="7400" y="16760"/>
                </a:cubicBezTo>
                <a:lnTo>
                  <a:pt x="7625" y="16760"/>
                </a:lnTo>
                <a:cubicBezTo>
                  <a:pt x="7693" y="16760"/>
                  <a:pt x="7772" y="16738"/>
                  <a:pt x="7851" y="16738"/>
                </a:cubicBezTo>
                <a:lnTo>
                  <a:pt x="8290" y="16682"/>
                </a:lnTo>
                <a:cubicBezTo>
                  <a:pt x="8436" y="16659"/>
                  <a:pt x="8594" y="16625"/>
                  <a:pt x="8740" y="16603"/>
                </a:cubicBezTo>
                <a:lnTo>
                  <a:pt x="8966" y="16558"/>
                </a:lnTo>
                <a:lnTo>
                  <a:pt x="9180" y="16490"/>
                </a:lnTo>
                <a:cubicBezTo>
                  <a:pt x="9326" y="16456"/>
                  <a:pt x="9473" y="16411"/>
                  <a:pt x="9630" y="16366"/>
                </a:cubicBezTo>
                <a:cubicBezTo>
                  <a:pt x="9765" y="16321"/>
                  <a:pt x="9912" y="16265"/>
                  <a:pt x="10058" y="16220"/>
                </a:cubicBezTo>
                <a:cubicBezTo>
                  <a:pt x="10137" y="16197"/>
                  <a:pt x="10205" y="16163"/>
                  <a:pt x="10283" y="16141"/>
                </a:cubicBezTo>
                <a:lnTo>
                  <a:pt x="10497" y="16051"/>
                </a:lnTo>
                <a:cubicBezTo>
                  <a:pt x="10633" y="15995"/>
                  <a:pt x="10779" y="15927"/>
                  <a:pt x="10925" y="15871"/>
                </a:cubicBezTo>
                <a:lnTo>
                  <a:pt x="11342" y="15657"/>
                </a:lnTo>
                <a:cubicBezTo>
                  <a:pt x="11489" y="15589"/>
                  <a:pt x="11624" y="15521"/>
                  <a:pt x="11770" y="15443"/>
                </a:cubicBezTo>
                <a:cubicBezTo>
                  <a:pt x="11905" y="15364"/>
                  <a:pt x="12041" y="15285"/>
                  <a:pt x="12176" y="15206"/>
                </a:cubicBezTo>
                <a:cubicBezTo>
                  <a:pt x="12446" y="15037"/>
                  <a:pt x="12728" y="14879"/>
                  <a:pt x="12987" y="14688"/>
                </a:cubicBezTo>
                <a:cubicBezTo>
                  <a:pt x="13527" y="14328"/>
                  <a:pt x="14034" y="13922"/>
                  <a:pt x="14541" y="13505"/>
                </a:cubicBezTo>
                <a:cubicBezTo>
                  <a:pt x="15532" y="12649"/>
                  <a:pt x="16478" y="11692"/>
                  <a:pt x="17447" y="10735"/>
                </a:cubicBezTo>
                <a:cubicBezTo>
                  <a:pt x="18416" y="9777"/>
                  <a:pt x="19407" y="8809"/>
                  <a:pt x="20511" y="7941"/>
                </a:cubicBezTo>
                <a:cubicBezTo>
                  <a:pt x="21062" y="7513"/>
                  <a:pt x="21648" y="7119"/>
                  <a:pt x="22268" y="6759"/>
                </a:cubicBezTo>
                <a:cubicBezTo>
                  <a:pt x="22572" y="6578"/>
                  <a:pt x="22898" y="6432"/>
                  <a:pt x="23214" y="6274"/>
                </a:cubicBezTo>
                <a:cubicBezTo>
                  <a:pt x="23383" y="6207"/>
                  <a:pt x="23540" y="6139"/>
                  <a:pt x="23709" y="6072"/>
                </a:cubicBezTo>
                <a:cubicBezTo>
                  <a:pt x="23878" y="6004"/>
                  <a:pt x="24047" y="5936"/>
                  <a:pt x="24216" y="5880"/>
                </a:cubicBezTo>
                <a:cubicBezTo>
                  <a:pt x="25343" y="5517"/>
                  <a:pt x="26516" y="5339"/>
                  <a:pt x="27678" y="5339"/>
                </a:cubicBezTo>
                <a:cubicBezTo>
                  <a:pt x="27921" y="5339"/>
                  <a:pt x="28164" y="5346"/>
                  <a:pt x="28406" y="5362"/>
                </a:cubicBezTo>
                <a:cubicBezTo>
                  <a:pt x="29803" y="5463"/>
                  <a:pt x="31154" y="5801"/>
                  <a:pt x="32393" y="6353"/>
                </a:cubicBezTo>
                <a:cubicBezTo>
                  <a:pt x="33632" y="6894"/>
                  <a:pt x="34759" y="7648"/>
                  <a:pt x="35671" y="8583"/>
                </a:cubicBezTo>
                <a:cubicBezTo>
                  <a:pt x="36595" y="9507"/>
                  <a:pt x="37293" y="10588"/>
                  <a:pt x="37901" y="11669"/>
                </a:cubicBezTo>
                <a:cubicBezTo>
                  <a:pt x="38498" y="12762"/>
                  <a:pt x="39005" y="13877"/>
                  <a:pt x="39500" y="14958"/>
                </a:cubicBezTo>
                <a:cubicBezTo>
                  <a:pt x="39996" y="16028"/>
                  <a:pt x="40492" y="17076"/>
                  <a:pt x="41055" y="18044"/>
                </a:cubicBezTo>
                <a:cubicBezTo>
                  <a:pt x="41336" y="18529"/>
                  <a:pt x="41629" y="18991"/>
                  <a:pt x="41945" y="19430"/>
                </a:cubicBezTo>
                <a:cubicBezTo>
                  <a:pt x="42260" y="19858"/>
                  <a:pt x="42609" y="20275"/>
                  <a:pt x="42970" y="20635"/>
                </a:cubicBezTo>
                <a:cubicBezTo>
                  <a:pt x="43150" y="20826"/>
                  <a:pt x="43353" y="20995"/>
                  <a:pt x="43544" y="21164"/>
                </a:cubicBezTo>
                <a:cubicBezTo>
                  <a:pt x="43735" y="21322"/>
                  <a:pt x="43938" y="21480"/>
                  <a:pt x="44141" y="21626"/>
                </a:cubicBezTo>
                <a:cubicBezTo>
                  <a:pt x="44546" y="21908"/>
                  <a:pt x="44974" y="22156"/>
                  <a:pt x="45414" y="22347"/>
                </a:cubicBezTo>
                <a:cubicBezTo>
                  <a:pt x="45842" y="22538"/>
                  <a:pt x="46281" y="22696"/>
                  <a:pt x="46720" y="22809"/>
                </a:cubicBezTo>
                <a:cubicBezTo>
                  <a:pt x="47160" y="22921"/>
                  <a:pt x="47599" y="23000"/>
                  <a:pt x="48016" y="23057"/>
                </a:cubicBezTo>
                <a:cubicBezTo>
                  <a:pt x="48458" y="23109"/>
                  <a:pt x="48888" y="23131"/>
                  <a:pt x="49305" y="23131"/>
                </a:cubicBezTo>
                <a:cubicBezTo>
                  <a:pt x="49695" y="23131"/>
                  <a:pt x="50072" y="23112"/>
                  <a:pt x="50437" y="23079"/>
                </a:cubicBezTo>
                <a:cubicBezTo>
                  <a:pt x="51935" y="22933"/>
                  <a:pt x="53197" y="22550"/>
                  <a:pt x="54165" y="22110"/>
                </a:cubicBezTo>
                <a:cubicBezTo>
                  <a:pt x="54650" y="21896"/>
                  <a:pt x="55066" y="21682"/>
                  <a:pt x="55427" y="21491"/>
                </a:cubicBezTo>
                <a:cubicBezTo>
                  <a:pt x="55798" y="21311"/>
                  <a:pt x="56103" y="21153"/>
                  <a:pt x="56350" y="21029"/>
                </a:cubicBezTo>
                <a:cubicBezTo>
                  <a:pt x="56598" y="20905"/>
                  <a:pt x="56790" y="20804"/>
                  <a:pt x="56925" y="20748"/>
                </a:cubicBezTo>
                <a:cubicBezTo>
                  <a:pt x="56981" y="20714"/>
                  <a:pt x="57026" y="20691"/>
                  <a:pt x="57060" y="20669"/>
                </a:cubicBezTo>
                <a:cubicBezTo>
                  <a:pt x="57094" y="20658"/>
                  <a:pt x="57116" y="20646"/>
                  <a:pt x="57116" y="20646"/>
                </a:cubicBezTo>
                <a:cubicBezTo>
                  <a:pt x="57116" y="20643"/>
                  <a:pt x="57114" y="20642"/>
                  <a:pt x="57111" y="20642"/>
                </a:cubicBezTo>
                <a:cubicBezTo>
                  <a:pt x="57102" y="20642"/>
                  <a:pt x="57084" y="20650"/>
                  <a:pt x="57060" y="20658"/>
                </a:cubicBezTo>
                <a:cubicBezTo>
                  <a:pt x="57026" y="20680"/>
                  <a:pt x="56981" y="20703"/>
                  <a:pt x="56914" y="20725"/>
                </a:cubicBezTo>
                <a:cubicBezTo>
                  <a:pt x="56790" y="20781"/>
                  <a:pt x="56587" y="20872"/>
                  <a:pt x="56339" y="20995"/>
                </a:cubicBezTo>
                <a:cubicBezTo>
                  <a:pt x="56091" y="21119"/>
                  <a:pt x="55776" y="21266"/>
                  <a:pt x="55416" y="21446"/>
                </a:cubicBezTo>
                <a:cubicBezTo>
                  <a:pt x="55044" y="21626"/>
                  <a:pt x="54627" y="21840"/>
                  <a:pt x="54143" y="22054"/>
                </a:cubicBezTo>
                <a:cubicBezTo>
                  <a:pt x="53174" y="22482"/>
                  <a:pt x="51924" y="22854"/>
                  <a:pt x="50426" y="22989"/>
                </a:cubicBezTo>
                <a:cubicBezTo>
                  <a:pt x="50092" y="23019"/>
                  <a:pt x="49744" y="23036"/>
                  <a:pt x="49386" y="23036"/>
                </a:cubicBezTo>
                <a:cubicBezTo>
                  <a:pt x="48947" y="23036"/>
                  <a:pt x="48492" y="23011"/>
                  <a:pt x="48027" y="22955"/>
                </a:cubicBezTo>
                <a:cubicBezTo>
                  <a:pt x="47610" y="22899"/>
                  <a:pt x="47182" y="22820"/>
                  <a:pt x="46743" y="22707"/>
                </a:cubicBezTo>
                <a:cubicBezTo>
                  <a:pt x="46315" y="22595"/>
                  <a:pt x="45876" y="22437"/>
                  <a:pt x="45448" y="22246"/>
                </a:cubicBezTo>
                <a:cubicBezTo>
                  <a:pt x="45020" y="22054"/>
                  <a:pt x="44603" y="21806"/>
                  <a:pt x="44197" y="21525"/>
                </a:cubicBezTo>
                <a:cubicBezTo>
                  <a:pt x="43995" y="21390"/>
                  <a:pt x="43803" y="21232"/>
                  <a:pt x="43612" y="21074"/>
                </a:cubicBezTo>
                <a:cubicBezTo>
                  <a:pt x="43420" y="20905"/>
                  <a:pt x="43229" y="20736"/>
                  <a:pt x="43060" y="20556"/>
                </a:cubicBezTo>
                <a:cubicBezTo>
                  <a:pt x="42699" y="20184"/>
                  <a:pt x="42350" y="19779"/>
                  <a:pt x="42035" y="19351"/>
                </a:cubicBezTo>
                <a:cubicBezTo>
                  <a:pt x="41731" y="18923"/>
                  <a:pt x="41438" y="18461"/>
                  <a:pt x="41156" y="17977"/>
                </a:cubicBezTo>
                <a:cubicBezTo>
                  <a:pt x="40604" y="17019"/>
                  <a:pt x="40120" y="15972"/>
                  <a:pt x="39624" y="14891"/>
                </a:cubicBezTo>
                <a:cubicBezTo>
                  <a:pt x="39129" y="13821"/>
                  <a:pt x="38622" y="12706"/>
                  <a:pt x="38014" y="11602"/>
                </a:cubicBezTo>
                <a:cubicBezTo>
                  <a:pt x="37406" y="10509"/>
                  <a:pt x="36707" y="9417"/>
                  <a:pt x="35761" y="8482"/>
                </a:cubicBezTo>
                <a:cubicBezTo>
                  <a:pt x="34837" y="7536"/>
                  <a:pt x="33700" y="6770"/>
                  <a:pt x="32450" y="6218"/>
                </a:cubicBezTo>
                <a:cubicBezTo>
                  <a:pt x="31199" y="5655"/>
                  <a:pt x="29825" y="5306"/>
                  <a:pt x="28417" y="5204"/>
                </a:cubicBezTo>
                <a:cubicBezTo>
                  <a:pt x="28173" y="5189"/>
                  <a:pt x="27929" y="5181"/>
                  <a:pt x="27684" y="5181"/>
                </a:cubicBezTo>
                <a:cubicBezTo>
                  <a:pt x="26504" y="5181"/>
                  <a:pt x="25318" y="5363"/>
                  <a:pt x="24171" y="5745"/>
                </a:cubicBezTo>
                <a:cubicBezTo>
                  <a:pt x="23991" y="5790"/>
                  <a:pt x="23822" y="5858"/>
                  <a:pt x="23653" y="5925"/>
                </a:cubicBezTo>
                <a:cubicBezTo>
                  <a:pt x="23484" y="5993"/>
                  <a:pt x="23326" y="6072"/>
                  <a:pt x="23157" y="6139"/>
                </a:cubicBezTo>
                <a:cubicBezTo>
                  <a:pt x="22831" y="6297"/>
                  <a:pt x="22504" y="6443"/>
                  <a:pt x="22200" y="6635"/>
                </a:cubicBezTo>
                <a:cubicBezTo>
                  <a:pt x="21569" y="6984"/>
                  <a:pt x="20984" y="7389"/>
                  <a:pt x="20432" y="7829"/>
                </a:cubicBezTo>
                <a:cubicBezTo>
                  <a:pt x="19305" y="8696"/>
                  <a:pt x="18314" y="9665"/>
                  <a:pt x="17346" y="10622"/>
                </a:cubicBezTo>
                <a:cubicBezTo>
                  <a:pt x="16377" y="11579"/>
                  <a:pt x="15442" y="12537"/>
                  <a:pt x="14451" y="13393"/>
                </a:cubicBezTo>
                <a:cubicBezTo>
                  <a:pt x="13944" y="13809"/>
                  <a:pt x="13437" y="14215"/>
                  <a:pt x="12908" y="14564"/>
                </a:cubicBezTo>
                <a:cubicBezTo>
                  <a:pt x="12649" y="14756"/>
                  <a:pt x="12378" y="14913"/>
                  <a:pt x="12108" y="15082"/>
                </a:cubicBezTo>
                <a:cubicBezTo>
                  <a:pt x="11973" y="15161"/>
                  <a:pt x="11838" y="15240"/>
                  <a:pt x="11703" y="15319"/>
                </a:cubicBezTo>
                <a:cubicBezTo>
                  <a:pt x="11567" y="15398"/>
                  <a:pt x="11421" y="15465"/>
                  <a:pt x="11286" y="15533"/>
                </a:cubicBezTo>
                <a:cubicBezTo>
                  <a:pt x="11151" y="15600"/>
                  <a:pt x="11004" y="15668"/>
                  <a:pt x="10869" y="15747"/>
                </a:cubicBezTo>
                <a:cubicBezTo>
                  <a:pt x="10723" y="15803"/>
                  <a:pt x="10588" y="15859"/>
                  <a:pt x="10441" y="15927"/>
                </a:cubicBezTo>
                <a:lnTo>
                  <a:pt x="10227" y="16017"/>
                </a:lnTo>
                <a:cubicBezTo>
                  <a:pt x="10160" y="16040"/>
                  <a:pt x="10092" y="16062"/>
                  <a:pt x="10013" y="16096"/>
                </a:cubicBezTo>
                <a:cubicBezTo>
                  <a:pt x="9867" y="16141"/>
                  <a:pt x="9732" y="16197"/>
                  <a:pt x="9585" y="16242"/>
                </a:cubicBezTo>
                <a:cubicBezTo>
                  <a:pt x="9439" y="16287"/>
                  <a:pt x="9292" y="16321"/>
                  <a:pt x="9146" y="16366"/>
                </a:cubicBezTo>
                <a:lnTo>
                  <a:pt x="8932" y="16423"/>
                </a:lnTo>
                <a:lnTo>
                  <a:pt x="8707" y="16468"/>
                </a:lnTo>
                <a:cubicBezTo>
                  <a:pt x="8560" y="16490"/>
                  <a:pt x="8414" y="16524"/>
                  <a:pt x="8267" y="16558"/>
                </a:cubicBezTo>
                <a:lnTo>
                  <a:pt x="7828" y="16603"/>
                </a:lnTo>
                <a:cubicBezTo>
                  <a:pt x="7761" y="16614"/>
                  <a:pt x="7693" y="16625"/>
                  <a:pt x="7614" y="16625"/>
                </a:cubicBezTo>
                <a:lnTo>
                  <a:pt x="7400" y="16637"/>
                </a:lnTo>
                <a:cubicBezTo>
                  <a:pt x="7302" y="16637"/>
                  <a:pt x="7205" y="16642"/>
                  <a:pt x="7107" y="16642"/>
                </a:cubicBezTo>
                <a:cubicBezTo>
                  <a:pt x="7058" y="16642"/>
                  <a:pt x="7010" y="16640"/>
                  <a:pt x="6961" y="16637"/>
                </a:cubicBezTo>
                <a:cubicBezTo>
                  <a:pt x="6814" y="16625"/>
                  <a:pt x="6668" y="16625"/>
                  <a:pt x="6522" y="16614"/>
                </a:cubicBezTo>
                <a:cubicBezTo>
                  <a:pt x="6454" y="16603"/>
                  <a:pt x="6386" y="16603"/>
                  <a:pt x="6308" y="16591"/>
                </a:cubicBezTo>
                <a:lnTo>
                  <a:pt x="6105" y="16558"/>
                </a:lnTo>
                <a:cubicBezTo>
                  <a:pt x="5958" y="16535"/>
                  <a:pt x="5823" y="16513"/>
                  <a:pt x="5677" y="16490"/>
                </a:cubicBezTo>
                <a:cubicBezTo>
                  <a:pt x="5542" y="16456"/>
                  <a:pt x="5406" y="16411"/>
                  <a:pt x="5271" y="16377"/>
                </a:cubicBezTo>
                <a:lnTo>
                  <a:pt x="5069" y="16321"/>
                </a:lnTo>
                <a:lnTo>
                  <a:pt x="4877" y="16242"/>
                </a:lnTo>
                <a:cubicBezTo>
                  <a:pt x="4753" y="16197"/>
                  <a:pt x="4618" y="16152"/>
                  <a:pt x="4494" y="16096"/>
                </a:cubicBezTo>
                <a:cubicBezTo>
                  <a:pt x="4246" y="15972"/>
                  <a:pt x="3999" y="15859"/>
                  <a:pt x="3773" y="15702"/>
                </a:cubicBezTo>
                <a:lnTo>
                  <a:pt x="3604" y="15600"/>
                </a:lnTo>
                <a:cubicBezTo>
                  <a:pt x="3537" y="15567"/>
                  <a:pt x="3480" y="15521"/>
                  <a:pt x="3435" y="15488"/>
                </a:cubicBezTo>
                <a:cubicBezTo>
                  <a:pt x="3323" y="15398"/>
                  <a:pt x="3221" y="15319"/>
                  <a:pt x="3109" y="15240"/>
                </a:cubicBezTo>
                <a:cubicBezTo>
                  <a:pt x="2703" y="14902"/>
                  <a:pt x="2320" y="14530"/>
                  <a:pt x="2016" y="14125"/>
                </a:cubicBezTo>
                <a:cubicBezTo>
                  <a:pt x="1363" y="13325"/>
                  <a:pt x="912" y="12435"/>
                  <a:pt x="608" y="11546"/>
                </a:cubicBezTo>
                <a:cubicBezTo>
                  <a:pt x="304" y="10656"/>
                  <a:pt x="147" y="9766"/>
                  <a:pt x="113" y="8921"/>
                </a:cubicBezTo>
                <a:cubicBezTo>
                  <a:pt x="90" y="8065"/>
                  <a:pt x="169" y="7266"/>
                  <a:pt x="304" y="6522"/>
                </a:cubicBezTo>
                <a:cubicBezTo>
                  <a:pt x="428" y="5790"/>
                  <a:pt x="631" y="5114"/>
                  <a:pt x="834" y="4506"/>
                </a:cubicBezTo>
                <a:cubicBezTo>
                  <a:pt x="1048" y="3898"/>
                  <a:pt x="1273" y="3357"/>
                  <a:pt x="1498" y="2873"/>
                </a:cubicBezTo>
                <a:cubicBezTo>
                  <a:pt x="1937" y="1915"/>
                  <a:pt x="2354" y="1206"/>
                  <a:pt x="2647" y="733"/>
                </a:cubicBezTo>
                <a:cubicBezTo>
                  <a:pt x="2782" y="485"/>
                  <a:pt x="2895" y="316"/>
                  <a:pt x="2974" y="192"/>
                </a:cubicBezTo>
                <a:cubicBezTo>
                  <a:pt x="3007" y="125"/>
                  <a:pt x="3041" y="80"/>
                  <a:pt x="3052" y="46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21;p3"/>
          <p:cNvSpPr/>
          <p:nvPr/>
        </p:nvSpPr>
        <p:spPr>
          <a:xfrm rot="1228671">
            <a:off x="3735946" y="4079467"/>
            <a:ext cx="4525722" cy="2680896"/>
          </a:xfrm>
          <a:custGeom>
            <a:avLst/>
            <a:gdLst/>
            <a:ahLst/>
            <a:cxnLst/>
            <a:rect l="l" t="t" r="r" b="b"/>
            <a:pathLst>
              <a:path w="44344" h="26268" extrusionOk="0">
                <a:moveTo>
                  <a:pt x="0" y="25400"/>
                </a:moveTo>
                <a:cubicBezTo>
                  <a:pt x="0" y="25411"/>
                  <a:pt x="11" y="25411"/>
                  <a:pt x="34" y="25411"/>
                </a:cubicBezTo>
                <a:cubicBezTo>
                  <a:pt x="11" y="25400"/>
                  <a:pt x="0" y="25400"/>
                  <a:pt x="0" y="25400"/>
                </a:cubicBezTo>
                <a:close/>
                <a:moveTo>
                  <a:pt x="39805" y="1"/>
                </a:moveTo>
                <a:cubicBezTo>
                  <a:pt x="39748" y="1"/>
                  <a:pt x="39681" y="1"/>
                  <a:pt x="39613" y="12"/>
                </a:cubicBezTo>
                <a:cubicBezTo>
                  <a:pt x="39095" y="24"/>
                  <a:pt x="38532" y="102"/>
                  <a:pt x="37957" y="238"/>
                </a:cubicBezTo>
                <a:cubicBezTo>
                  <a:pt x="37372" y="373"/>
                  <a:pt x="36775" y="564"/>
                  <a:pt x="36178" y="834"/>
                </a:cubicBezTo>
                <a:cubicBezTo>
                  <a:pt x="34973" y="1375"/>
                  <a:pt x="33756" y="2197"/>
                  <a:pt x="32664" y="3301"/>
                </a:cubicBezTo>
                <a:cubicBezTo>
                  <a:pt x="31571" y="4394"/>
                  <a:pt x="30591" y="5745"/>
                  <a:pt x="29780" y="7288"/>
                </a:cubicBezTo>
                <a:cubicBezTo>
                  <a:pt x="28958" y="8820"/>
                  <a:pt x="28294" y="10532"/>
                  <a:pt x="27719" y="12334"/>
                </a:cubicBezTo>
                <a:cubicBezTo>
                  <a:pt x="27426" y="13224"/>
                  <a:pt x="27156" y="14148"/>
                  <a:pt x="26886" y="15082"/>
                </a:cubicBezTo>
                <a:cubicBezTo>
                  <a:pt x="26604" y="16017"/>
                  <a:pt x="26322" y="16963"/>
                  <a:pt x="25951" y="17887"/>
                </a:cubicBezTo>
                <a:cubicBezTo>
                  <a:pt x="25568" y="18811"/>
                  <a:pt x="25106" y="19689"/>
                  <a:pt x="24509" y="20444"/>
                </a:cubicBezTo>
                <a:cubicBezTo>
                  <a:pt x="23901" y="21198"/>
                  <a:pt x="23169" y="21829"/>
                  <a:pt x="22392" y="22347"/>
                </a:cubicBezTo>
                <a:cubicBezTo>
                  <a:pt x="21614" y="22877"/>
                  <a:pt x="20781" y="23293"/>
                  <a:pt x="19959" y="23654"/>
                </a:cubicBezTo>
                <a:cubicBezTo>
                  <a:pt x="19542" y="23823"/>
                  <a:pt x="19125" y="23992"/>
                  <a:pt x="18708" y="24149"/>
                </a:cubicBezTo>
                <a:cubicBezTo>
                  <a:pt x="18292" y="24285"/>
                  <a:pt x="17875" y="24442"/>
                  <a:pt x="17458" y="24566"/>
                </a:cubicBezTo>
                <a:cubicBezTo>
                  <a:pt x="14158" y="25625"/>
                  <a:pt x="11038" y="26053"/>
                  <a:pt x="8425" y="26143"/>
                </a:cubicBezTo>
                <a:cubicBezTo>
                  <a:pt x="8006" y="26157"/>
                  <a:pt x="7599" y="26164"/>
                  <a:pt x="7205" y="26164"/>
                </a:cubicBezTo>
                <a:cubicBezTo>
                  <a:pt x="5149" y="26164"/>
                  <a:pt x="3461" y="25983"/>
                  <a:pt x="2242" y="25794"/>
                </a:cubicBezTo>
                <a:cubicBezTo>
                  <a:pt x="1881" y="25738"/>
                  <a:pt x="1554" y="25692"/>
                  <a:pt x="1284" y="25647"/>
                </a:cubicBezTo>
                <a:cubicBezTo>
                  <a:pt x="1003" y="25591"/>
                  <a:pt x="766" y="25546"/>
                  <a:pt x="575" y="25512"/>
                </a:cubicBezTo>
                <a:cubicBezTo>
                  <a:pt x="394" y="25478"/>
                  <a:pt x="248" y="25445"/>
                  <a:pt x="147" y="25422"/>
                </a:cubicBezTo>
                <a:cubicBezTo>
                  <a:pt x="102" y="25422"/>
                  <a:pt x="68" y="25411"/>
                  <a:pt x="34" y="25411"/>
                </a:cubicBezTo>
                <a:cubicBezTo>
                  <a:pt x="68" y="25422"/>
                  <a:pt x="102" y="25433"/>
                  <a:pt x="147" y="25445"/>
                </a:cubicBezTo>
                <a:cubicBezTo>
                  <a:pt x="248" y="25467"/>
                  <a:pt x="383" y="25501"/>
                  <a:pt x="575" y="25535"/>
                </a:cubicBezTo>
                <a:cubicBezTo>
                  <a:pt x="766" y="25580"/>
                  <a:pt x="1003" y="25636"/>
                  <a:pt x="1273" y="25692"/>
                </a:cubicBezTo>
                <a:cubicBezTo>
                  <a:pt x="1554" y="25738"/>
                  <a:pt x="1870" y="25794"/>
                  <a:pt x="2230" y="25861"/>
                </a:cubicBezTo>
                <a:cubicBezTo>
                  <a:pt x="3505" y="26069"/>
                  <a:pt x="5291" y="26268"/>
                  <a:pt x="7491" y="26268"/>
                </a:cubicBezTo>
                <a:cubicBezTo>
                  <a:pt x="7798" y="26268"/>
                  <a:pt x="8113" y="26264"/>
                  <a:pt x="8436" y="26256"/>
                </a:cubicBezTo>
                <a:cubicBezTo>
                  <a:pt x="11061" y="26177"/>
                  <a:pt x="14192" y="25760"/>
                  <a:pt x="17503" y="24701"/>
                </a:cubicBezTo>
                <a:cubicBezTo>
                  <a:pt x="17920" y="24566"/>
                  <a:pt x="18337" y="24420"/>
                  <a:pt x="18754" y="24273"/>
                </a:cubicBezTo>
                <a:cubicBezTo>
                  <a:pt x="19170" y="24127"/>
                  <a:pt x="19587" y="23958"/>
                  <a:pt x="20015" y="23778"/>
                </a:cubicBezTo>
                <a:cubicBezTo>
                  <a:pt x="20849" y="23417"/>
                  <a:pt x="21682" y="23001"/>
                  <a:pt x="22470" y="22471"/>
                </a:cubicBezTo>
                <a:cubicBezTo>
                  <a:pt x="23259" y="21953"/>
                  <a:pt x="24002" y="21300"/>
                  <a:pt x="24622" y="20534"/>
                </a:cubicBezTo>
                <a:cubicBezTo>
                  <a:pt x="25230" y="19768"/>
                  <a:pt x="25703" y="18878"/>
                  <a:pt x="26086" y="17943"/>
                </a:cubicBezTo>
                <a:cubicBezTo>
                  <a:pt x="26458" y="17020"/>
                  <a:pt x="26750" y="16062"/>
                  <a:pt x="27021" y="15128"/>
                </a:cubicBezTo>
                <a:cubicBezTo>
                  <a:pt x="27291" y="14193"/>
                  <a:pt x="27561" y="13269"/>
                  <a:pt x="27854" y="12379"/>
                </a:cubicBezTo>
                <a:cubicBezTo>
                  <a:pt x="28429" y="10577"/>
                  <a:pt x="29082" y="8876"/>
                  <a:pt x="29893" y="7356"/>
                </a:cubicBezTo>
                <a:cubicBezTo>
                  <a:pt x="30693" y="5824"/>
                  <a:pt x="31673" y="4484"/>
                  <a:pt x="32754" y="3391"/>
                </a:cubicBezTo>
                <a:cubicBezTo>
                  <a:pt x="33835" y="2299"/>
                  <a:pt x="35029" y="1465"/>
                  <a:pt x="36212" y="925"/>
                </a:cubicBezTo>
                <a:cubicBezTo>
                  <a:pt x="36809" y="654"/>
                  <a:pt x="37406" y="463"/>
                  <a:pt x="37980" y="328"/>
                </a:cubicBezTo>
                <a:cubicBezTo>
                  <a:pt x="38543" y="192"/>
                  <a:pt x="39095" y="114"/>
                  <a:pt x="39613" y="91"/>
                </a:cubicBezTo>
                <a:cubicBezTo>
                  <a:pt x="39681" y="91"/>
                  <a:pt x="39748" y="91"/>
                  <a:pt x="39816" y="80"/>
                </a:cubicBezTo>
                <a:lnTo>
                  <a:pt x="40368" y="80"/>
                </a:lnTo>
                <a:cubicBezTo>
                  <a:pt x="40604" y="102"/>
                  <a:pt x="40841" y="102"/>
                  <a:pt x="41066" y="136"/>
                </a:cubicBezTo>
                <a:cubicBezTo>
                  <a:pt x="41168" y="147"/>
                  <a:pt x="41280" y="159"/>
                  <a:pt x="41382" y="170"/>
                </a:cubicBezTo>
                <a:cubicBezTo>
                  <a:pt x="41494" y="192"/>
                  <a:pt x="41596" y="215"/>
                  <a:pt x="41697" y="226"/>
                </a:cubicBezTo>
                <a:cubicBezTo>
                  <a:pt x="41900" y="260"/>
                  <a:pt x="42080" y="316"/>
                  <a:pt x="42260" y="361"/>
                </a:cubicBezTo>
                <a:cubicBezTo>
                  <a:pt x="42970" y="542"/>
                  <a:pt x="43488" y="789"/>
                  <a:pt x="43826" y="958"/>
                </a:cubicBezTo>
                <a:cubicBezTo>
                  <a:pt x="43995" y="1048"/>
                  <a:pt x="44119" y="1127"/>
                  <a:pt x="44209" y="1184"/>
                </a:cubicBezTo>
                <a:cubicBezTo>
                  <a:pt x="44254" y="1206"/>
                  <a:pt x="44276" y="1217"/>
                  <a:pt x="44299" y="1240"/>
                </a:cubicBezTo>
                <a:cubicBezTo>
                  <a:pt x="44321" y="1251"/>
                  <a:pt x="44333" y="1251"/>
                  <a:pt x="44333" y="1251"/>
                </a:cubicBezTo>
                <a:lnTo>
                  <a:pt x="44333" y="1240"/>
                </a:lnTo>
                <a:cubicBezTo>
                  <a:pt x="44344" y="1240"/>
                  <a:pt x="44333" y="1240"/>
                  <a:pt x="44310" y="1217"/>
                </a:cubicBezTo>
                <a:cubicBezTo>
                  <a:pt x="44287" y="1206"/>
                  <a:pt x="44254" y="1184"/>
                  <a:pt x="44209" y="1161"/>
                </a:cubicBezTo>
                <a:cubicBezTo>
                  <a:pt x="44130" y="1105"/>
                  <a:pt x="44006" y="1026"/>
                  <a:pt x="43837" y="936"/>
                </a:cubicBezTo>
                <a:cubicBezTo>
                  <a:pt x="43499" y="744"/>
                  <a:pt x="42981" y="497"/>
                  <a:pt x="42271" y="294"/>
                </a:cubicBezTo>
                <a:cubicBezTo>
                  <a:pt x="42091" y="249"/>
                  <a:pt x="41911" y="192"/>
                  <a:pt x="41708" y="159"/>
                </a:cubicBezTo>
                <a:cubicBezTo>
                  <a:pt x="41607" y="136"/>
                  <a:pt x="41505" y="125"/>
                  <a:pt x="41393" y="102"/>
                </a:cubicBezTo>
                <a:cubicBezTo>
                  <a:pt x="41291" y="91"/>
                  <a:pt x="41179" y="69"/>
                  <a:pt x="41066" y="57"/>
                </a:cubicBezTo>
                <a:cubicBezTo>
                  <a:pt x="40852" y="24"/>
                  <a:pt x="40616" y="24"/>
                  <a:pt x="40368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22;p3"/>
          <p:cNvSpPr/>
          <p:nvPr/>
        </p:nvSpPr>
        <p:spPr>
          <a:xfrm rot="-9190242" flipH="1">
            <a:off x="7428616" y="2231550"/>
            <a:ext cx="2308361" cy="1200209"/>
          </a:xfrm>
          <a:custGeom>
            <a:avLst/>
            <a:gdLst/>
            <a:ahLst/>
            <a:cxnLst/>
            <a:rect l="l" t="t" r="r" b="b"/>
            <a:pathLst>
              <a:path w="22618" h="11760" extrusionOk="0">
                <a:moveTo>
                  <a:pt x="19512" y="1"/>
                </a:moveTo>
                <a:cubicBezTo>
                  <a:pt x="18399" y="1"/>
                  <a:pt x="17014" y="42"/>
                  <a:pt x="15409" y="173"/>
                </a:cubicBezTo>
                <a:cubicBezTo>
                  <a:pt x="14305" y="275"/>
                  <a:pt x="13100" y="410"/>
                  <a:pt x="11816" y="613"/>
                </a:cubicBezTo>
                <a:cubicBezTo>
                  <a:pt x="10532" y="827"/>
                  <a:pt x="9169" y="1097"/>
                  <a:pt x="7750" y="1457"/>
                </a:cubicBezTo>
                <a:cubicBezTo>
                  <a:pt x="6331" y="1829"/>
                  <a:pt x="4855" y="2280"/>
                  <a:pt x="3368" y="2865"/>
                </a:cubicBezTo>
                <a:cubicBezTo>
                  <a:pt x="2636" y="3169"/>
                  <a:pt x="1870" y="3496"/>
                  <a:pt x="1228" y="4025"/>
                </a:cubicBezTo>
                <a:cubicBezTo>
                  <a:pt x="902" y="4296"/>
                  <a:pt x="620" y="4622"/>
                  <a:pt x="406" y="4983"/>
                </a:cubicBezTo>
                <a:cubicBezTo>
                  <a:pt x="192" y="5355"/>
                  <a:pt x="46" y="5771"/>
                  <a:pt x="23" y="6211"/>
                </a:cubicBezTo>
                <a:cubicBezTo>
                  <a:pt x="1" y="6650"/>
                  <a:pt x="113" y="7078"/>
                  <a:pt x="327" y="7449"/>
                </a:cubicBezTo>
                <a:cubicBezTo>
                  <a:pt x="553" y="7821"/>
                  <a:pt x="857" y="8125"/>
                  <a:pt x="1195" y="8373"/>
                </a:cubicBezTo>
                <a:cubicBezTo>
                  <a:pt x="1870" y="8869"/>
                  <a:pt x="2636" y="9173"/>
                  <a:pt x="3380" y="9443"/>
                </a:cubicBezTo>
                <a:cubicBezTo>
                  <a:pt x="4878" y="10006"/>
                  <a:pt x="6353" y="10445"/>
                  <a:pt x="7784" y="10783"/>
                </a:cubicBezTo>
                <a:cubicBezTo>
                  <a:pt x="9203" y="11121"/>
                  <a:pt x="10577" y="11347"/>
                  <a:pt x="11872" y="11504"/>
                </a:cubicBezTo>
                <a:cubicBezTo>
                  <a:pt x="12199" y="11538"/>
                  <a:pt x="12514" y="11583"/>
                  <a:pt x="12830" y="11606"/>
                </a:cubicBezTo>
                <a:cubicBezTo>
                  <a:pt x="13145" y="11628"/>
                  <a:pt x="13449" y="11662"/>
                  <a:pt x="13753" y="11684"/>
                </a:cubicBezTo>
                <a:cubicBezTo>
                  <a:pt x="14046" y="11707"/>
                  <a:pt x="14350" y="11718"/>
                  <a:pt x="14632" y="11730"/>
                </a:cubicBezTo>
                <a:cubicBezTo>
                  <a:pt x="14925" y="11741"/>
                  <a:pt x="15206" y="11752"/>
                  <a:pt x="15488" y="11752"/>
                </a:cubicBezTo>
                <a:cubicBezTo>
                  <a:pt x="15750" y="11757"/>
                  <a:pt x="16006" y="11760"/>
                  <a:pt x="16255" y="11760"/>
                </a:cubicBezTo>
                <a:cubicBezTo>
                  <a:pt x="18119" y="11760"/>
                  <a:pt x="19631" y="11621"/>
                  <a:pt x="20714" y="11482"/>
                </a:cubicBezTo>
                <a:cubicBezTo>
                  <a:pt x="21029" y="11448"/>
                  <a:pt x="21300" y="11414"/>
                  <a:pt x="21536" y="11380"/>
                </a:cubicBezTo>
                <a:cubicBezTo>
                  <a:pt x="21773" y="11335"/>
                  <a:pt x="21964" y="11302"/>
                  <a:pt x="22133" y="11279"/>
                </a:cubicBezTo>
                <a:cubicBezTo>
                  <a:pt x="22291" y="11245"/>
                  <a:pt x="22403" y="11234"/>
                  <a:pt x="22493" y="11211"/>
                </a:cubicBezTo>
                <a:cubicBezTo>
                  <a:pt x="22572" y="11200"/>
                  <a:pt x="22617" y="11189"/>
                  <a:pt x="22617" y="11189"/>
                </a:cubicBezTo>
                <a:lnTo>
                  <a:pt x="22584" y="11189"/>
                </a:lnTo>
                <a:cubicBezTo>
                  <a:pt x="22561" y="11189"/>
                  <a:pt x="22527" y="11189"/>
                  <a:pt x="22493" y="11200"/>
                </a:cubicBezTo>
                <a:cubicBezTo>
                  <a:pt x="22403" y="11211"/>
                  <a:pt x="22279" y="11223"/>
                  <a:pt x="22122" y="11245"/>
                </a:cubicBezTo>
                <a:cubicBezTo>
                  <a:pt x="21964" y="11268"/>
                  <a:pt x="21761" y="11302"/>
                  <a:pt x="21525" y="11335"/>
                </a:cubicBezTo>
                <a:cubicBezTo>
                  <a:pt x="21288" y="11369"/>
                  <a:pt x="21018" y="11392"/>
                  <a:pt x="20714" y="11425"/>
                </a:cubicBezTo>
                <a:cubicBezTo>
                  <a:pt x="19681" y="11549"/>
                  <a:pt x="18250" y="11664"/>
                  <a:pt x="16508" y="11664"/>
                </a:cubicBezTo>
                <a:cubicBezTo>
                  <a:pt x="16179" y="11664"/>
                  <a:pt x="15839" y="11660"/>
                  <a:pt x="15488" y="11651"/>
                </a:cubicBezTo>
                <a:cubicBezTo>
                  <a:pt x="15206" y="11651"/>
                  <a:pt x="14925" y="11639"/>
                  <a:pt x="14643" y="11617"/>
                </a:cubicBezTo>
                <a:cubicBezTo>
                  <a:pt x="14350" y="11606"/>
                  <a:pt x="14057" y="11594"/>
                  <a:pt x="13753" y="11572"/>
                </a:cubicBezTo>
                <a:cubicBezTo>
                  <a:pt x="13460" y="11538"/>
                  <a:pt x="13145" y="11516"/>
                  <a:pt x="12841" y="11493"/>
                </a:cubicBezTo>
                <a:cubicBezTo>
                  <a:pt x="12525" y="11459"/>
                  <a:pt x="12210" y="11414"/>
                  <a:pt x="11883" y="11380"/>
                </a:cubicBezTo>
                <a:cubicBezTo>
                  <a:pt x="10599" y="11223"/>
                  <a:pt x="9225" y="10986"/>
                  <a:pt x="7806" y="10648"/>
                </a:cubicBezTo>
                <a:cubicBezTo>
                  <a:pt x="6387" y="10310"/>
                  <a:pt x="4923" y="9871"/>
                  <a:pt x="3436" y="9308"/>
                </a:cubicBezTo>
                <a:cubicBezTo>
                  <a:pt x="2693" y="9038"/>
                  <a:pt x="1938" y="8733"/>
                  <a:pt x="1285" y="8260"/>
                </a:cubicBezTo>
                <a:cubicBezTo>
                  <a:pt x="958" y="8024"/>
                  <a:pt x="665" y="7731"/>
                  <a:pt x="462" y="7382"/>
                </a:cubicBezTo>
                <a:cubicBezTo>
                  <a:pt x="260" y="7033"/>
                  <a:pt x="147" y="6627"/>
                  <a:pt x="170" y="6222"/>
                </a:cubicBezTo>
                <a:cubicBezTo>
                  <a:pt x="192" y="5805"/>
                  <a:pt x="327" y="5411"/>
                  <a:pt x="530" y="5062"/>
                </a:cubicBezTo>
                <a:cubicBezTo>
                  <a:pt x="733" y="4701"/>
                  <a:pt x="1003" y="4397"/>
                  <a:pt x="1318" y="4138"/>
                </a:cubicBezTo>
                <a:cubicBezTo>
                  <a:pt x="1949" y="3620"/>
                  <a:pt x="2693" y="3293"/>
                  <a:pt x="3425" y="3000"/>
                </a:cubicBezTo>
                <a:cubicBezTo>
                  <a:pt x="4900" y="2415"/>
                  <a:pt x="6364" y="1953"/>
                  <a:pt x="7784" y="1593"/>
                </a:cubicBezTo>
                <a:cubicBezTo>
                  <a:pt x="9191" y="1221"/>
                  <a:pt x="10554" y="951"/>
                  <a:pt x="11838" y="737"/>
                </a:cubicBezTo>
                <a:cubicBezTo>
                  <a:pt x="13122" y="523"/>
                  <a:pt x="14316" y="387"/>
                  <a:pt x="15420" y="275"/>
                </a:cubicBezTo>
                <a:cubicBezTo>
                  <a:pt x="17337" y="109"/>
                  <a:pt x="18930" y="70"/>
                  <a:pt x="20128" y="70"/>
                </a:cubicBezTo>
                <a:cubicBezTo>
                  <a:pt x="20310" y="70"/>
                  <a:pt x="20483" y="71"/>
                  <a:pt x="20646" y="72"/>
                </a:cubicBezTo>
                <a:cubicBezTo>
                  <a:pt x="20962" y="72"/>
                  <a:pt x="21232" y="83"/>
                  <a:pt x="21468" y="83"/>
                </a:cubicBezTo>
                <a:cubicBezTo>
                  <a:pt x="21705" y="95"/>
                  <a:pt x="21908" y="95"/>
                  <a:pt x="22065" y="106"/>
                </a:cubicBezTo>
                <a:lnTo>
                  <a:pt x="22572" y="106"/>
                </a:lnTo>
                <a:cubicBezTo>
                  <a:pt x="22572" y="106"/>
                  <a:pt x="22527" y="106"/>
                  <a:pt x="22437" y="95"/>
                </a:cubicBezTo>
                <a:cubicBezTo>
                  <a:pt x="22358" y="95"/>
                  <a:pt x="22234" y="83"/>
                  <a:pt x="22077" y="72"/>
                </a:cubicBezTo>
                <a:cubicBezTo>
                  <a:pt x="21908" y="61"/>
                  <a:pt x="21705" y="50"/>
                  <a:pt x="21468" y="38"/>
                </a:cubicBezTo>
                <a:cubicBezTo>
                  <a:pt x="21232" y="27"/>
                  <a:pt x="20962" y="27"/>
                  <a:pt x="20646" y="16"/>
                </a:cubicBezTo>
                <a:cubicBezTo>
                  <a:pt x="20308" y="7"/>
                  <a:pt x="19929" y="1"/>
                  <a:pt x="195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" name="Google Shape;23;p3"/>
          <p:cNvSpPr/>
          <p:nvPr/>
        </p:nvSpPr>
        <p:spPr>
          <a:xfrm rot="-2700000">
            <a:off x="1106192" y="3013182"/>
            <a:ext cx="3016016" cy="2360787"/>
          </a:xfrm>
          <a:custGeom>
            <a:avLst/>
            <a:gdLst/>
            <a:ahLst/>
            <a:cxnLst/>
            <a:rect l="l" t="t" r="r" b="b"/>
            <a:pathLst>
              <a:path w="22764" h="17819" extrusionOk="0">
                <a:moveTo>
                  <a:pt x="0" y="12199"/>
                </a:moveTo>
                <a:lnTo>
                  <a:pt x="0" y="12210"/>
                </a:lnTo>
                <a:cubicBezTo>
                  <a:pt x="0" y="12210"/>
                  <a:pt x="3" y="12211"/>
                  <a:pt x="7" y="12213"/>
                </a:cubicBezTo>
                <a:lnTo>
                  <a:pt x="7" y="12213"/>
                </a:lnTo>
                <a:cubicBezTo>
                  <a:pt x="2" y="12207"/>
                  <a:pt x="0" y="12203"/>
                  <a:pt x="0" y="12199"/>
                </a:cubicBezTo>
                <a:close/>
                <a:moveTo>
                  <a:pt x="21806" y="1"/>
                </a:moveTo>
                <a:cubicBezTo>
                  <a:pt x="21806" y="1"/>
                  <a:pt x="21840" y="12"/>
                  <a:pt x="21896" y="35"/>
                </a:cubicBezTo>
                <a:cubicBezTo>
                  <a:pt x="21930" y="46"/>
                  <a:pt x="21964" y="57"/>
                  <a:pt x="21997" y="80"/>
                </a:cubicBezTo>
                <a:cubicBezTo>
                  <a:pt x="22042" y="102"/>
                  <a:pt x="22087" y="125"/>
                  <a:pt x="22133" y="170"/>
                </a:cubicBezTo>
                <a:cubicBezTo>
                  <a:pt x="22335" y="305"/>
                  <a:pt x="22549" y="620"/>
                  <a:pt x="22628" y="1082"/>
                </a:cubicBezTo>
                <a:cubicBezTo>
                  <a:pt x="22673" y="1307"/>
                  <a:pt x="22696" y="1566"/>
                  <a:pt x="22684" y="1848"/>
                </a:cubicBezTo>
                <a:cubicBezTo>
                  <a:pt x="22673" y="2130"/>
                  <a:pt x="22628" y="2445"/>
                  <a:pt x="22583" y="2772"/>
                </a:cubicBezTo>
                <a:cubicBezTo>
                  <a:pt x="22504" y="3425"/>
                  <a:pt x="22392" y="4180"/>
                  <a:pt x="22245" y="5002"/>
                </a:cubicBezTo>
                <a:cubicBezTo>
                  <a:pt x="22099" y="5824"/>
                  <a:pt x="21907" y="6725"/>
                  <a:pt x="21693" y="7682"/>
                </a:cubicBezTo>
                <a:cubicBezTo>
                  <a:pt x="21457" y="8640"/>
                  <a:pt x="21198" y="9665"/>
                  <a:pt x="20837" y="10701"/>
                </a:cubicBezTo>
                <a:cubicBezTo>
                  <a:pt x="20657" y="11219"/>
                  <a:pt x="20443" y="11748"/>
                  <a:pt x="20207" y="12278"/>
                </a:cubicBezTo>
                <a:cubicBezTo>
                  <a:pt x="19959" y="12796"/>
                  <a:pt x="19677" y="13314"/>
                  <a:pt x="19351" y="13821"/>
                </a:cubicBezTo>
                <a:cubicBezTo>
                  <a:pt x="18708" y="14823"/>
                  <a:pt x="17830" y="15747"/>
                  <a:pt x="16760" y="16423"/>
                </a:cubicBezTo>
                <a:cubicBezTo>
                  <a:pt x="16219" y="16749"/>
                  <a:pt x="15645" y="17008"/>
                  <a:pt x="15059" y="17211"/>
                </a:cubicBezTo>
                <a:cubicBezTo>
                  <a:pt x="14473" y="17403"/>
                  <a:pt x="13877" y="17527"/>
                  <a:pt x="13280" y="17605"/>
                </a:cubicBezTo>
                <a:cubicBezTo>
                  <a:pt x="12840" y="17656"/>
                  <a:pt x="12395" y="17681"/>
                  <a:pt x="11957" y="17681"/>
                </a:cubicBezTo>
                <a:cubicBezTo>
                  <a:pt x="11811" y="17681"/>
                  <a:pt x="11666" y="17679"/>
                  <a:pt x="11523" y="17673"/>
                </a:cubicBezTo>
                <a:cubicBezTo>
                  <a:pt x="11376" y="17662"/>
                  <a:pt x="11241" y="17650"/>
                  <a:pt x="11095" y="17650"/>
                </a:cubicBezTo>
                <a:lnTo>
                  <a:pt x="10881" y="17628"/>
                </a:lnTo>
                <a:lnTo>
                  <a:pt x="10666" y="17605"/>
                </a:lnTo>
                <a:cubicBezTo>
                  <a:pt x="10531" y="17583"/>
                  <a:pt x="10396" y="17572"/>
                  <a:pt x="10250" y="17549"/>
                </a:cubicBezTo>
                <a:cubicBezTo>
                  <a:pt x="10115" y="17527"/>
                  <a:pt x="9979" y="17504"/>
                  <a:pt x="9844" y="17481"/>
                </a:cubicBezTo>
                <a:cubicBezTo>
                  <a:pt x="8752" y="17301"/>
                  <a:pt x="7761" y="16941"/>
                  <a:pt x="6860" y="16569"/>
                </a:cubicBezTo>
                <a:cubicBezTo>
                  <a:pt x="5947" y="16197"/>
                  <a:pt x="5136" y="15758"/>
                  <a:pt x="4415" y="15330"/>
                </a:cubicBezTo>
                <a:cubicBezTo>
                  <a:pt x="3706" y="14902"/>
                  <a:pt x="3075" y="14474"/>
                  <a:pt x="2534" y="14091"/>
                </a:cubicBezTo>
                <a:cubicBezTo>
                  <a:pt x="1994" y="13708"/>
                  <a:pt x="1532" y="13359"/>
                  <a:pt x="1160" y="13078"/>
                </a:cubicBezTo>
                <a:cubicBezTo>
                  <a:pt x="789" y="12796"/>
                  <a:pt x="507" y="12582"/>
                  <a:pt x="304" y="12424"/>
                </a:cubicBezTo>
                <a:cubicBezTo>
                  <a:pt x="203" y="12357"/>
                  <a:pt x="135" y="12300"/>
                  <a:pt x="79" y="12255"/>
                </a:cubicBezTo>
                <a:cubicBezTo>
                  <a:pt x="46" y="12231"/>
                  <a:pt x="19" y="12218"/>
                  <a:pt x="7" y="12213"/>
                </a:cubicBezTo>
                <a:lnTo>
                  <a:pt x="7" y="12213"/>
                </a:lnTo>
                <a:cubicBezTo>
                  <a:pt x="18" y="12226"/>
                  <a:pt x="40" y="12243"/>
                  <a:pt x="79" y="12267"/>
                </a:cubicBezTo>
                <a:cubicBezTo>
                  <a:pt x="124" y="12312"/>
                  <a:pt x="192" y="12368"/>
                  <a:pt x="293" y="12447"/>
                </a:cubicBezTo>
                <a:cubicBezTo>
                  <a:pt x="484" y="12604"/>
                  <a:pt x="766" y="12830"/>
                  <a:pt x="1138" y="13123"/>
                </a:cubicBezTo>
                <a:cubicBezTo>
                  <a:pt x="1498" y="13415"/>
                  <a:pt x="1949" y="13765"/>
                  <a:pt x="2489" y="14159"/>
                </a:cubicBezTo>
                <a:cubicBezTo>
                  <a:pt x="3030" y="14553"/>
                  <a:pt x="3649" y="14981"/>
                  <a:pt x="4370" y="15420"/>
                </a:cubicBezTo>
                <a:cubicBezTo>
                  <a:pt x="5091" y="15860"/>
                  <a:pt x="5902" y="16299"/>
                  <a:pt x="6814" y="16682"/>
                </a:cubicBezTo>
                <a:cubicBezTo>
                  <a:pt x="7727" y="17065"/>
                  <a:pt x="8729" y="17425"/>
                  <a:pt x="9822" y="17617"/>
                </a:cubicBezTo>
                <a:cubicBezTo>
                  <a:pt x="9957" y="17639"/>
                  <a:pt x="10103" y="17662"/>
                  <a:pt x="10238" y="17684"/>
                </a:cubicBezTo>
                <a:cubicBezTo>
                  <a:pt x="10374" y="17707"/>
                  <a:pt x="10520" y="17718"/>
                  <a:pt x="10655" y="17741"/>
                </a:cubicBezTo>
                <a:lnTo>
                  <a:pt x="10869" y="17763"/>
                </a:lnTo>
                <a:lnTo>
                  <a:pt x="11083" y="17786"/>
                </a:lnTo>
                <a:cubicBezTo>
                  <a:pt x="11230" y="17797"/>
                  <a:pt x="11376" y="17808"/>
                  <a:pt x="11523" y="17808"/>
                </a:cubicBezTo>
                <a:cubicBezTo>
                  <a:pt x="11700" y="17815"/>
                  <a:pt x="11878" y="17819"/>
                  <a:pt x="12057" y="17819"/>
                </a:cubicBezTo>
                <a:cubicBezTo>
                  <a:pt x="12470" y="17819"/>
                  <a:pt x="12886" y="17799"/>
                  <a:pt x="13302" y="17752"/>
                </a:cubicBezTo>
                <a:cubicBezTo>
                  <a:pt x="13910" y="17662"/>
                  <a:pt x="14519" y="17538"/>
                  <a:pt x="15116" y="17346"/>
                </a:cubicBezTo>
                <a:cubicBezTo>
                  <a:pt x="15701" y="17144"/>
                  <a:pt x="16287" y="16873"/>
                  <a:pt x="16839" y="16547"/>
                </a:cubicBezTo>
                <a:cubicBezTo>
                  <a:pt x="17931" y="15848"/>
                  <a:pt x="18821" y="14913"/>
                  <a:pt x="19474" y="13900"/>
                </a:cubicBezTo>
                <a:cubicBezTo>
                  <a:pt x="19801" y="13382"/>
                  <a:pt x="20094" y="12864"/>
                  <a:pt x="20330" y="12334"/>
                </a:cubicBezTo>
                <a:cubicBezTo>
                  <a:pt x="20578" y="11805"/>
                  <a:pt x="20781" y="11275"/>
                  <a:pt x="20961" y="10746"/>
                </a:cubicBezTo>
                <a:cubicBezTo>
                  <a:pt x="21333" y="9699"/>
                  <a:pt x="21581" y="8674"/>
                  <a:pt x="21806" y="7716"/>
                </a:cubicBezTo>
                <a:cubicBezTo>
                  <a:pt x="22031" y="6748"/>
                  <a:pt x="22200" y="5847"/>
                  <a:pt x="22347" y="5024"/>
                </a:cubicBezTo>
                <a:cubicBezTo>
                  <a:pt x="22482" y="4191"/>
                  <a:pt x="22594" y="3447"/>
                  <a:pt x="22673" y="2783"/>
                </a:cubicBezTo>
                <a:cubicBezTo>
                  <a:pt x="22707" y="2456"/>
                  <a:pt x="22752" y="2141"/>
                  <a:pt x="22752" y="1859"/>
                </a:cubicBezTo>
                <a:cubicBezTo>
                  <a:pt x="22763" y="1566"/>
                  <a:pt x="22741" y="1307"/>
                  <a:pt x="22684" y="1071"/>
                </a:cubicBezTo>
                <a:cubicBezTo>
                  <a:pt x="22594" y="609"/>
                  <a:pt x="22369" y="282"/>
                  <a:pt x="22155" y="147"/>
                </a:cubicBezTo>
                <a:cubicBezTo>
                  <a:pt x="22110" y="102"/>
                  <a:pt x="22054" y="91"/>
                  <a:pt x="22009" y="68"/>
                </a:cubicBezTo>
                <a:cubicBezTo>
                  <a:pt x="21975" y="35"/>
                  <a:pt x="21930" y="35"/>
                  <a:pt x="21896" y="23"/>
                </a:cubicBezTo>
                <a:cubicBezTo>
                  <a:pt x="21840" y="1"/>
                  <a:pt x="21806" y="1"/>
                  <a:pt x="21806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3"/>
          <p:cNvSpPr/>
          <p:nvPr/>
        </p:nvSpPr>
        <p:spPr>
          <a:xfrm>
            <a:off x="8440332" y="-14850"/>
            <a:ext cx="713100" cy="51732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25" name="Google Shape;25;p3"/>
          <p:cNvPicPr preferRelativeResize="0"/>
          <p:nvPr/>
        </p:nvPicPr>
        <p:blipFill rotWithShape="1">
          <a:blip r:embed="rId2">
            <a:alphaModFix amt="38000"/>
          </a:blip>
          <a:srcRect l="49686" t="4540" r="1710" b="3165"/>
          <a:stretch/>
        </p:blipFill>
        <p:spPr>
          <a:xfrm>
            <a:off x="8440300" y="-14850"/>
            <a:ext cx="713165" cy="5173200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26;p3"/>
          <p:cNvSpPr/>
          <p:nvPr/>
        </p:nvSpPr>
        <p:spPr>
          <a:xfrm>
            <a:off x="-16498" y="-14850"/>
            <a:ext cx="3323100" cy="51732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27" name="Google Shape;27;p3"/>
          <p:cNvPicPr preferRelativeResize="0"/>
          <p:nvPr/>
        </p:nvPicPr>
        <p:blipFill rotWithShape="1">
          <a:blip r:embed="rId2">
            <a:alphaModFix amt="38000"/>
          </a:blip>
          <a:srcRect l="49686" t="4540" r="1710" b="3165"/>
          <a:stretch/>
        </p:blipFill>
        <p:spPr>
          <a:xfrm>
            <a:off x="-16498" y="-14850"/>
            <a:ext cx="3323100" cy="51732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5"/>
          <p:cNvSpPr/>
          <p:nvPr/>
        </p:nvSpPr>
        <p:spPr>
          <a:xfrm>
            <a:off x="-896628" y="-803402"/>
            <a:ext cx="3016002" cy="2360795"/>
          </a:xfrm>
          <a:custGeom>
            <a:avLst/>
            <a:gdLst/>
            <a:ahLst/>
            <a:cxnLst/>
            <a:rect l="l" t="t" r="r" b="b"/>
            <a:pathLst>
              <a:path w="22764" h="17819" extrusionOk="0">
                <a:moveTo>
                  <a:pt x="0" y="12199"/>
                </a:moveTo>
                <a:lnTo>
                  <a:pt x="0" y="12210"/>
                </a:lnTo>
                <a:cubicBezTo>
                  <a:pt x="0" y="12210"/>
                  <a:pt x="3" y="12211"/>
                  <a:pt x="7" y="12213"/>
                </a:cubicBezTo>
                <a:lnTo>
                  <a:pt x="7" y="12213"/>
                </a:lnTo>
                <a:cubicBezTo>
                  <a:pt x="2" y="12207"/>
                  <a:pt x="0" y="12203"/>
                  <a:pt x="0" y="12199"/>
                </a:cubicBezTo>
                <a:close/>
                <a:moveTo>
                  <a:pt x="21806" y="1"/>
                </a:moveTo>
                <a:cubicBezTo>
                  <a:pt x="21806" y="1"/>
                  <a:pt x="21840" y="12"/>
                  <a:pt x="21896" y="35"/>
                </a:cubicBezTo>
                <a:cubicBezTo>
                  <a:pt x="21930" y="46"/>
                  <a:pt x="21964" y="57"/>
                  <a:pt x="21997" y="80"/>
                </a:cubicBezTo>
                <a:cubicBezTo>
                  <a:pt x="22042" y="102"/>
                  <a:pt x="22087" y="125"/>
                  <a:pt x="22133" y="170"/>
                </a:cubicBezTo>
                <a:cubicBezTo>
                  <a:pt x="22335" y="305"/>
                  <a:pt x="22549" y="620"/>
                  <a:pt x="22628" y="1082"/>
                </a:cubicBezTo>
                <a:cubicBezTo>
                  <a:pt x="22673" y="1307"/>
                  <a:pt x="22696" y="1566"/>
                  <a:pt x="22684" y="1848"/>
                </a:cubicBezTo>
                <a:cubicBezTo>
                  <a:pt x="22673" y="2130"/>
                  <a:pt x="22628" y="2445"/>
                  <a:pt x="22583" y="2772"/>
                </a:cubicBezTo>
                <a:cubicBezTo>
                  <a:pt x="22504" y="3425"/>
                  <a:pt x="22392" y="4180"/>
                  <a:pt x="22245" y="5002"/>
                </a:cubicBezTo>
                <a:cubicBezTo>
                  <a:pt x="22099" y="5824"/>
                  <a:pt x="21907" y="6725"/>
                  <a:pt x="21693" y="7682"/>
                </a:cubicBezTo>
                <a:cubicBezTo>
                  <a:pt x="21457" y="8640"/>
                  <a:pt x="21198" y="9665"/>
                  <a:pt x="20837" y="10701"/>
                </a:cubicBezTo>
                <a:cubicBezTo>
                  <a:pt x="20657" y="11219"/>
                  <a:pt x="20443" y="11748"/>
                  <a:pt x="20207" y="12278"/>
                </a:cubicBezTo>
                <a:cubicBezTo>
                  <a:pt x="19959" y="12796"/>
                  <a:pt x="19677" y="13314"/>
                  <a:pt x="19351" y="13821"/>
                </a:cubicBezTo>
                <a:cubicBezTo>
                  <a:pt x="18708" y="14823"/>
                  <a:pt x="17830" y="15747"/>
                  <a:pt x="16760" y="16423"/>
                </a:cubicBezTo>
                <a:cubicBezTo>
                  <a:pt x="16219" y="16749"/>
                  <a:pt x="15645" y="17008"/>
                  <a:pt x="15059" y="17211"/>
                </a:cubicBezTo>
                <a:cubicBezTo>
                  <a:pt x="14473" y="17403"/>
                  <a:pt x="13877" y="17527"/>
                  <a:pt x="13280" y="17605"/>
                </a:cubicBezTo>
                <a:cubicBezTo>
                  <a:pt x="12840" y="17656"/>
                  <a:pt x="12395" y="17681"/>
                  <a:pt x="11957" y="17681"/>
                </a:cubicBezTo>
                <a:cubicBezTo>
                  <a:pt x="11811" y="17681"/>
                  <a:pt x="11666" y="17679"/>
                  <a:pt x="11523" y="17673"/>
                </a:cubicBezTo>
                <a:cubicBezTo>
                  <a:pt x="11376" y="17662"/>
                  <a:pt x="11241" y="17650"/>
                  <a:pt x="11095" y="17650"/>
                </a:cubicBezTo>
                <a:lnTo>
                  <a:pt x="10881" y="17628"/>
                </a:lnTo>
                <a:lnTo>
                  <a:pt x="10666" y="17605"/>
                </a:lnTo>
                <a:cubicBezTo>
                  <a:pt x="10531" y="17583"/>
                  <a:pt x="10396" y="17572"/>
                  <a:pt x="10250" y="17549"/>
                </a:cubicBezTo>
                <a:cubicBezTo>
                  <a:pt x="10115" y="17527"/>
                  <a:pt x="9979" y="17504"/>
                  <a:pt x="9844" y="17481"/>
                </a:cubicBezTo>
                <a:cubicBezTo>
                  <a:pt x="8752" y="17301"/>
                  <a:pt x="7761" y="16941"/>
                  <a:pt x="6860" y="16569"/>
                </a:cubicBezTo>
                <a:cubicBezTo>
                  <a:pt x="5947" y="16197"/>
                  <a:pt x="5136" y="15758"/>
                  <a:pt x="4415" y="15330"/>
                </a:cubicBezTo>
                <a:cubicBezTo>
                  <a:pt x="3706" y="14902"/>
                  <a:pt x="3075" y="14474"/>
                  <a:pt x="2534" y="14091"/>
                </a:cubicBezTo>
                <a:cubicBezTo>
                  <a:pt x="1994" y="13708"/>
                  <a:pt x="1532" y="13359"/>
                  <a:pt x="1160" y="13078"/>
                </a:cubicBezTo>
                <a:cubicBezTo>
                  <a:pt x="789" y="12796"/>
                  <a:pt x="507" y="12582"/>
                  <a:pt x="304" y="12424"/>
                </a:cubicBezTo>
                <a:cubicBezTo>
                  <a:pt x="203" y="12357"/>
                  <a:pt x="135" y="12300"/>
                  <a:pt x="79" y="12255"/>
                </a:cubicBezTo>
                <a:cubicBezTo>
                  <a:pt x="46" y="12231"/>
                  <a:pt x="19" y="12218"/>
                  <a:pt x="7" y="12213"/>
                </a:cubicBezTo>
                <a:lnTo>
                  <a:pt x="7" y="12213"/>
                </a:lnTo>
                <a:cubicBezTo>
                  <a:pt x="18" y="12226"/>
                  <a:pt x="40" y="12243"/>
                  <a:pt x="79" y="12267"/>
                </a:cubicBezTo>
                <a:cubicBezTo>
                  <a:pt x="124" y="12312"/>
                  <a:pt x="192" y="12368"/>
                  <a:pt x="293" y="12447"/>
                </a:cubicBezTo>
                <a:cubicBezTo>
                  <a:pt x="484" y="12604"/>
                  <a:pt x="766" y="12830"/>
                  <a:pt x="1138" y="13123"/>
                </a:cubicBezTo>
                <a:cubicBezTo>
                  <a:pt x="1498" y="13415"/>
                  <a:pt x="1949" y="13765"/>
                  <a:pt x="2489" y="14159"/>
                </a:cubicBezTo>
                <a:cubicBezTo>
                  <a:pt x="3030" y="14553"/>
                  <a:pt x="3649" y="14981"/>
                  <a:pt x="4370" y="15420"/>
                </a:cubicBezTo>
                <a:cubicBezTo>
                  <a:pt x="5091" y="15860"/>
                  <a:pt x="5902" y="16299"/>
                  <a:pt x="6814" y="16682"/>
                </a:cubicBezTo>
                <a:cubicBezTo>
                  <a:pt x="7727" y="17065"/>
                  <a:pt x="8729" y="17425"/>
                  <a:pt x="9822" y="17617"/>
                </a:cubicBezTo>
                <a:cubicBezTo>
                  <a:pt x="9957" y="17639"/>
                  <a:pt x="10103" y="17662"/>
                  <a:pt x="10238" y="17684"/>
                </a:cubicBezTo>
                <a:cubicBezTo>
                  <a:pt x="10374" y="17707"/>
                  <a:pt x="10520" y="17718"/>
                  <a:pt x="10655" y="17741"/>
                </a:cubicBezTo>
                <a:lnTo>
                  <a:pt x="10869" y="17763"/>
                </a:lnTo>
                <a:lnTo>
                  <a:pt x="11083" y="17786"/>
                </a:lnTo>
                <a:cubicBezTo>
                  <a:pt x="11230" y="17797"/>
                  <a:pt x="11376" y="17808"/>
                  <a:pt x="11523" y="17808"/>
                </a:cubicBezTo>
                <a:cubicBezTo>
                  <a:pt x="11700" y="17815"/>
                  <a:pt x="11878" y="17819"/>
                  <a:pt x="12057" y="17819"/>
                </a:cubicBezTo>
                <a:cubicBezTo>
                  <a:pt x="12470" y="17819"/>
                  <a:pt x="12886" y="17799"/>
                  <a:pt x="13302" y="17752"/>
                </a:cubicBezTo>
                <a:cubicBezTo>
                  <a:pt x="13910" y="17662"/>
                  <a:pt x="14519" y="17538"/>
                  <a:pt x="15116" y="17346"/>
                </a:cubicBezTo>
                <a:cubicBezTo>
                  <a:pt x="15701" y="17144"/>
                  <a:pt x="16287" y="16873"/>
                  <a:pt x="16839" y="16547"/>
                </a:cubicBezTo>
                <a:cubicBezTo>
                  <a:pt x="17931" y="15848"/>
                  <a:pt x="18821" y="14913"/>
                  <a:pt x="19474" y="13900"/>
                </a:cubicBezTo>
                <a:cubicBezTo>
                  <a:pt x="19801" y="13382"/>
                  <a:pt x="20094" y="12864"/>
                  <a:pt x="20330" y="12334"/>
                </a:cubicBezTo>
                <a:cubicBezTo>
                  <a:pt x="20578" y="11805"/>
                  <a:pt x="20781" y="11275"/>
                  <a:pt x="20961" y="10746"/>
                </a:cubicBezTo>
                <a:cubicBezTo>
                  <a:pt x="21333" y="9699"/>
                  <a:pt x="21581" y="8674"/>
                  <a:pt x="21806" y="7716"/>
                </a:cubicBezTo>
                <a:cubicBezTo>
                  <a:pt x="22031" y="6748"/>
                  <a:pt x="22200" y="5847"/>
                  <a:pt x="22347" y="5024"/>
                </a:cubicBezTo>
                <a:cubicBezTo>
                  <a:pt x="22482" y="4191"/>
                  <a:pt x="22594" y="3447"/>
                  <a:pt x="22673" y="2783"/>
                </a:cubicBezTo>
                <a:cubicBezTo>
                  <a:pt x="22707" y="2456"/>
                  <a:pt x="22752" y="2141"/>
                  <a:pt x="22752" y="1859"/>
                </a:cubicBezTo>
                <a:cubicBezTo>
                  <a:pt x="22763" y="1566"/>
                  <a:pt x="22741" y="1307"/>
                  <a:pt x="22684" y="1071"/>
                </a:cubicBezTo>
                <a:cubicBezTo>
                  <a:pt x="22594" y="609"/>
                  <a:pt x="22369" y="282"/>
                  <a:pt x="22155" y="147"/>
                </a:cubicBezTo>
                <a:cubicBezTo>
                  <a:pt x="22110" y="102"/>
                  <a:pt x="22054" y="91"/>
                  <a:pt x="22009" y="68"/>
                </a:cubicBezTo>
                <a:cubicBezTo>
                  <a:pt x="21975" y="35"/>
                  <a:pt x="21930" y="35"/>
                  <a:pt x="21896" y="23"/>
                </a:cubicBezTo>
                <a:cubicBezTo>
                  <a:pt x="21840" y="1"/>
                  <a:pt x="21806" y="1"/>
                  <a:pt x="21806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" name="Google Shape;39;p5"/>
          <p:cNvSpPr/>
          <p:nvPr/>
        </p:nvSpPr>
        <p:spPr>
          <a:xfrm>
            <a:off x="6809058" y="-446000"/>
            <a:ext cx="5829218" cy="2360794"/>
          </a:xfrm>
          <a:custGeom>
            <a:avLst/>
            <a:gdLst/>
            <a:ahLst/>
            <a:cxnLst/>
            <a:rect l="l" t="t" r="r" b="b"/>
            <a:pathLst>
              <a:path w="57117" h="23132" extrusionOk="0">
                <a:moveTo>
                  <a:pt x="3086" y="1"/>
                </a:moveTo>
                <a:cubicBezTo>
                  <a:pt x="3086" y="1"/>
                  <a:pt x="3075" y="12"/>
                  <a:pt x="3052" y="46"/>
                </a:cubicBezTo>
                <a:cubicBezTo>
                  <a:pt x="3075" y="23"/>
                  <a:pt x="3086" y="1"/>
                  <a:pt x="3086" y="1"/>
                </a:cubicBezTo>
                <a:close/>
                <a:moveTo>
                  <a:pt x="3052" y="46"/>
                </a:moveTo>
                <a:cubicBezTo>
                  <a:pt x="3030" y="80"/>
                  <a:pt x="2996" y="125"/>
                  <a:pt x="2962" y="181"/>
                </a:cubicBezTo>
                <a:cubicBezTo>
                  <a:pt x="2883" y="305"/>
                  <a:pt x="2760" y="474"/>
                  <a:pt x="2613" y="710"/>
                </a:cubicBezTo>
                <a:cubicBezTo>
                  <a:pt x="2320" y="1183"/>
                  <a:pt x="1904" y="1893"/>
                  <a:pt x="1442" y="2850"/>
                </a:cubicBezTo>
                <a:cubicBezTo>
                  <a:pt x="1217" y="3335"/>
                  <a:pt x="991" y="3875"/>
                  <a:pt x="777" y="4483"/>
                </a:cubicBezTo>
                <a:cubicBezTo>
                  <a:pt x="563" y="5092"/>
                  <a:pt x="361" y="5767"/>
                  <a:pt x="225" y="6511"/>
                </a:cubicBezTo>
                <a:cubicBezTo>
                  <a:pt x="90" y="7254"/>
                  <a:pt x="0" y="8065"/>
                  <a:pt x="23" y="8921"/>
                </a:cubicBezTo>
                <a:cubicBezTo>
                  <a:pt x="56" y="9777"/>
                  <a:pt x="203" y="10678"/>
                  <a:pt x="518" y="11579"/>
                </a:cubicBezTo>
                <a:cubicBezTo>
                  <a:pt x="822" y="12480"/>
                  <a:pt x="1273" y="13393"/>
                  <a:pt x="1926" y="14204"/>
                </a:cubicBezTo>
                <a:cubicBezTo>
                  <a:pt x="2241" y="14609"/>
                  <a:pt x="2624" y="14981"/>
                  <a:pt x="3041" y="15330"/>
                </a:cubicBezTo>
                <a:cubicBezTo>
                  <a:pt x="3154" y="15420"/>
                  <a:pt x="3255" y="15499"/>
                  <a:pt x="3368" y="15578"/>
                </a:cubicBezTo>
                <a:cubicBezTo>
                  <a:pt x="3424" y="15623"/>
                  <a:pt x="3480" y="15668"/>
                  <a:pt x="3537" y="15702"/>
                </a:cubicBezTo>
                <a:lnTo>
                  <a:pt x="3706" y="15803"/>
                </a:lnTo>
                <a:cubicBezTo>
                  <a:pt x="3942" y="15961"/>
                  <a:pt x="4190" y="16073"/>
                  <a:pt x="4449" y="16209"/>
                </a:cubicBezTo>
                <a:cubicBezTo>
                  <a:pt x="4573" y="16265"/>
                  <a:pt x="4708" y="16310"/>
                  <a:pt x="4832" y="16366"/>
                </a:cubicBezTo>
                <a:lnTo>
                  <a:pt x="5035" y="16445"/>
                </a:lnTo>
                <a:lnTo>
                  <a:pt x="5238" y="16501"/>
                </a:lnTo>
                <a:cubicBezTo>
                  <a:pt x="5384" y="16535"/>
                  <a:pt x="5519" y="16569"/>
                  <a:pt x="5654" y="16614"/>
                </a:cubicBezTo>
                <a:cubicBezTo>
                  <a:pt x="5801" y="16637"/>
                  <a:pt x="5947" y="16659"/>
                  <a:pt x="6082" y="16682"/>
                </a:cubicBezTo>
                <a:lnTo>
                  <a:pt x="6296" y="16727"/>
                </a:lnTo>
                <a:cubicBezTo>
                  <a:pt x="6375" y="16738"/>
                  <a:pt x="6443" y="16738"/>
                  <a:pt x="6522" y="16738"/>
                </a:cubicBezTo>
                <a:cubicBezTo>
                  <a:pt x="6668" y="16749"/>
                  <a:pt x="6814" y="16760"/>
                  <a:pt x="6961" y="16772"/>
                </a:cubicBezTo>
                <a:cubicBezTo>
                  <a:pt x="7107" y="16772"/>
                  <a:pt x="7254" y="16772"/>
                  <a:pt x="7400" y="16760"/>
                </a:cubicBezTo>
                <a:lnTo>
                  <a:pt x="7625" y="16760"/>
                </a:lnTo>
                <a:cubicBezTo>
                  <a:pt x="7693" y="16760"/>
                  <a:pt x="7772" y="16738"/>
                  <a:pt x="7851" y="16738"/>
                </a:cubicBezTo>
                <a:lnTo>
                  <a:pt x="8290" y="16682"/>
                </a:lnTo>
                <a:cubicBezTo>
                  <a:pt x="8436" y="16659"/>
                  <a:pt x="8594" y="16625"/>
                  <a:pt x="8740" y="16603"/>
                </a:cubicBezTo>
                <a:lnTo>
                  <a:pt x="8966" y="16558"/>
                </a:lnTo>
                <a:lnTo>
                  <a:pt x="9180" y="16490"/>
                </a:lnTo>
                <a:cubicBezTo>
                  <a:pt x="9326" y="16456"/>
                  <a:pt x="9473" y="16411"/>
                  <a:pt x="9630" y="16366"/>
                </a:cubicBezTo>
                <a:cubicBezTo>
                  <a:pt x="9765" y="16321"/>
                  <a:pt x="9912" y="16265"/>
                  <a:pt x="10058" y="16220"/>
                </a:cubicBezTo>
                <a:cubicBezTo>
                  <a:pt x="10137" y="16197"/>
                  <a:pt x="10205" y="16163"/>
                  <a:pt x="10283" y="16141"/>
                </a:cubicBezTo>
                <a:lnTo>
                  <a:pt x="10497" y="16051"/>
                </a:lnTo>
                <a:cubicBezTo>
                  <a:pt x="10633" y="15995"/>
                  <a:pt x="10779" y="15927"/>
                  <a:pt x="10925" y="15871"/>
                </a:cubicBezTo>
                <a:lnTo>
                  <a:pt x="11342" y="15657"/>
                </a:lnTo>
                <a:cubicBezTo>
                  <a:pt x="11489" y="15589"/>
                  <a:pt x="11624" y="15521"/>
                  <a:pt x="11770" y="15443"/>
                </a:cubicBezTo>
                <a:cubicBezTo>
                  <a:pt x="11905" y="15364"/>
                  <a:pt x="12041" y="15285"/>
                  <a:pt x="12176" y="15206"/>
                </a:cubicBezTo>
                <a:cubicBezTo>
                  <a:pt x="12446" y="15037"/>
                  <a:pt x="12728" y="14879"/>
                  <a:pt x="12987" y="14688"/>
                </a:cubicBezTo>
                <a:cubicBezTo>
                  <a:pt x="13527" y="14328"/>
                  <a:pt x="14034" y="13922"/>
                  <a:pt x="14541" y="13505"/>
                </a:cubicBezTo>
                <a:cubicBezTo>
                  <a:pt x="15532" y="12649"/>
                  <a:pt x="16478" y="11692"/>
                  <a:pt x="17447" y="10735"/>
                </a:cubicBezTo>
                <a:cubicBezTo>
                  <a:pt x="18416" y="9777"/>
                  <a:pt x="19407" y="8809"/>
                  <a:pt x="20511" y="7941"/>
                </a:cubicBezTo>
                <a:cubicBezTo>
                  <a:pt x="21062" y="7513"/>
                  <a:pt x="21648" y="7119"/>
                  <a:pt x="22268" y="6759"/>
                </a:cubicBezTo>
                <a:cubicBezTo>
                  <a:pt x="22572" y="6578"/>
                  <a:pt x="22898" y="6432"/>
                  <a:pt x="23214" y="6274"/>
                </a:cubicBezTo>
                <a:cubicBezTo>
                  <a:pt x="23383" y="6207"/>
                  <a:pt x="23540" y="6139"/>
                  <a:pt x="23709" y="6072"/>
                </a:cubicBezTo>
                <a:cubicBezTo>
                  <a:pt x="23878" y="6004"/>
                  <a:pt x="24047" y="5936"/>
                  <a:pt x="24216" y="5880"/>
                </a:cubicBezTo>
                <a:cubicBezTo>
                  <a:pt x="25343" y="5517"/>
                  <a:pt x="26516" y="5339"/>
                  <a:pt x="27678" y="5339"/>
                </a:cubicBezTo>
                <a:cubicBezTo>
                  <a:pt x="27921" y="5339"/>
                  <a:pt x="28164" y="5346"/>
                  <a:pt x="28406" y="5362"/>
                </a:cubicBezTo>
                <a:cubicBezTo>
                  <a:pt x="29803" y="5463"/>
                  <a:pt x="31154" y="5801"/>
                  <a:pt x="32393" y="6353"/>
                </a:cubicBezTo>
                <a:cubicBezTo>
                  <a:pt x="33632" y="6894"/>
                  <a:pt x="34759" y="7648"/>
                  <a:pt x="35671" y="8583"/>
                </a:cubicBezTo>
                <a:cubicBezTo>
                  <a:pt x="36595" y="9507"/>
                  <a:pt x="37293" y="10588"/>
                  <a:pt x="37901" y="11669"/>
                </a:cubicBezTo>
                <a:cubicBezTo>
                  <a:pt x="38498" y="12762"/>
                  <a:pt x="39005" y="13877"/>
                  <a:pt x="39500" y="14958"/>
                </a:cubicBezTo>
                <a:cubicBezTo>
                  <a:pt x="39996" y="16028"/>
                  <a:pt x="40492" y="17076"/>
                  <a:pt x="41055" y="18044"/>
                </a:cubicBezTo>
                <a:cubicBezTo>
                  <a:pt x="41336" y="18529"/>
                  <a:pt x="41629" y="18991"/>
                  <a:pt x="41945" y="19430"/>
                </a:cubicBezTo>
                <a:cubicBezTo>
                  <a:pt x="42260" y="19858"/>
                  <a:pt x="42609" y="20275"/>
                  <a:pt x="42970" y="20635"/>
                </a:cubicBezTo>
                <a:cubicBezTo>
                  <a:pt x="43150" y="20826"/>
                  <a:pt x="43353" y="20995"/>
                  <a:pt x="43544" y="21164"/>
                </a:cubicBezTo>
                <a:cubicBezTo>
                  <a:pt x="43735" y="21322"/>
                  <a:pt x="43938" y="21480"/>
                  <a:pt x="44141" y="21626"/>
                </a:cubicBezTo>
                <a:cubicBezTo>
                  <a:pt x="44546" y="21908"/>
                  <a:pt x="44974" y="22156"/>
                  <a:pt x="45414" y="22347"/>
                </a:cubicBezTo>
                <a:cubicBezTo>
                  <a:pt x="45842" y="22538"/>
                  <a:pt x="46281" y="22696"/>
                  <a:pt x="46720" y="22809"/>
                </a:cubicBezTo>
                <a:cubicBezTo>
                  <a:pt x="47160" y="22921"/>
                  <a:pt x="47599" y="23000"/>
                  <a:pt x="48016" y="23057"/>
                </a:cubicBezTo>
                <a:cubicBezTo>
                  <a:pt x="48458" y="23109"/>
                  <a:pt x="48888" y="23131"/>
                  <a:pt x="49305" y="23131"/>
                </a:cubicBezTo>
                <a:cubicBezTo>
                  <a:pt x="49695" y="23131"/>
                  <a:pt x="50072" y="23112"/>
                  <a:pt x="50437" y="23079"/>
                </a:cubicBezTo>
                <a:cubicBezTo>
                  <a:pt x="51935" y="22933"/>
                  <a:pt x="53197" y="22550"/>
                  <a:pt x="54165" y="22110"/>
                </a:cubicBezTo>
                <a:cubicBezTo>
                  <a:pt x="54650" y="21896"/>
                  <a:pt x="55066" y="21682"/>
                  <a:pt x="55427" y="21491"/>
                </a:cubicBezTo>
                <a:cubicBezTo>
                  <a:pt x="55798" y="21311"/>
                  <a:pt x="56103" y="21153"/>
                  <a:pt x="56350" y="21029"/>
                </a:cubicBezTo>
                <a:cubicBezTo>
                  <a:pt x="56598" y="20905"/>
                  <a:pt x="56790" y="20804"/>
                  <a:pt x="56925" y="20748"/>
                </a:cubicBezTo>
                <a:cubicBezTo>
                  <a:pt x="56981" y="20714"/>
                  <a:pt x="57026" y="20691"/>
                  <a:pt x="57060" y="20669"/>
                </a:cubicBezTo>
                <a:cubicBezTo>
                  <a:pt x="57094" y="20658"/>
                  <a:pt x="57116" y="20646"/>
                  <a:pt x="57116" y="20646"/>
                </a:cubicBezTo>
                <a:cubicBezTo>
                  <a:pt x="57116" y="20643"/>
                  <a:pt x="57114" y="20642"/>
                  <a:pt x="57111" y="20642"/>
                </a:cubicBezTo>
                <a:cubicBezTo>
                  <a:pt x="57102" y="20642"/>
                  <a:pt x="57084" y="20650"/>
                  <a:pt x="57060" y="20658"/>
                </a:cubicBezTo>
                <a:cubicBezTo>
                  <a:pt x="57026" y="20680"/>
                  <a:pt x="56981" y="20703"/>
                  <a:pt x="56914" y="20725"/>
                </a:cubicBezTo>
                <a:cubicBezTo>
                  <a:pt x="56790" y="20781"/>
                  <a:pt x="56587" y="20872"/>
                  <a:pt x="56339" y="20995"/>
                </a:cubicBezTo>
                <a:cubicBezTo>
                  <a:pt x="56091" y="21119"/>
                  <a:pt x="55776" y="21266"/>
                  <a:pt x="55416" y="21446"/>
                </a:cubicBezTo>
                <a:cubicBezTo>
                  <a:pt x="55044" y="21626"/>
                  <a:pt x="54627" y="21840"/>
                  <a:pt x="54143" y="22054"/>
                </a:cubicBezTo>
                <a:cubicBezTo>
                  <a:pt x="53174" y="22482"/>
                  <a:pt x="51924" y="22854"/>
                  <a:pt x="50426" y="22989"/>
                </a:cubicBezTo>
                <a:cubicBezTo>
                  <a:pt x="50092" y="23019"/>
                  <a:pt x="49744" y="23036"/>
                  <a:pt x="49386" y="23036"/>
                </a:cubicBezTo>
                <a:cubicBezTo>
                  <a:pt x="48947" y="23036"/>
                  <a:pt x="48492" y="23011"/>
                  <a:pt x="48027" y="22955"/>
                </a:cubicBezTo>
                <a:cubicBezTo>
                  <a:pt x="47610" y="22899"/>
                  <a:pt x="47182" y="22820"/>
                  <a:pt x="46743" y="22707"/>
                </a:cubicBezTo>
                <a:cubicBezTo>
                  <a:pt x="46315" y="22595"/>
                  <a:pt x="45876" y="22437"/>
                  <a:pt x="45448" y="22246"/>
                </a:cubicBezTo>
                <a:cubicBezTo>
                  <a:pt x="45020" y="22054"/>
                  <a:pt x="44603" y="21806"/>
                  <a:pt x="44197" y="21525"/>
                </a:cubicBezTo>
                <a:cubicBezTo>
                  <a:pt x="43995" y="21390"/>
                  <a:pt x="43803" y="21232"/>
                  <a:pt x="43612" y="21074"/>
                </a:cubicBezTo>
                <a:cubicBezTo>
                  <a:pt x="43420" y="20905"/>
                  <a:pt x="43229" y="20736"/>
                  <a:pt x="43060" y="20556"/>
                </a:cubicBezTo>
                <a:cubicBezTo>
                  <a:pt x="42699" y="20184"/>
                  <a:pt x="42350" y="19779"/>
                  <a:pt x="42035" y="19351"/>
                </a:cubicBezTo>
                <a:cubicBezTo>
                  <a:pt x="41731" y="18923"/>
                  <a:pt x="41438" y="18461"/>
                  <a:pt x="41156" y="17977"/>
                </a:cubicBezTo>
                <a:cubicBezTo>
                  <a:pt x="40604" y="17019"/>
                  <a:pt x="40120" y="15972"/>
                  <a:pt x="39624" y="14891"/>
                </a:cubicBezTo>
                <a:cubicBezTo>
                  <a:pt x="39129" y="13821"/>
                  <a:pt x="38622" y="12706"/>
                  <a:pt x="38014" y="11602"/>
                </a:cubicBezTo>
                <a:cubicBezTo>
                  <a:pt x="37406" y="10509"/>
                  <a:pt x="36707" y="9417"/>
                  <a:pt x="35761" y="8482"/>
                </a:cubicBezTo>
                <a:cubicBezTo>
                  <a:pt x="34837" y="7536"/>
                  <a:pt x="33700" y="6770"/>
                  <a:pt x="32450" y="6218"/>
                </a:cubicBezTo>
                <a:cubicBezTo>
                  <a:pt x="31199" y="5655"/>
                  <a:pt x="29825" y="5306"/>
                  <a:pt x="28417" y="5204"/>
                </a:cubicBezTo>
                <a:cubicBezTo>
                  <a:pt x="28173" y="5189"/>
                  <a:pt x="27929" y="5181"/>
                  <a:pt x="27684" y="5181"/>
                </a:cubicBezTo>
                <a:cubicBezTo>
                  <a:pt x="26504" y="5181"/>
                  <a:pt x="25318" y="5363"/>
                  <a:pt x="24171" y="5745"/>
                </a:cubicBezTo>
                <a:cubicBezTo>
                  <a:pt x="23991" y="5790"/>
                  <a:pt x="23822" y="5858"/>
                  <a:pt x="23653" y="5925"/>
                </a:cubicBezTo>
                <a:cubicBezTo>
                  <a:pt x="23484" y="5993"/>
                  <a:pt x="23326" y="6072"/>
                  <a:pt x="23157" y="6139"/>
                </a:cubicBezTo>
                <a:cubicBezTo>
                  <a:pt x="22831" y="6297"/>
                  <a:pt x="22504" y="6443"/>
                  <a:pt x="22200" y="6635"/>
                </a:cubicBezTo>
                <a:cubicBezTo>
                  <a:pt x="21569" y="6984"/>
                  <a:pt x="20984" y="7389"/>
                  <a:pt x="20432" y="7829"/>
                </a:cubicBezTo>
                <a:cubicBezTo>
                  <a:pt x="19305" y="8696"/>
                  <a:pt x="18314" y="9665"/>
                  <a:pt x="17346" y="10622"/>
                </a:cubicBezTo>
                <a:cubicBezTo>
                  <a:pt x="16377" y="11579"/>
                  <a:pt x="15442" y="12537"/>
                  <a:pt x="14451" y="13393"/>
                </a:cubicBezTo>
                <a:cubicBezTo>
                  <a:pt x="13944" y="13809"/>
                  <a:pt x="13437" y="14215"/>
                  <a:pt x="12908" y="14564"/>
                </a:cubicBezTo>
                <a:cubicBezTo>
                  <a:pt x="12649" y="14756"/>
                  <a:pt x="12378" y="14913"/>
                  <a:pt x="12108" y="15082"/>
                </a:cubicBezTo>
                <a:cubicBezTo>
                  <a:pt x="11973" y="15161"/>
                  <a:pt x="11838" y="15240"/>
                  <a:pt x="11703" y="15319"/>
                </a:cubicBezTo>
                <a:cubicBezTo>
                  <a:pt x="11567" y="15398"/>
                  <a:pt x="11421" y="15465"/>
                  <a:pt x="11286" y="15533"/>
                </a:cubicBezTo>
                <a:cubicBezTo>
                  <a:pt x="11151" y="15600"/>
                  <a:pt x="11004" y="15668"/>
                  <a:pt x="10869" y="15747"/>
                </a:cubicBezTo>
                <a:cubicBezTo>
                  <a:pt x="10723" y="15803"/>
                  <a:pt x="10588" y="15859"/>
                  <a:pt x="10441" y="15927"/>
                </a:cubicBezTo>
                <a:lnTo>
                  <a:pt x="10227" y="16017"/>
                </a:lnTo>
                <a:cubicBezTo>
                  <a:pt x="10160" y="16040"/>
                  <a:pt x="10092" y="16062"/>
                  <a:pt x="10013" y="16096"/>
                </a:cubicBezTo>
                <a:cubicBezTo>
                  <a:pt x="9867" y="16141"/>
                  <a:pt x="9732" y="16197"/>
                  <a:pt x="9585" y="16242"/>
                </a:cubicBezTo>
                <a:cubicBezTo>
                  <a:pt x="9439" y="16287"/>
                  <a:pt x="9292" y="16321"/>
                  <a:pt x="9146" y="16366"/>
                </a:cubicBezTo>
                <a:lnTo>
                  <a:pt x="8932" y="16423"/>
                </a:lnTo>
                <a:lnTo>
                  <a:pt x="8707" y="16468"/>
                </a:lnTo>
                <a:cubicBezTo>
                  <a:pt x="8560" y="16490"/>
                  <a:pt x="8414" y="16524"/>
                  <a:pt x="8267" y="16558"/>
                </a:cubicBezTo>
                <a:lnTo>
                  <a:pt x="7828" y="16603"/>
                </a:lnTo>
                <a:cubicBezTo>
                  <a:pt x="7761" y="16614"/>
                  <a:pt x="7693" y="16625"/>
                  <a:pt x="7614" y="16625"/>
                </a:cubicBezTo>
                <a:lnTo>
                  <a:pt x="7400" y="16637"/>
                </a:lnTo>
                <a:cubicBezTo>
                  <a:pt x="7302" y="16637"/>
                  <a:pt x="7205" y="16642"/>
                  <a:pt x="7107" y="16642"/>
                </a:cubicBezTo>
                <a:cubicBezTo>
                  <a:pt x="7058" y="16642"/>
                  <a:pt x="7010" y="16640"/>
                  <a:pt x="6961" y="16637"/>
                </a:cubicBezTo>
                <a:cubicBezTo>
                  <a:pt x="6814" y="16625"/>
                  <a:pt x="6668" y="16625"/>
                  <a:pt x="6522" y="16614"/>
                </a:cubicBezTo>
                <a:cubicBezTo>
                  <a:pt x="6454" y="16603"/>
                  <a:pt x="6386" y="16603"/>
                  <a:pt x="6308" y="16591"/>
                </a:cubicBezTo>
                <a:lnTo>
                  <a:pt x="6105" y="16558"/>
                </a:lnTo>
                <a:cubicBezTo>
                  <a:pt x="5958" y="16535"/>
                  <a:pt x="5823" y="16513"/>
                  <a:pt x="5677" y="16490"/>
                </a:cubicBezTo>
                <a:cubicBezTo>
                  <a:pt x="5542" y="16456"/>
                  <a:pt x="5406" y="16411"/>
                  <a:pt x="5271" y="16377"/>
                </a:cubicBezTo>
                <a:lnTo>
                  <a:pt x="5069" y="16321"/>
                </a:lnTo>
                <a:lnTo>
                  <a:pt x="4877" y="16242"/>
                </a:lnTo>
                <a:cubicBezTo>
                  <a:pt x="4753" y="16197"/>
                  <a:pt x="4618" y="16152"/>
                  <a:pt x="4494" y="16096"/>
                </a:cubicBezTo>
                <a:cubicBezTo>
                  <a:pt x="4246" y="15972"/>
                  <a:pt x="3999" y="15859"/>
                  <a:pt x="3773" y="15702"/>
                </a:cubicBezTo>
                <a:lnTo>
                  <a:pt x="3604" y="15600"/>
                </a:lnTo>
                <a:cubicBezTo>
                  <a:pt x="3537" y="15567"/>
                  <a:pt x="3480" y="15521"/>
                  <a:pt x="3435" y="15488"/>
                </a:cubicBezTo>
                <a:cubicBezTo>
                  <a:pt x="3323" y="15398"/>
                  <a:pt x="3221" y="15319"/>
                  <a:pt x="3109" y="15240"/>
                </a:cubicBezTo>
                <a:cubicBezTo>
                  <a:pt x="2703" y="14902"/>
                  <a:pt x="2320" y="14530"/>
                  <a:pt x="2016" y="14125"/>
                </a:cubicBezTo>
                <a:cubicBezTo>
                  <a:pt x="1363" y="13325"/>
                  <a:pt x="912" y="12435"/>
                  <a:pt x="608" y="11546"/>
                </a:cubicBezTo>
                <a:cubicBezTo>
                  <a:pt x="304" y="10656"/>
                  <a:pt x="147" y="9766"/>
                  <a:pt x="113" y="8921"/>
                </a:cubicBezTo>
                <a:cubicBezTo>
                  <a:pt x="90" y="8065"/>
                  <a:pt x="169" y="7266"/>
                  <a:pt x="304" y="6522"/>
                </a:cubicBezTo>
                <a:cubicBezTo>
                  <a:pt x="428" y="5790"/>
                  <a:pt x="631" y="5114"/>
                  <a:pt x="834" y="4506"/>
                </a:cubicBezTo>
                <a:cubicBezTo>
                  <a:pt x="1048" y="3898"/>
                  <a:pt x="1273" y="3357"/>
                  <a:pt x="1498" y="2873"/>
                </a:cubicBezTo>
                <a:cubicBezTo>
                  <a:pt x="1937" y="1915"/>
                  <a:pt x="2354" y="1206"/>
                  <a:pt x="2647" y="733"/>
                </a:cubicBezTo>
                <a:cubicBezTo>
                  <a:pt x="2782" y="485"/>
                  <a:pt x="2895" y="316"/>
                  <a:pt x="2974" y="192"/>
                </a:cubicBezTo>
                <a:cubicBezTo>
                  <a:pt x="3007" y="125"/>
                  <a:pt x="3041" y="80"/>
                  <a:pt x="3052" y="46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" name="Google Shape;40;p5"/>
          <p:cNvSpPr/>
          <p:nvPr/>
        </p:nvSpPr>
        <p:spPr>
          <a:xfrm rot="867705">
            <a:off x="4940503" y="2839759"/>
            <a:ext cx="4525694" cy="2680880"/>
          </a:xfrm>
          <a:custGeom>
            <a:avLst/>
            <a:gdLst/>
            <a:ahLst/>
            <a:cxnLst/>
            <a:rect l="l" t="t" r="r" b="b"/>
            <a:pathLst>
              <a:path w="44344" h="26268" extrusionOk="0">
                <a:moveTo>
                  <a:pt x="0" y="25400"/>
                </a:moveTo>
                <a:cubicBezTo>
                  <a:pt x="0" y="25411"/>
                  <a:pt x="11" y="25411"/>
                  <a:pt x="34" y="25411"/>
                </a:cubicBezTo>
                <a:cubicBezTo>
                  <a:pt x="11" y="25400"/>
                  <a:pt x="0" y="25400"/>
                  <a:pt x="0" y="25400"/>
                </a:cubicBezTo>
                <a:close/>
                <a:moveTo>
                  <a:pt x="39805" y="1"/>
                </a:moveTo>
                <a:cubicBezTo>
                  <a:pt x="39748" y="1"/>
                  <a:pt x="39681" y="1"/>
                  <a:pt x="39613" y="12"/>
                </a:cubicBezTo>
                <a:cubicBezTo>
                  <a:pt x="39095" y="24"/>
                  <a:pt x="38532" y="102"/>
                  <a:pt x="37957" y="238"/>
                </a:cubicBezTo>
                <a:cubicBezTo>
                  <a:pt x="37372" y="373"/>
                  <a:pt x="36775" y="564"/>
                  <a:pt x="36178" y="834"/>
                </a:cubicBezTo>
                <a:cubicBezTo>
                  <a:pt x="34973" y="1375"/>
                  <a:pt x="33756" y="2197"/>
                  <a:pt x="32664" y="3301"/>
                </a:cubicBezTo>
                <a:cubicBezTo>
                  <a:pt x="31571" y="4394"/>
                  <a:pt x="30591" y="5745"/>
                  <a:pt x="29780" y="7288"/>
                </a:cubicBezTo>
                <a:cubicBezTo>
                  <a:pt x="28958" y="8820"/>
                  <a:pt x="28294" y="10532"/>
                  <a:pt x="27719" y="12334"/>
                </a:cubicBezTo>
                <a:cubicBezTo>
                  <a:pt x="27426" y="13224"/>
                  <a:pt x="27156" y="14148"/>
                  <a:pt x="26886" y="15082"/>
                </a:cubicBezTo>
                <a:cubicBezTo>
                  <a:pt x="26604" y="16017"/>
                  <a:pt x="26322" y="16963"/>
                  <a:pt x="25951" y="17887"/>
                </a:cubicBezTo>
                <a:cubicBezTo>
                  <a:pt x="25568" y="18811"/>
                  <a:pt x="25106" y="19689"/>
                  <a:pt x="24509" y="20444"/>
                </a:cubicBezTo>
                <a:cubicBezTo>
                  <a:pt x="23901" y="21198"/>
                  <a:pt x="23169" y="21829"/>
                  <a:pt x="22392" y="22347"/>
                </a:cubicBezTo>
                <a:cubicBezTo>
                  <a:pt x="21614" y="22877"/>
                  <a:pt x="20781" y="23293"/>
                  <a:pt x="19959" y="23654"/>
                </a:cubicBezTo>
                <a:cubicBezTo>
                  <a:pt x="19542" y="23823"/>
                  <a:pt x="19125" y="23992"/>
                  <a:pt x="18708" y="24149"/>
                </a:cubicBezTo>
                <a:cubicBezTo>
                  <a:pt x="18292" y="24285"/>
                  <a:pt x="17875" y="24442"/>
                  <a:pt x="17458" y="24566"/>
                </a:cubicBezTo>
                <a:cubicBezTo>
                  <a:pt x="14158" y="25625"/>
                  <a:pt x="11038" y="26053"/>
                  <a:pt x="8425" y="26143"/>
                </a:cubicBezTo>
                <a:cubicBezTo>
                  <a:pt x="8006" y="26157"/>
                  <a:pt x="7599" y="26164"/>
                  <a:pt x="7205" y="26164"/>
                </a:cubicBezTo>
                <a:cubicBezTo>
                  <a:pt x="5149" y="26164"/>
                  <a:pt x="3461" y="25983"/>
                  <a:pt x="2242" y="25794"/>
                </a:cubicBezTo>
                <a:cubicBezTo>
                  <a:pt x="1881" y="25738"/>
                  <a:pt x="1554" y="25692"/>
                  <a:pt x="1284" y="25647"/>
                </a:cubicBezTo>
                <a:cubicBezTo>
                  <a:pt x="1003" y="25591"/>
                  <a:pt x="766" y="25546"/>
                  <a:pt x="575" y="25512"/>
                </a:cubicBezTo>
                <a:cubicBezTo>
                  <a:pt x="394" y="25478"/>
                  <a:pt x="248" y="25445"/>
                  <a:pt x="147" y="25422"/>
                </a:cubicBezTo>
                <a:cubicBezTo>
                  <a:pt x="102" y="25422"/>
                  <a:pt x="68" y="25411"/>
                  <a:pt x="34" y="25411"/>
                </a:cubicBezTo>
                <a:cubicBezTo>
                  <a:pt x="68" y="25422"/>
                  <a:pt x="102" y="25433"/>
                  <a:pt x="147" y="25445"/>
                </a:cubicBezTo>
                <a:cubicBezTo>
                  <a:pt x="248" y="25467"/>
                  <a:pt x="383" y="25501"/>
                  <a:pt x="575" y="25535"/>
                </a:cubicBezTo>
                <a:cubicBezTo>
                  <a:pt x="766" y="25580"/>
                  <a:pt x="1003" y="25636"/>
                  <a:pt x="1273" y="25692"/>
                </a:cubicBezTo>
                <a:cubicBezTo>
                  <a:pt x="1554" y="25738"/>
                  <a:pt x="1870" y="25794"/>
                  <a:pt x="2230" y="25861"/>
                </a:cubicBezTo>
                <a:cubicBezTo>
                  <a:pt x="3505" y="26069"/>
                  <a:pt x="5291" y="26268"/>
                  <a:pt x="7491" y="26268"/>
                </a:cubicBezTo>
                <a:cubicBezTo>
                  <a:pt x="7798" y="26268"/>
                  <a:pt x="8113" y="26264"/>
                  <a:pt x="8436" y="26256"/>
                </a:cubicBezTo>
                <a:cubicBezTo>
                  <a:pt x="11061" y="26177"/>
                  <a:pt x="14192" y="25760"/>
                  <a:pt x="17503" y="24701"/>
                </a:cubicBezTo>
                <a:cubicBezTo>
                  <a:pt x="17920" y="24566"/>
                  <a:pt x="18337" y="24420"/>
                  <a:pt x="18754" y="24273"/>
                </a:cubicBezTo>
                <a:cubicBezTo>
                  <a:pt x="19170" y="24127"/>
                  <a:pt x="19587" y="23958"/>
                  <a:pt x="20015" y="23778"/>
                </a:cubicBezTo>
                <a:cubicBezTo>
                  <a:pt x="20849" y="23417"/>
                  <a:pt x="21682" y="23001"/>
                  <a:pt x="22470" y="22471"/>
                </a:cubicBezTo>
                <a:cubicBezTo>
                  <a:pt x="23259" y="21953"/>
                  <a:pt x="24002" y="21300"/>
                  <a:pt x="24622" y="20534"/>
                </a:cubicBezTo>
                <a:cubicBezTo>
                  <a:pt x="25230" y="19768"/>
                  <a:pt x="25703" y="18878"/>
                  <a:pt x="26086" y="17943"/>
                </a:cubicBezTo>
                <a:cubicBezTo>
                  <a:pt x="26458" y="17020"/>
                  <a:pt x="26750" y="16062"/>
                  <a:pt x="27021" y="15128"/>
                </a:cubicBezTo>
                <a:cubicBezTo>
                  <a:pt x="27291" y="14193"/>
                  <a:pt x="27561" y="13269"/>
                  <a:pt x="27854" y="12379"/>
                </a:cubicBezTo>
                <a:cubicBezTo>
                  <a:pt x="28429" y="10577"/>
                  <a:pt x="29082" y="8876"/>
                  <a:pt x="29893" y="7356"/>
                </a:cubicBezTo>
                <a:cubicBezTo>
                  <a:pt x="30693" y="5824"/>
                  <a:pt x="31673" y="4484"/>
                  <a:pt x="32754" y="3391"/>
                </a:cubicBezTo>
                <a:cubicBezTo>
                  <a:pt x="33835" y="2299"/>
                  <a:pt x="35029" y="1465"/>
                  <a:pt x="36212" y="925"/>
                </a:cubicBezTo>
                <a:cubicBezTo>
                  <a:pt x="36809" y="654"/>
                  <a:pt x="37406" y="463"/>
                  <a:pt x="37980" y="328"/>
                </a:cubicBezTo>
                <a:cubicBezTo>
                  <a:pt x="38543" y="192"/>
                  <a:pt x="39095" y="114"/>
                  <a:pt x="39613" y="91"/>
                </a:cubicBezTo>
                <a:cubicBezTo>
                  <a:pt x="39681" y="91"/>
                  <a:pt x="39748" y="91"/>
                  <a:pt x="39816" y="80"/>
                </a:cubicBezTo>
                <a:lnTo>
                  <a:pt x="40368" y="80"/>
                </a:lnTo>
                <a:cubicBezTo>
                  <a:pt x="40604" y="102"/>
                  <a:pt x="40841" y="102"/>
                  <a:pt x="41066" y="136"/>
                </a:cubicBezTo>
                <a:cubicBezTo>
                  <a:pt x="41168" y="147"/>
                  <a:pt x="41280" y="159"/>
                  <a:pt x="41382" y="170"/>
                </a:cubicBezTo>
                <a:cubicBezTo>
                  <a:pt x="41494" y="192"/>
                  <a:pt x="41596" y="215"/>
                  <a:pt x="41697" y="226"/>
                </a:cubicBezTo>
                <a:cubicBezTo>
                  <a:pt x="41900" y="260"/>
                  <a:pt x="42080" y="316"/>
                  <a:pt x="42260" y="361"/>
                </a:cubicBezTo>
                <a:cubicBezTo>
                  <a:pt x="42970" y="542"/>
                  <a:pt x="43488" y="789"/>
                  <a:pt x="43826" y="958"/>
                </a:cubicBezTo>
                <a:cubicBezTo>
                  <a:pt x="43995" y="1048"/>
                  <a:pt x="44119" y="1127"/>
                  <a:pt x="44209" y="1184"/>
                </a:cubicBezTo>
                <a:cubicBezTo>
                  <a:pt x="44254" y="1206"/>
                  <a:pt x="44276" y="1217"/>
                  <a:pt x="44299" y="1240"/>
                </a:cubicBezTo>
                <a:cubicBezTo>
                  <a:pt x="44321" y="1251"/>
                  <a:pt x="44333" y="1251"/>
                  <a:pt x="44333" y="1251"/>
                </a:cubicBezTo>
                <a:lnTo>
                  <a:pt x="44333" y="1240"/>
                </a:lnTo>
                <a:cubicBezTo>
                  <a:pt x="44344" y="1240"/>
                  <a:pt x="44333" y="1240"/>
                  <a:pt x="44310" y="1217"/>
                </a:cubicBezTo>
                <a:cubicBezTo>
                  <a:pt x="44287" y="1206"/>
                  <a:pt x="44254" y="1184"/>
                  <a:pt x="44209" y="1161"/>
                </a:cubicBezTo>
                <a:cubicBezTo>
                  <a:pt x="44130" y="1105"/>
                  <a:pt x="44006" y="1026"/>
                  <a:pt x="43837" y="936"/>
                </a:cubicBezTo>
                <a:cubicBezTo>
                  <a:pt x="43499" y="744"/>
                  <a:pt x="42981" y="497"/>
                  <a:pt x="42271" y="294"/>
                </a:cubicBezTo>
                <a:cubicBezTo>
                  <a:pt x="42091" y="249"/>
                  <a:pt x="41911" y="192"/>
                  <a:pt x="41708" y="159"/>
                </a:cubicBezTo>
                <a:cubicBezTo>
                  <a:pt x="41607" y="136"/>
                  <a:pt x="41505" y="125"/>
                  <a:pt x="41393" y="102"/>
                </a:cubicBezTo>
                <a:cubicBezTo>
                  <a:pt x="41291" y="91"/>
                  <a:pt x="41179" y="69"/>
                  <a:pt x="41066" y="57"/>
                </a:cubicBezTo>
                <a:cubicBezTo>
                  <a:pt x="40852" y="24"/>
                  <a:pt x="40616" y="24"/>
                  <a:pt x="40368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" name="Google Shape;41;p5"/>
          <p:cNvSpPr txBox="1">
            <a:spLocks noGrp="1"/>
          </p:cNvSpPr>
          <p:nvPr>
            <p:ph type="title"/>
          </p:nvPr>
        </p:nvSpPr>
        <p:spPr>
          <a:xfrm>
            <a:off x="722376" y="448056"/>
            <a:ext cx="7704000" cy="572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5"/>
          <p:cNvSpPr txBox="1">
            <a:spLocks noGrp="1"/>
          </p:cNvSpPr>
          <p:nvPr>
            <p:ph type="subTitle" idx="1"/>
          </p:nvPr>
        </p:nvSpPr>
        <p:spPr>
          <a:xfrm>
            <a:off x="4677446" y="2726549"/>
            <a:ext cx="2997000" cy="1436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5"/>
          <p:cNvSpPr txBox="1">
            <a:spLocks noGrp="1"/>
          </p:cNvSpPr>
          <p:nvPr>
            <p:ph type="subTitle" idx="2"/>
          </p:nvPr>
        </p:nvSpPr>
        <p:spPr>
          <a:xfrm>
            <a:off x="1469554" y="2726549"/>
            <a:ext cx="2997000" cy="1436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5"/>
          <p:cNvSpPr txBox="1">
            <a:spLocks noGrp="1"/>
          </p:cNvSpPr>
          <p:nvPr>
            <p:ph type="subTitle" idx="3"/>
          </p:nvPr>
        </p:nvSpPr>
        <p:spPr>
          <a:xfrm>
            <a:off x="1469554" y="2292411"/>
            <a:ext cx="2997000" cy="5589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latin typeface="Poppins Medium"/>
                <a:ea typeface="Poppins Medium"/>
                <a:cs typeface="Poppins Medium"/>
                <a:sym typeface="Poppins Medium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latin typeface="Poppins Medium"/>
                <a:ea typeface="Poppins Medium"/>
                <a:cs typeface="Poppins Medium"/>
                <a:sym typeface="Poppins Medium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latin typeface="Poppins Medium"/>
                <a:ea typeface="Poppins Medium"/>
                <a:cs typeface="Poppins Medium"/>
                <a:sym typeface="Poppins Medium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latin typeface="Poppins Medium"/>
                <a:ea typeface="Poppins Medium"/>
                <a:cs typeface="Poppins Medium"/>
                <a:sym typeface="Poppins Medium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latin typeface="Poppins Medium"/>
                <a:ea typeface="Poppins Medium"/>
                <a:cs typeface="Poppins Medium"/>
                <a:sym typeface="Poppins Medium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latin typeface="Poppins Medium"/>
                <a:ea typeface="Poppins Medium"/>
                <a:cs typeface="Poppins Medium"/>
                <a:sym typeface="Poppins Medium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latin typeface="Poppins Medium"/>
                <a:ea typeface="Poppins Medium"/>
                <a:cs typeface="Poppins Medium"/>
                <a:sym typeface="Poppins Medium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latin typeface="Poppins Medium"/>
                <a:ea typeface="Poppins Medium"/>
                <a:cs typeface="Poppins Medium"/>
                <a:sym typeface="Poppins Medium"/>
              </a:defRPr>
            </a:lvl9pPr>
          </a:lstStyle>
          <a:p>
            <a:endParaRPr/>
          </a:p>
        </p:txBody>
      </p:sp>
      <p:sp>
        <p:nvSpPr>
          <p:cNvPr id="45" name="Google Shape;45;p5"/>
          <p:cNvSpPr txBox="1">
            <a:spLocks noGrp="1"/>
          </p:cNvSpPr>
          <p:nvPr>
            <p:ph type="subTitle" idx="4"/>
          </p:nvPr>
        </p:nvSpPr>
        <p:spPr>
          <a:xfrm>
            <a:off x="4677446" y="2292411"/>
            <a:ext cx="2997000" cy="5589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latin typeface="Poppins Medium"/>
                <a:ea typeface="Poppins Medium"/>
                <a:cs typeface="Poppins Medium"/>
                <a:sym typeface="Poppins Medium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latin typeface="Poppins Medium"/>
                <a:ea typeface="Poppins Medium"/>
                <a:cs typeface="Poppins Medium"/>
                <a:sym typeface="Poppins Medium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latin typeface="Poppins Medium"/>
                <a:ea typeface="Poppins Medium"/>
                <a:cs typeface="Poppins Medium"/>
                <a:sym typeface="Poppins Medium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latin typeface="Poppins Medium"/>
                <a:ea typeface="Poppins Medium"/>
                <a:cs typeface="Poppins Medium"/>
                <a:sym typeface="Poppins Medium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latin typeface="Poppins Medium"/>
                <a:ea typeface="Poppins Medium"/>
                <a:cs typeface="Poppins Medium"/>
                <a:sym typeface="Poppins Medium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latin typeface="Poppins Medium"/>
                <a:ea typeface="Poppins Medium"/>
                <a:cs typeface="Poppins Medium"/>
                <a:sym typeface="Poppins Medium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latin typeface="Poppins Medium"/>
                <a:ea typeface="Poppins Medium"/>
                <a:cs typeface="Poppins Medium"/>
                <a:sym typeface="Poppins Medium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oppins Medium"/>
              <a:buNone/>
              <a:defRPr sz="2400">
                <a:latin typeface="Poppins Medium"/>
                <a:ea typeface="Poppins Medium"/>
                <a:cs typeface="Poppins Medium"/>
                <a:sym typeface="Poppins Medium"/>
              </a:defRPr>
            </a:lvl9pPr>
          </a:lstStyle>
          <a:p>
            <a:endParaRPr/>
          </a:p>
        </p:txBody>
      </p:sp>
      <p:sp>
        <p:nvSpPr>
          <p:cNvPr id="46" name="Google Shape;46;p5"/>
          <p:cNvSpPr/>
          <p:nvPr/>
        </p:nvSpPr>
        <p:spPr>
          <a:xfrm>
            <a:off x="-28121" y="4585650"/>
            <a:ext cx="9200100" cy="5727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47" name="Google Shape;47;p5"/>
          <p:cNvPicPr preferRelativeResize="0"/>
          <p:nvPr/>
        </p:nvPicPr>
        <p:blipFill rotWithShape="1">
          <a:blip r:embed="rId2">
            <a:alphaModFix amt="38000"/>
          </a:blip>
          <a:srcRect l="49686" t="4540" r="1710" b="3165"/>
          <a:stretch/>
        </p:blipFill>
        <p:spPr>
          <a:xfrm>
            <a:off x="-28575" y="4585650"/>
            <a:ext cx="9201152" cy="5726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6"/>
          <p:cNvSpPr/>
          <p:nvPr/>
        </p:nvSpPr>
        <p:spPr>
          <a:xfrm rot="1228671">
            <a:off x="-542329" y="-1882183"/>
            <a:ext cx="4525722" cy="2680896"/>
          </a:xfrm>
          <a:custGeom>
            <a:avLst/>
            <a:gdLst/>
            <a:ahLst/>
            <a:cxnLst/>
            <a:rect l="l" t="t" r="r" b="b"/>
            <a:pathLst>
              <a:path w="44344" h="26268" extrusionOk="0">
                <a:moveTo>
                  <a:pt x="0" y="25400"/>
                </a:moveTo>
                <a:cubicBezTo>
                  <a:pt x="0" y="25411"/>
                  <a:pt x="11" y="25411"/>
                  <a:pt x="34" y="25411"/>
                </a:cubicBezTo>
                <a:cubicBezTo>
                  <a:pt x="11" y="25400"/>
                  <a:pt x="0" y="25400"/>
                  <a:pt x="0" y="25400"/>
                </a:cubicBezTo>
                <a:close/>
                <a:moveTo>
                  <a:pt x="39805" y="1"/>
                </a:moveTo>
                <a:cubicBezTo>
                  <a:pt x="39748" y="1"/>
                  <a:pt x="39681" y="1"/>
                  <a:pt x="39613" y="12"/>
                </a:cubicBezTo>
                <a:cubicBezTo>
                  <a:pt x="39095" y="24"/>
                  <a:pt x="38532" y="102"/>
                  <a:pt x="37957" y="238"/>
                </a:cubicBezTo>
                <a:cubicBezTo>
                  <a:pt x="37372" y="373"/>
                  <a:pt x="36775" y="564"/>
                  <a:pt x="36178" y="834"/>
                </a:cubicBezTo>
                <a:cubicBezTo>
                  <a:pt x="34973" y="1375"/>
                  <a:pt x="33756" y="2197"/>
                  <a:pt x="32664" y="3301"/>
                </a:cubicBezTo>
                <a:cubicBezTo>
                  <a:pt x="31571" y="4394"/>
                  <a:pt x="30591" y="5745"/>
                  <a:pt x="29780" y="7288"/>
                </a:cubicBezTo>
                <a:cubicBezTo>
                  <a:pt x="28958" y="8820"/>
                  <a:pt x="28294" y="10532"/>
                  <a:pt x="27719" y="12334"/>
                </a:cubicBezTo>
                <a:cubicBezTo>
                  <a:pt x="27426" y="13224"/>
                  <a:pt x="27156" y="14148"/>
                  <a:pt x="26886" y="15082"/>
                </a:cubicBezTo>
                <a:cubicBezTo>
                  <a:pt x="26604" y="16017"/>
                  <a:pt x="26322" y="16963"/>
                  <a:pt x="25951" y="17887"/>
                </a:cubicBezTo>
                <a:cubicBezTo>
                  <a:pt x="25568" y="18811"/>
                  <a:pt x="25106" y="19689"/>
                  <a:pt x="24509" y="20444"/>
                </a:cubicBezTo>
                <a:cubicBezTo>
                  <a:pt x="23901" y="21198"/>
                  <a:pt x="23169" y="21829"/>
                  <a:pt x="22392" y="22347"/>
                </a:cubicBezTo>
                <a:cubicBezTo>
                  <a:pt x="21614" y="22877"/>
                  <a:pt x="20781" y="23293"/>
                  <a:pt x="19959" y="23654"/>
                </a:cubicBezTo>
                <a:cubicBezTo>
                  <a:pt x="19542" y="23823"/>
                  <a:pt x="19125" y="23992"/>
                  <a:pt x="18708" y="24149"/>
                </a:cubicBezTo>
                <a:cubicBezTo>
                  <a:pt x="18292" y="24285"/>
                  <a:pt x="17875" y="24442"/>
                  <a:pt x="17458" y="24566"/>
                </a:cubicBezTo>
                <a:cubicBezTo>
                  <a:pt x="14158" y="25625"/>
                  <a:pt x="11038" y="26053"/>
                  <a:pt x="8425" y="26143"/>
                </a:cubicBezTo>
                <a:cubicBezTo>
                  <a:pt x="8006" y="26157"/>
                  <a:pt x="7599" y="26164"/>
                  <a:pt x="7205" y="26164"/>
                </a:cubicBezTo>
                <a:cubicBezTo>
                  <a:pt x="5149" y="26164"/>
                  <a:pt x="3461" y="25983"/>
                  <a:pt x="2242" y="25794"/>
                </a:cubicBezTo>
                <a:cubicBezTo>
                  <a:pt x="1881" y="25738"/>
                  <a:pt x="1554" y="25692"/>
                  <a:pt x="1284" y="25647"/>
                </a:cubicBezTo>
                <a:cubicBezTo>
                  <a:pt x="1003" y="25591"/>
                  <a:pt x="766" y="25546"/>
                  <a:pt x="575" y="25512"/>
                </a:cubicBezTo>
                <a:cubicBezTo>
                  <a:pt x="394" y="25478"/>
                  <a:pt x="248" y="25445"/>
                  <a:pt x="147" y="25422"/>
                </a:cubicBezTo>
                <a:cubicBezTo>
                  <a:pt x="102" y="25422"/>
                  <a:pt x="68" y="25411"/>
                  <a:pt x="34" y="25411"/>
                </a:cubicBezTo>
                <a:cubicBezTo>
                  <a:pt x="68" y="25422"/>
                  <a:pt x="102" y="25433"/>
                  <a:pt x="147" y="25445"/>
                </a:cubicBezTo>
                <a:cubicBezTo>
                  <a:pt x="248" y="25467"/>
                  <a:pt x="383" y="25501"/>
                  <a:pt x="575" y="25535"/>
                </a:cubicBezTo>
                <a:cubicBezTo>
                  <a:pt x="766" y="25580"/>
                  <a:pt x="1003" y="25636"/>
                  <a:pt x="1273" y="25692"/>
                </a:cubicBezTo>
                <a:cubicBezTo>
                  <a:pt x="1554" y="25738"/>
                  <a:pt x="1870" y="25794"/>
                  <a:pt x="2230" y="25861"/>
                </a:cubicBezTo>
                <a:cubicBezTo>
                  <a:pt x="3505" y="26069"/>
                  <a:pt x="5291" y="26268"/>
                  <a:pt x="7491" y="26268"/>
                </a:cubicBezTo>
                <a:cubicBezTo>
                  <a:pt x="7798" y="26268"/>
                  <a:pt x="8113" y="26264"/>
                  <a:pt x="8436" y="26256"/>
                </a:cubicBezTo>
                <a:cubicBezTo>
                  <a:pt x="11061" y="26177"/>
                  <a:pt x="14192" y="25760"/>
                  <a:pt x="17503" y="24701"/>
                </a:cubicBezTo>
                <a:cubicBezTo>
                  <a:pt x="17920" y="24566"/>
                  <a:pt x="18337" y="24420"/>
                  <a:pt x="18754" y="24273"/>
                </a:cubicBezTo>
                <a:cubicBezTo>
                  <a:pt x="19170" y="24127"/>
                  <a:pt x="19587" y="23958"/>
                  <a:pt x="20015" y="23778"/>
                </a:cubicBezTo>
                <a:cubicBezTo>
                  <a:pt x="20849" y="23417"/>
                  <a:pt x="21682" y="23001"/>
                  <a:pt x="22470" y="22471"/>
                </a:cubicBezTo>
                <a:cubicBezTo>
                  <a:pt x="23259" y="21953"/>
                  <a:pt x="24002" y="21300"/>
                  <a:pt x="24622" y="20534"/>
                </a:cubicBezTo>
                <a:cubicBezTo>
                  <a:pt x="25230" y="19768"/>
                  <a:pt x="25703" y="18878"/>
                  <a:pt x="26086" y="17943"/>
                </a:cubicBezTo>
                <a:cubicBezTo>
                  <a:pt x="26458" y="17020"/>
                  <a:pt x="26750" y="16062"/>
                  <a:pt x="27021" y="15128"/>
                </a:cubicBezTo>
                <a:cubicBezTo>
                  <a:pt x="27291" y="14193"/>
                  <a:pt x="27561" y="13269"/>
                  <a:pt x="27854" y="12379"/>
                </a:cubicBezTo>
                <a:cubicBezTo>
                  <a:pt x="28429" y="10577"/>
                  <a:pt x="29082" y="8876"/>
                  <a:pt x="29893" y="7356"/>
                </a:cubicBezTo>
                <a:cubicBezTo>
                  <a:pt x="30693" y="5824"/>
                  <a:pt x="31673" y="4484"/>
                  <a:pt x="32754" y="3391"/>
                </a:cubicBezTo>
                <a:cubicBezTo>
                  <a:pt x="33835" y="2299"/>
                  <a:pt x="35029" y="1465"/>
                  <a:pt x="36212" y="925"/>
                </a:cubicBezTo>
                <a:cubicBezTo>
                  <a:pt x="36809" y="654"/>
                  <a:pt x="37406" y="463"/>
                  <a:pt x="37980" y="328"/>
                </a:cubicBezTo>
                <a:cubicBezTo>
                  <a:pt x="38543" y="192"/>
                  <a:pt x="39095" y="114"/>
                  <a:pt x="39613" y="91"/>
                </a:cubicBezTo>
                <a:cubicBezTo>
                  <a:pt x="39681" y="91"/>
                  <a:pt x="39748" y="91"/>
                  <a:pt x="39816" y="80"/>
                </a:cubicBezTo>
                <a:lnTo>
                  <a:pt x="40368" y="80"/>
                </a:lnTo>
                <a:cubicBezTo>
                  <a:pt x="40604" y="102"/>
                  <a:pt x="40841" y="102"/>
                  <a:pt x="41066" y="136"/>
                </a:cubicBezTo>
                <a:cubicBezTo>
                  <a:pt x="41168" y="147"/>
                  <a:pt x="41280" y="159"/>
                  <a:pt x="41382" y="170"/>
                </a:cubicBezTo>
                <a:cubicBezTo>
                  <a:pt x="41494" y="192"/>
                  <a:pt x="41596" y="215"/>
                  <a:pt x="41697" y="226"/>
                </a:cubicBezTo>
                <a:cubicBezTo>
                  <a:pt x="41900" y="260"/>
                  <a:pt x="42080" y="316"/>
                  <a:pt x="42260" y="361"/>
                </a:cubicBezTo>
                <a:cubicBezTo>
                  <a:pt x="42970" y="542"/>
                  <a:pt x="43488" y="789"/>
                  <a:pt x="43826" y="958"/>
                </a:cubicBezTo>
                <a:cubicBezTo>
                  <a:pt x="43995" y="1048"/>
                  <a:pt x="44119" y="1127"/>
                  <a:pt x="44209" y="1184"/>
                </a:cubicBezTo>
                <a:cubicBezTo>
                  <a:pt x="44254" y="1206"/>
                  <a:pt x="44276" y="1217"/>
                  <a:pt x="44299" y="1240"/>
                </a:cubicBezTo>
                <a:cubicBezTo>
                  <a:pt x="44321" y="1251"/>
                  <a:pt x="44333" y="1251"/>
                  <a:pt x="44333" y="1251"/>
                </a:cubicBezTo>
                <a:lnTo>
                  <a:pt x="44333" y="1240"/>
                </a:lnTo>
                <a:cubicBezTo>
                  <a:pt x="44344" y="1240"/>
                  <a:pt x="44333" y="1240"/>
                  <a:pt x="44310" y="1217"/>
                </a:cubicBezTo>
                <a:cubicBezTo>
                  <a:pt x="44287" y="1206"/>
                  <a:pt x="44254" y="1184"/>
                  <a:pt x="44209" y="1161"/>
                </a:cubicBezTo>
                <a:cubicBezTo>
                  <a:pt x="44130" y="1105"/>
                  <a:pt x="44006" y="1026"/>
                  <a:pt x="43837" y="936"/>
                </a:cubicBezTo>
                <a:cubicBezTo>
                  <a:pt x="43499" y="744"/>
                  <a:pt x="42981" y="497"/>
                  <a:pt x="42271" y="294"/>
                </a:cubicBezTo>
                <a:cubicBezTo>
                  <a:pt x="42091" y="249"/>
                  <a:pt x="41911" y="192"/>
                  <a:pt x="41708" y="159"/>
                </a:cubicBezTo>
                <a:cubicBezTo>
                  <a:pt x="41607" y="136"/>
                  <a:pt x="41505" y="125"/>
                  <a:pt x="41393" y="102"/>
                </a:cubicBezTo>
                <a:cubicBezTo>
                  <a:pt x="41291" y="91"/>
                  <a:pt x="41179" y="69"/>
                  <a:pt x="41066" y="57"/>
                </a:cubicBezTo>
                <a:cubicBezTo>
                  <a:pt x="40852" y="24"/>
                  <a:pt x="40616" y="24"/>
                  <a:pt x="40368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" name="Google Shape;50;p6"/>
          <p:cNvSpPr/>
          <p:nvPr/>
        </p:nvSpPr>
        <p:spPr>
          <a:xfrm flipH="1">
            <a:off x="8296172" y="-1129202"/>
            <a:ext cx="3016002" cy="2360795"/>
          </a:xfrm>
          <a:custGeom>
            <a:avLst/>
            <a:gdLst/>
            <a:ahLst/>
            <a:cxnLst/>
            <a:rect l="l" t="t" r="r" b="b"/>
            <a:pathLst>
              <a:path w="22764" h="17819" extrusionOk="0">
                <a:moveTo>
                  <a:pt x="0" y="12199"/>
                </a:moveTo>
                <a:lnTo>
                  <a:pt x="0" y="12210"/>
                </a:lnTo>
                <a:cubicBezTo>
                  <a:pt x="0" y="12210"/>
                  <a:pt x="3" y="12211"/>
                  <a:pt x="7" y="12213"/>
                </a:cubicBezTo>
                <a:lnTo>
                  <a:pt x="7" y="12213"/>
                </a:lnTo>
                <a:cubicBezTo>
                  <a:pt x="2" y="12207"/>
                  <a:pt x="0" y="12203"/>
                  <a:pt x="0" y="12199"/>
                </a:cubicBezTo>
                <a:close/>
                <a:moveTo>
                  <a:pt x="21806" y="1"/>
                </a:moveTo>
                <a:cubicBezTo>
                  <a:pt x="21806" y="1"/>
                  <a:pt x="21840" y="12"/>
                  <a:pt x="21896" y="35"/>
                </a:cubicBezTo>
                <a:cubicBezTo>
                  <a:pt x="21930" y="46"/>
                  <a:pt x="21964" y="57"/>
                  <a:pt x="21997" y="80"/>
                </a:cubicBezTo>
                <a:cubicBezTo>
                  <a:pt x="22042" y="102"/>
                  <a:pt x="22087" y="125"/>
                  <a:pt x="22133" y="170"/>
                </a:cubicBezTo>
                <a:cubicBezTo>
                  <a:pt x="22335" y="305"/>
                  <a:pt x="22549" y="620"/>
                  <a:pt x="22628" y="1082"/>
                </a:cubicBezTo>
                <a:cubicBezTo>
                  <a:pt x="22673" y="1307"/>
                  <a:pt x="22696" y="1566"/>
                  <a:pt x="22684" y="1848"/>
                </a:cubicBezTo>
                <a:cubicBezTo>
                  <a:pt x="22673" y="2130"/>
                  <a:pt x="22628" y="2445"/>
                  <a:pt x="22583" y="2772"/>
                </a:cubicBezTo>
                <a:cubicBezTo>
                  <a:pt x="22504" y="3425"/>
                  <a:pt x="22392" y="4180"/>
                  <a:pt x="22245" y="5002"/>
                </a:cubicBezTo>
                <a:cubicBezTo>
                  <a:pt x="22099" y="5824"/>
                  <a:pt x="21907" y="6725"/>
                  <a:pt x="21693" y="7682"/>
                </a:cubicBezTo>
                <a:cubicBezTo>
                  <a:pt x="21457" y="8640"/>
                  <a:pt x="21198" y="9665"/>
                  <a:pt x="20837" y="10701"/>
                </a:cubicBezTo>
                <a:cubicBezTo>
                  <a:pt x="20657" y="11219"/>
                  <a:pt x="20443" y="11748"/>
                  <a:pt x="20207" y="12278"/>
                </a:cubicBezTo>
                <a:cubicBezTo>
                  <a:pt x="19959" y="12796"/>
                  <a:pt x="19677" y="13314"/>
                  <a:pt x="19351" y="13821"/>
                </a:cubicBezTo>
                <a:cubicBezTo>
                  <a:pt x="18708" y="14823"/>
                  <a:pt x="17830" y="15747"/>
                  <a:pt x="16760" y="16423"/>
                </a:cubicBezTo>
                <a:cubicBezTo>
                  <a:pt x="16219" y="16749"/>
                  <a:pt x="15645" y="17008"/>
                  <a:pt x="15059" y="17211"/>
                </a:cubicBezTo>
                <a:cubicBezTo>
                  <a:pt x="14473" y="17403"/>
                  <a:pt x="13877" y="17527"/>
                  <a:pt x="13280" y="17605"/>
                </a:cubicBezTo>
                <a:cubicBezTo>
                  <a:pt x="12840" y="17656"/>
                  <a:pt x="12395" y="17681"/>
                  <a:pt x="11957" y="17681"/>
                </a:cubicBezTo>
                <a:cubicBezTo>
                  <a:pt x="11811" y="17681"/>
                  <a:pt x="11666" y="17679"/>
                  <a:pt x="11523" y="17673"/>
                </a:cubicBezTo>
                <a:cubicBezTo>
                  <a:pt x="11376" y="17662"/>
                  <a:pt x="11241" y="17650"/>
                  <a:pt x="11095" y="17650"/>
                </a:cubicBezTo>
                <a:lnTo>
                  <a:pt x="10881" y="17628"/>
                </a:lnTo>
                <a:lnTo>
                  <a:pt x="10666" y="17605"/>
                </a:lnTo>
                <a:cubicBezTo>
                  <a:pt x="10531" y="17583"/>
                  <a:pt x="10396" y="17572"/>
                  <a:pt x="10250" y="17549"/>
                </a:cubicBezTo>
                <a:cubicBezTo>
                  <a:pt x="10115" y="17527"/>
                  <a:pt x="9979" y="17504"/>
                  <a:pt x="9844" y="17481"/>
                </a:cubicBezTo>
                <a:cubicBezTo>
                  <a:pt x="8752" y="17301"/>
                  <a:pt x="7761" y="16941"/>
                  <a:pt x="6860" y="16569"/>
                </a:cubicBezTo>
                <a:cubicBezTo>
                  <a:pt x="5947" y="16197"/>
                  <a:pt x="5136" y="15758"/>
                  <a:pt x="4415" y="15330"/>
                </a:cubicBezTo>
                <a:cubicBezTo>
                  <a:pt x="3706" y="14902"/>
                  <a:pt x="3075" y="14474"/>
                  <a:pt x="2534" y="14091"/>
                </a:cubicBezTo>
                <a:cubicBezTo>
                  <a:pt x="1994" y="13708"/>
                  <a:pt x="1532" y="13359"/>
                  <a:pt x="1160" y="13078"/>
                </a:cubicBezTo>
                <a:cubicBezTo>
                  <a:pt x="789" y="12796"/>
                  <a:pt x="507" y="12582"/>
                  <a:pt x="304" y="12424"/>
                </a:cubicBezTo>
                <a:cubicBezTo>
                  <a:pt x="203" y="12357"/>
                  <a:pt x="135" y="12300"/>
                  <a:pt x="79" y="12255"/>
                </a:cubicBezTo>
                <a:cubicBezTo>
                  <a:pt x="46" y="12231"/>
                  <a:pt x="19" y="12218"/>
                  <a:pt x="7" y="12213"/>
                </a:cubicBezTo>
                <a:lnTo>
                  <a:pt x="7" y="12213"/>
                </a:lnTo>
                <a:cubicBezTo>
                  <a:pt x="18" y="12226"/>
                  <a:pt x="40" y="12243"/>
                  <a:pt x="79" y="12267"/>
                </a:cubicBezTo>
                <a:cubicBezTo>
                  <a:pt x="124" y="12312"/>
                  <a:pt x="192" y="12368"/>
                  <a:pt x="293" y="12447"/>
                </a:cubicBezTo>
                <a:cubicBezTo>
                  <a:pt x="484" y="12604"/>
                  <a:pt x="766" y="12830"/>
                  <a:pt x="1138" y="13123"/>
                </a:cubicBezTo>
                <a:cubicBezTo>
                  <a:pt x="1498" y="13415"/>
                  <a:pt x="1949" y="13765"/>
                  <a:pt x="2489" y="14159"/>
                </a:cubicBezTo>
                <a:cubicBezTo>
                  <a:pt x="3030" y="14553"/>
                  <a:pt x="3649" y="14981"/>
                  <a:pt x="4370" y="15420"/>
                </a:cubicBezTo>
                <a:cubicBezTo>
                  <a:pt x="5091" y="15860"/>
                  <a:pt x="5902" y="16299"/>
                  <a:pt x="6814" y="16682"/>
                </a:cubicBezTo>
                <a:cubicBezTo>
                  <a:pt x="7727" y="17065"/>
                  <a:pt x="8729" y="17425"/>
                  <a:pt x="9822" y="17617"/>
                </a:cubicBezTo>
                <a:cubicBezTo>
                  <a:pt x="9957" y="17639"/>
                  <a:pt x="10103" y="17662"/>
                  <a:pt x="10238" y="17684"/>
                </a:cubicBezTo>
                <a:cubicBezTo>
                  <a:pt x="10374" y="17707"/>
                  <a:pt x="10520" y="17718"/>
                  <a:pt x="10655" y="17741"/>
                </a:cubicBezTo>
                <a:lnTo>
                  <a:pt x="10869" y="17763"/>
                </a:lnTo>
                <a:lnTo>
                  <a:pt x="11083" y="17786"/>
                </a:lnTo>
                <a:cubicBezTo>
                  <a:pt x="11230" y="17797"/>
                  <a:pt x="11376" y="17808"/>
                  <a:pt x="11523" y="17808"/>
                </a:cubicBezTo>
                <a:cubicBezTo>
                  <a:pt x="11700" y="17815"/>
                  <a:pt x="11878" y="17819"/>
                  <a:pt x="12057" y="17819"/>
                </a:cubicBezTo>
                <a:cubicBezTo>
                  <a:pt x="12470" y="17819"/>
                  <a:pt x="12886" y="17799"/>
                  <a:pt x="13302" y="17752"/>
                </a:cubicBezTo>
                <a:cubicBezTo>
                  <a:pt x="13910" y="17662"/>
                  <a:pt x="14519" y="17538"/>
                  <a:pt x="15116" y="17346"/>
                </a:cubicBezTo>
                <a:cubicBezTo>
                  <a:pt x="15701" y="17144"/>
                  <a:pt x="16287" y="16873"/>
                  <a:pt x="16839" y="16547"/>
                </a:cubicBezTo>
                <a:cubicBezTo>
                  <a:pt x="17931" y="15848"/>
                  <a:pt x="18821" y="14913"/>
                  <a:pt x="19474" y="13900"/>
                </a:cubicBezTo>
                <a:cubicBezTo>
                  <a:pt x="19801" y="13382"/>
                  <a:pt x="20094" y="12864"/>
                  <a:pt x="20330" y="12334"/>
                </a:cubicBezTo>
                <a:cubicBezTo>
                  <a:pt x="20578" y="11805"/>
                  <a:pt x="20781" y="11275"/>
                  <a:pt x="20961" y="10746"/>
                </a:cubicBezTo>
                <a:cubicBezTo>
                  <a:pt x="21333" y="9699"/>
                  <a:pt x="21581" y="8674"/>
                  <a:pt x="21806" y="7716"/>
                </a:cubicBezTo>
                <a:cubicBezTo>
                  <a:pt x="22031" y="6748"/>
                  <a:pt x="22200" y="5847"/>
                  <a:pt x="22347" y="5024"/>
                </a:cubicBezTo>
                <a:cubicBezTo>
                  <a:pt x="22482" y="4191"/>
                  <a:pt x="22594" y="3447"/>
                  <a:pt x="22673" y="2783"/>
                </a:cubicBezTo>
                <a:cubicBezTo>
                  <a:pt x="22707" y="2456"/>
                  <a:pt x="22752" y="2141"/>
                  <a:pt x="22752" y="1859"/>
                </a:cubicBezTo>
                <a:cubicBezTo>
                  <a:pt x="22763" y="1566"/>
                  <a:pt x="22741" y="1307"/>
                  <a:pt x="22684" y="1071"/>
                </a:cubicBezTo>
                <a:cubicBezTo>
                  <a:pt x="22594" y="609"/>
                  <a:pt x="22369" y="282"/>
                  <a:pt x="22155" y="147"/>
                </a:cubicBezTo>
                <a:cubicBezTo>
                  <a:pt x="22110" y="102"/>
                  <a:pt x="22054" y="91"/>
                  <a:pt x="22009" y="68"/>
                </a:cubicBezTo>
                <a:cubicBezTo>
                  <a:pt x="21975" y="35"/>
                  <a:pt x="21930" y="35"/>
                  <a:pt x="21896" y="23"/>
                </a:cubicBezTo>
                <a:cubicBezTo>
                  <a:pt x="21840" y="1"/>
                  <a:pt x="21806" y="1"/>
                  <a:pt x="21806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" name="Google Shape;51;p6"/>
          <p:cNvSpPr/>
          <p:nvPr/>
        </p:nvSpPr>
        <p:spPr>
          <a:xfrm flipH="1">
            <a:off x="6692883" y="3324075"/>
            <a:ext cx="5829218" cy="2360794"/>
          </a:xfrm>
          <a:custGeom>
            <a:avLst/>
            <a:gdLst/>
            <a:ahLst/>
            <a:cxnLst/>
            <a:rect l="l" t="t" r="r" b="b"/>
            <a:pathLst>
              <a:path w="57117" h="23132" extrusionOk="0">
                <a:moveTo>
                  <a:pt x="3086" y="1"/>
                </a:moveTo>
                <a:cubicBezTo>
                  <a:pt x="3086" y="1"/>
                  <a:pt x="3075" y="12"/>
                  <a:pt x="3052" y="46"/>
                </a:cubicBezTo>
                <a:cubicBezTo>
                  <a:pt x="3075" y="23"/>
                  <a:pt x="3086" y="1"/>
                  <a:pt x="3086" y="1"/>
                </a:cubicBezTo>
                <a:close/>
                <a:moveTo>
                  <a:pt x="3052" y="46"/>
                </a:moveTo>
                <a:cubicBezTo>
                  <a:pt x="3030" y="80"/>
                  <a:pt x="2996" y="125"/>
                  <a:pt x="2962" y="181"/>
                </a:cubicBezTo>
                <a:cubicBezTo>
                  <a:pt x="2883" y="305"/>
                  <a:pt x="2760" y="474"/>
                  <a:pt x="2613" y="710"/>
                </a:cubicBezTo>
                <a:cubicBezTo>
                  <a:pt x="2320" y="1183"/>
                  <a:pt x="1904" y="1893"/>
                  <a:pt x="1442" y="2850"/>
                </a:cubicBezTo>
                <a:cubicBezTo>
                  <a:pt x="1217" y="3335"/>
                  <a:pt x="991" y="3875"/>
                  <a:pt x="777" y="4483"/>
                </a:cubicBezTo>
                <a:cubicBezTo>
                  <a:pt x="563" y="5092"/>
                  <a:pt x="361" y="5767"/>
                  <a:pt x="225" y="6511"/>
                </a:cubicBezTo>
                <a:cubicBezTo>
                  <a:pt x="90" y="7254"/>
                  <a:pt x="0" y="8065"/>
                  <a:pt x="23" y="8921"/>
                </a:cubicBezTo>
                <a:cubicBezTo>
                  <a:pt x="56" y="9777"/>
                  <a:pt x="203" y="10678"/>
                  <a:pt x="518" y="11579"/>
                </a:cubicBezTo>
                <a:cubicBezTo>
                  <a:pt x="822" y="12480"/>
                  <a:pt x="1273" y="13393"/>
                  <a:pt x="1926" y="14204"/>
                </a:cubicBezTo>
                <a:cubicBezTo>
                  <a:pt x="2241" y="14609"/>
                  <a:pt x="2624" y="14981"/>
                  <a:pt x="3041" y="15330"/>
                </a:cubicBezTo>
                <a:cubicBezTo>
                  <a:pt x="3154" y="15420"/>
                  <a:pt x="3255" y="15499"/>
                  <a:pt x="3368" y="15578"/>
                </a:cubicBezTo>
                <a:cubicBezTo>
                  <a:pt x="3424" y="15623"/>
                  <a:pt x="3480" y="15668"/>
                  <a:pt x="3537" y="15702"/>
                </a:cubicBezTo>
                <a:lnTo>
                  <a:pt x="3706" y="15803"/>
                </a:lnTo>
                <a:cubicBezTo>
                  <a:pt x="3942" y="15961"/>
                  <a:pt x="4190" y="16073"/>
                  <a:pt x="4449" y="16209"/>
                </a:cubicBezTo>
                <a:cubicBezTo>
                  <a:pt x="4573" y="16265"/>
                  <a:pt x="4708" y="16310"/>
                  <a:pt x="4832" y="16366"/>
                </a:cubicBezTo>
                <a:lnTo>
                  <a:pt x="5035" y="16445"/>
                </a:lnTo>
                <a:lnTo>
                  <a:pt x="5238" y="16501"/>
                </a:lnTo>
                <a:cubicBezTo>
                  <a:pt x="5384" y="16535"/>
                  <a:pt x="5519" y="16569"/>
                  <a:pt x="5654" y="16614"/>
                </a:cubicBezTo>
                <a:cubicBezTo>
                  <a:pt x="5801" y="16637"/>
                  <a:pt x="5947" y="16659"/>
                  <a:pt x="6082" y="16682"/>
                </a:cubicBezTo>
                <a:lnTo>
                  <a:pt x="6296" y="16727"/>
                </a:lnTo>
                <a:cubicBezTo>
                  <a:pt x="6375" y="16738"/>
                  <a:pt x="6443" y="16738"/>
                  <a:pt x="6522" y="16738"/>
                </a:cubicBezTo>
                <a:cubicBezTo>
                  <a:pt x="6668" y="16749"/>
                  <a:pt x="6814" y="16760"/>
                  <a:pt x="6961" y="16772"/>
                </a:cubicBezTo>
                <a:cubicBezTo>
                  <a:pt x="7107" y="16772"/>
                  <a:pt x="7254" y="16772"/>
                  <a:pt x="7400" y="16760"/>
                </a:cubicBezTo>
                <a:lnTo>
                  <a:pt x="7625" y="16760"/>
                </a:lnTo>
                <a:cubicBezTo>
                  <a:pt x="7693" y="16760"/>
                  <a:pt x="7772" y="16738"/>
                  <a:pt x="7851" y="16738"/>
                </a:cubicBezTo>
                <a:lnTo>
                  <a:pt x="8290" y="16682"/>
                </a:lnTo>
                <a:cubicBezTo>
                  <a:pt x="8436" y="16659"/>
                  <a:pt x="8594" y="16625"/>
                  <a:pt x="8740" y="16603"/>
                </a:cubicBezTo>
                <a:lnTo>
                  <a:pt x="8966" y="16558"/>
                </a:lnTo>
                <a:lnTo>
                  <a:pt x="9180" y="16490"/>
                </a:lnTo>
                <a:cubicBezTo>
                  <a:pt x="9326" y="16456"/>
                  <a:pt x="9473" y="16411"/>
                  <a:pt x="9630" y="16366"/>
                </a:cubicBezTo>
                <a:cubicBezTo>
                  <a:pt x="9765" y="16321"/>
                  <a:pt x="9912" y="16265"/>
                  <a:pt x="10058" y="16220"/>
                </a:cubicBezTo>
                <a:cubicBezTo>
                  <a:pt x="10137" y="16197"/>
                  <a:pt x="10205" y="16163"/>
                  <a:pt x="10283" y="16141"/>
                </a:cubicBezTo>
                <a:lnTo>
                  <a:pt x="10497" y="16051"/>
                </a:lnTo>
                <a:cubicBezTo>
                  <a:pt x="10633" y="15995"/>
                  <a:pt x="10779" y="15927"/>
                  <a:pt x="10925" y="15871"/>
                </a:cubicBezTo>
                <a:lnTo>
                  <a:pt x="11342" y="15657"/>
                </a:lnTo>
                <a:cubicBezTo>
                  <a:pt x="11489" y="15589"/>
                  <a:pt x="11624" y="15521"/>
                  <a:pt x="11770" y="15443"/>
                </a:cubicBezTo>
                <a:cubicBezTo>
                  <a:pt x="11905" y="15364"/>
                  <a:pt x="12041" y="15285"/>
                  <a:pt x="12176" y="15206"/>
                </a:cubicBezTo>
                <a:cubicBezTo>
                  <a:pt x="12446" y="15037"/>
                  <a:pt x="12728" y="14879"/>
                  <a:pt x="12987" y="14688"/>
                </a:cubicBezTo>
                <a:cubicBezTo>
                  <a:pt x="13527" y="14328"/>
                  <a:pt x="14034" y="13922"/>
                  <a:pt x="14541" y="13505"/>
                </a:cubicBezTo>
                <a:cubicBezTo>
                  <a:pt x="15532" y="12649"/>
                  <a:pt x="16478" y="11692"/>
                  <a:pt x="17447" y="10735"/>
                </a:cubicBezTo>
                <a:cubicBezTo>
                  <a:pt x="18416" y="9777"/>
                  <a:pt x="19407" y="8809"/>
                  <a:pt x="20511" y="7941"/>
                </a:cubicBezTo>
                <a:cubicBezTo>
                  <a:pt x="21062" y="7513"/>
                  <a:pt x="21648" y="7119"/>
                  <a:pt x="22268" y="6759"/>
                </a:cubicBezTo>
                <a:cubicBezTo>
                  <a:pt x="22572" y="6578"/>
                  <a:pt x="22898" y="6432"/>
                  <a:pt x="23214" y="6274"/>
                </a:cubicBezTo>
                <a:cubicBezTo>
                  <a:pt x="23383" y="6207"/>
                  <a:pt x="23540" y="6139"/>
                  <a:pt x="23709" y="6072"/>
                </a:cubicBezTo>
                <a:cubicBezTo>
                  <a:pt x="23878" y="6004"/>
                  <a:pt x="24047" y="5936"/>
                  <a:pt x="24216" y="5880"/>
                </a:cubicBezTo>
                <a:cubicBezTo>
                  <a:pt x="25343" y="5517"/>
                  <a:pt x="26516" y="5339"/>
                  <a:pt x="27678" y="5339"/>
                </a:cubicBezTo>
                <a:cubicBezTo>
                  <a:pt x="27921" y="5339"/>
                  <a:pt x="28164" y="5346"/>
                  <a:pt x="28406" y="5362"/>
                </a:cubicBezTo>
                <a:cubicBezTo>
                  <a:pt x="29803" y="5463"/>
                  <a:pt x="31154" y="5801"/>
                  <a:pt x="32393" y="6353"/>
                </a:cubicBezTo>
                <a:cubicBezTo>
                  <a:pt x="33632" y="6894"/>
                  <a:pt x="34759" y="7648"/>
                  <a:pt x="35671" y="8583"/>
                </a:cubicBezTo>
                <a:cubicBezTo>
                  <a:pt x="36595" y="9507"/>
                  <a:pt x="37293" y="10588"/>
                  <a:pt x="37901" y="11669"/>
                </a:cubicBezTo>
                <a:cubicBezTo>
                  <a:pt x="38498" y="12762"/>
                  <a:pt x="39005" y="13877"/>
                  <a:pt x="39500" y="14958"/>
                </a:cubicBezTo>
                <a:cubicBezTo>
                  <a:pt x="39996" y="16028"/>
                  <a:pt x="40492" y="17076"/>
                  <a:pt x="41055" y="18044"/>
                </a:cubicBezTo>
                <a:cubicBezTo>
                  <a:pt x="41336" y="18529"/>
                  <a:pt x="41629" y="18991"/>
                  <a:pt x="41945" y="19430"/>
                </a:cubicBezTo>
                <a:cubicBezTo>
                  <a:pt x="42260" y="19858"/>
                  <a:pt x="42609" y="20275"/>
                  <a:pt x="42970" y="20635"/>
                </a:cubicBezTo>
                <a:cubicBezTo>
                  <a:pt x="43150" y="20826"/>
                  <a:pt x="43353" y="20995"/>
                  <a:pt x="43544" y="21164"/>
                </a:cubicBezTo>
                <a:cubicBezTo>
                  <a:pt x="43735" y="21322"/>
                  <a:pt x="43938" y="21480"/>
                  <a:pt x="44141" y="21626"/>
                </a:cubicBezTo>
                <a:cubicBezTo>
                  <a:pt x="44546" y="21908"/>
                  <a:pt x="44974" y="22156"/>
                  <a:pt x="45414" y="22347"/>
                </a:cubicBezTo>
                <a:cubicBezTo>
                  <a:pt x="45842" y="22538"/>
                  <a:pt x="46281" y="22696"/>
                  <a:pt x="46720" y="22809"/>
                </a:cubicBezTo>
                <a:cubicBezTo>
                  <a:pt x="47160" y="22921"/>
                  <a:pt x="47599" y="23000"/>
                  <a:pt x="48016" y="23057"/>
                </a:cubicBezTo>
                <a:cubicBezTo>
                  <a:pt x="48458" y="23109"/>
                  <a:pt x="48888" y="23131"/>
                  <a:pt x="49305" y="23131"/>
                </a:cubicBezTo>
                <a:cubicBezTo>
                  <a:pt x="49695" y="23131"/>
                  <a:pt x="50072" y="23112"/>
                  <a:pt x="50437" y="23079"/>
                </a:cubicBezTo>
                <a:cubicBezTo>
                  <a:pt x="51935" y="22933"/>
                  <a:pt x="53197" y="22550"/>
                  <a:pt x="54165" y="22110"/>
                </a:cubicBezTo>
                <a:cubicBezTo>
                  <a:pt x="54650" y="21896"/>
                  <a:pt x="55066" y="21682"/>
                  <a:pt x="55427" y="21491"/>
                </a:cubicBezTo>
                <a:cubicBezTo>
                  <a:pt x="55798" y="21311"/>
                  <a:pt x="56103" y="21153"/>
                  <a:pt x="56350" y="21029"/>
                </a:cubicBezTo>
                <a:cubicBezTo>
                  <a:pt x="56598" y="20905"/>
                  <a:pt x="56790" y="20804"/>
                  <a:pt x="56925" y="20748"/>
                </a:cubicBezTo>
                <a:cubicBezTo>
                  <a:pt x="56981" y="20714"/>
                  <a:pt x="57026" y="20691"/>
                  <a:pt x="57060" y="20669"/>
                </a:cubicBezTo>
                <a:cubicBezTo>
                  <a:pt x="57094" y="20658"/>
                  <a:pt x="57116" y="20646"/>
                  <a:pt x="57116" y="20646"/>
                </a:cubicBezTo>
                <a:cubicBezTo>
                  <a:pt x="57116" y="20643"/>
                  <a:pt x="57114" y="20642"/>
                  <a:pt x="57111" y="20642"/>
                </a:cubicBezTo>
                <a:cubicBezTo>
                  <a:pt x="57102" y="20642"/>
                  <a:pt x="57084" y="20650"/>
                  <a:pt x="57060" y="20658"/>
                </a:cubicBezTo>
                <a:cubicBezTo>
                  <a:pt x="57026" y="20680"/>
                  <a:pt x="56981" y="20703"/>
                  <a:pt x="56914" y="20725"/>
                </a:cubicBezTo>
                <a:cubicBezTo>
                  <a:pt x="56790" y="20781"/>
                  <a:pt x="56587" y="20872"/>
                  <a:pt x="56339" y="20995"/>
                </a:cubicBezTo>
                <a:cubicBezTo>
                  <a:pt x="56091" y="21119"/>
                  <a:pt x="55776" y="21266"/>
                  <a:pt x="55416" y="21446"/>
                </a:cubicBezTo>
                <a:cubicBezTo>
                  <a:pt x="55044" y="21626"/>
                  <a:pt x="54627" y="21840"/>
                  <a:pt x="54143" y="22054"/>
                </a:cubicBezTo>
                <a:cubicBezTo>
                  <a:pt x="53174" y="22482"/>
                  <a:pt x="51924" y="22854"/>
                  <a:pt x="50426" y="22989"/>
                </a:cubicBezTo>
                <a:cubicBezTo>
                  <a:pt x="50092" y="23019"/>
                  <a:pt x="49744" y="23036"/>
                  <a:pt x="49386" y="23036"/>
                </a:cubicBezTo>
                <a:cubicBezTo>
                  <a:pt x="48947" y="23036"/>
                  <a:pt x="48492" y="23011"/>
                  <a:pt x="48027" y="22955"/>
                </a:cubicBezTo>
                <a:cubicBezTo>
                  <a:pt x="47610" y="22899"/>
                  <a:pt x="47182" y="22820"/>
                  <a:pt x="46743" y="22707"/>
                </a:cubicBezTo>
                <a:cubicBezTo>
                  <a:pt x="46315" y="22595"/>
                  <a:pt x="45876" y="22437"/>
                  <a:pt x="45448" y="22246"/>
                </a:cubicBezTo>
                <a:cubicBezTo>
                  <a:pt x="45020" y="22054"/>
                  <a:pt x="44603" y="21806"/>
                  <a:pt x="44197" y="21525"/>
                </a:cubicBezTo>
                <a:cubicBezTo>
                  <a:pt x="43995" y="21390"/>
                  <a:pt x="43803" y="21232"/>
                  <a:pt x="43612" y="21074"/>
                </a:cubicBezTo>
                <a:cubicBezTo>
                  <a:pt x="43420" y="20905"/>
                  <a:pt x="43229" y="20736"/>
                  <a:pt x="43060" y="20556"/>
                </a:cubicBezTo>
                <a:cubicBezTo>
                  <a:pt x="42699" y="20184"/>
                  <a:pt x="42350" y="19779"/>
                  <a:pt x="42035" y="19351"/>
                </a:cubicBezTo>
                <a:cubicBezTo>
                  <a:pt x="41731" y="18923"/>
                  <a:pt x="41438" y="18461"/>
                  <a:pt x="41156" y="17977"/>
                </a:cubicBezTo>
                <a:cubicBezTo>
                  <a:pt x="40604" y="17019"/>
                  <a:pt x="40120" y="15972"/>
                  <a:pt x="39624" y="14891"/>
                </a:cubicBezTo>
                <a:cubicBezTo>
                  <a:pt x="39129" y="13821"/>
                  <a:pt x="38622" y="12706"/>
                  <a:pt x="38014" y="11602"/>
                </a:cubicBezTo>
                <a:cubicBezTo>
                  <a:pt x="37406" y="10509"/>
                  <a:pt x="36707" y="9417"/>
                  <a:pt x="35761" y="8482"/>
                </a:cubicBezTo>
                <a:cubicBezTo>
                  <a:pt x="34837" y="7536"/>
                  <a:pt x="33700" y="6770"/>
                  <a:pt x="32450" y="6218"/>
                </a:cubicBezTo>
                <a:cubicBezTo>
                  <a:pt x="31199" y="5655"/>
                  <a:pt x="29825" y="5306"/>
                  <a:pt x="28417" y="5204"/>
                </a:cubicBezTo>
                <a:cubicBezTo>
                  <a:pt x="28173" y="5189"/>
                  <a:pt x="27929" y="5181"/>
                  <a:pt x="27684" y="5181"/>
                </a:cubicBezTo>
                <a:cubicBezTo>
                  <a:pt x="26504" y="5181"/>
                  <a:pt x="25318" y="5363"/>
                  <a:pt x="24171" y="5745"/>
                </a:cubicBezTo>
                <a:cubicBezTo>
                  <a:pt x="23991" y="5790"/>
                  <a:pt x="23822" y="5858"/>
                  <a:pt x="23653" y="5925"/>
                </a:cubicBezTo>
                <a:cubicBezTo>
                  <a:pt x="23484" y="5993"/>
                  <a:pt x="23326" y="6072"/>
                  <a:pt x="23157" y="6139"/>
                </a:cubicBezTo>
                <a:cubicBezTo>
                  <a:pt x="22831" y="6297"/>
                  <a:pt x="22504" y="6443"/>
                  <a:pt x="22200" y="6635"/>
                </a:cubicBezTo>
                <a:cubicBezTo>
                  <a:pt x="21569" y="6984"/>
                  <a:pt x="20984" y="7389"/>
                  <a:pt x="20432" y="7829"/>
                </a:cubicBezTo>
                <a:cubicBezTo>
                  <a:pt x="19305" y="8696"/>
                  <a:pt x="18314" y="9665"/>
                  <a:pt x="17346" y="10622"/>
                </a:cubicBezTo>
                <a:cubicBezTo>
                  <a:pt x="16377" y="11579"/>
                  <a:pt x="15442" y="12537"/>
                  <a:pt x="14451" y="13393"/>
                </a:cubicBezTo>
                <a:cubicBezTo>
                  <a:pt x="13944" y="13809"/>
                  <a:pt x="13437" y="14215"/>
                  <a:pt x="12908" y="14564"/>
                </a:cubicBezTo>
                <a:cubicBezTo>
                  <a:pt x="12649" y="14756"/>
                  <a:pt x="12378" y="14913"/>
                  <a:pt x="12108" y="15082"/>
                </a:cubicBezTo>
                <a:cubicBezTo>
                  <a:pt x="11973" y="15161"/>
                  <a:pt x="11838" y="15240"/>
                  <a:pt x="11703" y="15319"/>
                </a:cubicBezTo>
                <a:cubicBezTo>
                  <a:pt x="11567" y="15398"/>
                  <a:pt x="11421" y="15465"/>
                  <a:pt x="11286" y="15533"/>
                </a:cubicBezTo>
                <a:cubicBezTo>
                  <a:pt x="11151" y="15600"/>
                  <a:pt x="11004" y="15668"/>
                  <a:pt x="10869" y="15747"/>
                </a:cubicBezTo>
                <a:cubicBezTo>
                  <a:pt x="10723" y="15803"/>
                  <a:pt x="10588" y="15859"/>
                  <a:pt x="10441" y="15927"/>
                </a:cubicBezTo>
                <a:lnTo>
                  <a:pt x="10227" y="16017"/>
                </a:lnTo>
                <a:cubicBezTo>
                  <a:pt x="10160" y="16040"/>
                  <a:pt x="10092" y="16062"/>
                  <a:pt x="10013" y="16096"/>
                </a:cubicBezTo>
                <a:cubicBezTo>
                  <a:pt x="9867" y="16141"/>
                  <a:pt x="9732" y="16197"/>
                  <a:pt x="9585" y="16242"/>
                </a:cubicBezTo>
                <a:cubicBezTo>
                  <a:pt x="9439" y="16287"/>
                  <a:pt x="9292" y="16321"/>
                  <a:pt x="9146" y="16366"/>
                </a:cubicBezTo>
                <a:lnTo>
                  <a:pt x="8932" y="16423"/>
                </a:lnTo>
                <a:lnTo>
                  <a:pt x="8707" y="16468"/>
                </a:lnTo>
                <a:cubicBezTo>
                  <a:pt x="8560" y="16490"/>
                  <a:pt x="8414" y="16524"/>
                  <a:pt x="8267" y="16558"/>
                </a:cubicBezTo>
                <a:lnTo>
                  <a:pt x="7828" y="16603"/>
                </a:lnTo>
                <a:cubicBezTo>
                  <a:pt x="7761" y="16614"/>
                  <a:pt x="7693" y="16625"/>
                  <a:pt x="7614" y="16625"/>
                </a:cubicBezTo>
                <a:lnTo>
                  <a:pt x="7400" y="16637"/>
                </a:lnTo>
                <a:cubicBezTo>
                  <a:pt x="7302" y="16637"/>
                  <a:pt x="7205" y="16642"/>
                  <a:pt x="7107" y="16642"/>
                </a:cubicBezTo>
                <a:cubicBezTo>
                  <a:pt x="7058" y="16642"/>
                  <a:pt x="7010" y="16640"/>
                  <a:pt x="6961" y="16637"/>
                </a:cubicBezTo>
                <a:cubicBezTo>
                  <a:pt x="6814" y="16625"/>
                  <a:pt x="6668" y="16625"/>
                  <a:pt x="6522" y="16614"/>
                </a:cubicBezTo>
                <a:cubicBezTo>
                  <a:pt x="6454" y="16603"/>
                  <a:pt x="6386" y="16603"/>
                  <a:pt x="6308" y="16591"/>
                </a:cubicBezTo>
                <a:lnTo>
                  <a:pt x="6105" y="16558"/>
                </a:lnTo>
                <a:cubicBezTo>
                  <a:pt x="5958" y="16535"/>
                  <a:pt x="5823" y="16513"/>
                  <a:pt x="5677" y="16490"/>
                </a:cubicBezTo>
                <a:cubicBezTo>
                  <a:pt x="5542" y="16456"/>
                  <a:pt x="5406" y="16411"/>
                  <a:pt x="5271" y="16377"/>
                </a:cubicBezTo>
                <a:lnTo>
                  <a:pt x="5069" y="16321"/>
                </a:lnTo>
                <a:lnTo>
                  <a:pt x="4877" y="16242"/>
                </a:lnTo>
                <a:cubicBezTo>
                  <a:pt x="4753" y="16197"/>
                  <a:pt x="4618" y="16152"/>
                  <a:pt x="4494" y="16096"/>
                </a:cubicBezTo>
                <a:cubicBezTo>
                  <a:pt x="4246" y="15972"/>
                  <a:pt x="3999" y="15859"/>
                  <a:pt x="3773" y="15702"/>
                </a:cubicBezTo>
                <a:lnTo>
                  <a:pt x="3604" y="15600"/>
                </a:lnTo>
                <a:cubicBezTo>
                  <a:pt x="3537" y="15567"/>
                  <a:pt x="3480" y="15521"/>
                  <a:pt x="3435" y="15488"/>
                </a:cubicBezTo>
                <a:cubicBezTo>
                  <a:pt x="3323" y="15398"/>
                  <a:pt x="3221" y="15319"/>
                  <a:pt x="3109" y="15240"/>
                </a:cubicBezTo>
                <a:cubicBezTo>
                  <a:pt x="2703" y="14902"/>
                  <a:pt x="2320" y="14530"/>
                  <a:pt x="2016" y="14125"/>
                </a:cubicBezTo>
                <a:cubicBezTo>
                  <a:pt x="1363" y="13325"/>
                  <a:pt x="912" y="12435"/>
                  <a:pt x="608" y="11546"/>
                </a:cubicBezTo>
                <a:cubicBezTo>
                  <a:pt x="304" y="10656"/>
                  <a:pt x="147" y="9766"/>
                  <a:pt x="113" y="8921"/>
                </a:cubicBezTo>
                <a:cubicBezTo>
                  <a:pt x="90" y="8065"/>
                  <a:pt x="169" y="7266"/>
                  <a:pt x="304" y="6522"/>
                </a:cubicBezTo>
                <a:cubicBezTo>
                  <a:pt x="428" y="5790"/>
                  <a:pt x="631" y="5114"/>
                  <a:pt x="834" y="4506"/>
                </a:cubicBezTo>
                <a:cubicBezTo>
                  <a:pt x="1048" y="3898"/>
                  <a:pt x="1273" y="3357"/>
                  <a:pt x="1498" y="2873"/>
                </a:cubicBezTo>
                <a:cubicBezTo>
                  <a:pt x="1937" y="1915"/>
                  <a:pt x="2354" y="1206"/>
                  <a:pt x="2647" y="733"/>
                </a:cubicBezTo>
                <a:cubicBezTo>
                  <a:pt x="2782" y="485"/>
                  <a:pt x="2895" y="316"/>
                  <a:pt x="2974" y="192"/>
                </a:cubicBezTo>
                <a:cubicBezTo>
                  <a:pt x="3007" y="125"/>
                  <a:pt x="3041" y="80"/>
                  <a:pt x="3052" y="46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52;p6"/>
          <p:cNvSpPr/>
          <p:nvPr/>
        </p:nvSpPr>
        <p:spPr>
          <a:xfrm rot="9190242">
            <a:off x="314666" y="4934062"/>
            <a:ext cx="2308361" cy="1200209"/>
          </a:xfrm>
          <a:custGeom>
            <a:avLst/>
            <a:gdLst/>
            <a:ahLst/>
            <a:cxnLst/>
            <a:rect l="l" t="t" r="r" b="b"/>
            <a:pathLst>
              <a:path w="22618" h="11760" extrusionOk="0">
                <a:moveTo>
                  <a:pt x="19512" y="1"/>
                </a:moveTo>
                <a:cubicBezTo>
                  <a:pt x="18399" y="1"/>
                  <a:pt x="17014" y="42"/>
                  <a:pt x="15409" y="173"/>
                </a:cubicBezTo>
                <a:cubicBezTo>
                  <a:pt x="14305" y="275"/>
                  <a:pt x="13100" y="410"/>
                  <a:pt x="11816" y="613"/>
                </a:cubicBezTo>
                <a:cubicBezTo>
                  <a:pt x="10532" y="827"/>
                  <a:pt x="9169" y="1097"/>
                  <a:pt x="7750" y="1457"/>
                </a:cubicBezTo>
                <a:cubicBezTo>
                  <a:pt x="6331" y="1829"/>
                  <a:pt x="4855" y="2280"/>
                  <a:pt x="3368" y="2865"/>
                </a:cubicBezTo>
                <a:cubicBezTo>
                  <a:pt x="2636" y="3169"/>
                  <a:pt x="1870" y="3496"/>
                  <a:pt x="1228" y="4025"/>
                </a:cubicBezTo>
                <a:cubicBezTo>
                  <a:pt x="902" y="4296"/>
                  <a:pt x="620" y="4622"/>
                  <a:pt x="406" y="4983"/>
                </a:cubicBezTo>
                <a:cubicBezTo>
                  <a:pt x="192" y="5355"/>
                  <a:pt x="46" y="5771"/>
                  <a:pt x="23" y="6211"/>
                </a:cubicBezTo>
                <a:cubicBezTo>
                  <a:pt x="1" y="6650"/>
                  <a:pt x="113" y="7078"/>
                  <a:pt x="327" y="7449"/>
                </a:cubicBezTo>
                <a:cubicBezTo>
                  <a:pt x="553" y="7821"/>
                  <a:pt x="857" y="8125"/>
                  <a:pt x="1195" y="8373"/>
                </a:cubicBezTo>
                <a:cubicBezTo>
                  <a:pt x="1870" y="8869"/>
                  <a:pt x="2636" y="9173"/>
                  <a:pt x="3380" y="9443"/>
                </a:cubicBezTo>
                <a:cubicBezTo>
                  <a:pt x="4878" y="10006"/>
                  <a:pt x="6353" y="10445"/>
                  <a:pt x="7784" y="10783"/>
                </a:cubicBezTo>
                <a:cubicBezTo>
                  <a:pt x="9203" y="11121"/>
                  <a:pt x="10577" y="11347"/>
                  <a:pt x="11872" y="11504"/>
                </a:cubicBezTo>
                <a:cubicBezTo>
                  <a:pt x="12199" y="11538"/>
                  <a:pt x="12514" y="11583"/>
                  <a:pt x="12830" y="11606"/>
                </a:cubicBezTo>
                <a:cubicBezTo>
                  <a:pt x="13145" y="11628"/>
                  <a:pt x="13449" y="11662"/>
                  <a:pt x="13753" y="11684"/>
                </a:cubicBezTo>
                <a:cubicBezTo>
                  <a:pt x="14046" y="11707"/>
                  <a:pt x="14350" y="11718"/>
                  <a:pt x="14632" y="11730"/>
                </a:cubicBezTo>
                <a:cubicBezTo>
                  <a:pt x="14925" y="11741"/>
                  <a:pt x="15206" y="11752"/>
                  <a:pt x="15488" y="11752"/>
                </a:cubicBezTo>
                <a:cubicBezTo>
                  <a:pt x="15750" y="11757"/>
                  <a:pt x="16006" y="11760"/>
                  <a:pt x="16255" y="11760"/>
                </a:cubicBezTo>
                <a:cubicBezTo>
                  <a:pt x="18119" y="11760"/>
                  <a:pt x="19631" y="11621"/>
                  <a:pt x="20714" y="11482"/>
                </a:cubicBezTo>
                <a:cubicBezTo>
                  <a:pt x="21029" y="11448"/>
                  <a:pt x="21300" y="11414"/>
                  <a:pt x="21536" y="11380"/>
                </a:cubicBezTo>
                <a:cubicBezTo>
                  <a:pt x="21773" y="11335"/>
                  <a:pt x="21964" y="11302"/>
                  <a:pt x="22133" y="11279"/>
                </a:cubicBezTo>
                <a:cubicBezTo>
                  <a:pt x="22291" y="11245"/>
                  <a:pt x="22403" y="11234"/>
                  <a:pt x="22493" y="11211"/>
                </a:cubicBezTo>
                <a:cubicBezTo>
                  <a:pt x="22572" y="11200"/>
                  <a:pt x="22617" y="11189"/>
                  <a:pt x="22617" y="11189"/>
                </a:cubicBezTo>
                <a:lnTo>
                  <a:pt x="22584" y="11189"/>
                </a:lnTo>
                <a:cubicBezTo>
                  <a:pt x="22561" y="11189"/>
                  <a:pt x="22527" y="11189"/>
                  <a:pt x="22493" y="11200"/>
                </a:cubicBezTo>
                <a:cubicBezTo>
                  <a:pt x="22403" y="11211"/>
                  <a:pt x="22279" y="11223"/>
                  <a:pt x="22122" y="11245"/>
                </a:cubicBezTo>
                <a:cubicBezTo>
                  <a:pt x="21964" y="11268"/>
                  <a:pt x="21761" y="11302"/>
                  <a:pt x="21525" y="11335"/>
                </a:cubicBezTo>
                <a:cubicBezTo>
                  <a:pt x="21288" y="11369"/>
                  <a:pt x="21018" y="11392"/>
                  <a:pt x="20714" y="11425"/>
                </a:cubicBezTo>
                <a:cubicBezTo>
                  <a:pt x="19681" y="11549"/>
                  <a:pt x="18250" y="11664"/>
                  <a:pt x="16508" y="11664"/>
                </a:cubicBezTo>
                <a:cubicBezTo>
                  <a:pt x="16179" y="11664"/>
                  <a:pt x="15839" y="11660"/>
                  <a:pt x="15488" y="11651"/>
                </a:cubicBezTo>
                <a:cubicBezTo>
                  <a:pt x="15206" y="11651"/>
                  <a:pt x="14925" y="11639"/>
                  <a:pt x="14643" y="11617"/>
                </a:cubicBezTo>
                <a:cubicBezTo>
                  <a:pt x="14350" y="11606"/>
                  <a:pt x="14057" y="11594"/>
                  <a:pt x="13753" y="11572"/>
                </a:cubicBezTo>
                <a:cubicBezTo>
                  <a:pt x="13460" y="11538"/>
                  <a:pt x="13145" y="11516"/>
                  <a:pt x="12841" y="11493"/>
                </a:cubicBezTo>
                <a:cubicBezTo>
                  <a:pt x="12525" y="11459"/>
                  <a:pt x="12210" y="11414"/>
                  <a:pt x="11883" y="11380"/>
                </a:cubicBezTo>
                <a:cubicBezTo>
                  <a:pt x="10599" y="11223"/>
                  <a:pt x="9225" y="10986"/>
                  <a:pt x="7806" y="10648"/>
                </a:cubicBezTo>
                <a:cubicBezTo>
                  <a:pt x="6387" y="10310"/>
                  <a:pt x="4923" y="9871"/>
                  <a:pt x="3436" y="9308"/>
                </a:cubicBezTo>
                <a:cubicBezTo>
                  <a:pt x="2693" y="9038"/>
                  <a:pt x="1938" y="8733"/>
                  <a:pt x="1285" y="8260"/>
                </a:cubicBezTo>
                <a:cubicBezTo>
                  <a:pt x="958" y="8024"/>
                  <a:pt x="665" y="7731"/>
                  <a:pt x="462" y="7382"/>
                </a:cubicBezTo>
                <a:cubicBezTo>
                  <a:pt x="260" y="7033"/>
                  <a:pt x="147" y="6627"/>
                  <a:pt x="170" y="6222"/>
                </a:cubicBezTo>
                <a:cubicBezTo>
                  <a:pt x="192" y="5805"/>
                  <a:pt x="327" y="5411"/>
                  <a:pt x="530" y="5062"/>
                </a:cubicBezTo>
                <a:cubicBezTo>
                  <a:pt x="733" y="4701"/>
                  <a:pt x="1003" y="4397"/>
                  <a:pt x="1318" y="4138"/>
                </a:cubicBezTo>
                <a:cubicBezTo>
                  <a:pt x="1949" y="3620"/>
                  <a:pt x="2693" y="3293"/>
                  <a:pt x="3425" y="3000"/>
                </a:cubicBezTo>
                <a:cubicBezTo>
                  <a:pt x="4900" y="2415"/>
                  <a:pt x="6364" y="1953"/>
                  <a:pt x="7784" y="1593"/>
                </a:cubicBezTo>
                <a:cubicBezTo>
                  <a:pt x="9191" y="1221"/>
                  <a:pt x="10554" y="951"/>
                  <a:pt x="11838" y="737"/>
                </a:cubicBezTo>
                <a:cubicBezTo>
                  <a:pt x="13122" y="523"/>
                  <a:pt x="14316" y="387"/>
                  <a:pt x="15420" y="275"/>
                </a:cubicBezTo>
                <a:cubicBezTo>
                  <a:pt x="17337" y="109"/>
                  <a:pt x="18930" y="70"/>
                  <a:pt x="20128" y="70"/>
                </a:cubicBezTo>
                <a:cubicBezTo>
                  <a:pt x="20310" y="70"/>
                  <a:pt x="20483" y="71"/>
                  <a:pt x="20646" y="72"/>
                </a:cubicBezTo>
                <a:cubicBezTo>
                  <a:pt x="20962" y="72"/>
                  <a:pt x="21232" y="83"/>
                  <a:pt x="21468" y="83"/>
                </a:cubicBezTo>
                <a:cubicBezTo>
                  <a:pt x="21705" y="95"/>
                  <a:pt x="21908" y="95"/>
                  <a:pt x="22065" y="106"/>
                </a:cubicBezTo>
                <a:lnTo>
                  <a:pt x="22572" y="106"/>
                </a:lnTo>
                <a:cubicBezTo>
                  <a:pt x="22572" y="106"/>
                  <a:pt x="22527" y="106"/>
                  <a:pt x="22437" y="95"/>
                </a:cubicBezTo>
                <a:cubicBezTo>
                  <a:pt x="22358" y="95"/>
                  <a:pt x="22234" y="83"/>
                  <a:pt x="22077" y="72"/>
                </a:cubicBezTo>
                <a:cubicBezTo>
                  <a:pt x="21908" y="61"/>
                  <a:pt x="21705" y="50"/>
                  <a:pt x="21468" y="38"/>
                </a:cubicBezTo>
                <a:cubicBezTo>
                  <a:pt x="21232" y="27"/>
                  <a:pt x="20962" y="27"/>
                  <a:pt x="20646" y="16"/>
                </a:cubicBezTo>
                <a:cubicBezTo>
                  <a:pt x="20308" y="7"/>
                  <a:pt x="19929" y="1"/>
                  <a:pt x="195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" name="Google Shape;53;p6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6"/>
          <p:cNvSpPr/>
          <p:nvPr/>
        </p:nvSpPr>
        <p:spPr>
          <a:xfrm>
            <a:off x="-9493" y="-14850"/>
            <a:ext cx="713100" cy="51732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55" name="Google Shape;55;p6"/>
          <p:cNvPicPr preferRelativeResize="0"/>
          <p:nvPr/>
        </p:nvPicPr>
        <p:blipFill rotWithShape="1">
          <a:blip r:embed="rId2">
            <a:alphaModFix amt="38000"/>
          </a:blip>
          <a:srcRect l="49686" t="4540" r="1710" b="3165"/>
          <a:stretch/>
        </p:blipFill>
        <p:spPr>
          <a:xfrm>
            <a:off x="-9525" y="-14850"/>
            <a:ext cx="713165" cy="51732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8"/>
          <p:cNvSpPr/>
          <p:nvPr/>
        </p:nvSpPr>
        <p:spPr>
          <a:xfrm rot="1228671">
            <a:off x="-542329" y="-1882183"/>
            <a:ext cx="4525722" cy="2680896"/>
          </a:xfrm>
          <a:custGeom>
            <a:avLst/>
            <a:gdLst/>
            <a:ahLst/>
            <a:cxnLst/>
            <a:rect l="l" t="t" r="r" b="b"/>
            <a:pathLst>
              <a:path w="44344" h="26268" extrusionOk="0">
                <a:moveTo>
                  <a:pt x="0" y="25400"/>
                </a:moveTo>
                <a:cubicBezTo>
                  <a:pt x="0" y="25411"/>
                  <a:pt x="11" y="25411"/>
                  <a:pt x="34" y="25411"/>
                </a:cubicBezTo>
                <a:cubicBezTo>
                  <a:pt x="11" y="25400"/>
                  <a:pt x="0" y="25400"/>
                  <a:pt x="0" y="25400"/>
                </a:cubicBezTo>
                <a:close/>
                <a:moveTo>
                  <a:pt x="39805" y="1"/>
                </a:moveTo>
                <a:cubicBezTo>
                  <a:pt x="39748" y="1"/>
                  <a:pt x="39681" y="1"/>
                  <a:pt x="39613" y="12"/>
                </a:cubicBezTo>
                <a:cubicBezTo>
                  <a:pt x="39095" y="24"/>
                  <a:pt x="38532" y="102"/>
                  <a:pt x="37957" y="238"/>
                </a:cubicBezTo>
                <a:cubicBezTo>
                  <a:pt x="37372" y="373"/>
                  <a:pt x="36775" y="564"/>
                  <a:pt x="36178" y="834"/>
                </a:cubicBezTo>
                <a:cubicBezTo>
                  <a:pt x="34973" y="1375"/>
                  <a:pt x="33756" y="2197"/>
                  <a:pt x="32664" y="3301"/>
                </a:cubicBezTo>
                <a:cubicBezTo>
                  <a:pt x="31571" y="4394"/>
                  <a:pt x="30591" y="5745"/>
                  <a:pt x="29780" y="7288"/>
                </a:cubicBezTo>
                <a:cubicBezTo>
                  <a:pt x="28958" y="8820"/>
                  <a:pt x="28294" y="10532"/>
                  <a:pt x="27719" y="12334"/>
                </a:cubicBezTo>
                <a:cubicBezTo>
                  <a:pt x="27426" y="13224"/>
                  <a:pt x="27156" y="14148"/>
                  <a:pt x="26886" y="15082"/>
                </a:cubicBezTo>
                <a:cubicBezTo>
                  <a:pt x="26604" y="16017"/>
                  <a:pt x="26322" y="16963"/>
                  <a:pt x="25951" y="17887"/>
                </a:cubicBezTo>
                <a:cubicBezTo>
                  <a:pt x="25568" y="18811"/>
                  <a:pt x="25106" y="19689"/>
                  <a:pt x="24509" y="20444"/>
                </a:cubicBezTo>
                <a:cubicBezTo>
                  <a:pt x="23901" y="21198"/>
                  <a:pt x="23169" y="21829"/>
                  <a:pt x="22392" y="22347"/>
                </a:cubicBezTo>
                <a:cubicBezTo>
                  <a:pt x="21614" y="22877"/>
                  <a:pt x="20781" y="23293"/>
                  <a:pt x="19959" y="23654"/>
                </a:cubicBezTo>
                <a:cubicBezTo>
                  <a:pt x="19542" y="23823"/>
                  <a:pt x="19125" y="23992"/>
                  <a:pt x="18708" y="24149"/>
                </a:cubicBezTo>
                <a:cubicBezTo>
                  <a:pt x="18292" y="24285"/>
                  <a:pt x="17875" y="24442"/>
                  <a:pt x="17458" y="24566"/>
                </a:cubicBezTo>
                <a:cubicBezTo>
                  <a:pt x="14158" y="25625"/>
                  <a:pt x="11038" y="26053"/>
                  <a:pt x="8425" y="26143"/>
                </a:cubicBezTo>
                <a:cubicBezTo>
                  <a:pt x="8006" y="26157"/>
                  <a:pt x="7599" y="26164"/>
                  <a:pt x="7205" y="26164"/>
                </a:cubicBezTo>
                <a:cubicBezTo>
                  <a:pt x="5149" y="26164"/>
                  <a:pt x="3461" y="25983"/>
                  <a:pt x="2242" y="25794"/>
                </a:cubicBezTo>
                <a:cubicBezTo>
                  <a:pt x="1881" y="25738"/>
                  <a:pt x="1554" y="25692"/>
                  <a:pt x="1284" y="25647"/>
                </a:cubicBezTo>
                <a:cubicBezTo>
                  <a:pt x="1003" y="25591"/>
                  <a:pt x="766" y="25546"/>
                  <a:pt x="575" y="25512"/>
                </a:cubicBezTo>
                <a:cubicBezTo>
                  <a:pt x="394" y="25478"/>
                  <a:pt x="248" y="25445"/>
                  <a:pt x="147" y="25422"/>
                </a:cubicBezTo>
                <a:cubicBezTo>
                  <a:pt x="102" y="25422"/>
                  <a:pt x="68" y="25411"/>
                  <a:pt x="34" y="25411"/>
                </a:cubicBezTo>
                <a:cubicBezTo>
                  <a:pt x="68" y="25422"/>
                  <a:pt x="102" y="25433"/>
                  <a:pt x="147" y="25445"/>
                </a:cubicBezTo>
                <a:cubicBezTo>
                  <a:pt x="248" y="25467"/>
                  <a:pt x="383" y="25501"/>
                  <a:pt x="575" y="25535"/>
                </a:cubicBezTo>
                <a:cubicBezTo>
                  <a:pt x="766" y="25580"/>
                  <a:pt x="1003" y="25636"/>
                  <a:pt x="1273" y="25692"/>
                </a:cubicBezTo>
                <a:cubicBezTo>
                  <a:pt x="1554" y="25738"/>
                  <a:pt x="1870" y="25794"/>
                  <a:pt x="2230" y="25861"/>
                </a:cubicBezTo>
                <a:cubicBezTo>
                  <a:pt x="3505" y="26069"/>
                  <a:pt x="5291" y="26268"/>
                  <a:pt x="7491" y="26268"/>
                </a:cubicBezTo>
                <a:cubicBezTo>
                  <a:pt x="7798" y="26268"/>
                  <a:pt x="8113" y="26264"/>
                  <a:pt x="8436" y="26256"/>
                </a:cubicBezTo>
                <a:cubicBezTo>
                  <a:pt x="11061" y="26177"/>
                  <a:pt x="14192" y="25760"/>
                  <a:pt x="17503" y="24701"/>
                </a:cubicBezTo>
                <a:cubicBezTo>
                  <a:pt x="17920" y="24566"/>
                  <a:pt x="18337" y="24420"/>
                  <a:pt x="18754" y="24273"/>
                </a:cubicBezTo>
                <a:cubicBezTo>
                  <a:pt x="19170" y="24127"/>
                  <a:pt x="19587" y="23958"/>
                  <a:pt x="20015" y="23778"/>
                </a:cubicBezTo>
                <a:cubicBezTo>
                  <a:pt x="20849" y="23417"/>
                  <a:pt x="21682" y="23001"/>
                  <a:pt x="22470" y="22471"/>
                </a:cubicBezTo>
                <a:cubicBezTo>
                  <a:pt x="23259" y="21953"/>
                  <a:pt x="24002" y="21300"/>
                  <a:pt x="24622" y="20534"/>
                </a:cubicBezTo>
                <a:cubicBezTo>
                  <a:pt x="25230" y="19768"/>
                  <a:pt x="25703" y="18878"/>
                  <a:pt x="26086" y="17943"/>
                </a:cubicBezTo>
                <a:cubicBezTo>
                  <a:pt x="26458" y="17020"/>
                  <a:pt x="26750" y="16062"/>
                  <a:pt x="27021" y="15128"/>
                </a:cubicBezTo>
                <a:cubicBezTo>
                  <a:pt x="27291" y="14193"/>
                  <a:pt x="27561" y="13269"/>
                  <a:pt x="27854" y="12379"/>
                </a:cubicBezTo>
                <a:cubicBezTo>
                  <a:pt x="28429" y="10577"/>
                  <a:pt x="29082" y="8876"/>
                  <a:pt x="29893" y="7356"/>
                </a:cubicBezTo>
                <a:cubicBezTo>
                  <a:pt x="30693" y="5824"/>
                  <a:pt x="31673" y="4484"/>
                  <a:pt x="32754" y="3391"/>
                </a:cubicBezTo>
                <a:cubicBezTo>
                  <a:pt x="33835" y="2299"/>
                  <a:pt x="35029" y="1465"/>
                  <a:pt x="36212" y="925"/>
                </a:cubicBezTo>
                <a:cubicBezTo>
                  <a:pt x="36809" y="654"/>
                  <a:pt x="37406" y="463"/>
                  <a:pt x="37980" y="328"/>
                </a:cubicBezTo>
                <a:cubicBezTo>
                  <a:pt x="38543" y="192"/>
                  <a:pt x="39095" y="114"/>
                  <a:pt x="39613" y="91"/>
                </a:cubicBezTo>
                <a:cubicBezTo>
                  <a:pt x="39681" y="91"/>
                  <a:pt x="39748" y="91"/>
                  <a:pt x="39816" y="80"/>
                </a:cubicBezTo>
                <a:lnTo>
                  <a:pt x="40368" y="80"/>
                </a:lnTo>
                <a:cubicBezTo>
                  <a:pt x="40604" y="102"/>
                  <a:pt x="40841" y="102"/>
                  <a:pt x="41066" y="136"/>
                </a:cubicBezTo>
                <a:cubicBezTo>
                  <a:pt x="41168" y="147"/>
                  <a:pt x="41280" y="159"/>
                  <a:pt x="41382" y="170"/>
                </a:cubicBezTo>
                <a:cubicBezTo>
                  <a:pt x="41494" y="192"/>
                  <a:pt x="41596" y="215"/>
                  <a:pt x="41697" y="226"/>
                </a:cubicBezTo>
                <a:cubicBezTo>
                  <a:pt x="41900" y="260"/>
                  <a:pt x="42080" y="316"/>
                  <a:pt x="42260" y="361"/>
                </a:cubicBezTo>
                <a:cubicBezTo>
                  <a:pt x="42970" y="542"/>
                  <a:pt x="43488" y="789"/>
                  <a:pt x="43826" y="958"/>
                </a:cubicBezTo>
                <a:cubicBezTo>
                  <a:pt x="43995" y="1048"/>
                  <a:pt x="44119" y="1127"/>
                  <a:pt x="44209" y="1184"/>
                </a:cubicBezTo>
                <a:cubicBezTo>
                  <a:pt x="44254" y="1206"/>
                  <a:pt x="44276" y="1217"/>
                  <a:pt x="44299" y="1240"/>
                </a:cubicBezTo>
                <a:cubicBezTo>
                  <a:pt x="44321" y="1251"/>
                  <a:pt x="44333" y="1251"/>
                  <a:pt x="44333" y="1251"/>
                </a:cubicBezTo>
                <a:lnTo>
                  <a:pt x="44333" y="1240"/>
                </a:lnTo>
                <a:cubicBezTo>
                  <a:pt x="44344" y="1240"/>
                  <a:pt x="44333" y="1240"/>
                  <a:pt x="44310" y="1217"/>
                </a:cubicBezTo>
                <a:cubicBezTo>
                  <a:pt x="44287" y="1206"/>
                  <a:pt x="44254" y="1184"/>
                  <a:pt x="44209" y="1161"/>
                </a:cubicBezTo>
                <a:cubicBezTo>
                  <a:pt x="44130" y="1105"/>
                  <a:pt x="44006" y="1026"/>
                  <a:pt x="43837" y="936"/>
                </a:cubicBezTo>
                <a:cubicBezTo>
                  <a:pt x="43499" y="744"/>
                  <a:pt x="42981" y="497"/>
                  <a:pt x="42271" y="294"/>
                </a:cubicBezTo>
                <a:cubicBezTo>
                  <a:pt x="42091" y="249"/>
                  <a:pt x="41911" y="192"/>
                  <a:pt x="41708" y="159"/>
                </a:cubicBezTo>
                <a:cubicBezTo>
                  <a:pt x="41607" y="136"/>
                  <a:pt x="41505" y="125"/>
                  <a:pt x="41393" y="102"/>
                </a:cubicBezTo>
                <a:cubicBezTo>
                  <a:pt x="41291" y="91"/>
                  <a:pt x="41179" y="69"/>
                  <a:pt x="41066" y="57"/>
                </a:cubicBezTo>
                <a:cubicBezTo>
                  <a:pt x="40852" y="24"/>
                  <a:pt x="40616" y="24"/>
                  <a:pt x="40368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7" name="Google Shape;67;p8"/>
          <p:cNvSpPr/>
          <p:nvPr/>
        </p:nvSpPr>
        <p:spPr>
          <a:xfrm flipH="1">
            <a:off x="8296172" y="-1129202"/>
            <a:ext cx="3016002" cy="2360795"/>
          </a:xfrm>
          <a:custGeom>
            <a:avLst/>
            <a:gdLst/>
            <a:ahLst/>
            <a:cxnLst/>
            <a:rect l="l" t="t" r="r" b="b"/>
            <a:pathLst>
              <a:path w="22764" h="17819" extrusionOk="0">
                <a:moveTo>
                  <a:pt x="0" y="12199"/>
                </a:moveTo>
                <a:lnTo>
                  <a:pt x="0" y="12210"/>
                </a:lnTo>
                <a:cubicBezTo>
                  <a:pt x="0" y="12210"/>
                  <a:pt x="3" y="12211"/>
                  <a:pt x="7" y="12213"/>
                </a:cubicBezTo>
                <a:lnTo>
                  <a:pt x="7" y="12213"/>
                </a:lnTo>
                <a:cubicBezTo>
                  <a:pt x="2" y="12207"/>
                  <a:pt x="0" y="12203"/>
                  <a:pt x="0" y="12199"/>
                </a:cubicBezTo>
                <a:close/>
                <a:moveTo>
                  <a:pt x="21806" y="1"/>
                </a:moveTo>
                <a:cubicBezTo>
                  <a:pt x="21806" y="1"/>
                  <a:pt x="21840" y="12"/>
                  <a:pt x="21896" y="35"/>
                </a:cubicBezTo>
                <a:cubicBezTo>
                  <a:pt x="21930" y="46"/>
                  <a:pt x="21964" y="57"/>
                  <a:pt x="21997" y="80"/>
                </a:cubicBezTo>
                <a:cubicBezTo>
                  <a:pt x="22042" y="102"/>
                  <a:pt x="22087" y="125"/>
                  <a:pt x="22133" y="170"/>
                </a:cubicBezTo>
                <a:cubicBezTo>
                  <a:pt x="22335" y="305"/>
                  <a:pt x="22549" y="620"/>
                  <a:pt x="22628" y="1082"/>
                </a:cubicBezTo>
                <a:cubicBezTo>
                  <a:pt x="22673" y="1307"/>
                  <a:pt x="22696" y="1566"/>
                  <a:pt x="22684" y="1848"/>
                </a:cubicBezTo>
                <a:cubicBezTo>
                  <a:pt x="22673" y="2130"/>
                  <a:pt x="22628" y="2445"/>
                  <a:pt x="22583" y="2772"/>
                </a:cubicBezTo>
                <a:cubicBezTo>
                  <a:pt x="22504" y="3425"/>
                  <a:pt x="22392" y="4180"/>
                  <a:pt x="22245" y="5002"/>
                </a:cubicBezTo>
                <a:cubicBezTo>
                  <a:pt x="22099" y="5824"/>
                  <a:pt x="21907" y="6725"/>
                  <a:pt x="21693" y="7682"/>
                </a:cubicBezTo>
                <a:cubicBezTo>
                  <a:pt x="21457" y="8640"/>
                  <a:pt x="21198" y="9665"/>
                  <a:pt x="20837" y="10701"/>
                </a:cubicBezTo>
                <a:cubicBezTo>
                  <a:pt x="20657" y="11219"/>
                  <a:pt x="20443" y="11748"/>
                  <a:pt x="20207" y="12278"/>
                </a:cubicBezTo>
                <a:cubicBezTo>
                  <a:pt x="19959" y="12796"/>
                  <a:pt x="19677" y="13314"/>
                  <a:pt x="19351" y="13821"/>
                </a:cubicBezTo>
                <a:cubicBezTo>
                  <a:pt x="18708" y="14823"/>
                  <a:pt x="17830" y="15747"/>
                  <a:pt x="16760" y="16423"/>
                </a:cubicBezTo>
                <a:cubicBezTo>
                  <a:pt x="16219" y="16749"/>
                  <a:pt x="15645" y="17008"/>
                  <a:pt x="15059" y="17211"/>
                </a:cubicBezTo>
                <a:cubicBezTo>
                  <a:pt x="14473" y="17403"/>
                  <a:pt x="13877" y="17527"/>
                  <a:pt x="13280" y="17605"/>
                </a:cubicBezTo>
                <a:cubicBezTo>
                  <a:pt x="12840" y="17656"/>
                  <a:pt x="12395" y="17681"/>
                  <a:pt x="11957" y="17681"/>
                </a:cubicBezTo>
                <a:cubicBezTo>
                  <a:pt x="11811" y="17681"/>
                  <a:pt x="11666" y="17679"/>
                  <a:pt x="11523" y="17673"/>
                </a:cubicBezTo>
                <a:cubicBezTo>
                  <a:pt x="11376" y="17662"/>
                  <a:pt x="11241" y="17650"/>
                  <a:pt x="11095" y="17650"/>
                </a:cubicBezTo>
                <a:lnTo>
                  <a:pt x="10881" y="17628"/>
                </a:lnTo>
                <a:lnTo>
                  <a:pt x="10666" y="17605"/>
                </a:lnTo>
                <a:cubicBezTo>
                  <a:pt x="10531" y="17583"/>
                  <a:pt x="10396" y="17572"/>
                  <a:pt x="10250" y="17549"/>
                </a:cubicBezTo>
                <a:cubicBezTo>
                  <a:pt x="10115" y="17527"/>
                  <a:pt x="9979" y="17504"/>
                  <a:pt x="9844" y="17481"/>
                </a:cubicBezTo>
                <a:cubicBezTo>
                  <a:pt x="8752" y="17301"/>
                  <a:pt x="7761" y="16941"/>
                  <a:pt x="6860" y="16569"/>
                </a:cubicBezTo>
                <a:cubicBezTo>
                  <a:pt x="5947" y="16197"/>
                  <a:pt x="5136" y="15758"/>
                  <a:pt x="4415" y="15330"/>
                </a:cubicBezTo>
                <a:cubicBezTo>
                  <a:pt x="3706" y="14902"/>
                  <a:pt x="3075" y="14474"/>
                  <a:pt x="2534" y="14091"/>
                </a:cubicBezTo>
                <a:cubicBezTo>
                  <a:pt x="1994" y="13708"/>
                  <a:pt x="1532" y="13359"/>
                  <a:pt x="1160" y="13078"/>
                </a:cubicBezTo>
                <a:cubicBezTo>
                  <a:pt x="789" y="12796"/>
                  <a:pt x="507" y="12582"/>
                  <a:pt x="304" y="12424"/>
                </a:cubicBezTo>
                <a:cubicBezTo>
                  <a:pt x="203" y="12357"/>
                  <a:pt x="135" y="12300"/>
                  <a:pt x="79" y="12255"/>
                </a:cubicBezTo>
                <a:cubicBezTo>
                  <a:pt x="46" y="12231"/>
                  <a:pt x="19" y="12218"/>
                  <a:pt x="7" y="12213"/>
                </a:cubicBezTo>
                <a:lnTo>
                  <a:pt x="7" y="12213"/>
                </a:lnTo>
                <a:cubicBezTo>
                  <a:pt x="18" y="12226"/>
                  <a:pt x="40" y="12243"/>
                  <a:pt x="79" y="12267"/>
                </a:cubicBezTo>
                <a:cubicBezTo>
                  <a:pt x="124" y="12312"/>
                  <a:pt x="192" y="12368"/>
                  <a:pt x="293" y="12447"/>
                </a:cubicBezTo>
                <a:cubicBezTo>
                  <a:pt x="484" y="12604"/>
                  <a:pt x="766" y="12830"/>
                  <a:pt x="1138" y="13123"/>
                </a:cubicBezTo>
                <a:cubicBezTo>
                  <a:pt x="1498" y="13415"/>
                  <a:pt x="1949" y="13765"/>
                  <a:pt x="2489" y="14159"/>
                </a:cubicBezTo>
                <a:cubicBezTo>
                  <a:pt x="3030" y="14553"/>
                  <a:pt x="3649" y="14981"/>
                  <a:pt x="4370" y="15420"/>
                </a:cubicBezTo>
                <a:cubicBezTo>
                  <a:pt x="5091" y="15860"/>
                  <a:pt x="5902" y="16299"/>
                  <a:pt x="6814" y="16682"/>
                </a:cubicBezTo>
                <a:cubicBezTo>
                  <a:pt x="7727" y="17065"/>
                  <a:pt x="8729" y="17425"/>
                  <a:pt x="9822" y="17617"/>
                </a:cubicBezTo>
                <a:cubicBezTo>
                  <a:pt x="9957" y="17639"/>
                  <a:pt x="10103" y="17662"/>
                  <a:pt x="10238" y="17684"/>
                </a:cubicBezTo>
                <a:cubicBezTo>
                  <a:pt x="10374" y="17707"/>
                  <a:pt x="10520" y="17718"/>
                  <a:pt x="10655" y="17741"/>
                </a:cubicBezTo>
                <a:lnTo>
                  <a:pt x="10869" y="17763"/>
                </a:lnTo>
                <a:lnTo>
                  <a:pt x="11083" y="17786"/>
                </a:lnTo>
                <a:cubicBezTo>
                  <a:pt x="11230" y="17797"/>
                  <a:pt x="11376" y="17808"/>
                  <a:pt x="11523" y="17808"/>
                </a:cubicBezTo>
                <a:cubicBezTo>
                  <a:pt x="11700" y="17815"/>
                  <a:pt x="11878" y="17819"/>
                  <a:pt x="12057" y="17819"/>
                </a:cubicBezTo>
                <a:cubicBezTo>
                  <a:pt x="12470" y="17819"/>
                  <a:pt x="12886" y="17799"/>
                  <a:pt x="13302" y="17752"/>
                </a:cubicBezTo>
                <a:cubicBezTo>
                  <a:pt x="13910" y="17662"/>
                  <a:pt x="14519" y="17538"/>
                  <a:pt x="15116" y="17346"/>
                </a:cubicBezTo>
                <a:cubicBezTo>
                  <a:pt x="15701" y="17144"/>
                  <a:pt x="16287" y="16873"/>
                  <a:pt x="16839" y="16547"/>
                </a:cubicBezTo>
                <a:cubicBezTo>
                  <a:pt x="17931" y="15848"/>
                  <a:pt x="18821" y="14913"/>
                  <a:pt x="19474" y="13900"/>
                </a:cubicBezTo>
                <a:cubicBezTo>
                  <a:pt x="19801" y="13382"/>
                  <a:pt x="20094" y="12864"/>
                  <a:pt x="20330" y="12334"/>
                </a:cubicBezTo>
                <a:cubicBezTo>
                  <a:pt x="20578" y="11805"/>
                  <a:pt x="20781" y="11275"/>
                  <a:pt x="20961" y="10746"/>
                </a:cubicBezTo>
                <a:cubicBezTo>
                  <a:pt x="21333" y="9699"/>
                  <a:pt x="21581" y="8674"/>
                  <a:pt x="21806" y="7716"/>
                </a:cubicBezTo>
                <a:cubicBezTo>
                  <a:pt x="22031" y="6748"/>
                  <a:pt x="22200" y="5847"/>
                  <a:pt x="22347" y="5024"/>
                </a:cubicBezTo>
                <a:cubicBezTo>
                  <a:pt x="22482" y="4191"/>
                  <a:pt x="22594" y="3447"/>
                  <a:pt x="22673" y="2783"/>
                </a:cubicBezTo>
                <a:cubicBezTo>
                  <a:pt x="22707" y="2456"/>
                  <a:pt x="22752" y="2141"/>
                  <a:pt x="22752" y="1859"/>
                </a:cubicBezTo>
                <a:cubicBezTo>
                  <a:pt x="22763" y="1566"/>
                  <a:pt x="22741" y="1307"/>
                  <a:pt x="22684" y="1071"/>
                </a:cubicBezTo>
                <a:cubicBezTo>
                  <a:pt x="22594" y="609"/>
                  <a:pt x="22369" y="282"/>
                  <a:pt x="22155" y="147"/>
                </a:cubicBezTo>
                <a:cubicBezTo>
                  <a:pt x="22110" y="102"/>
                  <a:pt x="22054" y="91"/>
                  <a:pt x="22009" y="68"/>
                </a:cubicBezTo>
                <a:cubicBezTo>
                  <a:pt x="21975" y="35"/>
                  <a:pt x="21930" y="35"/>
                  <a:pt x="21896" y="23"/>
                </a:cubicBezTo>
                <a:cubicBezTo>
                  <a:pt x="21840" y="1"/>
                  <a:pt x="21806" y="1"/>
                  <a:pt x="21806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" name="Google Shape;68;p8"/>
          <p:cNvSpPr/>
          <p:nvPr/>
        </p:nvSpPr>
        <p:spPr>
          <a:xfrm flipH="1">
            <a:off x="6692883" y="3324075"/>
            <a:ext cx="5829218" cy="2360794"/>
          </a:xfrm>
          <a:custGeom>
            <a:avLst/>
            <a:gdLst/>
            <a:ahLst/>
            <a:cxnLst/>
            <a:rect l="l" t="t" r="r" b="b"/>
            <a:pathLst>
              <a:path w="57117" h="23132" extrusionOk="0">
                <a:moveTo>
                  <a:pt x="3086" y="1"/>
                </a:moveTo>
                <a:cubicBezTo>
                  <a:pt x="3086" y="1"/>
                  <a:pt x="3075" y="12"/>
                  <a:pt x="3052" y="46"/>
                </a:cubicBezTo>
                <a:cubicBezTo>
                  <a:pt x="3075" y="23"/>
                  <a:pt x="3086" y="1"/>
                  <a:pt x="3086" y="1"/>
                </a:cubicBezTo>
                <a:close/>
                <a:moveTo>
                  <a:pt x="3052" y="46"/>
                </a:moveTo>
                <a:cubicBezTo>
                  <a:pt x="3030" y="80"/>
                  <a:pt x="2996" y="125"/>
                  <a:pt x="2962" y="181"/>
                </a:cubicBezTo>
                <a:cubicBezTo>
                  <a:pt x="2883" y="305"/>
                  <a:pt x="2760" y="474"/>
                  <a:pt x="2613" y="710"/>
                </a:cubicBezTo>
                <a:cubicBezTo>
                  <a:pt x="2320" y="1183"/>
                  <a:pt x="1904" y="1893"/>
                  <a:pt x="1442" y="2850"/>
                </a:cubicBezTo>
                <a:cubicBezTo>
                  <a:pt x="1217" y="3335"/>
                  <a:pt x="991" y="3875"/>
                  <a:pt x="777" y="4483"/>
                </a:cubicBezTo>
                <a:cubicBezTo>
                  <a:pt x="563" y="5092"/>
                  <a:pt x="361" y="5767"/>
                  <a:pt x="225" y="6511"/>
                </a:cubicBezTo>
                <a:cubicBezTo>
                  <a:pt x="90" y="7254"/>
                  <a:pt x="0" y="8065"/>
                  <a:pt x="23" y="8921"/>
                </a:cubicBezTo>
                <a:cubicBezTo>
                  <a:pt x="56" y="9777"/>
                  <a:pt x="203" y="10678"/>
                  <a:pt x="518" y="11579"/>
                </a:cubicBezTo>
                <a:cubicBezTo>
                  <a:pt x="822" y="12480"/>
                  <a:pt x="1273" y="13393"/>
                  <a:pt x="1926" y="14204"/>
                </a:cubicBezTo>
                <a:cubicBezTo>
                  <a:pt x="2241" y="14609"/>
                  <a:pt x="2624" y="14981"/>
                  <a:pt x="3041" y="15330"/>
                </a:cubicBezTo>
                <a:cubicBezTo>
                  <a:pt x="3154" y="15420"/>
                  <a:pt x="3255" y="15499"/>
                  <a:pt x="3368" y="15578"/>
                </a:cubicBezTo>
                <a:cubicBezTo>
                  <a:pt x="3424" y="15623"/>
                  <a:pt x="3480" y="15668"/>
                  <a:pt x="3537" y="15702"/>
                </a:cubicBezTo>
                <a:lnTo>
                  <a:pt x="3706" y="15803"/>
                </a:lnTo>
                <a:cubicBezTo>
                  <a:pt x="3942" y="15961"/>
                  <a:pt x="4190" y="16073"/>
                  <a:pt x="4449" y="16209"/>
                </a:cubicBezTo>
                <a:cubicBezTo>
                  <a:pt x="4573" y="16265"/>
                  <a:pt x="4708" y="16310"/>
                  <a:pt x="4832" y="16366"/>
                </a:cubicBezTo>
                <a:lnTo>
                  <a:pt x="5035" y="16445"/>
                </a:lnTo>
                <a:lnTo>
                  <a:pt x="5238" y="16501"/>
                </a:lnTo>
                <a:cubicBezTo>
                  <a:pt x="5384" y="16535"/>
                  <a:pt x="5519" y="16569"/>
                  <a:pt x="5654" y="16614"/>
                </a:cubicBezTo>
                <a:cubicBezTo>
                  <a:pt x="5801" y="16637"/>
                  <a:pt x="5947" y="16659"/>
                  <a:pt x="6082" y="16682"/>
                </a:cubicBezTo>
                <a:lnTo>
                  <a:pt x="6296" y="16727"/>
                </a:lnTo>
                <a:cubicBezTo>
                  <a:pt x="6375" y="16738"/>
                  <a:pt x="6443" y="16738"/>
                  <a:pt x="6522" y="16738"/>
                </a:cubicBezTo>
                <a:cubicBezTo>
                  <a:pt x="6668" y="16749"/>
                  <a:pt x="6814" y="16760"/>
                  <a:pt x="6961" y="16772"/>
                </a:cubicBezTo>
                <a:cubicBezTo>
                  <a:pt x="7107" y="16772"/>
                  <a:pt x="7254" y="16772"/>
                  <a:pt x="7400" y="16760"/>
                </a:cubicBezTo>
                <a:lnTo>
                  <a:pt x="7625" y="16760"/>
                </a:lnTo>
                <a:cubicBezTo>
                  <a:pt x="7693" y="16760"/>
                  <a:pt x="7772" y="16738"/>
                  <a:pt x="7851" y="16738"/>
                </a:cubicBezTo>
                <a:lnTo>
                  <a:pt x="8290" y="16682"/>
                </a:lnTo>
                <a:cubicBezTo>
                  <a:pt x="8436" y="16659"/>
                  <a:pt x="8594" y="16625"/>
                  <a:pt x="8740" y="16603"/>
                </a:cubicBezTo>
                <a:lnTo>
                  <a:pt x="8966" y="16558"/>
                </a:lnTo>
                <a:lnTo>
                  <a:pt x="9180" y="16490"/>
                </a:lnTo>
                <a:cubicBezTo>
                  <a:pt x="9326" y="16456"/>
                  <a:pt x="9473" y="16411"/>
                  <a:pt x="9630" y="16366"/>
                </a:cubicBezTo>
                <a:cubicBezTo>
                  <a:pt x="9765" y="16321"/>
                  <a:pt x="9912" y="16265"/>
                  <a:pt x="10058" y="16220"/>
                </a:cubicBezTo>
                <a:cubicBezTo>
                  <a:pt x="10137" y="16197"/>
                  <a:pt x="10205" y="16163"/>
                  <a:pt x="10283" y="16141"/>
                </a:cubicBezTo>
                <a:lnTo>
                  <a:pt x="10497" y="16051"/>
                </a:lnTo>
                <a:cubicBezTo>
                  <a:pt x="10633" y="15995"/>
                  <a:pt x="10779" y="15927"/>
                  <a:pt x="10925" y="15871"/>
                </a:cubicBezTo>
                <a:lnTo>
                  <a:pt x="11342" y="15657"/>
                </a:lnTo>
                <a:cubicBezTo>
                  <a:pt x="11489" y="15589"/>
                  <a:pt x="11624" y="15521"/>
                  <a:pt x="11770" y="15443"/>
                </a:cubicBezTo>
                <a:cubicBezTo>
                  <a:pt x="11905" y="15364"/>
                  <a:pt x="12041" y="15285"/>
                  <a:pt x="12176" y="15206"/>
                </a:cubicBezTo>
                <a:cubicBezTo>
                  <a:pt x="12446" y="15037"/>
                  <a:pt x="12728" y="14879"/>
                  <a:pt x="12987" y="14688"/>
                </a:cubicBezTo>
                <a:cubicBezTo>
                  <a:pt x="13527" y="14328"/>
                  <a:pt x="14034" y="13922"/>
                  <a:pt x="14541" y="13505"/>
                </a:cubicBezTo>
                <a:cubicBezTo>
                  <a:pt x="15532" y="12649"/>
                  <a:pt x="16478" y="11692"/>
                  <a:pt x="17447" y="10735"/>
                </a:cubicBezTo>
                <a:cubicBezTo>
                  <a:pt x="18416" y="9777"/>
                  <a:pt x="19407" y="8809"/>
                  <a:pt x="20511" y="7941"/>
                </a:cubicBezTo>
                <a:cubicBezTo>
                  <a:pt x="21062" y="7513"/>
                  <a:pt x="21648" y="7119"/>
                  <a:pt x="22268" y="6759"/>
                </a:cubicBezTo>
                <a:cubicBezTo>
                  <a:pt x="22572" y="6578"/>
                  <a:pt x="22898" y="6432"/>
                  <a:pt x="23214" y="6274"/>
                </a:cubicBezTo>
                <a:cubicBezTo>
                  <a:pt x="23383" y="6207"/>
                  <a:pt x="23540" y="6139"/>
                  <a:pt x="23709" y="6072"/>
                </a:cubicBezTo>
                <a:cubicBezTo>
                  <a:pt x="23878" y="6004"/>
                  <a:pt x="24047" y="5936"/>
                  <a:pt x="24216" y="5880"/>
                </a:cubicBezTo>
                <a:cubicBezTo>
                  <a:pt x="25343" y="5517"/>
                  <a:pt x="26516" y="5339"/>
                  <a:pt x="27678" y="5339"/>
                </a:cubicBezTo>
                <a:cubicBezTo>
                  <a:pt x="27921" y="5339"/>
                  <a:pt x="28164" y="5346"/>
                  <a:pt x="28406" y="5362"/>
                </a:cubicBezTo>
                <a:cubicBezTo>
                  <a:pt x="29803" y="5463"/>
                  <a:pt x="31154" y="5801"/>
                  <a:pt x="32393" y="6353"/>
                </a:cubicBezTo>
                <a:cubicBezTo>
                  <a:pt x="33632" y="6894"/>
                  <a:pt x="34759" y="7648"/>
                  <a:pt x="35671" y="8583"/>
                </a:cubicBezTo>
                <a:cubicBezTo>
                  <a:pt x="36595" y="9507"/>
                  <a:pt x="37293" y="10588"/>
                  <a:pt x="37901" y="11669"/>
                </a:cubicBezTo>
                <a:cubicBezTo>
                  <a:pt x="38498" y="12762"/>
                  <a:pt x="39005" y="13877"/>
                  <a:pt x="39500" y="14958"/>
                </a:cubicBezTo>
                <a:cubicBezTo>
                  <a:pt x="39996" y="16028"/>
                  <a:pt x="40492" y="17076"/>
                  <a:pt x="41055" y="18044"/>
                </a:cubicBezTo>
                <a:cubicBezTo>
                  <a:pt x="41336" y="18529"/>
                  <a:pt x="41629" y="18991"/>
                  <a:pt x="41945" y="19430"/>
                </a:cubicBezTo>
                <a:cubicBezTo>
                  <a:pt x="42260" y="19858"/>
                  <a:pt x="42609" y="20275"/>
                  <a:pt x="42970" y="20635"/>
                </a:cubicBezTo>
                <a:cubicBezTo>
                  <a:pt x="43150" y="20826"/>
                  <a:pt x="43353" y="20995"/>
                  <a:pt x="43544" y="21164"/>
                </a:cubicBezTo>
                <a:cubicBezTo>
                  <a:pt x="43735" y="21322"/>
                  <a:pt x="43938" y="21480"/>
                  <a:pt x="44141" y="21626"/>
                </a:cubicBezTo>
                <a:cubicBezTo>
                  <a:pt x="44546" y="21908"/>
                  <a:pt x="44974" y="22156"/>
                  <a:pt x="45414" y="22347"/>
                </a:cubicBezTo>
                <a:cubicBezTo>
                  <a:pt x="45842" y="22538"/>
                  <a:pt x="46281" y="22696"/>
                  <a:pt x="46720" y="22809"/>
                </a:cubicBezTo>
                <a:cubicBezTo>
                  <a:pt x="47160" y="22921"/>
                  <a:pt x="47599" y="23000"/>
                  <a:pt x="48016" y="23057"/>
                </a:cubicBezTo>
                <a:cubicBezTo>
                  <a:pt x="48458" y="23109"/>
                  <a:pt x="48888" y="23131"/>
                  <a:pt x="49305" y="23131"/>
                </a:cubicBezTo>
                <a:cubicBezTo>
                  <a:pt x="49695" y="23131"/>
                  <a:pt x="50072" y="23112"/>
                  <a:pt x="50437" y="23079"/>
                </a:cubicBezTo>
                <a:cubicBezTo>
                  <a:pt x="51935" y="22933"/>
                  <a:pt x="53197" y="22550"/>
                  <a:pt x="54165" y="22110"/>
                </a:cubicBezTo>
                <a:cubicBezTo>
                  <a:pt x="54650" y="21896"/>
                  <a:pt x="55066" y="21682"/>
                  <a:pt x="55427" y="21491"/>
                </a:cubicBezTo>
                <a:cubicBezTo>
                  <a:pt x="55798" y="21311"/>
                  <a:pt x="56103" y="21153"/>
                  <a:pt x="56350" y="21029"/>
                </a:cubicBezTo>
                <a:cubicBezTo>
                  <a:pt x="56598" y="20905"/>
                  <a:pt x="56790" y="20804"/>
                  <a:pt x="56925" y="20748"/>
                </a:cubicBezTo>
                <a:cubicBezTo>
                  <a:pt x="56981" y="20714"/>
                  <a:pt x="57026" y="20691"/>
                  <a:pt x="57060" y="20669"/>
                </a:cubicBezTo>
                <a:cubicBezTo>
                  <a:pt x="57094" y="20658"/>
                  <a:pt x="57116" y="20646"/>
                  <a:pt x="57116" y="20646"/>
                </a:cubicBezTo>
                <a:cubicBezTo>
                  <a:pt x="57116" y="20643"/>
                  <a:pt x="57114" y="20642"/>
                  <a:pt x="57111" y="20642"/>
                </a:cubicBezTo>
                <a:cubicBezTo>
                  <a:pt x="57102" y="20642"/>
                  <a:pt x="57084" y="20650"/>
                  <a:pt x="57060" y="20658"/>
                </a:cubicBezTo>
                <a:cubicBezTo>
                  <a:pt x="57026" y="20680"/>
                  <a:pt x="56981" y="20703"/>
                  <a:pt x="56914" y="20725"/>
                </a:cubicBezTo>
                <a:cubicBezTo>
                  <a:pt x="56790" y="20781"/>
                  <a:pt x="56587" y="20872"/>
                  <a:pt x="56339" y="20995"/>
                </a:cubicBezTo>
                <a:cubicBezTo>
                  <a:pt x="56091" y="21119"/>
                  <a:pt x="55776" y="21266"/>
                  <a:pt x="55416" y="21446"/>
                </a:cubicBezTo>
                <a:cubicBezTo>
                  <a:pt x="55044" y="21626"/>
                  <a:pt x="54627" y="21840"/>
                  <a:pt x="54143" y="22054"/>
                </a:cubicBezTo>
                <a:cubicBezTo>
                  <a:pt x="53174" y="22482"/>
                  <a:pt x="51924" y="22854"/>
                  <a:pt x="50426" y="22989"/>
                </a:cubicBezTo>
                <a:cubicBezTo>
                  <a:pt x="50092" y="23019"/>
                  <a:pt x="49744" y="23036"/>
                  <a:pt x="49386" y="23036"/>
                </a:cubicBezTo>
                <a:cubicBezTo>
                  <a:pt x="48947" y="23036"/>
                  <a:pt x="48492" y="23011"/>
                  <a:pt x="48027" y="22955"/>
                </a:cubicBezTo>
                <a:cubicBezTo>
                  <a:pt x="47610" y="22899"/>
                  <a:pt x="47182" y="22820"/>
                  <a:pt x="46743" y="22707"/>
                </a:cubicBezTo>
                <a:cubicBezTo>
                  <a:pt x="46315" y="22595"/>
                  <a:pt x="45876" y="22437"/>
                  <a:pt x="45448" y="22246"/>
                </a:cubicBezTo>
                <a:cubicBezTo>
                  <a:pt x="45020" y="22054"/>
                  <a:pt x="44603" y="21806"/>
                  <a:pt x="44197" y="21525"/>
                </a:cubicBezTo>
                <a:cubicBezTo>
                  <a:pt x="43995" y="21390"/>
                  <a:pt x="43803" y="21232"/>
                  <a:pt x="43612" y="21074"/>
                </a:cubicBezTo>
                <a:cubicBezTo>
                  <a:pt x="43420" y="20905"/>
                  <a:pt x="43229" y="20736"/>
                  <a:pt x="43060" y="20556"/>
                </a:cubicBezTo>
                <a:cubicBezTo>
                  <a:pt x="42699" y="20184"/>
                  <a:pt x="42350" y="19779"/>
                  <a:pt x="42035" y="19351"/>
                </a:cubicBezTo>
                <a:cubicBezTo>
                  <a:pt x="41731" y="18923"/>
                  <a:pt x="41438" y="18461"/>
                  <a:pt x="41156" y="17977"/>
                </a:cubicBezTo>
                <a:cubicBezTo>
                  <a:pt x="40604" y="17019"/>
                  <a:pt x="40120" y="15972"/>
                  <a:pt x="39624" y="14891"/>
                </a:cubicBezTo>
                <a:cubicBezTo>
                  <a:pt x="39129" y="13821"/>
                  <a:pt x="38622" y="12706"/>
                  <a:pt x="38014" y="11602"/>
                </a:cubicBezTo>
                <a:cubicBezTo>
                  <a:pt x="37406" y="10509"/>
                  <a:pt x="36707" y="9417"/>
                  <a:pt x="35761" y="8482"/>
                </a:cubicBezTo>
                <a:cubicBezTo>
                  <a:pt x="34837" y="7536"/>
                  <a:pt x="33700" y="6770"/>
                  <a:pt x="32450" y="6218"/>
                </a:cubicBezTo>
                <a:cubicBezTo>
                  <a:pt x="31199" y="5655"/>
                  <a:pt x="29825" y="5306"/>
                  <a:pt x="28417" y="5204"/>
                </a:cubicBezTo>
                <a:cubicBezTo>
                  <a:pt x="28173" y="5189"/>
                  <a:pt x="27929" y="5181"/>
                  <a:pt x="27684" y="5181"/>
                </a:cubicBezTo>
                <a:cubicBezTo>
                  <a:pt x="26504" y="5181"/>
                  <a:pt x="25318" y="5363"/>
                  <a:pt x="24171" y="5745"/>
                </a:cubicBezTo>
                <a:cubicBezTo>
                  <a:pt x="23991" y="5790"/>
                  <a:pt x="23822" y="5858"/>
                  <a:pt x="23653" y="5925"/>
                </a:cubicBezTo>
                <a:cubicBezTo>
                  <a:pt x="23484" y="5993"/>
                  <a:pt x="23326" y="6072"/>
                  <a:pt x="23157" y="6139"/>
                </a:cubicBezTo>
                <a:cubicBezTo>
                  <a:pt x="22831" y="6297"/>
                  <a:pt x="22504" y="6443"/>
                  <a:pt x="22200" y="6635"/>
                </a:cubicBezTo>
                <a:cubicBezTo>
                  <a:pt x="21569" y="6984"/>
                  <a:pt x="20984" y="7389"/>
                  <a:pt x="20432" y="7829"/>
                </a:cubicBezTo>
                <a:cubicBezTo>
                  <a:pt x="19305" y="8696"/>
                  <a:pt x="18314" y="9665"/>
                  <a:pt x="17346" y="10622"/>
                </a:cubicBezTo>
                <a:cubicBezTo>
                  <a:pt x="16377" y="11579"/>
                  <a:pt x="15442" y="12537"/>
                  <a:pt x="14451" y="13393"/>
                </a:cubicBezTo>
                <a:cubicBezTo>
                  <a:pt x="13944" y="13809"/>
                  <a:pt x="13437" y="14215"/>
                  <a:pt x="12908" y="14564"/>
                </a:cubicBezTo>
                <a:cubicBezTo>
                  <a:pt x="12649" y="14756"/>
                  <a:pt x="12378" y="14913"/>
                  <a:pt x="12108" y="15082"/>
                </a:cubicBezTo>
                <a:cubicBezTo>
                  <a:pt x="11973" y="15161"/>
                  <a:pt x="11838" y="15240"/>
                  <a:pt x="11703" y="15319"/>
                </a:cubicBezTo>
                <a:cubicBezTo>
                  <a:pt x="11567" y="15398"/>
                  <a:pt x="11421" y="15465"/>
                  <a:pt x="11286" y="15533"/>
                </a:cubicBezTo>
                <a:cubicBezTo>
                  <a:pt x="11151" y="15600"/>
                  <a:pt x="11004" y="15668"/>
                  <a:pt x="10869" y="15747"/>
                </a:cubicBezTo>
                <a:cubicBezTo>
                  <a:pt x="10723" y="15803"/>
                  <a:pt x="10588" y="15859"/>
                  <a:pt x="10441" y="15927"/>
                </a:cubicBezTo>
                <a:lnTo>
                  <a:pt x="10227" y="16017"/>
                </a:lnTo>
                <a:cubicBezTo>
                  <a:pt x="10160" y="16040"/>
                  <a:pt x="10092" y="16062"/>
                  <a:pt x="10013" y="16096"/>
                </a:cubicBezTo>
                <a:cubicBezTo>
                  <a:pt x="9867" y="16141"/>
                  <a:pt x="9732" y="16197"/>
                  <a:pt x="9585" y="16242"/>
                </a:cubicBezTo>
                <a:cubicBezTo>
                  <a:pt x="9439" y="16287"/>
                  <a:pt x="9292" y="16321"/>
                  <a:pt x="9146" y="16366"/>
                </a:cubicBezTo>
                <a:lnTo>
                  <a:pt x="8932" y="16423"/>
                </a:lnTo>
                <a:lnTo>
                  <a:pt x="8707" y="16468"/>
                </a:lnTo>
                <a:cubicBezTo>
                  <a:pt x="8560" y="16490"/>
                  <a:pt x="8414" y="16524"/>
                  <a:pt x="8267" y="16558"/>
                </a:cubicBezTo>
                <a:lnTo>
                  <a:pt x="7828" y="16603"/>
                </a:lnTo>
                <a:cubicBezTo>
                  <a:pt x="7761" y="16614"/>
                  <a:pt x="7693" y="16625"/>
                  <a:pt x="7614" y="16625"/>
                </a:cubicBezTo>
                <a:lnTo>
                  <a:pt x="7400" y="16637"/>
                </a:lnTo>
                <a:cubicBezTo>
                  <a:pt x="7302" y="16637"/>
                  <a:pt x="7205" y="16642"/>
                  <a:pt x="7107" y="16642"/>
                </a:cubicBezTo>
                <a:cubicBezTo>
                  <a:pt x="7058" y="16642"/>
                  <a:pt x="7010" y="16640"/>
                  <a:pt x="6961" y="16637"/>
                </a:cubicBezTo>
                <a:cubicBezTo>
                  <a:pt x="6814" y="16625"/>
                  <a:pt x="6668" y="16625"/>
                  <a:pt x="6522" y="16614"/>
                </a:cubicBezTo>
                <a:cubicBezTo>
                  <a:pt x="6454" y="16603"/>
                  <a:pt x="6386" y="16603"/>
                  <a:pt x="6308" y="16591"/>
                </a:cubicBezTo>
                <a:lnTo>
                  <a:pt x="6105" y="16558"/>
                </a:lnTo>
                <a:cubicBezTo>
                  <a:pt x="5958" y="16535"/>
                  <a:pt x="5823" y="16513"/>
                  <a:pt x="5677" y="16490"/>
                </a:cubicBezTo>
                <a:cubicBezTo>
                  <a:pt x="5542" y="16456"/>
                  <a:pt x="5406" y="16411"/>
                  <a:pt x="5271" y="16377"/>
                </a:cubicBezTo>
                <a:lnTo>
                  <a:pt x="5069" y="16321"/>
                </a:lnTo>
                <a:lnTo>
                  <a:pt x="4877" y="16242"/>
                </a:lnTo>
                <a:cubicBezTo>
                  <a:pt x="4753" y="16197"/>
                  <a:pt x="4618" y="16152"/>
                  <a:pt x="4494" y="16096"/>
                </a:cubicBezTo>
                <a:cubicBezTo>
                  <a:pt x="4246" y="15972"/>
                  <a:pt x="3999" y="15859"/>
                  <a:pt x="3773" y="15702"/>
                </a:cubicBezTo>
                <a:lnTo>
                  <a:pt x="3604" y="15600"/>
                </a:lnTo>
                <a:cubicBezTo>
                  <a:pt x="3537" y="15567"/>
                  <a:pt x="3480" y="15521"/>
                  <a:pt x="3435" y="15488"/>
                </a:cubicBezTo>
                <a:cubicBezTo>
                  <a:pt x="3323" y="15398"/>
                  <a:pt x="3221" y="15319"/>
                  <a:pt x="3109" y="15240"/>
                </a:cubicBezTo>
                <a:cubicBezTo>
                  <a:pt x="2703" y="14902"/>
                  <a:pt x="2320" y="14530"/>
                  <a:pt x="2016" y="14125"/>
                </a:cubicBezTo>
                <a:cubicBezTo>
                  <a:pt x="1363" y="13325"/>
                  <a:pt x="912" y="12435"/>
                  <a:pt x="608" y="11546"/>
                </a:cubicBezTo>
                <a:cubicBezTo>
                  <a:pt x="304" y="10656"/>
                  <a:pt x="147" y="9766"/>
                  <a:pt x="113" y="8921"/>
                </a:cubicBezTo>
                <a:cubicBezTo>
                  <a:pt x="90" y="8065"/>
                  <a:pt x="169" y="7266"/>
                  <a:pt x="304" y="6522"/>
                </a:cubicBezTo>
                <a:cubicBezTo>
                  <a:pt x="428" y="5790"/>
                  <a:pt x="631" y="5114"/>
                  <a:pt x="834" y="4506"/>
                </a:cubicBezTo>
                <a:cubicBezTo>
                  <a:pt x="1048" y="3898"/>
                  <a:pt x="1273" y="3357"/>
                  <a:pt x="1498" y="2873"/>
                </a:cubicBezTo>
                <a:cubicBezTo>
                  <a:pt x="1937" y="1915"/>
                  <a:pt x="2354" y="1206"/>
                  <a:pt x="2647" y="733"/>
                </a:cubicBezTo>
                <a:cubicBezTo>
                  <a:pt x="2782" y="485"/>
                  <a:pt x="2895" y="316"/>
                  <a:pt x="2974" y="192"/>
                </a:cubicBezTo>
                <a:cubicBezTo>
                  <a:pt x="3007" y="125"/>
                  <a:pt x="3041" y="80"/>
                  <a:pt x="3052" y="46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" name="Google Shape;69;p8"/>
          <p:cNvSpPr/>
          <p:nvPr/>
        </p:nvSpPr>
        <p:spPr>
          <a:xfrm rot="9190242">
            <a:off x="314666" y="4934062"/>
            <a:ext cx="2308361" cy="1200209"/>
          </a:xfrm>
          <a:custGeom>
            <a:avLst/>
            <a:gdLst/>
            <a:ahLst/>
            <a:cxnLst/>
            <a:rect l="l" t="t" r="r" b="b"/>
            <a:pathLst>
              <a:path w="22618" h="11760" extrusionOk="0">
                <a:moveTo>
                  <a:pt x="19512" y="1"/>
                </a:moveTo>
                <a:cubicBezTo>
                  <a:pt x="18399" y="1"/>
                  <a:pt x="17014" y="42"/>
                  <a:pt x="15409" y="173"/>
                </a:cubicBezTo>
                <a:cubicBezTo>
                  <a:pt x="14305" y="275"/>
                  <a:pt x="13100" y="410"/>
                  <a:pt x="11816" y="613"/>
                </a:cubicBezTo>
                <a:cubicBezTo>
                  <a:pt x="10532" y="827"/>
                  <a:pt x="9169" y="1097"/>
                  <a:pt x="7750" y="1457"/>
                </a:cubicBezTo>
                <a:cubicBezTo>
                  <a:pt x="6331" y="1829"/>
                  <a:pt x="4855" y="2280"/>
                  <a:pt x="3368" y="2865"/>
                </a:cubicBezTo>
                <a:cubicBezTo>
                  <a:pt x="2636" y="3169"/>
                  <a:pt x="1870" y="3496"/>
                  <a:pt x="1228" y="4025"/>
                </a:cubicBezTo>
                <a:cubicBezTo>
                  <a:pt x="902" y="4296"/>
                  <a:pt x="620" y="4622"/>
                  <a:pt x="406" y="4983"/>
                </a:cubicBezTo>
                <a:cubicBezTo>
                  <a:pt x="192" y="5355"/>
                  <a:pt x="46" y="5771"/>
                  <a:pt x="23" y="6211"/>
                </a:cubicBezTo>
                <a:cubicBezTo>
                  <a:pt x="1" y="6650"/>
                  <a:pt x="113" y="7078"/>
                  <a:pt x="327" y="7449"/>
                </a:cubicBezTo>
                <a:cubicBezTo>
                  <a:pt x="553" y="7821"/>
                  <a:pt x="857" y="8125"/>
                  <a:pt x="1195" y="8373"/>
                </a:cubicBezTo>
                <a:cubicBezTo>
                  <a:pt x="1870" y="8869"/>
                  <a:pt x="2636" y="9173"/>
                  <a:pt x="3380" y="9443"/>
                </a:cubicBezTo>
                <a:cubicBezTo>
                  <a:pt x="4878" y="10006"/>
                  <a:pt x="6353" y="10445"/>
                  <a:pt x="7784" y="10783"/>
                </a:cubicBezTo>
                <a:cubicBezTo>
                  <a:pt x="9203" y="11121"/>
                  <a:pt x="10577" y="11347"/>
                  <a:pt x="11872" y="11504"/>
                </a:cubicBezTo>
                <a:cubicBezTo>
                  <a:pt x="12199" y="11538"/>
                  <a:pt x="12514" y="11583"/>
                  <a:pt x="12830" y="11606"/>
                </a:cubicBezTo>
                <a:cubicBezTo>
                  <a:pt x="13145" y="11628"/>
                  <a:pt x="13449" y="11662"/>
                  <a:pt x="13753" y="11684"/>
                </a:cubicBezTo>
                <a:cubicBezTo>
                  <a:pt x="14046" y="11707"/>
                  <a:pt x="14350" y="11718"/>
                  <a:pt x="14632" y="11730"/>
                </a:cubicBezTo>
                <a:cubicBezTo>
                  <a:pt x="14925" y="11741"/>
                  <a:pt x="15206" y="11752"/>
                  <a:pt x="15488" y="11752"/>
                </a:cubicBezTo>
                <a:cubicBezTo>
                  <a:pt x="15750" y="11757"/>
                  <a:pt x="16006" y="11760"/>
                  <a:pt x="16255" y="11760"/>
                </a:cubicBezTo>
                <a:cubicBezTo>
                  <a:pt x="18119" y="11760"/>
                  <a:pt x="19631" y="11621"/>
                  <a:pt x="20714" y="11482"/>
                </a:cubicBezTo>
                <a:cubicBezTo>
                  <a:pt x="21029" y="11448"/>
                  <a:pt x="21300" y="11414"/>
                  <a:pt x="21536" y="11380"/>
                </a:cubicBezTo>
                <a:cubicBezTo>
                  <a:pt x="21773" y="11335"/>
                  <a:pt x="21964" y="11302"/>
                  <a:pt x="22133" y="11279"/>
                </a:cubicBezTo>
                <a:cubicBezTo>
                  <a:pt x="22291" y="11245"/>
                  <a:pt x="22403" y="11234"/>
                  <a:pt x="22493" y="11211"/>
                </a:cubicBezTo>
                <a:cubicBezTo>
                  <a:pt x="22572" y="11200"/>
                  <a:pt x="22617" y="11189"/>
                  <a:pt x="22617" y="11189"/>
                </a:cubicBezTo>
                <a:lnTo>
                  <a:pt x="22584" y="11189"/>
                </a:lnTo>
                <a:cubicBezTo>
                  <a:pt x="22561" y="11189"/>
                  <a:pt x="22527" y="11189"/>
                  <a:pt x="22493" y="11200"/>
                </a:cubicBezTo>
                <a:cubicBezTo>
                  <a:pt x="22403" y="11211"/>
                  <a:pt x="22279" y="11223"/>
                  <a:pt x="22122" y="11245"/>
                </a:cubicBezTo>
                <a:cubicBezTo>
                  <a:pt x="21964" y="11268"/>
                  <a:pt x="21761" y="11302"/>
                  <a:pt x="21525" y="11335"/>
                </a:cubicBezTo>
                <a:cubicBezTo>
                  <a:pt x="21288" y="11369"/>
                  <a:pt x="21018" y="11392"/>
                  <a:pt x="20714" y="11425"/>
                </a:cubicBezTo>
                <a:cubicBezTo>
                  <a:pt x="19681" y="11549"/>
                  <a:pt x="18250" y="11664"/>
                  <a:pt x="16508" y="11664"/>
                </a:cubicBezTo>
                <a:cubicBezTo>
                  <a:pt x="16179" y="11664"/>
                  <a:pt x="15839" y="11660"/>
                  <a:pt x="15488" y="11651"/>
                </a:cubicBezTo>
                <a:cubicBezTo>
                  <a:pt x="15206" y="11651"/>
                  <a:pt x="14925" y="11639"/>
                  <a:pt x="14643" y="11617"/>
                </a:cubicBezTo>
                <a:cubicBezTo>
                  <a:pt x="14350" y="11606"/>
                  <a:pt x="14057" y="11594"/>
                  <a:pt x="13753" y="11572"/>
                </a:cubicBezTo>
                <a:cubicBezTo>
                  <a:pt x="13460" y="11538"/>
                  <a:pt x="13145" y="11516"/>
                  <a:pt x="12841" y="11493"/>
                </a:cubicBezTo>
                <a:cubicBezTo>
                  <a:pt x="12525" y="11459"/>
                  <a:pt x="12210" y="11414"/>
                  <a:pt x="11883" y="11380"/>
                </a:cubicBezTo>
                <a:cubicBezTo>
                  <a:pt x="10599" y="11223"/>
                  <a:pt x="9225" y="10986"/>
                  <a:pt x="7806" y="10648"/>
                </a:cubicBezTo>
                <a:cubicBezTo>
                  <a:pt x="6387" y="10310"/>
                  <a:pt x="4923" y="9871"/>
                  <a:pt x="3436" y="9308"/>
                </a:cubicBezTo>
                <a:cubicBezTo>
                  <a:pt x="2693" y="9038"/>
                  <a:pt x="1938" y="8733"/>
                  <a:pt x="1285" y="8260"/>
                </a:cubicBezTo>
                <a:cubicBezTo>
                  <a:pt x="958" y="8024"/>
                  <a:pt x="665" y="7731"/>
                  <a:pt x="462" y="7382"/>
                </a:cubicBezTo>
                <a:cubicBezTo>
                  <a:pt x="260" y="7033"/>
                  <a:pt x="147" y="6627"/>
                  <a:pt x="170" y="6222"/>
                </a:cubicBezTo>
                <a:cubicBezTo>
                  <a:pt x="192" y="5805"/>
                  <a:pt x="327" y="5411"/>
                  <a:pt x="530" y="5062"/>
                </a:cubicBezTo>
                <a:cubicBezTo>
                  <a:pt x="733" y="4701"/>
                  <a:pt x="1003" y="4397"/>
                  <a:pt x="1318" y="4138"/>
                </a:cubicBezTo>
                <a:cubicBezTo>
                  <a:pt x="1949" y="3620"/>
                  <a:pt x="2693" y="3293"/>
                  <a:pt x="3425" y="3000"/>
                </a:cubicBezTo>
                <a:cubicBezTo>
                  <a:pt x="4900" y="2415"/>
                  <a:pt x="6364" y="1953"/>
                  <a:pt x="7784" y="1593"/>
                </a:cubicBezTo>
                <a:cubicBezTo>
                  <a:pt x="9191" y="1221"/>
                  <a:pt x="10554" y="951"/>
                  <a:pt x="11838" y="737"/>
                </a:cubicBezTo>
                <a:cubicBezTo>
                  <a:pt x="13122" y="523"/>
                  <a:pt x="14316" y="387"/>
                  <a:pt x="15420" y="275"/>
                </a:cubicBezTo>
                <a:cubicBezTo>
                  <a:pt x="17337" y="109"/>
                  <a:pt x="18930" y="70"/>
                  <a:pt x="20128" y="70"/>
                </a:cubicBezTo>
                <a:cubicBezTo>
                  <a:pt x="20310" y="70"/>
                  <a:pt x="20483" y="71"/>
                  <a:pt x="20646" y="72"/>
                </a:cubicBezTo>
                <a:cubicBezTo>
                  <a:pt x="20962" y="72"/>
                  <a:pt x="21232" y="83"/>
                  <a:pt x="21468" y="83"/>
                </a:cubicBezTo>
                <a:cubicBezTo>
                  <a:pt x="21705" y="95"/>
                  <a:pt x="21908" y="95"/>
                  <a:pt x="22065" y="106"/>
                </a:cubicBezTo>
                <a:lnTo>
                  <a:pt x="22572" y="106"/>
                </a:lnTo>
                <a:cubicBezTo>
                  <a:pt x="22572" y="106"/>
                  <a:pt x="22527" y="106"/>
                  <a:pt x="22437" y="95"/>
                </a:cubicBezTo>
                <a:cubicBezTo>
                  <a:pt x="22358" y="95"/>
                  <a:pt x="22234" y="83"/>
                  <a:pt x="22077" y="72"/>
                </a:cubicBezTo>
                <a:cubicBezTo>
                  <a:pt x="21908" y="61"/>
                  <a:pt x="21705" y="50"/>
                  <a:pt x="21468" y="38"/>
                </a:cubicBezTo>
                <a:cubicBezTo>
                  <a:pt x="21232" y="27"/>
                  <a:pt x="20962" y="27"/>
                  <a:pt x="20646" y="16"/>
                </a:cubicBezTo>
                <a:cubicBezTo>
                  <a:pt x="20308" y="7"/>
                  <a:pt x="19929" y="1"/>
                  <a:pt x="195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70;p8"/>
          <p:cNvSpPr/>
          <p:nvPr/>
        </p:nvSpPr>
        <p:spPr>
          <a:xfrm>
            <a:off x="-9493" y="-14850"/>
            <a:ext cx="713100" cy="51732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71" name="Google Shape;71;p8"/>
          <p:cNvPicPr preferRelativeResize="0"/>
          <p:nvPr/>
        </p:nvPicPr>
        <p:blipFill rotWithShape="1">
          <a:blip r:embed="rId2">
            <a:alphaModFix amt="38000"/>
          </a:blip>
          <a:srcRect l="49686" t="4540" r="1710" b="3165"/>
          <a:stretch/>
        </p:blipFill>
        <p:spPr>
          <a:xfrm>
            <a:off x="-9525" y="-14850"/>
            <a:ext cx="713165" cy="5173200"/>
          </a:xfrm>
          <a:prstGeom prst="rect">
            <a:avLst/>
          </a:prstGeom>
          <a:noFill/>
          <a:ln>
            <a:noFill/>
          </a:ln>
        </p:spPr>
      </p:pic>
      <p:sp>
        <p:nvSpPr>
          <p:cNvPr id="72" name="Google Shape;72;p8"/>
          <p:cNvSpPr txBox="1">
            <a:spLocks noGrp="1"/>
          </p:cNvSpPr>
          <p:nvPr>
            <p:ph type="title"/>
          </p:nvPr>
        </p:nvSpPr>
        <p:spPr>
          <a:xfrm>
            <a:off x="713100" y="1065000"/>
            <a:ext cx="7717800" cy="3013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7200"/>
            </a:lvl1pPr>
            <a:lvl2pPr lvl="1"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3pPr>
            <a:lvl4pPr lvl="3"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4pPr>
            <a:lvl5pPr lvl="4"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5pPr>
            <a:lvl6pPr lvl="5"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6pPr>
            <a:lvl7pPr lvl="6"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7pPr>
            <a:lvl8pPr lvl="7"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8pPr>
            <a:lvl9pPr lvl="8"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9"/>
          <p:cNvSpPr/>
          <p:nvPr/>
        </p:nvSpPr>
        <p:spPr>
          <a:xfrm rot="9190242">
            <a:off x="314666" y="4495262"/>
            <a:ext cx="2308361" cy="1200209"/>
          </a:xfrm>
          <a:custGeom>
            <a:avLst/>
            <a:gdLst/>
            <a:ahLst/>
            <a:cxnLst/>
            <a:rect l="l" t="t" r="r" b="b"/>
            <a:pathLst>
              <a:path w="22618" h="11760" extrusionOk="0">
                <a:moveTo>
                  <a:pt x="19512" y="1"/>
                </a:moveTo>
                <a:cubicBezTo>
                  <a:pt x="18399" y="1"/>
                  <a:pt x="17014" y="42"/>
                  <a:pt x="15409" y="173"/>
                </a:cubicBezTo>
                <a:cubicBezTo>
                  <a:pt x="14305" y="275"/>
                  <a:pt x="13100" y="410"/>
                  <a:pt x="11816" y="613"/>
                </a:cubicBezTo>
                <a:cubicBezTo>
                  <a:pt x="10532" y="827"/>
                  <a:pt x="9169" y="1097"/>
                  <a:pt x="7750" y="1457"/>
                </a:cubicBezTo>
                <a:cubicBezTo>
                  <a:pt x="6331" y="1829"/>
                  <a:pt x="4855" y="2280"/>
                  <a:pt x="3368" y="2865"/>
                </a:cubicBezTo>
                <a:cubicBezTo>
                  <a:pt x="2636" y="3169"/>
                  <a:pt x="1870" y="3496"/>
                  <a:pt x="1228" y="4025"/>
                </a:cubicBezTo>
                <a:cubicBezTo>
                  <a:pt x="902" y="4296"/>
                  <a:pt x="620" y="4622"/>
                  <a:pt x="406" y="4983"/>
                </a:cubicBezTo>
                <a:cubicBezTo>
                  <a:pt x="192" y="5355"/>
                  <a:pt x="46" y="5771"/>
                  <a:pt x="23" y="6211"/>
                </a:cubicBezTo>
                <a:cubicBezTo>
                  <a:pt x="1" y="6650"/>
                  <a:pt x="113" y="7078"/>
                  <a:pt x="327" y="7449"/>
                </a:cubicBezTo>
                <a:cubicBezTo>
                  <a:pt x="553" y="7821"/>
                  <a:pt x="857" y="8125"/>
                  <a:pt x="1195" y="8373"/>
                </a:cubicBezTo>
                <a:cubicBezTo>
                  <a:pt x="1870" y="8869"/>
                  <a:pt x="2636" y="9173"/>
                  <a:pt x="3380" y="9443"/>
                </a:cubicBezTo>
                <a:cubicBezTo>
                  <a:pt x="4878" y="10006"/>
                  <a:pt x="6353" y="10445"/>
                  <a:pt x="7784" y="10783"/>
                </a:cubicBezTo>
                <a:cubicBezTo>
                  <a:pt x="9203" y="11121"/>
                  <a:pt x="10577" y="11347"/>
                  <a:pt x="11872" y="11504"/>
                </a:cubicBezTo>
                <a:cubicBezTo>
                  <a:pt x="12199" y="11538"/>
                  <a:pt x="12514" y="11583"/>
                  <a:pt x="12830" y="11606"/>
                </a:cubicBezTo>
                <a:cubicBezTo>
                  <a:pt x="13145" y="11628"/>
                  <a:pt x="13449" y="11662"/>
                  <a:pt x="13753" y="11684"/>
                </a:cubicBezTo>
                <a:cubicBezTo>
                  <a:pt x="14046" y="11707"/>
                  <a:pt x="14350" y="11718"/>
                  <a:pt x="14632" y="11730"/>
                </a:cubicBezTo>
                <a:cubicBezTo>
                  <a:pt x="14925" y="11741"/>
                  <a:pt x="15206" y="11752"/>
                  <a:pt x="15488" y="11752"/>
                </a:cubicBezTo>
                <a:cubicBezTo>
                  <a:pt x="15750" y="11757"/>
                  <a:pt x="16006" y="11760"/>
                  <a:pt x="16255" y="11760"/>
                </a:cubicBezTo>
                <a:cubicBezTo>
                  <a:pt x="18119" y="11760"/>
                  <a:pt x="19631" y="11621"/>
                  <a:pt x="20714" y="11482"/>
                </a:cubicBezTo>
                <a:cubicBezTo>
                  <a:pt x="21029" y="11448"/>
                  <a:pt x="21300" y="11414"/>
                  <a:pt x="21536" y="11380"/>
                </a:cubicBezTo>
                <a:cubicBezTo>
                  <a:pt x="21773" y="11335"/>
                  <a:pt x="21964" y="11302"/>
                  <a:pt x="22133" y="11279"/>
                </a:cubicBezTo>
                <a:cubicBezTo>
                  <a:pt x="22291" y="11245"/>
                  <a:pt x="22403" y="11234"/>
                  <a:pt x="22493" y="11211"/>
                </a:cubicBezTo>
                <a:cubicBezTo>
                  <a:pt x="22572" y="11200"/>
                  <a:pt x="22617" y="11189"/>
                  <a:pt x="22617" y="11189"/>
                </a:cubicBezTo>
                <a:lnTo>
                  <a:pt x="22584" y="11189"/>
                </a:lnTo>
                <a:cubicBezTo>
                  <a:pt x="22561" y="11189"/>
                  <a:pt x="22527" y="11189"/>
                  <a:pt x="22493" y="11200"/>
                </a:cubicBezTo>
                <a:cubicBezTo>
                  <a:pt x="22403" y="11211"/>
                  <a:pt x="22279" y="11223"/>
                  <a:pt x="22122" y="11245"/>
                </a:cubicBezTo>
                <a:cubicBezTo>
                  <a:pt x="21964" y="11268"/>
                  <a:pt x="21761" y="11302"/>
                  <a:pt x="21525" y="11335"/>
                </a:cubicBezTo>
                <a:cubicBezTo>
                  <a:pt x="21288" y="11369"/>
                  <a:pt x="21018" y="11392"/>
                  <a:pt x="20714" y="11425"/>
                </a:cubicBezTo>
                <a:cubicBezTo>
                  <a:pt x="19681" y="11549"/>
                  <a:pt x="18250" y="11664"/>
                  <a:pt x="16508" y="11664"/>
                </a:cubicBezTo>
                <a:cubicBezTo>
                  <a:pt x="16179" y="11664"/>
                  <a:pt x="15839" y="11660"/>
                  <a:pt x="15488" y="11651"/>
                </a:cubicBezTo>
                <a:cubicBezTo>
                  <a:pt x="15206" y="11651"/>
                  <a:pt x="14925" y="11639"/>
                  <a:pt x="14643" y="11617"/>
                </a:cubicBezTo>
                <a:cubicBezTo>
                  <a:pt x="14350" y="11606"/>
                  <a:pt x="14057" y="11594"/>
                  <a:pt x="13753" y="11572"/>
                </a:cubicBezTo>
                <a:cubicBezTo>
                  <a:pt x="13460" y="11538"/>
                  <a:pt x="13145" y="11516"/>
                  <a:pt x="12841" y="11493"/>
                </a:cubicBezTo>
                <a:cubicBezTo>
                  <a:pt x="12525" y="11459"/>
                  <a:pt x="12210" y="11414"/>
                  <a:pt x="11883" y="11380"/>
                </a:cubicBezTo>
                <a:cubicBezTo>
                  <a:pt x="10599" y="11223"/>
                  <a:pt x="9225" y="10986"/>
                  <a:pt x="7806" y="10648"/>
                </a:cubicBezTo>
                <a:cubicBezTo>
                  <a:pt x="6387" y="10310"/>
                  <a:pt x="4923" y="9871"/>
                  <a:pt x="3436" y="9308"/>
                </a:cubicBezTo>
                <a:cubicBezTo>
                  <a:pt x="2693" y="9038"/>
                  <a:pt x="1938" y="8733"/>
                  <a:pt x="1285" y="8260"/>
                </a:cubicBezTo>
                <a:cubicBezTo>
                  <a:pt x="958" y="8024"/>
                  <a:pt x="665" y="7731"/>
                  <a:pt x="462" y="7382"/>
                </a:cubicBezTo>
                <a:cubicBezTo>
                  <a:pt x="260" y="7033"/>
                  <a:pt x="147" y="6627"/>
                  <a:pt x="170" y="6222"/>
                </a:cubicBezTo>
                <a:cubicBezTo>
                  <a:pt x="192" y="5805"/>
                  <a:pt x="327" y="5411"/>
                  <a:pt x="530" y="5062"/>
                </a:cubicBezTo>
                <a:cubicBezTo>
                  <a:pt x="733" y="4701"/>
                  <a:pt x="1003" y="4397"/>
                  <a:pt x="1318" y="4138"/>
                </a:cubicBezTo>
                <a:cubicBezTo>
                  <a:pt x="1949" y="3620"/>
                  <a:pt x="2693" y="3293"/>
                  <a:pt x="3425" y="3000"/>
                </a:cubicBezTo>
                <a:cubicBezTo>
                  <a:pt x="4900" y="2415"/>
                  <a:pt x="6364" y="1953"/>
                  <a:pt x="7784" y="1593"/>
                </a:cubicBezTo>
                <a:cubicBezTo>
                  <a:pt x="9191" y="1221"/>
                  <a:pt x="10554" y="951"/>
                  <a:pt x="11838" y="737"/>
                </a:cubicBezTo>
                <a:cubicBezTo>
                  <a:pt x="13122" y="523"/>
                  <a:pt x="14316" y="387"/>
                  <a:pt x="15420" y="275"/>
                </a:cubicBezTo>
                <a:cubicBezTo>
                  <a:pt x="17337" y="109"/>
                  <a:pt x="18930" y="70"/>
                  <a:pt x="20128" y="70"/>
                </a:cubicBezTo>
                <a:cubicBezTo>
                  <a:pt x="20310" y="70"/>
                  <a:pt x="20483" y="71"/>
                  <a:pt x="20646" y="72"/>
                </a:cubicBezTo>
                <a:cubicBezTo>
                  <a:pt x="20962" y="72"/>
                  <a:pt x="21232" y="83"/>
                  <a:pt x="21468" y="83"/>
                </a:cubicBezTo>
                <a:cubicBezTo>
                  <a:pt x="21705" y="95"/>
                  <a:pt x="21908" y="95"/>
                  <a:pt x="22065" y="106"/>
                </a:cubicBezTo>
                <a:lnTo>
                  <a:pt x="22572" y="106"/>
                </a:lnTo>
                <a:cubicBezTo>
                  <a:pt x="22572" y="106"/>
                  <a:pt x="22527" y="106"/>
                  <a:pt x="22437" y="95"/>
                </a:cubicBezTo>
                <a:cubicBezTo>
                  <a:pt x="22358" y="95"/>
                  <a:pt x="22234" y="83"/>
                  <a:pt x="22077" y="72"/>
                </a:cubicBezTo>
                <a:cubicBezTo>
                  <a:pt x="21908" y="61"/>
                  <a:pt x="21705" y="50"/>
                  <a:pt x="21468" y="38"/>
                </a:cubicBezTo>
                <a:cubicBezTo>
                  <a:pt x="21232" y="27"/>
                  <a:pt x="20962" y="27"/>
                  <a:pt x="20646" y="16"/>
                </a:cubicBezTo>
                <a:cubicBezTo>
                  <a:pt x="20308" y="7"/>
                  <a:pt x="19929" y="1"/>
                  <a:pt x="19512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" name="Google Shape;75;p9"/>
          <p:cNvSpPr/>
          <p:nvPr/>
        </p:nvSpPr>
        <p:spPr>
          <a:xfrm rot="1228671">
            <a:off x="-542329" y="-1882183"/>
            <a:ext cx="4525722" cy="2680896"/>
          </a:xfrm>
          <a:custGeom>
            <a:avLst/>
            <a:gdLst/>
            <a:ahLst/>
            <a:cxnLst/>
            <a:rect l="l" t="t" r="r" b="b"/>
            <a:pathLst>
              <a:path w="44344" h="26268" extrusionOk="0">
                <a:moveTo>
                  <a:pt x="0" y="25400"/>
                </a:moveTo>
                <a:cubicBezTo>
                  <a:pt x="0" y="25411"/>
                  <a:pt x="11" y="25411"/>
                  <a:pt x="34" y="25411"/>
                </a:cubicBezTo>
                <a:cubicBezTo>
                  <a:pt x="11" y="25400"/>
                  <a:pt x="0" y="25400"/>
                  <a:pt x="0" y="25400"/>
                </a:cubicBezTo>
                <a:close/>
                <a:moveTo>
                  <a:pt x="39805" y="1"/>
                </a:moveTo>
                <a:cubicBezTo>
                  <a:pt x="39748" y="1"/>
                  <a:pt x="39681" y="1"/>
                  <a:pt x="39613" y="12"/>
                </a:cubicBezTo>
                <a:cubicBezTo>
                  <a:pt x="39095" y="24"/>
                  <a:pt x="38532" y="102"/>
                  <a:pt x="37957" y="238"/>
                </a:cubicBezTo>
                <a:cubicBezTo>
                  <a:pt x="37372" y="373"/>
                  <a:pt x="36775" y="564"/>
                  <a:pt x="36178" y="834"/>
                </a:cubicBezTo>
                <a:cubicBezTo>
                  <a:pt x="34973" y="1375"/>
                  <a:pt x="33756" y="2197"/>
                  <a:pt x="32664" y="3301"/>
                </a:cubicBezTo>
                <a:cubicBezTo>
                  <a:pt x="31571" y="4394"/>
                  <a:pt x="30591" y="5745"/>
                  <a:pt x="29780" y="7288"/>
                </a:cubicBezTo>
                <a:cubicBezTo>
                  <a:pt x="28958" y="8820"/>
                  <a:pt x="28294" y="10532"/>
                  <a:pt x="27719" y="12334"/>
                </a:cubicBezTo>
                <a:cubicBezTo>
                  <a:pt x="27426" y="13224"/>
                  <a:pt x="27156" y="14148"/>
                  <a:pt x="26886" y="15082"/>
                </a:cubicBezTo>
                <a:cubicBezTo>
                  <a:pt x="26604" y="16017"/>
                  <a:pt x="26322" y="16963"/>
                  <a:pt x="25951" y="17887"/>
                </a:cubicBezTo>
                <a:cubicBezTo>
                  <a:pt x="25568" y="18811"/>
                  <a:pt x="25106" y="19689"/>
                  <a:pt x="24509" y="20444"/>
                </a:cubicBezTo>
                <a:cubicBezTo>
                  <a:pt x="23901" y="21198"/>
                  <a:pt x="23169" y="21829"/>
                  <a:pt x="22392" y="22347"/>
                </a:cubicBezTo>
                <a:cubicBezTo>
                  <a:pt x="21614" y="22877"/>
                  <a:pt x="20781" y="23293"/>
                  <a:pt x="19959" y="23654"/>
                </a:cubicBezTo>
                <a:cubicBezTo>
                  <a:pt x="19542" y="23823"/>
                  <a:pt x="19125" y="23992"/>
                  <a:pt x="18708" y="24149"/>
                </a:cubicBezTo>
                <a:cubicBezTo>
                  <a:pt x="18292" y="24285"/>
                  <a:pt x="17875" y="24442"/>
                  <a:pt x="17458" y="24566"/>
                </a:cubicBezTo>
                <a:cubicBezTo>
                  <a:pt x="14158" y="25625"/>
                  <a:pt x="11038" y="26053"/>
                  <a:pt x="8425" y="26143"/>
                </a:cubicBezTo>
                <a:cubicBezTo>
                  <a:pt x="8006" y="26157"/>
                  <a:pt x="7599" y="26164"/>
                  <a:pt x="7205" y="26164"/>
                </a:cubicBezTo>
                <a:cubicBezTo>
                  <a:pt x="5149" y="26164"/>
                  <a:pt x="3461" y="25983"/>
                  <a:pt x="2242" y="25794"/>
                </a:cubicBezTo>
                <a:cubicBezTo>
                  <a:pt x="1881" y="25738"/>
                  <a:pt x="1554" y="25692"/>
                  <a:pt x="1284" y="25647"/>
                </a:cubicBezTo>
                <a:cubicBezTo>
                  <a:pt x="1003" y="25591"/>
                  <a:pt x="766" y="25546"/>
                  <a:pt x="575" y="25512"/>
                </a:cubicBezTo>
                <a:cubicBezTo>
                  <a:pt x="394" y="25478"/>
                  <a:pt x="248" y="25445"/>
                  <a:pt x="147" y="25422"/>
                </a:cubicBezTo>
                <a:cubicBezTo>
                  <a:pt x="102" y="25422"/>
                  <a:pt x="68" y="25411"/>
                  <a:pt x="34" y="25411"/>
                </a:cubicBezTo>
                <a:cubicBezTo>
                  <a:pt x="68" y="25422"/>
                  <a:pt x="102" y="25433"/>
                  <a:pt x="147" y="25445"/>
                </a:cubicBezTo>
                <a:cubicBezTo>
                  <a:pt x="248" y="25467"/>
                  <a:pt x="383" y="25501"/>
                  <a:pt x="575" y="25535"/>
                </a:cubicBezTo>
                <a:cubicBezTo>
                  <a:pt x="766" y="25580"/>
                  <a:pt x="1003" y="25636"/>
                  <a:pt x="1273" y="25692"/>
                </a:cubicBezTo>
                <a:cubicBezTo>
                  <a:pt x="1554" y="25738"/>
                  <a:pt x="1870" y="25794"/>
                  <a:pt x="2230" y="25861"/>
                </a:cubicBezTo>
                <a:cubicBezTo>
                  <a:pt x="3505" y="26069"/>
                  <a:pt x="5291" y="26268"/>
                  <a:pt x="7491" y="26268"/>
                </a:cubicBezTo>
                <a:cubicBezTo>
                  <a:pt x="7798" y="26268"/>
                  <a:pt x="8113" y="26264"/>
                  <a:pt x="8436" y="26256"/>
                </a:cubicBezTo>
                <a:cubicBezTo>
                  <a:pt x="11061" y="26177"/>
                  <a:pt x="14192" y="25760"/>
                  <a:pt x="17503" y="24701"/>
                </a:cubicBezTo>
                <a:cubicBezTo>
                  <a:pt x="17920" y="24566"/>
                  <a:pt x="18337" y="24420"/>
                  <a:pt x="18754" y="24273"/>
                </a:cubicBezTo>
                <a:cubicBezTo>
                  <a:pt x="19170" y="24127"/>
                  <a:pt x="19587" y="23958"/>
                  <a:pt x="20015" y="23778"/>
                </a:cubicBezTo>
                <a:cubicBezTo>
                  <a:pt x="20849" y="23417"/>
                  <a:pt x="21682" y="23001"/>
                  <a:pt x="22470" y="22471"/>
                </a:cubicBezTo>
                <a:cubicBezTo>
                  <a:pt x="23259" y="21953"/>
                  <a:pt x="24002" y="21300"/>
                  <a:pt x="24622" y="20534"/>
                </a:cubicBezTo>
                <a:cubicBezTo>
                  <a:pt x="25230" y="19768"/>
                  <a:pt x="25703" y="18878"/>
                  <a:pt x="26086" y="17943"/>
                </a:cubicBezTo>
                <a:cubicBezTo>
                  <a:pt x="26458" y="17020"/>
                  <a:pt x="26750" y="16062"/>
                  <a:pt x="27021" y="15128"/>
                </a:cubicBezTo>
                <a:cubicBezTo>
                  <a:pt x="27291" y="14193"/>
                  <a:pt x="27561" y="13269"/>
                  <a:pt x="27854" y="12379"/>
                </a:cubicBezTo>
                <a:cubicBezTo>
                  <a:pt x="28429" y="10577"/>
                  <a:pt x="29082" y="8876"/>
                  <a:pt x="29893" y="7356"/>
                </a:cubicBezTo>
                <a:cubicBezTo>
                  <a:pt x="30693" y="5824"/>
                  <a:pt x="31673" y="4484"/>
                  <a:pt x="32754" y="3391"/>
                </a:cubicBezTo>
                <a:cubicBezTo>
                  <a:pt x="33835" y="2299"/>
                  <a:pt x="35029" y="1465"/>
                  <a:pt x="36212" y="925"/>
                </a:cubicBezTo>
                <a:cubicBezTo>
                  <a:pt x="36809" y="654"/>
                  <a:pt x="37406" y="463"/>
                  <a:pt x="37980" y="328"/>
                </a:cubicBezTo>
                <a:cubicBezTo>
                  <a:pt x="38543" y="192"/>
                  <a:pt x="39095" y="114"/>
                  <a:pt x="39613" y="91"/>
                </a:cubicBezTo>
                <a:cubicBezTo>
                  <a:pt x="39681" y="91"/>
                  <a:pt x="39748" y="91"/>
                  <a:pt x="39816" y="80"/>
                </a:cubicBezTo>
                <a:lnTo>
                  <a:pt x="40368" y="80"/>
                </a:lnTo>
                <a:cubicBezTo>
                  <a:pt x="40604" y="102"/>
                  <a:pt x="40841" y="102"/>
                  <a:pt x="41066" y="136"/>
                </a:cubicBezTo>
                <a:cubicBezTo>
                  <a:pt x="41168" y="147"/>
                  <a:pt x="41280" y="159"/>
                  <a:pt x="41382" y="170"/>
                </a:cubicBezTo>
                <a:cubicBezTo>
                  <a:pt x="41494" y="192"/>
                  <a:pt x="41596" y="215"/>
                  <a:pt x="41697" y="226"/>
                </a:cubicBezTo>
                <a:cubicBezTo>
                  <a:pt x="41900" y="260"/>
                  <a:pt x="42080" y="316"/>
                  <a:pt x="42260" y="361"/>
                </a:cubicBezTo>
                <a:cubicBezTo>
                  <a:pt x="42970" y="542"/>
                  <a:pt x="43488" y="789"/>
                  <a:pt x="43826" y="958"/>
                </a:cubicBezTo>
                <a:cubicBezTo>
                  <a:pt x="43995" y="1048"/>
                  <a:pt x="44119" y="1127"/>
                  <a:pt x="44209" y="1184"/>
                </a:cubicBezTo>
                <a:cubicBezTo>
                  <a:pt x="44254" y="1206"/>
                  <a:pt x="44276" y="1217"/>
                  <a:pt x="44299" y="1240"/>
                </a:cubicBezTo>
                <a:cubicBezTo>
                  <a:pt x="44321" y="1251"/>
                  <a:pt x="44333" y="1251"/>
                  <a:pt x="44333" y="1251"/>
                </a:cubicBezTo>
                <a:lnTo>
                  <a:pt x="44333" y="1240"/>
                </a:lnTo>
                <a:cubicBezTo>
                  <a:pt x="44344" y="1240"/>
                  <a:pt x="44333" y="1240"/>
                  <a:pt x="44310" y="1217"/>
                </a:cubicBezTo>
                <a:cubicBezTo>
                  <a:pt x="44287" y="1206"/>
                  <a:pt x="44254" y="1184"/>
                  <a:pt x="44209" y="1161"/>
                </a:cubicBezTo>
                <a:cubicBezTo>
                  <a:pt x="44130" y="1105"/>
                  <a:pt x="44006" y="1026"/>
                  <a:pt x="43837" y="936"/>
                </a:cubicBezTo>
                <a:cubicBezTo>
                  <a:pt x="43499" y="744"/>
                  <a:pt x="42981" y="497"/>
                  <a:pt x="42271" y="294"/>
                </a:cubicBezTo>
                <a:cubicBezTo>
                  <a:pt x="42091" y="249"/>
                  <a:pt x="41911" y="192"/>
                  <a:pt x="41708" y="159"/>
                </a:cubicBezTo>
                <a:cubicBezTo>
                  <a:pt x="41607" y="136"/>
                  <a:pt x="41505" y="125"/>
                  <a:pt x="41393" y="102"/>
                </a:cubicBezTo>
                <a:cubicBezTo>
                  <a:pt x="41291" y="91"/>
                  <a:pt x="41179" y="69"/>
                  <a:pt x="41066" y="57"/>
                </a:cubicBezTo>
                <a:cubicBezTo>
                  <a:pt x="40852" y="24"/>
                  <a:pt x="40616" y="24"/>
                  <a:pt x="40368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" name="Google Shape;76;p9"/>
          <p:cNvSpPr/>
          <p:nvPr/>
        </p:nvSpPr>
        <p:spPr>
          <a:xfrm>
            <a:off x="-19018" y="-14850"/>
            <a:ext cx="713100" cy="51732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77" name="Google Shape;77;p9"/>
          <p:cNvPicPr preferRelativeResize="0"/>
          <p:nvPr/>
        </p:nvPicPr>
        <p:blipFill rotWithShape="1">
          <a:blip r:embed="rId2">
            <a:alphaModFix amt="38000"/>
          </a:blip>
          <a:srcRect l="49686" t="4540" r="1710" b="3165"/>
          <a:stretch/>
        </p:blipFill>
        <p:spPr>
          <a:xfrm>
            <a:off x="-19050" y="-14850"/>
            <a:ext cx="713165" cy="5173200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9"/>
          <p:cNvSpPr/>
          <p:nvPr/>
        </p:nvSpPr>
        <p:spPr>
          <a:xfrm flipH="1">
            <a:off x="7495097" y="-1129202"/>
            <a:ext cx="3016002" cy="2360795"/>
          </a:xfrm>
          <a:custGeom>
            <a:avLst/>
            <a:gdLst/>
            <a:ahLst/>
            <a:cxnLst/>
            <a:rect l="l" t="t" r="r" b="b"/>
            <a:pathLst>
              <a:path w="22764" h="17819" extrusionOk="0">
                <a:moveTo>
                  <a:pt x="0" y="12199"/>
                </a:moveTo>
                <a:lnTo>
                  <a:pt x="0" y="12210"/>
                </a:lnTo>
                <a:cubicBezTo>
                  <a:pt x="0" y="12210"/>
                  <a:pt x="3" y="12211"/>
                  <a:pt x="7" y="12213"/>
                </a:cubicBezTo>
                <a:lnTo>
                  <a:pt x="7" y="12213"/>
                </a:lnTo>
                <a:cubicBezTo>
                  <a:pt x="2" y="12207"/>
                  <a:pt x="0" y="12203"/>
                  <a:pt x="0" y="12199"/>
                </a:cubicBezTo>
                <a:close/>
                <a:moveTo>
                  <a:pt x="21806" y="1"/>
                </a:moveTo>
                <a:cubicBezTo>
                  <a:pt x="21806" y="1"/>
                  <a:pt x="21840" y="12"/>
                  <a:pt x="21896" y="35"/>
                </a:cubicBezTo>
                <a:cubicBezTo>
                  <a:pt x="21930" y="46"/>
                  <a:pt x="21964" y="57"/>
                  <a:pt x="21997" y="80"/>
                </a:cubicBezTo>
                <a:cubicBezTo>
                  <a:pt x="22042" y="102"/>
                  <a:pt x="22087" y="125"/>
                  <a:pt x="22133" y="170"/>
                </a:cubicBezTo>
                <a:cubicBezTo>
                  <a:pt x="22335" y="305"/>
                  <a:pt x="22549" y="620"/>
                  <a:pt x="22628" y="1082"/>
                </a:cubicBezTo>
                <a:cubicBezTo>
                  <a:pt x="22673" y="1307"/>
                  <a:pt x="22696" y="1566"/>
                  <a:pt x="22684" y="1848"/>
                </a:cubicBezTo>
                <a:cubicBezTo>
                  <a:pt x="22673" y="2130"/>
                  <a:pt x="22628" y="2445"/>
                  <a:pt x="22583" y="2772"/>
                </a:cubicBezTo>
                <a:cubicBezTo>
                  <a:pt x="22504" y="3425"/>
                  <a:pt x="22392" y="4180"/>
                  <a:pt x="22245" y="5002"/>
                </a:cubicBezTo>
                <a:cubicBezTo>
                  <a:pt x="22099" y="5824"/>
                  <a:pt x="21907" y="6725"/>
                  <a:pt x="21693" y="7682"/>
                </a:cubicBezTo>
                <a:cubicBezTo>
                  <a:pt x="21457" y="8640"/>
                  <a:pt x="21198" y="9665"/>
                  <a:pt x="20837" y="10701"/>
                </a:cubicBezTo>
                <a:cubicBezTo>
                  <a:pt x="20657" y="11219"/>
                  <a:pt x="20443" y="11748"/>
                  <a:pt x="20207" y="12278"/>
                </a:cubicBezTo>
                <a:cubicBezTo>
                  <a:pt x="19959" y="12796"/>
                  <a:pt x="19677" y="13314"/>
                  <a:pt x="19351" y="13821"/>
                </a:cubicBezTo>
                <a:cubicBezTo>
                  <a:pt x="18708" y="14823"/>
                  <a:pt x="17830" y="15747"/>
                  <a:pt x="16760" y="16423"/>
                </a:cubicBezTo>
                <a:cubicBezTo>
                  <a:pt x="16219" y="16749"/>
                  <a:pt x="15645" y="17008"/>
                  <a:pt x="15059" y="17211"/>
                </a:cubicBezTo>
                <a:cubicBezTo>
                  <a:pt x="14473" y="17403"/>
                  <a:pt x="13877" y="17527"/>
                  <a:pt x="13280" y="17605"/>
                </a:cubicBezTo>
                <a:cubicBezTo>
                  <a:pt x="12840" y="17656"/>
                  <a:pt x="12395" y="17681"/>
                  <a:pt x="11957" y="17681"/>
                </a:cubicBezTo>
                <a:cubicBezTo>
                  <a:pt x="11811" y="17681"/>
                  <a:pt x="11666" y="17679"/>
                  <a:pt x="11523" y="17673"/>
                </a:cubicBezTo>
                <a:cubicBezTo>
                  <a:pt x="11376" y="17662"/>
                  <a:pt x="11241" y="17650"/>
                  <a:pt x="11095" y="17650"/>
                </a:cubicBezTo>
                <a:lnTo>
                  <a:pt x="10881" y="17628"/>
                </a:lnTo>
                <a:lnTo>
                  <a:pt x="10666" y="17605"/>
                </a:lnTo>
                <a:cubicBezTo>
                  <a:pt x="10531" y="17583"/>
                  <a:pt x="10396" y="17572"/>
                  <a:pt x="10250" y="17549"/>
                </a:cubicBezTo>
                <a:cubicBezTo>
                  <a:pt x="10115" y="17527"/>
                  <a:pt x="9979" y="17504"/>
                  <a:pt x="9844" y="17481"/>
                </a:cubicBezTo>
                <a:cubicBezTo>
                  <a:pt x="8752" y="17301"/>
                  <a:pt x="7761" y="16941"/>
                  <a:pt x="6860" y="16569"/>
                </a:cubicBezTo>
                <a:cubicBezTo>
                  <a:pt x="5947" y="16197"/>
                  <a:pt x="5136" y="15758"/>
                  <a:pt x="4415" y="15330"/>
                </a:cubicBezTo>
                <a:cubicBezTo>
                  <a:pt x="3706" y="14902"/>
                  <a:pt x="3075" y="14474"/>
                  <a:pt x="2534" y="14091"/>
                </a:cubicBezTo>
                <a:cubicBezTo>
                  <a:pt x="1994" y="13708"/>
                  <a:pt x="1532" y="13359"/>
                  <a:pt x="1160" y="13078"/>
                </a:cubicBezTo>
                <a:cubicBezTo>
                  <a:pt x="789" y="12796"/>
                  <a:pt x="507" y="12582"/>
                  <a:pt x="304" y="12424"/>
                </a:cubicBezTo>
                <a:cubicBezTo>
                  <a:pt x="203" y="12357"/>
                  <a:pt x="135" y="12300"/>
                  <a:pt x="79" y="12255"/>
                </a:cubicBezTo>
                <a:cubicBezTo>
                  <a:pt x="46" y="12231"/>
                  <a:pt x="19" y="12218"/>
                  <a:pt x="7" y="12213"/>
                </a:cubicBezTo>
                <a:lnTo>
                  <a:pt x="7" y="12213"/>
                </a:lnTo>
                <a:cubicBezTo>
                  <a:pt x="18" y="12226"/>
                  <a:pt x="40" y="12243"/>
                  <a:pt x="79" y="12267"/>
                </a:cubicBezTo>
                <a:cubicBezTo>
                  <a:pt x="124" y="12312"/>
                  <a:pt x="192" y="12368"/>
                  <a:pt x="293" y="12447"/>
                </a:cubicBezTo>
                <a:cubicBezTo>
                  <a:pt x="484" y="12604"/>
                  <a:pt x="766" y="12830"/>
                  <a:pt x="1138" y="13123"/>
                </a:cubicBezTo>
                <a:cubicBezTo>
                  <a:pt x="1498" y="13415"/>
                  <a:pt x="1949" y="13765"/>
                  <a:pt x="2489" y="14159"/>
                </a:cubicBezTo>
                <a:cubicBezTo>
                  <a:pt x="3030" y="14553"/>
                  <a:pt x="3649" y="14981"/>
                  <a:pt x="4370" y="15420"/>
                </a:cubicBezTo>
                <a:cubicBezTo>
                  <a:pt x="5091" y="15860"/>
                  <a:pt x="5902" y="16299"/>
                  <a:pt x="6814" y="16682"/>
                </a:cubicBezTo>
                <a:cubicBezTo>
                  <a:pt x="7727" y="17065"/>
                  <a:pt x="8729" y="17425"/>
                  <a:pt x="9822" y="17617"/>
                </a:cubicBezTo>
                <a:cubicBezTo>
                  <a:pt x="9957" y="17639"/>
                  <a:pt x="10103" y="17662"/>
                  <a:pt x="10238" y="17684"/>
                </a:cubicBezTo>
                <a:cubicBezTo>
                  <a:pt x="10374" y="17707"/>
                  <a:pt x="10520" y="17718"/>
                  <a:pt x="10655" y="17741"/>
                </a:cubicBezTo>
                <a:lnTo>
                  <a:pt x="10869" y="17763"/>
                </a:lnTo>
                <a:lnTo>
                  <a:pt x="11083" y="17786"/>
                </a:lnTo>
                <a:cubicBezTo>
                  <a:pt x="11230" y="17797"/>
                  <a:pt x="11376" y="17808"/>
                  <a:pt x="11523" y="17808"/>
                </a:cubicBezTo>
                <a:cubicBezTo>
                  <a:pt x="11700" y="17815"/>
                  <a:pt x="11878" y="17819"/>
                  <a:pt x="12057" y="17819"/>
                </a:cubicBezTo>
                <a:cubicBezTo>
                  <a:pt x="12470" y="17819"/>
                  <a:pt x="12886" y="17799"/>
                  <a:pt x="13302" y="17752"/>
                </a:cubicBezTo>
                <a:cubicBezTo>
                  <a:pt x="13910" y="17662"/>
                  <a:pt x="14519" y="17538"/>
                  <a:pt x="15116" y="17346"/>
                </a:cubicBezTo>
                <a:cubicBezTo>
                  <a:pt x="15701" y="17144"/>
                  <a:pt x="16287" y="16873"/>
                  <a:pt x="16839" y="16547"/>
                </a:cubicBezTo>
                <a:cubicBezTo>
                  <a:pt x="17931" y="15848"/>
                  <a:pt x="18821" y="14913"/>
                  <a:pt x="19474" y="13900"/>
                </a:cubicBezTo>
                <a:cubicBezTo>
                  <a:pt x="19801" y="13382"/>
                  <a:pt x="20094" y="12864"/>
                  <a:pt x="20330" y="12334"/>
                </a:cubicBezTo>
                <a:cubicBezTo>
                  <a:pt x="20578" y="11805"/>
                  <a:pt x="20781" y="11275"/>
                  <a:pt x="20961" y="10746"/>
                </a:cubicBezTo>
                <a:cubicBezTo>
                  <a:pt x="21333" y="9699"/>
                  <a:pt x="21581" y="8674"/>
                  <a:pt x="21806" y="7716"/>
                </a:cubicBezTo>
                <a:cubicBezTo>
                  <a:pt x="22031" y="6748"/>
                  <a:pt x="22200" y="5847"/>
                  <a:pt x="22347" y="5024"/>
                </a:cubicBezTo>
                <a:cubicBezTo>
                  <a:pt x="22482" y="4191"/>
                  <a:pt x="22594" y="3447"/>
                  <a:pt x="22673" y="2783"/>
                </a:cubicBezTo>
                <a:cubicBezTo>
                  <a:pt x="22707" y="2456"/>
                  <a:pt x="22752" y="2141"/>
                  <a:pt x="22752" y="1859"/>
                </a:cubicBezTo>
                <a:cubicBezTo>
                  <a:pt x="22763" y="1566"/>
                  <a:pt x="22741" y="1307"/>
                  <a:pt x="22684" y="1071"/>
                </a:cubicBezTo>
                <a:cubicBezTo>
                  <a:pt x="22594" y="609"/>
                  <a:pt x="22369" y="282"/>
                  <a:pt x="22155" y="147"/>
                </a:cubicBezTo>
                <a:cubicBezTo>
                  <a:pt x="22110" y="102"/>
                  <a:pt x="22054" y="91"/>
                  <a:pt x="22009" y="68"/>
                </a:cubicBezTo>
                <a:cubicBezTo>
                  <a:pt x="21975" y="35"/>
                  <a:pt x="21930" y="35"/>
                  <a:pt x="21896" y="23"/>
                </a:cubicBezTo>
                <a:cubicBezTo>
                  <a:pt x="21840" y="1"/>
                  <a:pt x="21806" y="1"/>
                  <a:pt x="21806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9" name="Google Shape;79;p9"/>
          <p:cNvSpPr/>
          <p:nvPr/>
        </p:nvSpPr>
        <p:spPr>
          <a:xfrm flipH="1">
            <a:off x="5891808" y="3324075"/>
            <a:ext cx="5829218" cy="2360794"/>
          </a:xfrm>
          <a:custGeom>
            <a:avLst/>
            <a:gdLst/>
            <a:ahLst/>
            <a:cxnLst/>
            <a:rect l="l" t="t" r="r" b="b"/>
            <a:pathLst>
              <a:path w="57117" h="23132" extrusionOk="0">
                <a:moveTo>
                  <a:pt x="3086" y="1"/>
                </a:moveTo>
                <a:cubicBezTo>
                  <a:pt x="3086" y="1"/>
                  <a:pt x="3075" y="12"/>
                  <a:pt x="3052" y="46"/>
                </a:cubicBezTo>
                <a:cubicBezTo>
                  <a:pt x="3075" y="23"/>
                  <a:pt x="3086" y="1"/>
                  <a:pt x="3086" y="1"/>
                </a:cubicBezTo>
                <a:close/>
                <a:moveTo>
                  <a:pt x="3052" y="46"/>
                </a:moveTo>
                <a:cubicBezTo>
                  <a:pt x="3030" y="80"/>
                  <a:pt x="2996" y="125"/>
                  <a:pt x="2962" y="181"/>
                </a:cubicBezTo>
                <a:cubicBezTo>
                  <a:pt x="2883" y="305"/>
                  <a:pt x="2760" y="474"/>
                  <a:pt x="2613" y="710"/>
                </a:cubicBezTo>
                <a:cubicBezTo>
                  <a:pt x="2320" y="1183"/>
                  <a:pt x="1904" y="1893"/>
                  <a:pt x="1442" y="2850"/>
                </a:cubicBezTo>
                <a:cubicBezTo>
                  <a:pt x="1217" y="3335"/>
                  <a:pt x="991" y="3875"/>
                  <a:pt x="777" y="4483"/>
                </a:cubicBezTo>
                <a:cubicBezTo>
                  <a:pt x="563" y="5092"/>
                  <a:pt x="361" y="5767"/>
                  <a:pt x="225" y="6511"/>
                </a:cubicBezTo>
                <a:cubicBezTo>
                  <a:pt x="90" y="7254"/>
                  <a:pt x="0" y="8065"/>
                  <a:pt x="23" y="8921"/>
                </a:cubicBezTo>
                <a:cubicBezTo>
                  <a:pt x="56" y="9777"/>
                  <a:pt x="203" y="10678"/>
                  <a:pt x="518" y="11579"/>
                </a:cubicBezTo>
                <a:cubicBezTo>
                  <a:pt x="822" y="12480"/>
                  <a:pt x="1273" y="13393"/>
                  <a:pt x="1926" y="14204"/>
                </a:cubicBezTo>
                <a:cubicBezTo>
                  <a:pt x="2241" y="14609"/>
                  <a:pt x="2624" y="14981"/>
                  <a:pt x="3041" y="15330"/>
                </a:cubicBezTo>
                <a:cubicBezTo>
                  <a:pt x="3154" y="15420"/>
                  <a:pt x="3255" y="15499"/>
                  <a:pt x="3368" y="15578"/>
                </a:cubicBezTo>
                <a:cubicBezTo>
                  <a:pt x="3424" y="15623"/>
                  <a:pt x="3480" y="15668"/>
                  <a:pt x="3537" y="15702"/>
                </a:cubicBezTo>
                <a:lnTo>
                  <a:pt x="3706" y="15803"/>
                </a:lnTo>
                <a:cubicBezTo>
                  <a:pt x="3942" y="15961"/>
                  <a:pt x="4190" y="16073"/>
                  <a:pt x="4449" y="16209"/>
                </a:cubicBezTo>
                <a:cubicBezTo>
                  <a:pt x="4573" y="16265"/>
                  <a:pt x="4708" y="16310"/>
                  <a:pt x="4832" y="16366"/>
                </a:cubicBezTo>
                <a:lnTo>
                  <a:pt x="5035" y="16445"/>
                </a:lnTo>
                <a:lnTo>
                  <a:pt x="5238" y="16501"/>
                </a:lnTo>
                <a:cubicBezTo>
                  <a:pt x="5384" y="16535"/>
                  <a:pt x="5519" y="16569"/>
                  <a:pt x="5654" y="16614"/>
                </a:cubicBezTo>
                <a:cubicBezTo>
                  <a:pt x="5801" y="16637"/>
                  <a:pt x="5947" y="16659"/>
                  <a:pt x="6082" y="16682"/>
                </a:cubicBezTo>
                <a:lnTo>
                  <a:pt x="6296" y="16727"/>
                </a:lnTo>
                <a:cubicBezTo>
                  <a:pt x="6375" y="16738"/>
                  <a:pt x="6443" y="16738"/>
                  <a:pt x="6522" y="16738"/>
                </a:cubicBezTo>
                <a:cubicBezTo>
                  <a:pt x="6668" y="16749"/>
                  <a:pt x="6814" y="16760"/>
                  <a:pt x="6961" y="16772"/>
                </a:cubicBezTo>
                <a:cubicBezTo>
                  <a:pt x="7107" y="16772"/>
                  <a:pt x="7254" y="16772"/>
                  <a:pt x="7400" y="16760"/>
                </a:cubicBezTo>
                <a:lnTo>
                  <a:pt x="7625" y="16760"/>
                </a:lnTo>
                <a:cubicBezTo>
                  <a:pt x="7693" y="16760"/>
                  <a:pt x="7772" y="16738"/>
                  <a:pt x="7851" y="16738"/>
                </a:cubicBezTo>
                <a:lnTo>
                  <a:pt x="8290" y="16682"/>
                </a:lnTo>
                <a:cubicBezTo>
                  <a:pt x="8436" y="16659"/>
                  <a:pt x="8594" y="16625"/>
                  <a:pt x="8740" y="16603"/>
                </a:cubicBezTo>
                <a:lnTo>
                  <a:pt x="8966" y="16558"/>
                </a:lnTo>
                <a:lnTo>
                  <a:pt x="9180" y="16490"/>
                </a:lnTo>
                <a:cubicBezTo>
                  <a:pt x="9326" y="16456"/>
                  <a:pt x="9473" y="16411"/>
                  <a:pt x="9630" y="16366"/>
                </a:cubicBezTo>
                <a:cubicBezTo>
                  <a:pt x="9765" y="16321"/>
                  <a:pt x="9912" y="16265"/>
                  <a:pt x="10058" y="16220"/>
                </a:cubicBezTo>
                <a:cubicBezTo>
                  <a:pt x="10137" y="16197"/>
                  <a:pt x="10205" y="16163"/>
                  <a:pt x="10283" y="16141"/>
                </a:cubicBezTo>
                <a:lnTo>
                  <a:pt x="10497" y="16051"/>
                </a:lnTo>
                <a:cubicBezTo>
                  <a:pt x="10633" y="15995"/>
                  <a:pt x="10779" y="15927"/>
                  <a:pt x="10925" y="15871"/>
                </a:cubicBezTo>
                <a:lnTo>
                  <a:pt x="11342" y="15657"/>
                </a:lnTo>
                <a:cubicBezTo>
                  <a:pt x="11489" y="15589"/>
                  <a:pt x="11624" y="15521"/>
                  <a:pt x="11770" y="15443"/>
                </a:cubicBezTo>
                <a:cubicBezTo>
                  <a:pt x="11905" y="15364"/>
                  <a:pt x="12041" y="15285"/>
                  <a:pt x="12176" y="15206"/>
                </a:cubicBezTo>
                <a:cubicBezTo>
                  <a:pt x="12446" y="15037"/>
                  <a:pt x="12728" y="14879"/>
                  <a:pt x="12987" y="14688"/>
                </a:cubicBezTo>
                <a:cubicBezTo>
                  <a:pt x="13527" y="14328"/>
                  <a:pt x="14034" y="13922"/>
                  <a:pt x="14541" y="13505"/>
                </a:cubicBezTo>
                <a:cubicBezTo>
                  <a:pt x="15532" y="12649"/>
                  <a:pt x="16478" y="11692"/>
                  <a:pt x="17447" y="10735"/>
                </a:cubicBezTo>
                <a:cubicBezTo>
                  <a:pt x="18416" y="9777"/>
                  <a:pt x="19407" y="8809"/>
                  <a:pt x="20511" y="7941"/>
                </a:cubicBezTo>
                <a:cubicBezTo>
                  <a:pt x="21062" y="7513"/>
                  <a:pt x="21648" y="7119"/>
                  <a:pt x="22268" y="6759"/>
                </a:cubicBezTo>
                <a:cubicBezTo>
                  <a:pt x="22572" y="6578"/>
                  <a:pt x="22898" y="6432"/>
                  <a:pt x="23214" y="6274"/>
                </a:cubicBezTo>
                <a:cubicBezTo>
                  <a:pt x="23383" y="6207"/>
                  <a:pt x="23540" y="6139"/>
                  <a:pt x="23709" y="6072"/>
                </a:cubicBezTo>
                <a:cubicBezTo>
                  <a:pt x="23878" y="6004"/>
                  <a:pt x="24047" y="5936"/>
                  <a:pt x="24216" y="5880"/>
                </a:cubicBezTo>
                <a:cubicBezTo>
                  <a:pt x="25343" y="5517"/>
                  <a:pt x="26516" y="5339"/>
                  <a:pt x="27678" y="5339"/>
                </a:cubicBezTo>
                <a:cubicBezTo>
                  <a:pt x="27921" y="5339"/>
                  <a:pt x="28164" y="5346"/>
                  <a:pt x="28406" y="5362"/>
                </a:cubicBezTo>
                <a:cubicBezTo>
                  <a:pt x="29803" y="5463"/>
                  <a:pt x="31154" y="5801"/>
                  <a:pt x="32393" y="6353"/>
                </a:cubicBezTo>
                <a:cubicBezTo>
                  <a:pt x="33632" y="6894"/>
                  <a:pt x="34759" y="7648"/>
                  <a:pt x="35671" y="8583"/>
                </a:cubicBezTo>
                <a:cubicBezTo>
                  <a:pt x="36595" y="9507"/>
                  <a:pt x="37293" y="10588"/>
                  <a:pt x="37901" y="11669"/>
                </a:cubicBezTo>
                <a:cubicBezTo>
                  <a:pt x="38498" y="12762"/>
                  <a:pt x="39005" y="13877"/>
                  <a:pt x="39500" y="14958"/>
                </a:cubicBezTo>
                <a:cubicBezTo>
                  <a:pt x="39996" y="16028"/>
                  <a:pt x="40492" y="17076"/>
                  <a:pt x="41055" y="18044"/>
                </a:cubicBezTo>
                <a:cubicBezTo>
                  <a:pt x="41336" y="18529"/>
                  <a:pt x="41629" y="18991"/>
                  <a:pt x="41945" y="19430"/>
                </a:cubicBezTo>
                <a:cubicBezTo>
                  <a:pt x="42260" y="19858"/>
                  <a:pt x="42609" y="20275"/>
                  <a:pt x="42970" y="20635"/>
                </a:cubicBezTo>
                <a:cubicBezTo>
                  <a:pt x="43150" y="20826"/>
                  <a:pt x="43353" y="20995"/>
                  <a:pt x="43544" y="21164"/>
                </a:cubicBezTo>
                <a:cubicBezTo>
                  <a:pt x="43735" y="21322"/>
                  <a:pt x="43938" y="21480"/>
                  <a:pt x="44141" y="21626"/>
                </a:cubicBezTo>
                <a:cubicBezTo>
                  <a:pt x="44546" y="21908"/>
                  <a:pt x="44974" y="22156"/>
                  <a:pt x="45414" y="22347"/>
                </a:cubicBezTo>
                <a:cubicBezTo>
                  <a:pt x="45842" y="22538"/>
                  <a:pt x="46281" y="22696"/>
                  <a:pt x="46720" y="22809"/>
                </a:cubicBezTo>
                <a:cubicBezTo>
                  <a:pt x="47160" y="22921"/>
                  <a:pt x="47599" y="23000"/>
                  <a:pt x="48016" y="23057"/>
                </a:cubicBezTo>
                <a:cubicBezTo>
                  <a:pt x="48458" y="23109"/>
                  <a:pt x="48888" y="23131"/>
                  <a:pt x="49305" y="23131"/>
                </a:cubicBezTo>
                <a:cubicBezTo>
                  <a:pt x="49695" y="23131"/>
                  <a:pt x="50072" y="23112"/>
                  <a:pt x="50437" y="23079"/>
                </a:cubicBezTo>
                <a:cubicBezTo>
                  <a:pt x="51935" y="22933"/>
                  <a:pt x="53197" y="22550"/>
                  <a:pt x="54165" y="22110"/>
                </a:cubicBezTo>
                <a:cubicBezTo>
                  <a:pt x="54650" y="21896"/>
                  <a:pt x="55066" y="21682"/>
                  <a:pt x="55427" y="21491"/>
                </a:cubicBezTo>
                <a:cubicBezTo>
                  <a:pt x="55798" y="21311"/>
                  <a:pt x="56103" y="21153"/>
                  <a:pt x="56350" y="21029"/>
                </a:cubicBezTo>
                <a:cubicBezTo>
                  <a:pt x="56598" y="20905"/>
                  <a:pt x="56790" y="20804"/>
                  <a:pt x="56925" y="20748"/>
                </a:cubicBezTo>
                <a:cubicBezTo>
                  <a:pt x="56981" y="20714"/>
                  <a:pt x="57026" y="20691"/>
                  <a:pt x="57060" y="20669"/>
                </a:cubicBezTo>
                <a:cubicBezTo>
                  <a:pt x="57094" y="20658"/>
                  <a:pt x="57116" y="20646"/>
                  <a:pt x="57116" y="20646"/>
                </a:cubicBezTo>
                <a:cubicBezTo>
                  <a:pt x="57116" y="20643"/>
                  <a:pt x="57114" y="20642"/>
                  <a:pt x="57111" y="20642"/>
                </a:cubicBezTo>
                <a:cubicBezTo>
                  <a:pt x="57102" y="20642"/>
                  <a:pt x="57084" y="20650"/>
                  <a:pt x="57060" y="20658"/>
                </a:cubicBezTo>
                <a:cubicBezTo>
                  <a:pt x="57026" y="20680"/>
                  <a:pt x="56981" y="20703"/>
                  <a:pt x="56914" y="20725"/>
                </a:cubicBezTo>
                <a:cubicBezTo>
                  <a:pt x="56790" y="20781"/>
                  <a:pt x="56587" y="20872"/>
                  <a:pt x="56339" y="20995"/>
                </a:cubicBezTo>
                <a:cubicBezTo>
                  <a:pt x="56091" y="21119"/>
                  <a:pt x="55776" y="21266"/>
                  <a:pt x="55416" y="21446"/>
                </a:cubicBezTo>
                <a:cubicBezTo>
                  <a:pt x="55044" y="21626"/>
                  <a:pt x="54627" y="21840"/>
                  <a:pt x="54143" y="22054"/>
                </a:cubicBezTo>
                <a:cubicBezTo>
                  <a:pt x="53174" y="22482"/>
                  <a:pt x="51924" y="22854"/>
                  <a:pt x="50426" y="22989"/>
                </a:cubicBezTo>
                <a:cubicBezTo>
                  <a:pt x="50092" y="23019"/>
                  <a:pt x="49744" y="23036"/>
                  <a:pt x="49386" y="23036"/>
                </a:cubicBezTo>
                <a:cubicBezTo>
                  <a:pt x="48947" y="23036"/>
                  <a:pt x="48492" y="23011"/>
                  <a:pt x="48027" y="22955"/>
                </a:cubicBezTo>
                <a:cubicBezTo>
                  <a:pt x="47610" y="22899"/>
                  <a:pt x="47182" y="22820"/>
                  <a:pt x="46743" y="22707"/>
                </a:cubicBezTo>
                <a:cubicBezTo>
                  <a:pt x="46315" y="22595"/>
                  <a:pt x="45876" y="22437"/>
                  <a:pt x="45448" y="22246"/>
                </a:cubicBezTo>
                <a:cubicBezTo>
                  <a:pt x="45020" y="22054"/>
                  <a:pt x="44603" y="21806"/>
                  <a:pt x="44197" y="21525"/>
                </a:cubicBezTo>
                <a:cubicBezTo>
                  <a:pt x="43995" y="21390"/>
                  <a:pt x="43803" y="21232"/>
                  <a:pt x="43612" y="21074"/>
                </a:cubicBezTo>
                <a:cubicBezTo>
                  <a:pt x="43420" y="20905"/>
                  <a:pt x="43229" y="20736"/>
                  <a:pt x="43060" y="20556"/>
                </a:cubicBezTo>
                <a:cubicBezTo>
                  <a:pt x="42699" y="20184"/>
                  <a:pt x="42350" y="19779"/>
                  <a:pt x="42035" y="19351"/>
                </a:cubicBezTo>
                <a:cubicBezTo>
                  <a:pt x="41731" y="18923"/>
                  <a:pt x="41438" y="18461"/>
                  <a:pt x="41156" y="17977"/>
                </a:cubicBezTo>
                <a:cubicBezTo>
                  <a:pt x="40604" y="17019"/>
                  <a:pt x="40120" y="15972"/>
                  <a:pt x="39624" y="14891"/>
                </a:cubicBezTo>
                <a:cubicBezTo>
                  <a:pt x="39129" y="13821"/>
                  <a:pt x="38622" y="12706"/>
                  <a:pt x="38014" y="11602"/>
                </a:cubicBezTo>
                <a:cubicBezTo>
                  <a:pt x="37406" y="10509"/>
                  <a:pt x="36707" y="9417"/>
                  <a:pt x="35761" y="8482"/>
                </a:cubicBezTo>
                <a:cubicBezTo>
                  <a:pt x="34837" y="7536"/>
                  <a:pt x="33700" y="6770"/>
                  <a:pt x="32450" y="6218"/>
                </a:cubicBezTo>
                <a:cubicBezTo>
                  <a:pt x="31199" y="5655"/>
                  <a:pt x="29825" y="5306"/>
                  <a:pt x="28417" y="5204"/>
                </a:cubicBezTo>
                <a:cubicBezTo>
                  <a:pt x="28173" y="5189"/>
                  <a:pt x="27929" y="5181"/>
                  <a:pt x="27684" y="5181"/>
                </a:cubicBezTo>
                <a:cubicBezTo>
                  <a:pt x="26504" y="5181"/>
                  <a:pt x="25318" y="5363"/>
                  <a:pt x="24171" y="5745"/>
                </a:cubicBezTo>
                <a:cubicBezTo>
                  <a:pt x="23991" y="5790"/>
                  <a:pt x="23822" y="5858"/>
                  <a:pt x="23653" y="5925"/>
                </a:cubicBezTo>
                <a:cubicBezTo>
                  <a:pt x="23484" y="5993"/>
                  <a:pt x="23326" y="6072"/>
                  <a:pt x="23157" y="6139"/>
                </a:cubicBezTo>
                <a:cubicBezTo>
                  <a:pt x="22831" y="6297"/>
                  <a:pt x="22504" y="6443"/>
                  <a:pt x="22200" y="6635"/>
                </a:cubicBezTo>
                <a:cubicBezTo>
                  <a:pt x="21569" y="6984"/>
                  <a:pt x="20984" y="7389"/>
                  <a:pt x="20432" y="7829"/>
                </a:cubicBezTo>
                <a:cubicBezTo>
                  <a:pt x="19305" y="8696"/>
                  <a:pt x="18314" y="9665"/>
                  <a:pt x="17346" y="10622"/>
                </a:cubicBezTo>
                <a:cubicBezTo>
                  <a:pt x="16377" y="11579"/>
                  <a:pt x="15442" y="12537"/>
                  <a:pt x="14451" y="13393"/>
                </a:cubicBezTo>
                <a:cubicBezTo>
                  <a:pt x="13944" y="13809"/>
                  <a:pt x="13437" y="14215"/>
                  <a:pt x="12908" y="14564"/>
                </a:cubicBezTo>
                <a:cubicBezTo>
                  <a:pt x="12649" y="14756"/>
                  <a:pt x="12378" y="14913"/>
                  <a:pt x="12108" y="15082"/>
                </a:cubicBezTo>
                <a:cubicBezTo>
                  <a:pt x="11973" y="15161"/>
                  <a:pt x="11838" y="15240"/>
                  <a:pt x="11703" y="15319"/>
                </a:cubicBezTo>
                <a:cubicBezTo>
                  <a:pt x="11567" y="15398"/>
                  <a:pt x="11421" y="15465"/>
                  <a:pt x="11286" y="15533"/>
                </a:cubicBezTo>
                <a:cubicBezTo>
                  <a:pt x="11151" y="15600"/>
                  <a:pt x="11004" y="15668"/>
                  <a:pt x="10869" y="15747"/>
                </a:cubicBezTo>
                <a:cubicBezTo>
                  <a:pt x="10723" y="15803"/>
                  <a:pt x="10588" y="15859"/>
                  <a:pt x="10441" y="15927"/>
                </a:cubicBezTo>
                <a:lnTo>
                  <a:pt x="10227" y="16017"/>
                </a:lnTo>
                <a:cubicBezTo>
                  <a:pt x="10160" y="16040"/>
                  <a:pt x="10092" y="16062"/>
                  <a:pt x="10013" y="16096"/>
                </a:cubicBezTo>
                <a:cubicBezTo>
                  <a:pt x="9867" y="16141"/>
                  <a:pt x="9732" y="16197"/>
                  <a:pt x="9585" y="16242"/>
                </a:cubicBezTo>
                <a:cubicBezTo>
                  <a:pt x="9439" y="16287"/>
                  <a:pt x="9292" y="16321"/>
                  <a:pt x="9146" y="16366"/>
                </a:cubicBezTo>
                <a:lnTo>
                  <a:pt x="8932" y="16423"/>
                </a:lnTo>
                <a:lnTo>
                  <a:pt x="8707" y="16468"/>
                </a:lnTo>
                <a:cubicBezTo>
                  <a:pt x="8560" y="16490"/>
                  <a:pt x="8414" y="16524"/>
                  <a:pt x="8267" y="16558"/>
                </a:cubicBezTo>
                <a:lnTo>
                  <a:pt x="7828" y="16603"/>
                </a:lnTo>
                <a:cubicBezTo>
                  <a:pt x="7761" y="16614"/>
                  <a:pt x="7693" y="16625"/>
                  <a:pt x="7614" y="16625"/>
                </a:cubicBezTo>
                <a:lnTo>
                  <a:pt x="7400" y="16637"/>
                </a:lnTo>
                <a:cubicBezTo>
                  <a:pt x="7302" y="16637"/>
                  <a:pt x="7205" y="16642"/>
                  <a:pt x="7107" y="16642"/>
                </a:cubicBezTo>
                <a:cubicBezTo>
                  <a:pt x="7058" y="16642"/>
                  <a:pt x="7010" y="16640"/>
                  <a:pt x="6961" y="16637"/>
                </a:cubicBezTo>
                <a:cubicBezTo>
                  <a:pt x="6814" y="16625"/>
                  <a:pt x="6668" y="16625"/>
                  <a:pt x="6522" y="16614"/>
                </a:cubicBezTo>
                <a:cubicBezTo>
                  <a:pt x="6454" y="16603"/>
                  <a:pt x="6386" y="16603"/>
                  <a:pt x="6308" y="16591"/>
                </a:cubicBezTo>
                <a:lnTo>
                  <a:pt x="6105" y="16558"/>
                </a:lnTo>
                <a:cubicBezTo>
                  <a:pt x="5958" y="16535"/>
                  <a:pt x="5823" y="16513"/>
                  <a:pt x="5677" y="16490"/>
                </a:cubicBezTo>
                <a:cubicBezTo>
                  <a:pt x="5542" y="16456"/>
                  <a:pt x="5406" y="16411"/>
                  <a:pt x="5271" y="16377"/>
                </a:cubicBezTo>
                <a:lnTo>
                  <a:pt x="5069" y="16321"/>
                </a:lnTo>
                <a:lnTo>
                  <a:pt x="4877" y="16242"/>
                </a:lnTo>
                <a:cubicBezTo>
                  <a:pt x="4753" y="16197"/>
                  <a:pt x="4618" y="16152"/>
                  <a:pt x="4494" y="16096"/>
                </a:cubicBezTo>
                <a:cubicBezTo>
                  <a:pt x="4246" y="15972"/>
                  <a:pt x="3999" y="15859"/>
                  <a:pt x="3773" y="15702"/>
                </a:cubicBezTo>
                <a:lnTo>
                  <a:pt x="3604" y="15600"/>
                </a:lnTo>
                <a:cubicBezTo>
                  <a:pt x="3537" y="15567"/>
                  <a:pt x="3480" y="15521"/>
                  <a:pt x="3435" y="15488"/>
                </a:cubicBezTo>
                <a:cubicBezTo>
                  <a:pt x="3323" y="15398"/>
                  <a:pt x="3221" y="15319"/>
                  <a:pt x="3109" y="15240"/>
                </a:cubicBezTo>
                <a:cubicBezTo>
                  <a:pt x="2703" y="14902"/>
                  <a:pt x="2320" y="14530"/>
                  <a:pt x="2016" y="14125"/>
                </a:cubicBezTo>
                <a:cubicBezTo>
                  <a:pt x="1363" y="13325"/>
                  <a:pt x="912" y="12435"/>
                  <a:pt x="608" y="11546"/>
                </a:cubicBezTo>
                <a:cubicBezTo>
                  <a:pt x="304" y="10656"/>
                  <a:pt x="147" y="9766"/>
                  <a:pt x="113" y="8921"/>
                </a:cubicBezTo>
                <a:cubicBezTo>
                  <a:pt x="90" y="8065"/>
                  <a:pt x="169" y="7266"/>
                  <a:pt x="304" y="6522"/>
                </a:cubicBezTo>
                <a:cubicBezTo>
                  <a:pt x="428" y="5790"/>
                  <a:pt x="631" y="5114"/>
                  <a:pt x="834" y="4506"/>
                </a:cubicBezTo>
                <a:cubicBezTo>
                  <a:pt x="1048" y="3898"/>
                  <a:pt x="1273" y="3357"/>
                  <a:pt x="1498" y="2873"/>
                </a:cubicBezTo>
                <a:cubicBezTo>
                  <a:pt x="1937" y="1915"/>
                  <a:pt x="2354" y="1206"/>
                  <a:pt x="2647" y="733"/>
                </a:cubicBezTo>
                <a:cubicBezTo>
                  <a:pt x="2782" y="485"/>
                  <a:pt x="2895" y="316"/>
                  <a:pt x="2974" y="192"/>
                </a:cubicBezTo>
                <a:cubicBezTo>
                  <a:pt x="3007" y="125"/>
                  <a:pt x="3041" y="80"/>
                  <a:pt x="3052" y="46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0" name="Google Shape;80;p9"/>
          <p:cNvSpPr/>
          <p:nvPr/>
        </p:nvSpPr>
        <p:spPr>
          <a:xfrm>
            <a:off x="8449857" y="-14850"/>
            <a:ext cx="713100" cy="51732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81" name="Google Shape;81;p9"/>
          <p:cNvPicPr preferRelativeResize="0"/>
          <p:nvPr/>
        </p:nvPicPr>
        <p:blipFill rotWithShape="1">
          <a:blip r:embed="rId2">
            <a:alphaModFix amt="38000"/>
          </a:blip>
          <a:srcRect l="49686" t="4540" r="1710" b="3165"/>
          <a:stretch/>
        </p:blipFill>
        <p:spPr>
          <a:xfrm>
            <a:off x="8449825" y="-14850"/>
            <a:ext cx="713165" cy="5173200"/>
          </a:xfrm>
          <a:prstGeom prst="rect">
            <a:avLst/>
          </a:prstGeom>
          <a:noFill/>
          <a:ln>
            <a:noFill/>
          </a:ln>
        </p:spPr>
      </p:pic>
      <p:sp>
        <p:nvSpPr>
          <p:cNvPr id="82" name="Google Shape;82;p9"/>
          <p:cNvSpPr txBox="1">
            <a:spLocks noGrp="1"/>
          </p:cNvSpPr>
          <p:nvPr>
            <p:ph type="title"/>
          </p:nvPr>
        </p:nvSpPr>
        <p:spPr>
          <a:xfrm>
            <a:off x="1000050" y="959488"/>
            <a:ext cx="7143900" cy="2553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7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9"/>
          <p:cNvSpPr txBox="1">
            <a:spLocks noGrp="1"/>
          </p:cNvSpPr>
          <p:nvPr>
            <p:ph type="subTitle" idx="1"/>
          </p:nvPr>
        </p:nvSpPr>
        <p:spPr>
          <a:xfrm>
            <a:off x="1000050" y="3512913"/>
            <a:ext cx="7143900" cy="67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2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2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2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2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2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2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2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78A9644-8D9A-FF50-244B-1D91F64717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722"/>
            </p:custDataLst>
            <p:extLst>
              <p:ext uri="{D42A27DB-BD31-4B8C-83A1-F6EECF244321}">
                <p14:modId xmlns:p14="http://schemas.microsoft.com/office/powerpoint/2010/main" val="2241098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723" imgW="532" imgH="530" progId="TCLayout.ActiveDocument.1">
                  <p:embed/>
                </p:oleObj>
              </mc:Choice>
              <mc:Fallback>
                <p:oleObj name="think-cell Slide" r:id="rId16723" imgW="532" imgH="5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8A9644-8D9A-FF50-244B-1D91F6471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7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3225" y="1152475"/>
            <a:ext cx="77175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Source Sans Pro"/>
              <a:buChar char="●"/>
              <a:defRPr sz="1200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914400" lvl="1" indent="-3048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Source Sans Pro"/>
              <a:buChar char="○"/>
              <a:defRPr sz="1200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371600" lvl="2" indent="-3048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Source Sans Pro"/>
              <a:buChar char="■"/>
              <a:defRPr sz="1200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800" lvl="3" indent="-3048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Source Sans Pro"/>
              <a:buChar char="●"/>
              <a:defRPr sz="1200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286000" lvl="4" indent="-3048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Source Sans Pro"/>
              <a:buChar char="○"/>
              <a:defRPr sz="1200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2743200" lvl="5" indent="-3048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Source Sans Pro"/>
              <a:buChar char="■"/>
              <a:defRPr sz="1200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3200400" lvl="6" indent="-3048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Source Sans Pro"/>
              <a:buChar char="●"/>
              <a:defRPr sz="1200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657600" lvl="7" indent="-3048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Source Sans Pro"/>
              <a:buChar char="○"/>
              <a:defRPr sz="1200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4114800" lvl="8" indent="-3048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200"/>
              <a:buFont typeface="Source Sans Pro"/>
              <a:buChar char="■"/>
              <a:defRPr sz="1200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1" r:id="rId3"/>
    <p:sldLayoutId id="2147483652" r:id="rId4"/>
    <p:sldLayoutId id="2147483654" r:id="rId5"/>
    <p:sldLayoutId id="2147483655" r:id="rId6"/>
    <p:sldLayoutId id="2147492327" r:id="rId7"/>
    <p:sldLayoutId id="2147492326" r:id="rId8"/>
    <p:sldLayoutId id="2147488609" r:id="rId9"/>
    <p:sldLayoutId id="2147483702" r:id="rId10"/>
    <p:sldLayoutId id="2147483755" r:id="rId11"/>
    <p:sldLayoutId id="2147483752" r:id="rId12"/>
    <p:sldLayoutId id="2147483750" r:id="rId13"/>
    <p:sldLayoutId id="2147483756" r:id="rId14"/>
    <p:sldLayoutId id="2147483707" r:id="rId15"/>
    <p:sldLayoutId id="2147483713" r:id="rId16"/>
    <p:sldLayoutId id="2147483711" r:id="rId17"/>
    <p:sldLayoutId id="2147483722" r:id="rId18"/>
    <p:sldLayoutId id="2147483720" r:id="rId19"/>
    <p:sldLayoutId id="2147483723" r:id="rId20"/>
    <p:sldLayoutId id="2147483730" r:id="rId21"/>
    <p:sldLayoutId id="2147483732" r:id="rId22"/>
    <p:sldLayoutId id="2147483734" r:id="rId23"/>
    <p:sldLayoutId id="2147483738" r:id="rId24"/>
    <p:sldLayoutId id="2147483736" r:id="rId25"/>
    <p:sldLayoutId id="2147483758" r:id="rId26"/>
    <p:sldLayoutId id="2147483759" r:id="rId27"/>
    <p:sldLayoutId id="2147483773" r:id="rId28"/>
    <p:sldLayoutId id="2147483774" r:id="rId29"/>
    <p:sldLayoutId id="2147483783" r:id="rId30"/>
    <p:sldLayoutId id="2147483778" r:id="rId31"/>
    <p:sldLayoutId id="2147483777" r:id="rId32"/>
    <p:sldLayoutId id="2147483784" r:id="rId33"/>
    <p:sldLayoutId id="2147483776" r:id="rId34"/>
    <p:sldLayoutId id="2147483785" r:id="rId35"/>
    <p:sldLayoutId id="2147483780" r:id="rId36"/>
    <p:sldLayoutId id="2147483790" r:id="rId37"/>
    <p:sldLayoutId id="2147483788" r:id="rId38"/>
    <p:sldLayoutId id="2147483791" r:id="rId39"/>
    <p:sldLayoutId id="2147483762" r:id="rId40"/>
    <p:sldLayoutId id="2147483764" r:id="rId41"/>
    <p:sldLayoutId id="2147483766" r:id="rId42"/>
    <p:sldLayoutId id="2147483770" r:id="rId43"/>
    <p:sldLayoutId id="2147483768" r:id="rId44"/>
    <p:sldLayoutId id="2147483844" r:id="rId45"/>
    <p:sldLayoutId id="2147483847" r:id="rId46"/>
    <p:sldLayoutId id="2147483829" r:id="rId47"/>
    <p:sldLayoutId id="2147483827" r:id="rId48"/>
    <p:sldLayoutId id="2147483826" r:id="rId49"/>
    <p:sldLayoutId id="2147483830" r:id="rId50"/>
    <p:sldLayoutId id="2147483853" r:id="rId51"/>
    <p:sldLayoutId id="2147483863" r:id="rId52"/>
    <p:sldLayoutId id="2147483859" r:id="rId53"/>
    <p:sldLayoutId id="2147483876" r:id="rId54"/>
    <p:sldLayoutId id="2147483873" r:id="rId55"/>
    <p:sldLayoutId id="2147483877" r:id="rId56"/>
    <p:sldLayoutId id="2147483878" r:id="rId57"/>
    <p:sldLayoutId id="2147483880" r:id="rId58"/>
    <p:sldLayoutId id="2147483882" r:id="rId59"/>
    <p:sldLayoutId id="2147483886" r:id="rId60"/>
    <p:sldLayoutId id="2147483884" r:id="rId61"/>
    <p:sldLayoutId id="2147483831" r:id="rId62"/>
    <p:sldLayoutId id="2147483832" r:id="rId63"/>
    <p:sldLayoutId id="2147483846" r:id="rId64"/>
    <p:sldLayoutId id="2147483848" r:id="rId65"/>
    <p:sldLayoutId id="2147483862" r:id="rId66"/>
    <p:sldLayoutId id="2147483854" r:id="rId67"/>
    <p:sldLayoutId id="2147483851" r:id="rId68"/>
    <p:sldLayoutId id="2147483864" r:id="rId69"/>
    <p:sldLayoutId id="2147483850" r:id="rId70"/>
    <p:sldLayoutId id="2147483865" r:id="rId71"/>
    <p:sldLayoutId id="2147483856" r:id="rId72"/>
    <p:sldLayoutId id="2147483905" r:id="rId73"/>
    <p:sldLayoutId id="2147483872" r:id="rId74"/>
    <p:sldLayoutId id="2147483906" r:id="rId75"/>
    <p:sldLayoutId id="2147483833" r:id="rId76"/>
    <p:sldLayoutId id="2147483835" r:id="rId77"/>
    <p:sldLayoutId id="2147483837" r:id="rId78"/>
    <p:sldLayoutId id="2147483842" r:id="rId79"/>
    <p:sldLayoutId id="2147483840" r:id="rId80"/>
    <p:sldLayoutId id="2147483866" r:id="rId81"/>
    <p:sldLayoutId id="2147483867" r:id="rId82"/>
    <p:sldLayoutId id="2147483951" r:id="rId83"/>
    <p:sldLayoutId id="2147483952" r:id="rId84"/>
    <p:sldLayoutId id="2147483978" r:id="rId85"/>
    <p:sldLayoutId id="2147483976" r:id="rId86"/>
    <p:sldLayoutId id="2147483975" r:id="rId87"/>
    <p:sldLayoutId id="2147483979" r:id="rId88"/>
    <p:sldLayoutId id="2147483954" r:id="rId89"/>
    <p:sldLayoutId id="2147483958" r:id="rId90"/>
    <p:sldLayoutId id="2147483956" r:id="rId91"/>
    <p:sldLayoutId id="2147483963" r:id="rId92"/>
    <p:sldLayoutId id="2147483961" r:id="rId93"/>
    <p:sldLayoutId id="2147483964" r:id="rId94"/>
    <p:sldLayoutId id="2147483965" r:id="rId95"/>
    <p:sldLayoutId id="2147483967" r:id="rId96"/>
    <p:sldLayoutId id="2147483969" r:id="rId97"/>
    <p:sldLayoutId id="2147483973" r:id="rId98"/>
    <p:sldLayoutId id="2147483971" r:id="rId99"/>
    <p:sldLayoutId id="2147483980" r:id="rId100"/>
    <p:sldLayoutId id="2147483981" r:id="rId101"/>
    <p:sldLayoutId id="2147483993" r:id="rId102"/>
    <p:sldLayoutId id="2147483994" r:id="rId103"/>
    <p:sldLayoutId id="2147484003" r:id="rId104"/>
    <p:sldLayoutId id="2147483998" r:id="rId105"/>
    <p:sldLayoutId id="2147483997" r:id="rId106"/>
    <p:sldLayoutId id="2147484004" r:id="rId107"/>
    <p:sldLayoutId id="2147483996" r:id="rId108"/>
    <p:sldLayoutId id="2147484005" r:id="rId109"/>
    <p:sldLayoutId id="2147484000" r:id="rId110"/>
    <p:sldLayoutId id="2147484010" r:id="rId111"/>
    <p:sldLayoutId id="2147484008" r:id="rId112"/>
    <p:sldLayoutId id="2147484011" r:id="rId113"/>
    <p:sldLayoutId id="2147483982" r:id="rId114"/>
    <p:sldLayoutId id="2147483984" r:id="rId115"/>
    <p:sldLayoutId id="2147483986" r:id="rId116"/>
    <p:sldLayoutId id="2147483990" r:id="rId117"/>
    <p:sldLayoutId id="2147483988" r:id="rId118"/>
    <p:sldLayoutId id="2147484269" r:id="rId119"/>
    <p:sldLayoutId id="2147484270" r:id="rId120"/>
    <p:sldLayoutId id="2147484325" r:id="rId121"/>
    <p:sldLayoutId id="2147484320" r:id="rId122"/>
    <p:sldLayoutId id="2147484317" r:id="rId123"/>
    <p:sldLayoutId id="2147484139" r:id="rId124"/>
    <p:sldLayoutId id="2147484272" r:id="rId125"/>
    <p:sldLayoutId id="2147484276" r:id="rId126"/>
    <p:sldLayoutId id="2147484274" r:id="rId127"/>
    <p:sldLayoutId id="2147484281" r:id="rId128"/>
    <p:sldLayoutId id="2147484279" r:id="rId129"/>
    <p:sldLayoutId id="2147484282" r:id="rId130"/>
    <p:sldLayoutId id="2147484287" r:id="rId131"/>
    <p:sldLayoutId id="2147484291" r:id="rId132"/>
    <p:sldLayoutId id="2147484294" r:id="rId133"/>
    <p:sldLayoutId id="2147484303" r:id="rId134"/>
    <p:sldLayoutId id="2147484298" r:id="rId135"/>
    <p:sldLayoutId id="2147484142" r:id="rId136"/>
    <p:sldLayoutId id="2147484144" r:id="rId137"/>
    <p:sldLayoutId id="2147484170" r:id="rId138"/>
    <p:sldLayoutId id="2147484172" r:id="rId139"/>
    <p:sldLayoutId id="2147484190" r:id="rId140"/>
    <p:sldLayoutId id="2147484180" r:id="rId141"/>
    <p:sldLayoutId id="2147484178" r:id="rId142"/>
    <p:sldLayoutId id="2147484192" r:id="rId143"/>
    <p:sldLayoutId id="2147484176" r:id="rId144"/>
    <p:sldLayoutId id="2147484194" r:id="rId145"/>
    <p:sldLayoutId id="2147484184" r:id="rId146"/>
    <p:sldLayoutId id="2147484202" r:id="rId147"/>
    <p:sldLayoutId id="2147484200" r:id="rId148"/>
    <p:sldLayoutId id="2147484203" r:id="rId149"/>
    <p:sldLayoutId id="2147484148" r:id="rId150"/>
    <p:sldLayoutId id="2147484152" r:id="rId151"/>
    <p:sldLayoutId id="2147484156" r:id="rId152"/>
    <p:sldLayoutId id="2147484164" r:id="rId153"/>
    <p:sldLayoutId id="2147484160" r:id="rId154"/>
    <p:sldLayoutId id="2147484222" r:id="rId155"/>
    <p:sldLayoutId id="2147484225" r:id="rId156"/>
    <p:sldLayoutId id="2147484207" r:id="rId157"/>
    <p:sldLayoutId id="2147484205" r:id="rId158"/>
    <p:sldLayoutId id="2147484204" r:id="rId159"/>
    <p:sldLayoutId id="2147484208" r:id="rId160"/>
    <p:sldLayoutId id="2147484231" r:id="rId161"/>
    <p:sldLayoutId id="2147484241" r:id="rId162"/>
    <p:sldLayoutId id="2147484237" r:id="rId163"/>
    <p:sldLayoutId id="2147484254" r:id="rId164"/>
    <p:sldLayoutId id="2147484251" r:id="rId165"/>
    <p:sldLayoutId id="2147484255" r:id="rId166"/>
    <p:sldLayoutId id="2147484256" r:id="rId167"/>
    <p:sldLayoutId id="2147484258" r:id="rId168"/>
    <p:sldLayoutId id="2147484260" r:id="rId169"/>
    <p:sldLayoutId id="2147484264" r:id="rId170"/>
    <p:sldLayoutId id="2147484262" r:id="rId171"/>
    <p:sldLayoutId id="2147484209" r:id="rId172"/>
    <p:sldLayoutId id="2147484210" r:id="rId173"/>
    <p:sldLayoutId id="2147484224" r:id="rId174"/>
    <p:sldLayoutId id="2147484226" r:id="rId175"/>
    <p:sldLayoutId id="2147484240" r:id="rId176"/>
    <p:sldLayoutId id="2147484232" r:id="rId177"/>
    <p:sldLayoutId id="2147484229" r:id="rId178"/>
    <p:sldLayoutId id="2147484242" r:id="rId179"/>
    <p:sldLayoutId id="2147484228" r:id="rId180"/>
    <p:sldLayoutId id="2147484243" r:id="rId181"/>
    <p:sldLayoutId id="2147484234" r:id="rId182"/>
    <p:sldLayoutId id="2147484266" r:id="rId183"/>
    <p:sldLayoutId id="2147484250" r:id="rId184"/>
    <p:sldLayoutId id="2147484267" r:id="rId185"/>
    <p:sldLayoutId id="2147484211" r:id="rId186"/>
    <p:sldLayoutId id="2147484213" r:id="rId187"/>
    <p:sldLayoutId id="2147484215" r:id="rId188"/>
    <p:sldLayoutId id="2147484220" r:id="rId189"/>
    <p:sldLayoutId id="2147484218" r:id="rId190"/>
    <p:sldLayoutId id="2147484244" r:id="rId191"/>
    <p:sldLayoutId id="2147484245" r:id="rId192"/>
    <p:sldLayoutId id="2147484321" r:id="rId193"/>
    <p:sldLayoutId id="2147484138" r:id="rId194"/>
    <p:sldLayoutId id="2147484379" r:id="rId195"/>
    <p:sldLayoutId id="2147484375" r:id="rId196"/>
    <p:sldLayoutId id="2147484373" r:id="rId197"/>
    <p:sldLayoutId id="2147484381" r:id="rId198"/>
    <p:sldLayoutId id="2147484149" r:id="rId199"/>
    <p:sldLayoutId id="2147484169" r:id="rId200"/>
    <p:sldLayoutId id="2147484161" r:id="rId201"/>
    <p:sldLayoutId id="2147484197" r:id="rId202"/>
    <p:sldLayoutId id="2147484189" r:id="rId203"/>
    <p:sldLayoutId id="2147484329" r:id="rId204"/>
    <p:sldLayoutId id="2147484343" r:id="rId205"/>
    <p:sldLayoutId id="2147484351" r:id="rId206"/>
    <p:sldLayoutId id="2147484359" r:id="rId207"/>
    <p:sldLayoutId id="2147484369" r:id="rId208"/>
    <p:sldLayoutId id="2147484365" r:id="rId209"/>
    <p:sldLayoutId id="2147484383" r:id="rId210"/>
    <p:sldLayoutId id="2147484385" r:id="rId211"/>
    <p:sldLayoutId id="2147484404" r:id="rId212"/>
    <p:sldLayoutId id="2147484405" r:id="rId213"/>
    <p:sldLayoutId id="2147484414" r:id="rId214"/>
    <p:sldLayoutId id="2147484409" r:id="rId215"/>
    <p:sldLayoutId id="2147484408" r:id="rId216"/>
    <p:sldLayoutId id="2147484415" r:id="rId217"/>
    <p:sldLayoutId id="2147484407" r:id="rId218"/>
    <p:sldLayoutId id="2147484416" r:id="rId219"/>
    <p:sldLayoutId id="2147484411" r:id="rId220"/>
    <p:sldLayoutId id="2147484421" r:id="rId221"/>
    <p:sldLayoutId id="2147484419" r:id="rId222"/>
    <p:sldLayoutId id="2147484422" r:id="rId223"/>
    <p:sldLayoutId id="2147484387" r:id="rId224"/>
    <p:sldLayoutId id="2147484391" r:id="rId225"/>
    <p:sldLayoutId id="2147484395" r:id="rId226"/>
    <p:sldLayoutId id="2147484401" r:id="rId227"/>
    <p:sldLayoutId id="2147484399" r:id="rId228"/>
    <p:sldLayoutId id="2147484288" r:id="rId229"/>
    <p:sldLayoutId id="2147484290" r:id="rId230"/>
    <p:sldLayoutId id="2147484100" r:id="rId231"/>
    <p:sldLayoutId id="2147484098" r:id="rId232"/>
    <p:sldLayoutId id="2147484097" r:id="rId233"/>
    <p:sldLayoutId id="2147484283" r:id="rId234"/>
    <p:sldLayoutId id="2147484295" r:id="rId235"/>
    <p:sldLayoutId id="2147484302" r:id="rId236"/>
    <p:sldLayoutId id="2147484299" r:id="rId237"/>
    <p:sldLayoutId id="2147484309" r:id="rId238"/>
    <p:sldLayoutId id="2147484307" r:id="rId239"/>
    <p:sldLayoutId id="2147484310" r:id="rId240"/>
    <p:sldLayoutId id="2147484311" r:id="rId241"/>
    <p:sldLayoutId id="2147484313" r:id="rId242"/>
    <p:sldLayoutId id="2147484316" r:id="rId243"/>
    <p:sldLayoutId id="2147484324" r:id="rId244"/>
    <p:sldLayoutId id="2147484319" r:id="rId245"/>
    <p:sldLayoutId id="2147484284" r:id="rId246"/>
    <p:sldLayoutId id="2147484285" r:id="rId247"/>
    <p:sldLayoutId id="2147484572" r:id="rId248"/>
    <p:sldLayoutId id="2147484573" r:id="rId249"/>
    <p:sldLayoutId id="2147484599" r:id="rId250"/>
    <p:sldLayoutId id="2147484597" r:id="rId251"/>
    <p:sldLayoutId id="2147484596" r:id="rId252"/>
    <p:sldLayoutId id="2147484600" r:id="rId253"/>
    <p:sldLayoutId id="2147484575" r:id="rId254"/>
    <p:sldLayoutId id="2147484579" r:id="rId255"/>
    <p:sldLayoutId id="2147484577" r:id="rId256"/>
    <p:sldLayoutId id="2147484584" r:id="rId257"/>
    <p:sldLayoutId id="2147484582" r:id="rId258"/>
    <p:sldLayoutId id="2147484585" r:id="rId259"/>
    <p:sldLayoutId id="2147484586" r:id="rId260"/>
    <p:sldLayoutId id="2147484588" r:id="rId261"/>
    <p:sldLayoutId id="2147484590" r:id="rId262"/>
    <p:sldLayoutId id="2147484594" r:id="rId263"/>
    <p:sldLayoutId id="2147484592" r:id="rId264"/>
    <p:sldLayoutId id="2147484601" r:id="rId265"/>
    <p:sldLayoutId id="2147484602" r:id="rId266"/>
    <p:sldLayoutId id="2147484618" r:id="rId267"/>
    <p:sldLayoutId id="2147484619" r:id="rId268"/>
    <p:sldLayoutId id="2147484628" r:id="rId269"/>
    <p:sldLayoutId id="2147484623" r:id="rId270"/>
    <p:sldLayoutId id="2147484622" r:id="rId271"/>
    <p:sldLayoutId id="2147484629" r:id="rId272"/>
    <p:sldLayoutId id="2147484621" r:id="rId273"/>
    <p:sldLayoutId id="2147484630" r:id="rId274"/>
    <p:sldLayoutId id="2147484625" r:id="rId275"/>
    <p:sldLayoutId id="2147484635" r:id="rId276"/>
    <p:sldLayoutId id="2147484633" r:id="rId277"/>
    <p:sldLayoutId id="2147484636" r:id="rId278"/>
    <p:sldLayoutId id="2147484605" r:id="rId279"/>
    <p:sldLayoutId id="2147484609" r:id="rId280"/>
    <p:sldLayoutId id="2147484611" r:id="rId281"/>
    <p:sldLayoutId id="2147484615" r:id="rId282"/>
    <p:sldLayoutId id="2147484613" r:id="rId283"/>
    <p:sldLayoutId id="2147484684" r:id="rId284"/>
    <p:sldLayoutId id="2147484689" r:id="rId285"/>
    <p:sldLayoutId id="2147484660" r:id="rId286"/>
    <p:sldLayoutId id="2147484656" r:id="rId287"/>
    <p:sldLayoutId id="2147484654" r:id="rId288"/>
    <p:sldLayoutId id="2147484661" r:id="rId289"/>
    <p:sldLayoutId id="2147484700" r:id="rId290"/>
    <p:sldLayoutId id="2147484717" r:id="rId291"/>
    <p:sldLayoutId id="2147484710" r:id="rId292"/>
    <p:sldLayoutId id="2147484743" r:id="rId293"/>
    <p:sldLayoutId id="2147484737" r:id="rId294"/>
    <p:sldLayoutId id="2147484745" r:id="rId295"/>
    <p:sldLayoutId id="2147484747" r:id="rId296"/>
    <p:sldLayoutId id="2147484751" r:id="rId297"/>
    <p:sldLayoutId id="2147484755" r:id="rId298"/>
    <p:sldLayoutId id="2147484763" r:id="rId299"/>
    <p:sldLayoutId id="2147484759" r:id="rId300"/>
    <p:sldLayoutId id="2147484663" r:id="rId301"/>
    <p:sldLayoutId id="2147484665" r:id="rId302"/>
    <p:sldLayoutId id="2147484687" r:id="rId303"/>
    <p:sldLayoutId id="2147484691" r:id="rId304"/>
    <p:sldLayoutId id="2147484715" r:id="rId305"/>
    <p:sldLayoutId id="2147484701" r:id="rId306"/>
    <p:sldLayoutId id="2147484696" r:id="rId307"/>
    <p:sldLayoutId id="2147484719" r:id="rId308"/>
    <p:sldLayoutId id="2147484694" r:id="rId309"/>
    <p:sldLayoutId id="2147484721" r:id="rId310"/>
    <p:sldLayoutId id="2147484705" r:id="rId311"/>
    <p:sldLayoutId id="2147484784" r:id="rId312"/>
    <p:sldLayoutId id="2147484735" r:id="rId313"/>
    <p:sldLayoutId id="2147484786" r:id="rId314"/>
    <p:sldLayoutId id="2147484667" r:id="rId315"/>
    <p:sldLayoutId id="2147484670" r:id="rId316"/>
    <p:sldLayoutId id="2147484673" r:id="rId317"/>
    <p:sldLayoutId id="2147484680" r:id="rId318"/>
    <p:sldLayoutId id="2147484677" r:id="rId319"/>
    <p:sldLayoutId id="2147484723" r:id="rId320"/>
    <p:sldLayoutId id="2147484725" r:id="rId321"/>
    <p:sldLayoutId id="2147484832" r:id="rId322"/>
    <p:sldLayoutId id="2147484834" r:id="rId323"/>
    <p:sldLayoutId id="2147484526" r:id="rId324"/>
    <p:sldLayoutId id="2147484522" r:id="rId325"/>
    <p:sldLayoutId id="2147484520" r:id="rId326"/>
    <p:sldLayoutId id="2147484528" r:id="rId327"/>
    <p:sldLayoutId id="2147484838" r:id="rId328"/>
    <p:sldLayoutId id="2147484846" r:id="rId329"/>
    <p:sldLayoutId id="2147484842" r:id="rId330"/>
    <p:sldLayoutId id="2147484856" r:id="rId331"/>
    <p:sldLayoutId id="2147484852" r:id="rId332"/>
    <p:sldLayoutId id="2147484858" r:id="rId333"/>
    <p:sldLayoutId id="2147484860" r:id="rId334"/>
    <p:sldLayoutId id="2147484864" r:id="rId335"/>
    <p:sldLayoutId id="2147484868" r:id="rId336"/>
    <p:sldLayoutId id="2147484516" r:id="rId337"/>
    <p:sldLayoutId id="2147484872" r:id="rId338"/>
    <p:sldLayoutId id="2147484530" r:id="rId339"/>
    <p:sldLayoutId id="2147484532" r:id="rId340"/>
    <p:sldLayoutId id="2147484552" r:id="rId341"/>
    <p:sldLayoutId id="2147484553" r:id="rId342"/>
    <p:sldLayoutId id="2147484562" r:id="rId343"/>
    <p:sldLayoutId id="2147484557" r:id="rId344"/>
    <p:sldLayoutId id="2147484556" r:id="rId345"/>
    <p:sldLayoutId id="2147484563" r:id="rId346"/>
    <p:sldLayoutId id="2147484555" r:id="rId347"/>
    <p:sldLayoutId id="2147484564" r:id="rId348"/>
    <p:sldLayoutId id="2147484559" r:id="rId349"/>
    <p:sldLayoutId id="2147484569" r:id="rId350"/>
    <p:sldLayoutId id="2147484567" r:id="rId351"/>
    <p:sldLayoutId id="2147484570" r:id="rId352"/>
    <p:sldLayoutId id="2147484534" r:id="rId353"/>
    <p:sldLayoutId id="2147484538" r:id="rId354"/>
    <p:sldLayoutId id="2147484542" r:id="rId355"/>
    <p:sldLayoutId id="2147484549" r:id="rId356"/>
    <p:sldLayoutId id="2147484546" r:id="rId357"/>
    <p:sldLayoutId id="2147484669" r:id="rId358"/>
    <p:sldLayoutId id="2147485041" r:id="rId359"/>
    <p:sldLayoutId id="2147485049" r:id="rId360"/>
    <p:sldLayoutId id="2147484711" r:id="rId361"/>
    <p:sldLayoutId id="2147484709" r:id="rId362"/>
    <p:sldLayoutId id="2147484938" r:id="rId363"/>
    <p:sldLayoutId id="2147485042" r:id="rId364"/>
    <p:sldLayoutId id="2147485044" r:id="rId365"/>
    <p:sldLayoutId id="2147485043" r:id="rId366"/>
    <p:sldLayoutId id="2147484688" r:id="rId367"/>
    <p:sldLayoutId id="2147484685" r:id="rId368"/>
    <p:sldLayoutId id="2147484690" r:id="rId369"/>
    <p:sldLayoutId id="2147484692" r:id="rId370"/>
    <p:sldLayoutId id="2147484695" r:id="rId371"/>
    <p:sldLayoutId id="2147484699" r:id="rId372"/>
    <p:sldLayoutId id="2147484706" r:id="rId373"/>
    <p:sldLayoutId id="2147484702" r:id="rId374"/>
    <p:sldLayoutId id="2147484939" r:id="rId375"/>
    <p:sldLayoutId id="2147484940" r:id="rId376"/>
    <p:sldLayoutId id="2147484952" r:id="rId377"/>
    <p:sldLayoutId id="2147484953" r:id="rId378"/>
    <p:sldLayoutId id="2147484604" r:id="rId379"/>
    <p:sldLayoutId id="2147484957" r:id="rId380"/>
    <p:sldLayoutId id="2147484956" r:id="rId381"/>
    <p:sldLayoutId id="2147484606" r:id="rId382"/>
    <p:sldLayoutId id="2147484955" r:id="rId383"/>
    <p:sldLayoutId id="2147484608" r:id="rId384"/>
    <p:sldLayoutId id="2147484959" r:id="rId385"/>
    <p:sldLayoutId id="2147484965" r:id="rId386"/>
    <p:sldLayoutId id="2147484963" r:id="rId387"/>
    <p:sldLayoutId id="2147484966" r:id="rId388"/>
    <p:sldLayoutId id="2147484941" r:id="rId389"/>
    <p:sldLayoutId id="2147484943" r:id="rId390"/>
    <p:sldLayoutId id="2147484945" r:id="rId391"/>
    <p:sldLayoutId id="2147484949" r:id="rId392"/>
    <p:sldLayoutId id="2147484947" r:id="rId393"/>
    <p:sldLayoutId id="2147484994" r:id="rId394"/>
    <p:sldLayoutId id="2147484999" r:id="rId395"/>
    <p:sldLayoutId id="2147484971" r:id="rId396"/>
    <p:sldLayoutId id="2147484969" r:id="rId397"/>
    <p:sldLayoutId id="2147484967" r:id="rId398"/>
    <p:sldLayoutId id="2147484973" r:id="rId399"/>
    <p:sldLayoutId id="2147485006" r:id="rId400"/>
    <p:sldLayoutId id="2147484641" r:id="rId401"/>
    <p:sldLayoutId id="2147484639" r:id="rId402"/>
    <p:sldLayoutId id="2147484649" r:id="rId403"/>
    <p:sldLayoutId id="2147484647" r:id="rId404"/>
    <p:sldLayoutId id="2147484650" r:id="rId405"/>
    <p:sldLayoutId id="2147485032" r:id="rId406"/>
    <p:sldLayoutId id="2147484652" r:id="rId407"/>
    <p:sldLayoutId id="2147485035" r:id="rId408"/>
    <p:sldLayoutId id="2147485037" r:id="rId409"/>
    <p:sldLayoutId id="2147484657" r:id="rId410"/>
    <p:sldLayoutId id="2147484974" r:id="rId411"/>
    <p:sldLayoutId id="2147484976" r:id="rId412"/>
    <p:sldLayoutId id="2147484998" r:id="rId413"/>
    <p:sldLayoutId id="2147485000" r:id="rId414"/>
    <p:sldLayoutId id="2147485016" r:id="rId415"/>
    <p:sldLayoutId id="2147485008" r:id="rId416"/>
    <p:sldLayoutId id="2147485003" r:id="rId417"/>
    <p:sldLayoutId id="2147485017" r:id="rId418"/>
    <p:sldLayoutId id="2147485002" r:id="rId419"/>
    <p:sldLayoutId id="2147484642" r:id="rId420"/>
    <p:sldLayoutId id="2147485013" r:id="rId421"/>
    <p:sldLayoutId id="2147484664" r:id="rId422"/>
    <p:sldLayoutId id="2147485025" r:id="rId423"/>
    <p:sldLayoutId id="2147484666" r:id="rId424"/>
    <p:sldLayoutId id="2147484978" r:id="rId425"/>
    <p:sldLayoutId id="2147484981" r:id="rId426"/>
    <p:sldLayoutId id="2147484984" r:id="rId427"/>
    <p:sldLayoutId id="2147484990" r:id="rId428"/>
    <p:sldLayoutId id="2147484988" r:id="rId429"/>
    <p:sldLayoutId id="2147485018" r:id="rId430"/>
    <p:sldLayoutId id="2147484643" r:id="rId431"/>
    <p:sldLayoutId id="2147485363" r:id="rId432"/>
    <p:sldLayoutId id="2147485364" r:id="rId433"/>
    <p:sldLayoutId id="2147485390" r:id="rId434"/>
    <p:sldLayoutId id="2147485388" r:id="rId435"/>
    <p:sldLayoutId id="2147485387" r:id="rId436"/>
    <p:sldLayoutId id="2147485391" r:id="rId437"/>
    <p:sldLayoutId id="2147485366" r:id="rId438"/>
    <p:sldLayoutId id="2147485370" r:id="rId439"/>
    <p:sldLayoutId id="2147485368" r:id="rId440"/>
    <p:sldLayoutId id="2147485375" r:id="rId441"/>
    <p:sldLayoutId id="2147485373" r:id="rId442"/>
    <p:sldLayoutId id="2147485376" r:id="rId443"/>
    <p:sldLayoutId id="2147485377" r:id="rId444"/>
    <p:sldLayoutId id="2147485379" r:id="rId445"/>
    <p:sldLayoutId id="2147485381" r:id="rId446"/>
    <p:sldLayoutId id="2147485385" r:id="rId447"/>
    <p:sldLayoutId id="2147485383" r:id="rId448"/>
    <p:sldLayoutId id="2147485392" r:id="rId449"/>
    <p:sldLayoutId id="2147485393" r:id="rId450"/>
    <p:sldLayoutId id="2147485405" r:id="rId451"/>
    <p:sldLayoutId id="2147485406" r:id="rId452"/>
    <p:sldLayoutId id="2147485415" r:id="rId453"/>
    <p:sldLayoutId id="2147485410" r:id="rId454"/>
    <p:sldLayoutId id="2147485409" r:id="rId455"/>
    <p:sldLayoutId id="2147485416" r:id="rId456"/>
    <p:sldLayoutId id="2147485408" r:id="rId457"/>
    <p:sldLayoutId id="2147485417" r:id="rId458"/>
    <p:sldLayoutId id="2147485412" r:id="rId459"/>
    <p:sldLayoutId id="2147485422" r:id="rId460"/>
    <p:sldLayoutId id="2147485420" r:id="rId461"/>
    <p:sldLayoutId id="2147485423" r:id="rId462"/>
    <p:sldLayoutId id="2147485394" r:id="rId463"/>
    <p:sldLayoutId id="2147485396" r:id="rId464"/>
    <p:sldLayoutId id="2147485398" r:id="rId465"/>
    <p:sldLayoutId id="2147485402" r:id="rId466"/>
    <p:sldLayoutId id="2147485400" r:id="rId467"/>
    <p:sldLayoutId id="2147485442" r:id="rId468"/>
    <p:sldLayoutId id="2147485445" r:id="rId469"/>
    <p:sldLayoutId id="2147485427" r:id="rId470"/>
    <p:sldLayoutId id="2147485425" r:id="rId471"/>
    <p:sldLayoutId id="2147485424" r:id="rId472"/>
    <p:sldLayoutId id="2147485428" r:id="rId473"/>
    <p:sldLayoutId id="2147485451" r:id="rId474"/>
    <p:sldLayoutId id="2147485461" r:id="rId475"/>
    <p:sldLayoutId id="2147485457" r:id="rId476"/>
    <p:sldLayoutId id="2147485474" r:id="rId477"/>
    <p:sldLayoutId id="2147485471" r:id="rId478"/>
    <p:sldLayoutId id="2147485475" r:id="rId479"/>
    <p:sldLayoutId id="2147485476" r:id="rId480"/>
    <p:sldLayoutId id="2147485478" r:id="rId481"/>
    <p:sldLayoutId id="2147485480" r:id="rId482"/>
    <p:sldLayoutId id="2147485484" r:id="rId483"/>
    <p:sldLayoutId id="2147485482" r:id="rId484"/>
    <p:sldLayoutId id="2147485429" r:id="rId485"/>
    <p:sldLayoutId id="2147485430" r:id="rId486"/>
    <p:sldLayoutId id="2147485444" r:id="rId487"/>
    <p:sldLayoutId id="2147485446" r:id="rId488"/>
    <p:sldLayoutId id="2147485460" r:id="rId489"/>
    <p:sldLayoutId id="2147485452" r:id="rId490"/>
    <p:sldLayoutId id="2147485449" r:id="rId491"/>
    <p:sldLayoutId id="2147485462" r:id="rId492"/>
    <p:sldLayoutId id="2147485448" r:id="rId493"/>
    <p:sldLayoutId id="2147485463" r:id="rId494"/>
    <p:sldLayoutId id="2147485454" r:id="rId495"/>
    <p:sldLayoutId id="2147485486" r:id="rId496"/>
    <p:sldLayoutId id="2147485470" r:id="rId497"/>
    <p:sldLayoutId id="2147485487" r:id="rId498"/>
    <p:sldLayoutId id="2147485431" r:id="rId499"/>
    <p:sldLayoutId id="2147485433" r:id="rId500"/>
    <p:sldLayoutId id="2147485435" r:id="rId501"/>
    <p:sldLayoutId id="2147485440" r:id="rId502"/>
    <p:sldLayoutId id="2147485438" r:id="rId503"/>
    <p:sldLayoutId id="2147485464" r:id="rId504"/>
    <p:sldLayoutId id="2147485465" r:id="rId505"/>
    <p:sldLayoutId id="2147485489" r:id="rId506"/>
    <p:sldLayoutId id="2147485490" r:id="rId507"/>
    <p:sldLayoutId id="2147485516" r:id="rId508"/>
    <p:sldLayoutId id="2147485514" r:id="rId509"/>
    <p:sldLayoutId id="2147485513" r:id="rId510"/>
    <p:sldLayoutId id="2147485517" r:id="rId511"/>
    <p:sldLayoutId id="2147485492" r:id="rId512"/>
    <p:sldLayoutId id="2147485496" r:id="rId513"/>
    <p:sldLayoutId id="2147485494" r:id="rId514"/>
    <p:sldLayoutId id="2147485501" r:id="rId515"/>
    <p:sldLayoutId id="2147485499" r:id="rId516"/>
    <p:sldLayoutId id="2147485502" r:id="rId517"/>
    <p:sldLayoutId id="2147485503" r:id="rId518"/>
    <p:sldLayoutId id="2147485505" r:id="rId519"/>
    <p:sldLayoutId id="2147485507" r:id="rId520"/>
    <p:sldLayoutId id="2147485511" r:id="rId521"/>
    <p:sldLayoutId id="2147485509" r:id="rId522"/>
    <p:sldLayoutId id="2147485518" r:id="rId523"/>
    <p:sldLayoutId id="2147485519" r:id="rId524"/>
    <p:sldLayoutId id="2147485531" r:id="rId525"/>
    <p:sldLayoutId id="2147485532" r:id="rId526"/>
    <p:sldLayoutId id="2147485541" r:id="rId527"/>
    <p:sldLayoutId id="2147485536" r:id="rId528"/>
    <p:sldLayoutId id="2147485535" r:id="rId529"/>
    <p:sldLayoutId id="2147485542" r:id="rId530"/>
    <p:sldLayoutId id="2147485534" r:id="rId531"/>
    <p:sldLayoutId id="2147485543" r:id="rId532"/>
    <p:sldLayoutId id="2147485538" r:id="rId533"/>
    <p:sldLayoutId id="2147485548" r:id="rId534"/>
    <p:sldLayoutId id="2147485546" r:id="rId535"/>
    <p:sldLayoutId id="2147485549" r:id="rId536"/>
    <p:sldLayoutId id="2147485520" r:id="rId537"/>
    <p:sldLayoutId id="2147485522" r:id="rId538"/>
    <p:sldLayoutId id="2147485524" r:id="rId539"/>
    <p:sldLayoutId id="2147485528" r:id="rId540"/>
    <p:sldLayoutId id="2147485526" r:id="rId541"/>
    <p:sldLayoutId id="2147485257" r:id="rId542"/>
    <p:sldLayoutId id="2147485258" r:id="rId543"/>
    <p:sldLayoutId id="2147485313" r:id="rId544"/>
    <p:sldLayoutId id="2147485308" r:id="rId545"/>
    <p:sldLayoutId id="2147485305" r:id="rId546"/>
    <p:sldLayoutId id="2147485147" r:id="rId547"/>
    <p:sldLayoutId id="2147485260" r:id="rId548"/>
    <p:sldLayoutId id="2147485264" r:id="rId549"/>
    <p:sldLayoutId id="2147485262" r:id="rId550"/>
    <p:sldLayoutId id="2147485269" r:id="rId551"/>
    <p:sldLayoutId id="2147485267" r:id="rId552"/>
    <p:sldLayoutId id="2147485270" r:id="rId553"/>
    <p:sldLayoutId id="2147485275" r:id="rId554"/>
    <p:sldLayoutId id="2147485279" r:id="rId555"/>
    <p:sldLayoutId id="2147485282" r:id="rId556"/>
    <p:sldLayoutId id="2147485291" r:id="rId557"/>
    <p:sldLayoutId id="2147485286" r:id="rId558"/>
    <p:sldLayoutId id="2147485149" r:id="rId559"/>
    <p:sldLayoutId id="2147485150" r:id="rId560"/>
    <p:sldLayoutId id="2147485168" r:id="rId561"/>
    <p:sldLayoutId id="2147485169" r:id="rId562"/>
    <p:sldLayoutId id="2147485181" r:id="rId563"/>
    <p:sldLayoutId id="2147485173" r:id="rId564"/>
    <p:sldLayoutId id="2147485172" r:id="rId565"/>
    <p:sldLayoutId id="2147485182" r:id="rId566"/>
    <p:sldLayoutId id="2147485171" r:id="rId567"/>
    <p:sldLayoutId id="2147485184" r:id="rId568"/>
    <p:sldLayoutId id="2147485176" r:id="rId569"/>
    <p:sldLayoutId id="2147485190" r:id="rId570"/>
    <p:sldLayoutId id="2147485188" r:id="rId571"/>
    <p:sldLayoutId id="2147485191" r:id="rId572"/>
    <p:sldLayoutId id="2147485152" r:id="rId573"/>
    <p:sldLayoutId id="2147485155" r:id="rId574"/>
    <p:sldLayoutId id="2147485157" r:id="rId575"/>
    <p:sldLayoutId id="2147485163" r:id="rId576"/>
    <p:sldLayoutId id="2147485160" r:id="rId577"/>
    <p:sldLayoutId id="2147485210" r:id="rId578"/>
    <p:sldLayoutId id="2147485213" r:id="rId579"/>
    <p:sldLayoutId id="2147485195" r:id="rId580"/>
    <p:sldLayoutId id="2147485193" r:id="rId581"/>
    <p:sldLayoutId id="2147485192" r:id="rId582"/>
    <p:sldLayoutId id="2147485196" r:id="rId583"/>
    <p:sldLayoutId id="2147485219" r:id="rId584"/>
    <p:sldLayoutId id="2147485229" r:id="rId585"/>
    <p:sldLayoutId id="2147485225" r:id="rId586"/>
    <p:sldLayoutId id="2147485242" r:id="rId587"/>
    <p:sldLayoutId id="2147485239" r:id="rId588"/>
    <p:sldLayoutId id="2147485243" r:id="rId589"/>
    <p:sldLayoutId id="2147485244" r:id="rId590"/>
    <p:sldLayoutId id="2147485246" r:id="rId591"/>
    <p:sldLayoutId id="2147485248" r:id="rId592"/>
    <p:sldLayoutId id="2147485252" r:id="rId593"/>
    <p:sldLayoutId id="2147485250" r:id="rId594"/>
    <p:sldLayoutId id="2147485197" r:id="rId595"/>
    <p:sldLayoutId id="2147485198" r:id="rId596"/>
    <p:sldLayoutId id="2147485212" r:id="rId597"/>
    <p:sldLayoutId id="2147485214" r:id="rId598"/>
    <p:sldLayoutId id="2147485228" r:id="rId599"/>
    <p:sldLayoutId id="2147485220" r:id="rId600"/>
    <p:sldLayoutId id="2147485217" r:id="rId601"/>
    <p:sldLayoutId id="2147485230" r:id="rId602"/>
    <p:sldLayoutId id="2147485216" r:id="rId603"/>
    <p:sldLayoutId id="2147485231" r:id="rId604"/>
    <p:sldLayoutId id="2147485222" r:id="rId605"/>
    <p:sldLayoutId id="2147485254" r:id="rId606"/>
    <p:sldLayoutId id="2147485238" r:id="rId607"/>
    <p:sldLayoutId id="2147485255" r:id="rId608"/>
    <p:sldLayoutId id="2147485199" r:id="rId609"/>
    <p:sldLayoutId id="2147485201" r:id="rId610"/>
    <p:sldLayoutId id="2147485203" r:id="rId611"/>
    <p:sldLayoutId id="2147485208" r:id="rId612"/>
    <p:sldLayoutId id="2147485206" r:id="rId613"/>
    <p:sldLayoutId id="2147485232" r:id="rId614"/>
    <p:sldLayoutId id="2147485233" r:id="rId615"/>
    <p:sldLayoutId id="2147485309" r:id="rId616"/>
    <p:sldLayoutId id="2147485146" r:id="rId617"/>
    <p:sldLayoutId id="2147485328" r:id="rId618"/>
    <p:sldLayoutId id="2147485326" r:id="rId619"/>
    <p:sldLayoutId id="2147485325" r:id="rId620"/>
    <p:sldLayoutId id="2147485329" r:id="rId621"/>
    <p:sldLayoutId id="2147485153" r:id="rId622"/>
    <p:sldLayoutId id="2147485167" r:id="rId623"/>
    <p:sldLayoutId id="2147485161" r:id="rId624"/>
    <p:sldLayoutId id="2147485186" r:id="rId625"/>
    <p:sldLayoutId id="2147485180" r:id="rId626"/>
    <p:sldLayoutId id="2147485314" r:id="rId627"/>
    <p:sldLayoutId id="2147485315" r:id="rId628"/>
    <p:sldLayoutId id="2147485317" r:id="rId629"/>
    <p:sldLayoutId id="2147485319" r:id="rId630"/>
    <p:sldLayoutId id="2147485323" r:id="rId631"/>
    <p:sldLayoutId id="2147485321" r:id="rId632"/>
    <p:sldLayoutId id="2147485330" r:id="rId633"/>
    <p:sldLayoutId id="2147485331" r:id="rId634"/>
    <p:sldLayoutId id="2147485343" r:id="rId635"/>
    <p:sldLayoutId id="2147485344" r:id="rId636"/>
    <p:sldLayoutId id="2147485353" r:id="rId637"/>
    <p:sldLayoutId id="2147485348" r:id="rId638"/>
    <p:sldLayoutId id="2147485347" r:id="rId639"/>
    <p:sldLayoutId id="2147485354" r:id="rId640"/>
    <p:sldLayoutId id="2147485346" r:id="rId641"/>
    <p:sldLayoutId id="2147485355" r:id="rId642"/>
    <p:sldLayoutId id="2147485350" r:id="rId643"/>
    <p:sldLayoutId id="2147485360" r:id="rId644"/>
    <p:sldLayoutId id="2147485358" r:id="rId645"/>
    <p:sldLayoutId id="2147485361" r:id="rId646"/>
    <p:sldLayoutId id="2147485332" r:id="rId647"/>
    <p:sldLayoutId id="2147485334" r:id="rId648"/>
    <p:sldLayoutId id="2147485336" r:id="rId649"/>
    <p:sldLayoutId id="2147485340" r:id="rId650"/>
    <p:sldLayoutId id="2147485338" r:id="rId651"/>
    <p:sldLayoutId id="2147485276" r:id="rId652"/>
    <p:sldLayoutId id="2147485278" r:id="rId653"/>
    <p:sldLayoutId id="2147485145" r:id="rId654"/>
    <p:sldLayoutId id="2147485143" r:id="rId655"/>
    <p:sldLayoutId id="2147485142" r:id="rId656"/>
    <p:sldLayoutId id="2147485271" r:id="rId657"/>
    <p:sldLayoutId id="2147485283" r:id="rId658"/>
    <p:sldLayoutId id="2147485290" r:id="rId659"/>
    <p:sldLayoutId id="2147485287" r:id="rId660"/>
    <p:sldLayoutId id="2147485297" r:id="rId661"/>
    <p:sldLayoutId id="2147485295" r:id="rId662"/>
    <p:sldLayoutId id="2147485298" r:id="rId663"/>
    <p:sldLayoutId id="2147485299" r:id="rId664"/>
    <p:sldLayoutId id="2147485301" r:id="rId665"/>
    <p:sldLayoutId id="2147485304" r:id="rId666"/>
    <p:sldLayoutId id="2147485312" r:id="rId667"/>
    <p:sldLayoutId id="2147485307" r:id="rId668"/>
    <p:sldLayoutId id="2147485272" r:id="rId669"/>
    <p:sldLayoutId id="2147485273" r:id="rId670"/>
    <p:sldLayoutId id="2147486151" r:id="rId671"/>
    <p:sldLayoutId id="2147486153" r:id="rId672"/>
    <p:sldLayoutId id="2147486202" r:id="rId673"/>
    <p:sldLayoutId id="2147486200" r:id="rId674"/>
    <p:sldLayoutId id="2147486199" r:id="rId675"/>
    <p:sldLayoutId id="2147486203" r:id="rId676"/>
    <p:sldLayoutId id="2147486158" r:id="rId677"/>
    <p:sldLayoutId id="2147486165" r:id="rId678"/>
    <p:sldLayoutId id="2147486162" r:id="rId679"/>
    <p:sldLayoutId id="2147486174" r:id="rId680"/>
    <p:sldLayoutId id="2147486171" r:id="rId681"/>
    <p:sldLayoutId id="2147486176" r:id="rId682"/>
    <p:sldLayoutId id="2147486180" r:id="rId683"/>
    <p:sldLayoutId id="2147486183" r:id="rId684"/>
    <p:sldLayoutId id="2147486186" r:id="rId685"/>
    <p:sldLayoutId id="2147486192" r:id="rId686"/>
    <p:sldLayoutId id="2147486189" r:id="rId687"/>
    <p:sldLayoutId id="2147486204" r:id="rId688"/>
    <p:sldLayoutId id="2147486205" r:id="rId689"/>
    <p:sldLayoutId id="2147486219" r:id="rId690"/>
    <p:sldLayoutId id="2147486220" r:id="rId691"/>
    <p:sldLayoutId id="2147486229" r:id="rId692"/>
    <p:sldLayoutId id="2147486224" r:id="rId693"/>
    <p:sldLayoutId id="2147486223" r:id="rId694"/>
    <p:sldLayoutId id="2147486230" r:id="rId695"/>
    <p:sldLayoutId id="2147486222" r:id="rId696"/>
    <p:sldLayoutId id="2147486231" r:id="rId697"/>
    <p:sldLayoutId id="2147486226" r:id="rId698"/>
    <p:sldLayoutId id="2147486236" r:id="rId699"/>
    <p:sldLayoutId id="2147486234" r:id="rId700"/>
    <p:sldLayoutId id="2147486237" r:id="rId701"/>
    <p:sldLayoutId id="2147486206" r:id="rId702"/>
    <p:sldLayoutId id="2147486208" r:id="rId703"/>
    <p:sldLayoutId id="2147486211" r:id="rId704"/>
    <p:sldLayoutId id="2147486216" r:id="rId705"/>
    <p:sldLayoutId id="2147486214" r:id="rId706"/>
    <p:sldLayoutId id="2147486273" r:id="rId707"/>
    <p:sldLayoutId id="2147486278" r:id="rId708"/>
    <p:sldLayoutId id="2147486250" r:id="rId709"/>
    <p:sldLayoutId id="2147486247" r:id="rId710"/>
    <p:sldLayoutId id="2147486246" r:id="rId711"/>
    <p:sldLayoutId id="2147486252" r:id="rId712"/>
    <p:sldLayoutId id="2147486287" r:id="rId713"/>
    <p:sldLayoutId id="2147486297" r:id="rId714"/>
    <p:sldLayoutId id="2147486293" r:id="rId715"/>
    <p:sldLayoutId id="2147486310" r:id="rId716"/>
    <p:sldLayoutId id="2147486307" r:id="rId717"/>
    <p:sldLayoutId id="2147486311" r:id="rId718"/>
    <p:sldLayoutId id="2147486312" r:id="rId719"/>
    <p:sldLayoutId id="2147486314" r:id="rId720"/>
    <p:sldLayoutId id="2147486316" r:id="rId721"/>
    <p:sldLayoutId id="2147486320" r:id="rId722"/>
    <p:sldLayoutId id="2147486318" r:id="rId723"/>
    <p:sldLayoutId id="2147486253" r:id="rId724"/>
    <p:sldLayoutId id="2147486255" r:id="rId725"/>
    <p:sldLayoutId id="2147486276" r:id="rId726"/>
    <p:sldLayoutId id="2147486279" r:id="rId727"/>
    <p:sldLayoutId id="2147486296" r:id="rId728"/>
    <p:sldLayoutId id="2147486288" r:id="rId729"/>
    <p:sldLayoutId id="2147486284" r:id="rId730"/>
    <p:sldLayoutId id="2147486298" r:id="rId731"/>
    <p:sldLayoutId id="2147486282" r:id="rId732"/>
    <p:sldLayoutId id="2147486299" r:id="rId733"/>
    <p:sldLayoutId id="2147486290" r:id="rId734"/>
    <p:sldLayoutId id="2147486322" r:id="rId735"/>
    <p:sldLayoutId id="2147486306" r:id="rId736"/>
    <p:sldLayoutId id="2147486323" r:id="rId737"/>
    <p:sldLayoutId id="2147486257" r:id="rId738"/>
    <p:sldLayoutId id="2147486260" r:id="rId739"/>
    <p:sldLayoutId id="2147486263" r:id="rId740"/>
    <p:sldLayoutId id="2147486270" r:id="rId741"/>
    <p:sldLayoutId id="2147486267" r:id="rId742"/>
    <p:sldLayoutId id="2147486300" r:id="rId743"/>
    <p:sldLayoutId id="2147486301" r:id="rId744"/>
    <p:sldLayoutId id="2147486357" r:id="rId745"/>
    <p:sldLayoutId id="2147486359" r:id="rId746"/>
    <p:sldLayoutId id="2147486401" r:id="rId747"/>
    <p:sldLayoutId id="2147486398" r:id="rId748"/>
    <p:sldLayoutId id="2147486397" r:id="rId749"/>
    <p:sldLayoutId id="2147486403" r:id="rId750"/>
    <p:sldLayoutId id="2147486362" r:id="rId751"/>
    <p:sldLayoutId id="2147486368" r:id="rId752"/>
    <p:sldLayoutId id="2147486365" r:id="rId753"/>
    <p:sldLayoutId id="2147486377" r:id="rId754"/>
    <p:sldLayoutId id="2147486373" r:id="rId755"/>
    <p:sldLayoutId id="2147486378" r:id="rId756"/>
    <p:sldLayoutId id="2147486380" r:id="rId757"/>
    <p:sldLayoutId id="2147486383" r:id="rId758"/>
    <p:sldLayoutId id="2147486387" r:id="rId759"/>
    <p:sldLayoutId id="2147486394" r:id="rId760"/>
    <p:sldLayoutId id="2147486391" r:id="rId761"/>
    <p:sldLayoutId id="2147486405" r:id="rId762"/>
    <p:sldLayoutId id="2147486407" r:id="rId763"/>
    <p:sldLayoutId id="2147486426" r:id="rId764"/>
    <p:sldLayoutId id="2147486428" r:id="rId765"/>
    <p:sldLayoutId id="2147486442" r:id="rId766"/>
    <p:sldLayoutId id="2147486435" r:id="rId767"/>
    <p:sldLayoutId id="2147486433" r:id="rId768"/>
    <p:sldLayoutId id="2147486443" r:id="rId769"/>
    <p:sldLayoutId id="2147486431" r:id="rId770"/>
    <p:sldLayoutId id="2147486444" r:id="rId771"/>
    <p:sldLayoutId id="2147486438" r:id="rId772"/>
    <p:sldLayoutId id="2147486451" r:id="rId773"/>
    <p:sldLayoutId id="2147486448" r:id="rId774"/>
    <p:sldLayoutId id="2147486452" r:id="rId775"/>
    <p:sldLayoutId id="2147486409" r:id="rId776"/>
    <p:sldLayoutId id="2147486413" r:id="rId777"/>
    <p:sldLayoutId id="2147486416" r:id="rId778"/>
    <p:sldLayoutId id="2147486422" r:id="rId779"/>
    <p:sldLayoutId id="2147486419" r:id="rId780"/>
    <p:sldLayoutId id="2147486581" r:id="rId781"/>
    <p:sldLayoutId id="2147486582" r:id="rId782"/>
    <p:sldLayoutId id="2147486637" r:id="rId783"/>
    <p:sldLayoutId id="2147486632" r:id="rId784"/>
    <p:sldLayoutId id="2147486629" r:id="rId785"/>
    <p:sldLayoutId id="2147486471" r:id="rId786"/>
    <p:sldLayoutId id="2147486584" r:id="rId787"/>
    <p:sldLayoutId id="2147486588" r:id="rId788"/>
    <p:sldLayoutId id="2147486586" r:id="rId789"/>
    <p:sldLayoutId id="2147486593" r:id="rId790"/>
    <p:sldLayoutId id="2147486591" r:id="rId791"/>
    <p:sldLayoutId id="2147486594" r:id="rId792"/>
    <p:sldLayoutId id="2147486599" r:id="rId793"/>
    <p:sldLayoutId id="2147486603" r:id="rId794"/>
    <p:sldLayoutId id="2147486606" r:id="rId795"/>
    <p:sldLayoutId id="2147486615" r:id="rId796"/>
    <p:sldLayoutId id="2147486610" r:id="rId797"/>
    <p:sldLayoutId id="2147486473" r:id="rId798"/>
    <p:sldLayoutId id="2147486474" r:id="rId799"/>
    <p:sldLayoutId id="2147486492" r:id="rId800"/>
    <p:sldLayoutId id="2147486493" r:id="rId801"/>
    <p:sldLayoutId id="2147486505" r:id="rId802"/>
    <p:sldLayoutId id="2147486497" r:id="rId803"/>
    <p:sldLayoutId id="2147486496" r:id="rId804"/>
    <p:sldLayoutId id="2147486506" r:id="rId805"/>
    <p:sldLayoutId id="2147486495" r:id="rId806"/>
    <p:sldLayoutId id="2147486508" r:id="rId807"/>
    <p:sldLayoutId id="2147486500" r:id="rId808"/>
    <p:sldLayoutId id="2147486514" r:id="rId809"/>
    <p:sldLayoutId id="2147486512" r:id="rId810"/>
    <p:sldLayoutId id="2147486515" r:id="rId811"/>
    <p:sldLayoutId id="2147486476" r:id="rId812"/>
    <p:sldLayoutId id="2147486479" r:id="rId813"/>
    <p:sldLayoutId id="2147486481" r:id="rId814"/>
    <p:sldLayoutId id="2147486487" r:id="rId815"/>
    <p:sldLayoutId id="2147486484" r:id="rId816"/>
    <p:sldLayoutId id="2147486534" r:id="rId817"/>
    <p:sldLayoutId id="2147486537" r:id="rId818"/>
    <p:sldLayoutId id="2147486519" r:id="rId819"/>
    <p:sldLayoutId id="2147486517" r:id="rId820"/>
    <p:sldLayoutId id="2147486516" r:id="rId821"/>
    <p:sldLayoutId id="2147486520" r:id="rId822"/>
    <p:sldLayoutId id="2147486543" r:id="rId823"/>
    <p:sldLayoutId id="2147486553" r:id="rId824"/>
    <p:sldLayoutId id="2147486549" r:id="rId825"/>
    <p:sldLayoutId id="2147486566" r:id="rId826"/>
    <p:sldLayoutId id="2147486563" r:id="rId827"/>
    <p:sldLayoutId id="2147486567" r:id="rId828"/>
    <p:sldLayoutId id="2147486568" r:id="rId829"/>
    <p:sldLayoutId id="2147486570" r:id="rId830"/>
    <p:sldLayoutId id="2147486572" r:id="rId831"/>
    <p:sldLayoutId id="2147486576" r:id="rId832"/>
    <p:sldLayoutId id="2147486574" r:id="rId833"/>
    <p:sldLayoutId id="2147486521" r:id="rId834"/>
    <p:sldLayoutId id="2147486522" r:id="rId835"/>
    <p:sldLayoutId id="2147486536" r:id="rId836"/>
    <p:sldLayoutId id="2147486538" r:id="rId837"/>
    <p:sldLayoutId id="2147486552" r:id="rId838"/>
    <p:sldLayoutId id="2147486544" r:id="rId839"/>
    <p:sldLayoutId id="2147486541" r:id="rId840"/>
    <p:sldLayoutId id="2147486554" r:id="rId841"/>
    <p:sldLayoutId id="2147486540" r:id="rId842"/>
    <p:sldLayoutId id="2147486555" r:id="rId843"/>
    <p:sldLayoutId id="2147486546" r:id="rId844"/>
    <p:sldLayoutId id="2147486578" r:id="rId845"/>
    <p:sldLayoutId id="2147486562" r:id="rId846"/>
    <p:sldLayoutId id="2147486579" r:id="rId847"/>
    <p:sldLayoutId id="2147486523" r:id="rId848"/>
    <p:sldLayoutId id="2147486525" r:id="rId849"/>
    <p:sldLayoutId id="2147486527" r:id="rId850"/>
    <p:sldLayoutId id="2147486532" r:id="rId851"/>
    <p:sldLayoutId id="2147486530" r:id="rId852"/>
    <p:sldLayoutId id="2147486556" r:id="rId853"/>
    <p:sldLayoutId id="2147486557" r:id="rId854"/>
    <p:sldLayoutId id="2147486633" r:id="rId855"/>
    <p:sldLayoutId id="2147486470" r:id="rId856"/>
    <p:sldLayoutId id="2147486652" r:id="rId857"/>
    <p:sldLayoutId id="2147486650" r:id="rId858"/>
    <p:sldLayoutId id="2147486649" r:id="rId859"/>
    <p:sldLayoutId id="2147486653" r:id="rId860"/>
    <p:sldLayoutId id="2147486477" r:id="rId861"/>
    <p:sldLayoutId id="2147486491" r:id="rId862"/>
    <p:sldLayoutId id="2147486485" r:id="rId863"/>
    <p:sldLayoutId id="2147486510" r:id="rId864"/>
    <p:sldLayoutId id="2147486504" r:id="rId865"/>
    <p:sldLayoutId id="2147486638" r:id="rId866"/>
    <p:sldLayoutId id="2147486639" r:id="rId867"/>
    <p:sldLayoutId id="2147486641" r:id="rId868"/>
    <p:sldLayoutId id="2147486643" r:id="rId869"/>
    <p:sldLayoutId id="2147486647" r:id="rId870"/>
    <p:sldLayoutId id="2147486645" r:id="rId871"/>
    <p:sldLayoutId id="2147486654" r:id="rId872"/>
    <p:sldLayoutId id="2147486655" r:id="rId873"/>
    <p:sldLayoutId id="2147486667" r:id="rId874"/>
    <p:sldLayoutId id="2147486668" r:id="rId875"/>
    <p:sldLayoutId id="2147486677" r:id="rId876"/>
    <p:sldLayoutId id="2147486672" r:id="rId877"/>
    <p:sldLayoutId id="2147486671" r:id="rId878"/>
    <p:sldLayoutId id="2147486678" r:id="rId879"/>
    <p:sldLayoutId id="2147486670" r:id="rId880"/>
    <p:sldLayoutId id="2147486679" r:id="rId881"/>
    <p:sldLayoutId id="2147486674" r:id="rId882"/>
    <p:sldLayoutId id="2147485962" r:id="rId883"/>
    <p:sldLayoutId id="2147485960" r:id="rId884"/>
    <p:sldLayoutId id="2147485963" r:id="rId885"/>
    <p:sldLayoutId id="2147486656" r:id="rId886"/>
    <p:sldLayoutId id="2147486658" r:id="rId887"/>
    <p:sldLayoutId id="2147486660" r:id="rId888"/>
    <p:sldLayoutId id="2147486664" r:id="rId889"/>
    <p:sldLayoutId id="2147486662" r:id="rId890"/>
    <p:sldLayoutId id="2147486600" r:id="rId891"/>
    <p:sldLayoutId id="2147486602" r:id="rId892"/>
    <p:sldLayoutId id="2147486469" r:id="rId893"/>
    <p:sldLayoutId id="2147486467" r:id="rId894"/>
    <p:sldLayoutId id="2147486466" r:id="rId895"/>
    <p:sldLayoutId id="2147486595" r:id="rId896"/>
    <p:sldLayoutId id="2147486607" r:id="rId897"/>
    <p:sldLayoutId id="2147486614" r:id="rId898"/>
    <p:sldLayoutId id="2147486611" r:id="rId899"/>
    <p:sldLayoutId id="2147486621" r:id="rId900"/>
    <p:sldLayoutId id="2147486619" r:id="rId901"/>
    <p:sldLayoutId id="2147486622" r:id="rId902"/>
    <p:sldLayoutId id="2147486623" r:id="rId903"/>
    <p:sldLayoutId id="2147486625" r:id="rId904"/>
    <p:sldLayoutId id="2147486628" r:id="rId905"/>
    <p:sldLayoutId id="2147486636" r:id="rId906"/>
    <p:sldLayoutId id="2147486631" r:id="rId907"/>
    <p:sldLayoutId id="2147486596" r:id="rId908"/>
    <p:sldLayoutId id="2147486597" r:id="rId909"/>
    <p:sldLayoutId id="2147486005" r:id="rId910"/>
    <p:sldLayoutId id="2147486006" r:id="rId911"/>
    <p:sldLayoutId id="2147486032" r:id="rId912"/>
    <p:sldLayoutId id="2147486030" r:id="rId913"/>
    <p:sldLayoutId id="2147486029" r:id="rId914"/>
    <p:sldLayoutId id="2147486033" r:id="rId915"/>
    <p:sldLayoutId id="2147486008" r:id="rId916"/>
    <p:sldLayoutId id="2147486012" r:id="rId917"/>
    <p:sldLayoutId id="2147486010" r:id="rId918"/>
    <p:sldLayoutId id="2147486017" r:id="rId919"/>
    <p:sldLayoutId id="2147486015" r:id="rId920"/>
    <p:sldLayoutId id="2147486018" r:id="rId921"/>
    <p:sldLayoutId id="2147486019" r:id="rId922"/>
    <p:sldLayoutId id="2147486021" r:id="rId923"/>
    <p:sldLayoutId id="2147486023" r:id="rId924"/>
    <p:sldLayoutId id="2147486027" r:id="rId925"/>
    <p:sldLayoutId id="2147486025" r:id="rId926"/>
    <p:sldLayoutId id="2147486034" r:id="rId927"/>
    <p:sldLayoutId id="2147486035" r:id="rId928"/>
    <p:sldLayoutId id="2147486051" r:id="rId929"/>
    <p:sldLayoutId id="2147486052" r:id="rId930"/>
    <p:sldLayoutId id="2147486061" r:id="rId931"/>
    <p:sldLayoutId id="2147486056" r:id="rId932"/>
    <p:sldLayoutId id="2147486055" r:id="rId933"/>
    <p:sldLayoutId id="2147486062" r:id="rId934"/>
    <p:sldLayoutId id="2147486054" r:id="rId935"/>
    <p:sldLayoutId id="2147486063" r:id="rId936"/>
    <p:sldLayoutId id="2147486058" r:id="rId937"/>
    <p:sldLayoutId id="2147486068" r:id="rId938"/>
    <p:sldLayoutId id="2147486066" r:id="rId939"/>
    <p:sldLayoutId id="2147486069" r:id="rId940"/>
    <p:sldLayoutId id="2147486038" r:id="rId941"/>
    <p:sldLayoutId id="2147486042" r:id="rId942"/>
    <p:sldLayoutId id="2147486044" r:id="rId943"/>
    <p:sldLayoutId id="2147486048" r:id="rId944"/>
    <p:sldLayoutId id="2147486046" r:id="rId945"/>
    <p:sldLayoutId id="2147486117" r:id="rId946"/>
    <p:sldLayoutId id="2147486122" r:id="rId947"/>
    <p:sldLayoutId id="2147486093" r:id="rId948"/>
    <p:sldLayoutId id="2147486089" r:id="rId949"/>
    <p:sldLayoutId id="2147486087" r:id="rId950"/>
    <p:sldLayoutId id="2147486094" r:id="rId951"/>
    <p:sldLayoutId id="2147486133" r:id="rId952"/>
    <p:sldLayoutId id="2147486150" r:id="rId953"/>
    <p:sldLayoutId id="2147486143" r:id="rId954"/>
    <p:sldLayoutId id="2147486177" r:id="rId955"/>
    <p:sldLayoutId id="2147486169" r:id="rId956"/>
    <p:sldLayoutId id="2147486178" r:id="rId957"/>
    <p:sldLayoutId id="2147486179" r:id="rId958"/>
    <p:sldLayoutId id="2147486184" r:id="rId959"/>
    <p:sldLayoutId id="2147486190" r:id="rId960"/>
    <p:sldLayoutId id="2147486197" r:id="rId961"/>
    <p:sldLayoutId id="2147486195" r:id="rId962"/>
    <p:sldLayoutId id="2147486096" r:id="rId963"/>
    <p:sldLayoutId id="2147486098" r:id="rId964"/>
    <p:sldLayoutId id="2147486120" r:id="rId965"/>
    <p:sldLayoutId id="2147486124" r:id="rId966"/>
    <p:sldLayoutId id="2147486149" r:id="rId967"/>
    <p:sldLayoutId id="2147486134" r:id="rId968"/>
    <p:sldLayoutId id="2147486129" r:id="rId969"/>
    <p:sldLayoutId id="2147486152" r:id="rId970"/>
    <p:sldLayoutId id="2147486127" r:id="rId971"/>
    <p:sldLayoutId id="2147486154" r:id="rId972"/>
    <p:sldLayoutId id="2147486138" r:id="rId973"/>
    <p:sldLayoutId id="2147486210" r:id="rId974"/>
    <p:sldLayoutId id="2147486167" r:id="rId975"/>
    <p:sldLayoutId id="2147486213" r:id="rId976"/>
    <p:sldLayoutId id="2147486100" r:id="rId977"/>
    <p:sldLayoutId id="2147486103" r:id="rId978"/>
    <p:sldLayoutId id="2147486106" r:id="rId979"/>
    <p:sldLayoutId id="2147486113" r:id="rId980"/>
    <p:sldLayoutId id="2147486110" r:id="rId981"/>
    <p:sldLayoutId id="2147486155" r:id="rId982"/>
    <p:sldLayoutId id="2147486157" r:id="rId983"/>
    <p:sldLayoutId id="2147486239" r:id="rId984"/>
    <p:sldLayoutId id="2147486240" r:id="rId985"/>
    <p:sldLayoutId id="2147485970" r:id="rId986"/>
    <p:sldLayoutId id="2147485968" r:id="rId987"/>
    <p:sldLayoutId id="2147485967" r:id="rId988"/>
    <p:sldLayoutId id="2147485971" r:id="rId989"/>
    <p:sldLayoutId id="2147486242" r:id="rId990"/>
    <p:sldLayoutId id="2147486248" r:id="rId991"/>
    <p:sldLayoutId id="2147486244" r:id="rId992"/>
    <p:sldLayoutId id="2147486262" r:id="rId993"/>
    <p:sldLayoutId id="2147486256" r:id="rId994"/>
    <p:sldLayoutId id="2147486265" r:id="rId995"/>
    <p:sldLayoutId id="2147486268" r:id="rId996"/>
    <p:sldLayoutId id="2147486274" r:id="rId997"/>
    <p:sldLayoutId id="2147486280" r:id="rId998"/>
    <p:sldLayoutId id="2147485965" r:id="rId999"/>
    <p:sldLayoutId id="2147486286" r:id="rId1000"/>
    <p:sldLayoutId id="2147485972" r:id="rId1001"/>
    <p:sldLayoutId id="2147485973" r:id="rId1002"/>
    <p:sldLayoutId id="2147485985" r:id="rId1003"/>
    <p:sldLayoutId id="2147485986" r:id="rId1004"/>
    <p:sldLayoutId id="2147485995" r:id="rId1005"/>
    <p:sldLayoutId id="2147485990" r:id="rId1006"/>
    <p:sldLayoutId id="2147485989" r:id="rId1007"/>
    <p:sldLayoutId id="2147485996" r:id="rId1008"/>
    <p:sldLayoutId id="2147485988" r:id="rId1009"/>
    <p:sldLayoutId id="2147485997" r:id="rId1010"/>
    <p:sldLayoutId id="2147485992" r:id="rId1011"/>
    <p:sldLayoutId id="2147486002" r:id="rId1012"/>
    <p:sldLayoutId id="2147486000" r:id="rId1013"/>
    <p:sldLayoutId id="2147486003" r:id="rId1014"/>
    <p:sldLayoutId id="2147485974" r:id="rId1015"/>
    <p:sldLayoutId id="2147485976" r:id="rId1016"/>
    <p:sldLayoutId id="2147485978" r:id="rId1017"/>
    <p:sldLayoutId id="2147485982" r:id="rId1018"/>
    <p:sldLayoutId id="2147485980" r:id="rId1019"/>
    <p:sldLayoutId id="2147486102" r:id="rId1020"/>
    <p:sldLayoutId id="2147486457" r:id="rId1021"/>
    <p:sldLayoutId id="2147486465" r:id="rId1022"/>
    <p:sldLayoutId id="2147486144" r:id="rId1023"/>
    <p:sldLayoutId id="2147486142" r:id="rId1024"/>
    <p:sldLayoutId id="2147486324" r:id="rId1025"/>
    <p:sldLayoutId id="2147486458" r:id="rId1026"/>
    <p:sldLayoutId id="2147486460" r:id="rId1027"/>
    <p:sldLayoutId id="2147486459" r:id="rId1028"/>
    <p:sldLayoutId id="2147486121" r:id="rId1029"/>
    <p:sldLayoutId id="2147486118" r:id="rId1030"/>
    <p:sldLayoutId id="2147486123" r:id="rId1031"/>
    <p:sldLayoutId id="2147486125" r:id="rId1032"/>
    <p:sldLayoutId id="2147486128" r:id="rId1033"/>
    <p:sldLayoutId id="2147486132" r:id="rId1034"/>
    <p:sldLayoutId id="2147486139" r:id="rId1035"/>
    <p:sldLayoutId id="2147486135" r:id="rId1036"/>
    <p:sldLayoutId id="2147486325" r:id="rId1037"/>
    <p:sldLayoutId id="2147486326" r:id="rId1038"/>
    <p:sldLayoutId id="2147486338" r:id="rId1039"/>
    <p:sldLayoutId id="2147486339" r:id="rId1040"/>
    <p:sldLayoutId id="2147486037" r:id="rId1041"/>
    <p:sldLayoutId id="2147486343" r:id="rId1042"/>
    <p:sldLayoutId id="2147486342" r:id="rId1043"/>
    <p:sldLayoutId id="2147486039" r:id="rId1044"/>
    <p:sldLayoutId id="2147486341" r:id="rId1045"/>
    <p:sldLayoutId id="2147486041" r:id="rId1046"/>
    <p:sldLayoutId id="2147486345" r:id="rId1047"/>
    <p:sldLayoutId id="2147486351" r:id="rId1048"/>
    <p:sldLayoutId id="2147486349" r:id="rId1049"/>
    <p:sldLayoutId id="2147486352" r:id="rId1050"/>
    <p:sldLayoutId id="2147486327" r:id="rId1051"/>
    <p:sldLayoutId id="2147486329" r:id="rId1052"/>
    <p:sldLayoutId id="2147486331" r:id="rId1053"/>
    <p:sldLayoutId id="2147486335" r:id="rId1054"/>
    <p:sldLayoutId id="2147486333" r:id="rId1055"/>
    <p:sldLayoutId id="2147486396" r:id="rId1056"/>
    <p:sldLayoutId id="2147486404" r:id="rId1057"/>
    <p:sldLayoutId id="2147486358" r:id="rId1058"/>
    <p:sldLayoutId id="2147486354" r:id="rId1059"/>
    <p:sldLayoutId id="2147486353" r:id="rId1060"/>
    <p:sldLayoutId id="2147486361" r:id="rId1061"/>
    <p:sldLayoutId id="2147486417" r:id="rId1062"/>
    <p:sldLayoutId id="2147486074" r:id="rId1063"/>
    <p:sldLayoutId id="2147486072" r:id="rId1064"/>
    <p:sldLayoutId id="2147486082" r:id="rId1065"/>
    <p:sldLayoutId id="2147486080" r:id="rId1066"/>
    <p:sldLayoutId id="2147486083" r:id="rId1067"/>
    <p:sldLayoutId id="2147486453" r:id="rId1068"/>
    <p:sldLayoutId id="2147486085" r:id="rId1069"/>
    <p:sldLayoutId id="2147486454" r:id="rId1070"/>
    <p:sldLayoutId id="2147486455" r:id="rId1071"/>
    <p:sldLayoutId id="2147486090" r:id="rId1072"/>
    <p:sldLayoutId id="2147486363" r:id="rId1073"/>
    <p:sldLayoutId id="2147486366" r:id="rId1074"/>
    <p:sldLayoutId id="2147486402" r:id="rId1075"/>
    <p:sldLayoutId id="2147486406" r:id="rId1076"/>
    <p:sldLayoutId id="2147486432" r:id="rId1077"/>
    <p:sldLayoutId id="2147486420" r:id="rId1078"/>
    <p:sldLayoutId id="2147486412" r:id="rId1079"/>
    <p:sldLayoutId id="2147486434" r:id="rId1080"/>
    <p:sldLayoutId id="2147486410" r:id="rId1081"/>
    <p:sldLayoutId id="2147486075" r:id="rId1082"/>
    <p:sldLayoutId id="2147486427" r:id="rId1083"/>
    <p:sldLayoutId id="2147486097" r:id="rId1084"/>
    <p:sldLayoutId id="2147486445" r:id="rId1085"/>
    <p:sldLayoutId id="2147486099" r:id="rId1086"/>
    <p:sldLayoutId id="2147486369" r:id="rId1087"/>
    <p:sldLayoutId id="2147486374" r:id="rId1088"/>
    <p:sldLayoutId id="2147486379" r:id="rId1089"/>
    <p:sldLayoutId id="2147486390" r:id="rId1090"/>
    <p:sldLayoutId id="2147486386" r:id="rId1091"/>
    <p:sldLayoutId id="2147486436" r:id="rId1092"/>
    <p:sldLayoutId id="2147486076" r:id="rId1093"/>
    <p:sldLayoutId id="2147488612" r:id="rId1094"/>
    <p:sldLayoutId id="2147488615" r:id="rId1095"/>
    <p:sldLayoutId id="2147492210" r:id="rId1096"/>
    <p:sldLayoutId id="2147491725" r:id="rId1097"/>
    <p:sldLayoutId id="2147492213" r:id="rId1098"/>
    <p:sldLayoutId id="2147492244" r:id="rId1099"/>
    <p:sldLayoutId id="2147492242" r:id="rId1100"/>
    <p:sldLayoutId id="2147492241" r:id="rId1101"/>
    <p:sldLayoutId id="2147492245" r:id="rId1102"/>
    <p:sldLayoutId id="2147492220" r:id="rId1103"/>
    <p:sldLayoutId id="2147492224" r:id="rId1104"/>
    <p:sldLayoutId id="2147492222" r:id="rId1105"/>
    <p:sldLayoutId id="2147492229" r:id="rId1106"/>
    <p:sldLayoutId id="2147492227" r:id="rId1107"/>
    <p:sldLayoutId id="2147492230" r:id="rId1108"/>
    <p:sldLayoutId id="2147492231" r:id="rId1109"/>
    <p:sldLayoutId id="2147492233" r:id="rId1110"/>
    <p:sldLayoutId id="2147492235" r:id="rId1111"/>
    <p:sldLayoutId id="2147492239" r:id="rId1112"/>
    <p:sldLayoutId id="2147492237" r:id="rId1113"/>
    <p:sldLayoutId id="2147492246" r:id="rId1114"/>
    <p:sldLayoutId id="2147492247" r:id="rId1115"/>
    <p:sldLayoutId id="2147492259" r:id="rId1116"/>
    <p:sldLayoutId id="2147492260" r:id="rId1117"/>
    <p:sldLayoutId id="2147492269" r:id="rId1118"/>
    <p:sldLayoutId id="2147492264" r:id="rId1119"/>
    <p:sldLayoutId id="2147492263" r:id="rId1120"/>
    <p:sldLayoutId id="2147492270" r:id="rId1121"/>
    <p:sldLayoutId id="2147492262" r:id="rId1122"/>
    <p:sldLayoutId id="2147492271" r:id="rId1123"/>
    <p:sldLayoutId id="2147492266" r:id="rId1124"/>
    <p:sldLayoutId id="2147492276" r:id="rId1125"/>
    <p:sldLayoutId id="2147492274" r:id="rId1126"/>
    <p:sldLayoutId id="2147492277" r:id="rId1127"/>
    <p:sldLayoutId id="2147492248" r:id="rId1128"/>
    <p:sldLayoutId id="2147492250" r:id="rId1129"/>
    <p:sldLayoutId id="2147492252" r:id="rId1130"/>
    <p:sldLayoutId id="2147492256" r:id="rId1131"/>
    <p:sldLayoutId id="2147492254" r:id="rId1132"/>
    <p:sldLayoutId id="2147492296" r:id="rId1133"/>
    <p:sldLayoutId id="2147492299" r:id="rId1134"/>
    <p:sldLayoutId id="2147492281" r:id="rId1135"/>
    <p:sldLayoutId id="2147492279" r:id="rId1136"/>
    <p:sldLayoutId id="2147492278" r:id="rId1137"/>
    <p:sldLayoutId id="2147492282" r:id="rId1138"/>
    <p:sldLayoutId id="2147492305" r:id="rId1139"/>
    <p:sldLayoutId id="2147492315" r:id="rId1140"/>
    <p:sldLayoutId id="2147492311" r:id="rId1141"/>
    <p:sldLayoutId id="2147490472" r:id="rId1142"/>
    <p:sldLayoutId id="2147490469" r:id="rId1143"/>
    <p:sldLayoutId id="2147490473" r:id="rId1144"/>
    <p:sldLayoutId id="2147490474" r:id="rId1145"/>
    <p:sldLayoutId id="2147490476" r:id="rId1146"/>
    <p:sldLayoutId id="2147490478" r:id="rId1147"/>
    <p:sldLayoutId id="2147490482" r:id="rId1148"/>
    <p:sldLayoutId id="2147490480" r:id="rId1149"/>
    <p:sldLayoutId id="2147492283" r:id="rId1150"/>
    <p:sldLayoutId id="2147492284" r:id="rId1151"/>
    <p:sldLayoutId id="2147492298" r:id="rId1152"/>
    <p:sldLayoutId id="2147492300" r:id="rId1153"/>
    <p:sldLayoutId id="2147492314" r:id="rId1154"/>
    <p:sldLayoutId id="2147492306" r:id="rId1155"/>
    <p:sldLayoutId id="2147492303" r:id="rId1156"/>
    <p:sldLayoutId id="2147492316" r:id="rId1157"/>
    <p:sldLayoutId id="2147492302" r:id="rId1158"/>
    <p:sldLayoutId id="2147492317" r:id="rId1159"/>
    <p:sldLayoutId id="2147492308" r:id="rId1160"/>
    <p:sldLayoutId id="2147490484" r:id="rId1161"/>
    <p:sldLayoutId id="2147492324" r:id="rId1162"/>
    <p:sldLayoutId id="2147490485" r:id="rId1163"/>
    <p:sldLayoutId id="2147492285" r:id="rId1164"/>
    <p:sldLayoutId id="2147492287" r:id="rId1165"/>
    <p:sldLayoutId id="2147492289" r:id="rId1166"/>
    <p:sldLayoutId id="2147492294" r:id="rId1167"/>
    <p:sldLayoutId id="2147492292" r:id="rId1168"/>
    <p:sldLayoutId id="2147492318" r:id="rId1169"/>
    <p:sldLayoutId id="2147492319" r:id="rId1170"/>
    <p:sldLayoutId id="2147490487" r:id="rId1171"/>
    <p:sldLayoutId id="2147490488" r:id="rId1172"/>
    <p:sldLayoutId id="2147490514" r:id="rId1173"/>
    <p:sldLayoutId id="2147490512" r:id="rId1174"/>
    <p:sldLayoutId id="2147490511" r:id="rId1175"/>
    <p:sldLayoutId id="2147490515" r:id="rId1176"/>
    <p:sldLayoutId id="2147490490" r:id="rId1177"/>
    <p:sldLayoutId id="2147490494" r:id="rId1178"/>
    <p:sldLayoutId id="2147490492" r:id="rId1179"/>
    <p:sldLayoutId id="2147490499" r:id="rId1180"/>
    <p:sldLayoutId id="2147490497" r:id="rId1181"/>
    <p:sldLayoutId id="2147490500" r:id="rId1182"/>
    <p:sldLayoutId id="2147490501" r:id="rId1183"/>
    <p:sldLayoutId id="2147490503" r:id="rId1184"/>
    <p:sldLayoutId id="2147490505" r:id="rId1185"/>
    <p:sldLayoutId id="2147490509" r:id="rId1186"/>
    <p:sldLayoutId id="2147490507" r:id="rId1187"/>
    <p:sldLayoutId id="2147490516" r:id="rId1188"/>
    <p:sldLayoutId id="2147490517" r:id="rId1189"/>
    <p:sldLayoutId id="2147490529" r:id="rId1190"/>
    <p:sldLayoutId id="2147490530" r:id="rId1191"/>
    <p:sldLayoutId id="2147490539" r:id="rId1192"/>
    <p:sldLayoutId id="2147490534" r:id="rId1193"/>
    <p:sldLayoutId id="2147490533" r:id="rId1194"/>
    <p:sldLayoutId id="2147490540" r:id="rId1195"/>
    <p:sldLayoutId id="2147490532" r:id="rId1196"/>
    <p:sldLayoutId id="2147490541" r:id="rId1197"/>
    <p:sldLayoutId id="2147490536" r:id="rId1198"/>
    <p:sldLayoutId id="2147490546" r:id="rId1199"/>
    <p:sldLayoutId id="2147490544" r:id="rId1200"/>
    <p:sldLayoutId id="2147490547" r:id="rId1201"/>
    <p:sldLayoutId id="2147490518" r:id="rId1202"/>
    <p:sldLayoutId id="2147490520" r:id="rId1203"/>
    <p:sldLayoutId id="2147490522" r:id="rId1204"/>
    <p:sldLayoutId id="2147490526" r:id="rId1205"/>
    <p:sldLayoutId id="2147490524" r:id="rId1206"/>
    <p:sldLayoutId id="2147490818" r:id="rId1207"/>
    <p:sldLayoutId id="2147490820" r:id="rId1208"/>
    <p:sldLayoutId id="2147490930" r:id="rId1209"/>
    <p:sldLayoutId id="2147490920" r:id="rId1210"/>
    <p:sldLayoutId id="2147490914" r:id="rId1211"/>
    <p:sldLayoutId id="2147490578" r:id="rId1212"/>
    <p:sldLayoutId id="2147490824" r:id="rId1213"/>
    <p:sldLayoutId id="2147490832" r:id="rId1214"/>
    <p:sldLayoutId id="2147490828" r:id="rId1215"/>
    <p:sldLayoutId id="2147490842" r:id="rId1216"/>
    <p:sldLayoutId id="2147490838" r:id="rId1217"/>
    <p:sldLayoutId id="2147490844" r:id="rId1218"/>
    <p:sldLayoutId id="2147490854" r:id="rId1219"/>
    <p:sldLayoutId id="2147490862" r:id="rId1220"/>
    <p:sldLayoutId id="2147490868" r:id="rId1221"/>
    <p:sldLayoutId id="2147490886" r:id="rId1222"/>
    <p:sldLayoutId id="2147490876" r:id="rId1223"/>
    <p:sldLayoutId id="2147490583" r:id="rId1224"/>
    <p:sldLayoutId id="2147490586" r:id="rId1225"/>
    <p:sldLayoutId id="2147490630" r:id="rId1226"/>
    <p:sldLayoutId id="2147490633" r:id="rId1227"/>
    <p:sldLayoutId id="2147490663" r:id="rId1228"/>
    <p:sldLayoutId id="2147490645" r:id="rId1229"/>
    <p:sldLayoutId id="2147490642" r:id="rId1230"/>
    <p:sldLayoutId id="2147490666" r:id="rId1231"/>
    <p:sldLayoutId id="2147490639" r:id="rId1232"/>
    <p:sldLayoutId id="2147490670" r:id="rId1233"/>
    <p:sldLayoutId id="2147490652" r:id="rId1234"/>
    <p:sldLayoutId id="2147490684" r:id="rId1235"/>
    <p:sldLayoutId id="2147490680" r:id="rId1236"/>
    <p:sldLayoutId id="2147490686" r:id="rId1237"/>
    <p:sldLayoutId id="2147490592" r:id="rId1238"/>
    <p:sldLayoutId id="2147490599" r:id="rId1239"/>
    <p:sldLayoutId id="2147490605" r:id="rId1240"/>
    <p:sldLayoutId id="2147490619" r:id="rId1241"/>
    <p:sldLayoutId id="2147490612" r:id="rId1242"/>
    <p:sldLayoutId id="2147490724" r:id="rId1243"/>
    <p:sldLayoutId id="2147490730" r:id="rId1244"/>
    <p:sldLayoutId id="2147490694" r:id="rId1245"/>
    <p:sldLayoutId id="2147490690" r:id="rId1246"/>
    <p:sldLayoutId id="2147490688" r:id="rId1247"/>
    <p:sldLayoutId id="2147490696" r:id="rId1248"/>
    <p:sldLayoutId id="2147490742" r:id="rId1249"/>
    <p:sldLayoutId id="2147490762" r:id="rId1250"/>
    <p:sldLayoutId id="2147490754" r:id="rId1251"/>
    <p:sldLayoutId id="2147490788" r:id="rId1252"/>
    <p:sldLayoutId id="2147490782" r:id="rId1253"/>
    <p:sldLayoutId id="2147490790" r:id="rId1254"/>
    <p:sldLayoutId id="2147490792" r:id="rId1255"/>
    <p:sldLayoutId id="2147490796" r:id="rId1256"/>
    <p:sldLayoutId id="2147490800" r:id="rId1257"/>
    <p:sldLayoutId id="2147490808" r:id="rId1258"/>
    <p:sldLayoutId id="2147490804" r:id="rId1259"/>
    <p:sldLayoutId id="2147490698" r:id="rId1260"/>
    <p:sldLayoutId id="2147490700" r:id="rId1261"/>
    <p:sldLayoutId id="2147490728" r:id="rId1262"/>
    <p:sldLayoutId id="2147490732" r:id="rId1263"/>
    <p:sldLayoutId id="2147490760" r:id="rId1264"/>
    <p:sldLayoutId id="2147490744" r:id="rId1265"/>
    <p:sldLayoutId id="2147490738" r:id="rId1266"/>
    <p:sldLayoutId id="2147490764" r:id="rId1267"/>
    <p:sldLayoutId id="2147490736" r:id="rId1268"/>
    <p:sldLayoutId id="2147490766" r:id="rId1269"/>
    <p:sldLayoutId id="2147490748" r:id="rId1270"/>
    <p:sldLayoutId id="2147490812" r:id="rId1271"/>
    <p:sldLayoutId id="2147490780" r:id="rId1272"/>
    <p:sldLayoutId id="2147490814" r:id="rId1273"/>
    <p:sldLayoutId id="2147490702" r:id="rId1274"/>
    <p:sldLayoutId id="2147490706" r:id="rId1275"/>
    <p:sldLayoutId id="2147490710" r:id="rId1276"/>
    <p:sldLayoutId id="2147490720" r:id="rId1277"/>
    <p:sldLayoutId id="2147490716" r:id="rId1278"/>
    <p:sldLayoutId id="2147490768" r:id="rId1279"/>
    <p:sldLayoutId id="2147490770" r:id="rId1280"/>
    <p:sldLayoutId id="2147490922" r:id="rId1281"/>
    <p:sldLayoutId id="2147490576" r:id="rId1282"/>
    <p:sldLayoutId id="2147490999" r:id="rId1283"/>
    <p:sldLayoutId id="2147490993" r:id="rId1284"/>
    <p:sldLayoutId id="2147490990" r:id="rId1285"/>
    <p:sldLayoutId id="2147491002" r:id="rId1286"/>
    <p:sldLayoutId id="2147490594" r:id="rId1287"/>
    <p:sldLayoutId id="2147490628" r:id="rId1288"/>
    <p:sldLayoutId id="2147490614" r:id="rId1289"/>
    <p:sldLayoutId id="2147490675" r:id="rId1290"/>
    <p:sldLayoutId id="2147490661" r:id="rId1291"/>
    <p:sldLayoutId id="2147490935" r:id="rId1292"/>
    <p:sldLayoutId id="2147490950" r:id="rId1293"/>
    <p:sldLayoutId id="2147490960" r:id="rId1294"/>
    <p:sldLayoutId id="2147490970" r:id="rId1295"/>
    <p:sldLayoutId id="2147490984" r:id="rId1296"/>
    <p:sldLayoutId id="2147490978" r:id="rId1297"/>
    <p:sldLayoutId id="2147491005" r:id="rId1298"/>
    <p:sldLayoutId id="2147491008" r:id="rId1299"/>
    <p:sldLayoutId id="2147491039" r:id="rId1300"/>
    <p:sldLayoutId id="2147491041" r:id="rId1301"/>
    <p:sldLayoutId id="2147491059" r:id="rId1302"/>
    <p:sldLayoutId id="2147491049" r:id="rId1303"/>
    <p:sldLayoutId id="2147491047" r:id="rId1304"/>
    <p:sldLayoutId id="2147491061" r:id="rId1305"/>
    <p:sldLayoutId id="2147491045" r:id="rId1306"/>
    <p:sldLayoutId id="2147491063" r:id="rId1307"/>
    <p:sldLayoutId id="2147491053" r:id="rId1308"/>
    <p:sldLayoutId id="2147491073" r:id="rId1309"/>
    <p:sldLayoutId id="2147491069" r:id="rId1310"/>
    <p:sldLayoutId id="2147491075" r:id="rId1311"/>
    <p:sldLayoutId id="2147491011" r:id="rId1312"/>
    <p:sldLayoutId id="2147491017" r:id="rId1313"/>
    <p:sldLayoutId id="2147491023" r:id="rId1314"/>
    <p:sldLayoutId id="2147491033" r:id="rId1315"/>
    <p:sldLayoutId id="2147491029" r:id="rId1316"/>
    <p:sldLayoutId id="2147490856" r:id="rId1317"/>
    <p:sldLayoutId id="2147490860" r:id="rId1318"/>
    <p:sldLayoutId id="2147490551" r:id="rId1319"/>
    <p:sldLayoutId id="2147490549" r:id="rId1320"/>
    <p:sldLayoutId id="2147490548" r:id="rId1321"/>
    <p:sldLayoutId id="2147490846" r:id="rId1322"/>
    <p:sldLayoutId id="2147490870" r:id="rId1323"/>
    <p:sldLayoutId id="2147490884" r:id="rId1324"/>
    <p:sldLayoutId id="2147490878" r:id="rId1325"/>
    <p:sldLayoutId id="2147490898" r:id="rId1326"/>
    <p:sldLayoutId id="2147490894" r:id="rId1327"/>
    <p:sldLayoutId id="2147490900" r:id="rId1328"/>
    <p:sldLayoutId id="2147490902" r:id="rId1329"/>
    <p:sldLayoutId id="2147490906" r:id="rId1330"/>
    <p:sldLayoutId id="2147490912" r:id="rId1331"/>
    <p:sldLayoutId id="2147490928" r:id="rId1332"/>
    <p:sldLayoutId id="2147490918" r:id="rId1333"/>
    <p:sldLayoutId id="2147490848" r:id="rId1334"/>
    <p:sldLayoutId id="2147490850" r:id="rId1335"/>
    <p:sldLayoutId id="2147491266" r:id="rId1336"/>
    <p:sldLayoutId id="2147491268" r:id="rId1337"/>
    <p:sldLayoutId id="2147491320" r:id="rId1338"/>
    <p:sldLayoutId id="2147491316" r:id="rId1339"/>
    <p:sldLayoutId id="2147491314" r:id="rId1340"/>
    <p:sldLayoutId id="2147491322" r:id="rId1341"/>
    <p:sldLayoutId id="2147491272" r:id="rId1342"/>
    <p:sldLayoutId id="2147491280" r:id="rId1343"/>
    <p:sldLayoutId id="2147491276" r:id="rId1344"/>
    <p:sldLayoutId id="2147491290" r:id="rId1345"/>
    <p:sldLayoutId id="2147491286" r:id="rId1346"/>
    <p:sldLayoutId id="2147491292" r:id="rId1347"/>
    <p:sldLayoutId id="2147491294" r:id="rId1348"/>
    <p:sldLayoutId id="2147491298" r:id="rId1349"/>
    <p:sldLayoutId id="2147491302" r:id="rId1350"/>
    <p:sldLayoutId id="2147491310" r:id="rId1351"/>
    <p:sldLayoutId id="2147491306" r:id="rId1352"/>
    <p:sldLayoutId id="2147491324" r:id="rId1353"/>
    <p:sldLayoutId id="2147491326" r:id="rId1354"/>
    <p:sldLayoutId id="2147491358" r:id="rId1355"/>
    <p:sldLayoutId id="2147491360" r:id="rId1356"/>
    <p:sldLayoutId id="2147491378" r:id="rId1357"/>
    <p:sldLayoutId id="2147491368" r:id="rId1358"/>
    <p:sldLayoutId id="2147491366" r:id="rId1359"/>
    <p:sldLayoutId id="2147491380" r:id="rId1360"/>
    <p:sldLayoutId id="2147491364" r:id="rId1361"/>
    <p:sldLayoutId id="2147491382" r:id="rId1362"/>
    <p:sldLayoutId id="2147491372" r:id="rId1363"/>
    <p:sldLayoutId id="2147491392" r:id="rId1364"/>
    <p:sldLayoutId id="2147491388" r:id="rId1365"/>
    <p:sldLayoutId id="2147491394" r:id="rId1366"/>
    <p:sldLayoutId id="2147491332" r:id="rId1367"/>
    <p:sldLayoutId id="2147491340" r:id="rId1368"/>
    <p:sldLayoutId id="2147491344" r:id="rId1369"/>
    <p:sldLayoutId id="2147491352" r:id="rId1370"/>
    <p:sldLayoutId id="2147491348" r:id="rId1371"/>
    <p:sldLayoutId id="2147491490" r:id="rId1372"/>
    <p:sldLayoutId id="2147491500" r:id="rId1373"/>
    <p:sldLayoutId id="2147491442" r:id="rId1374"/>
    <p:sldLayoutId id="2147491434" r:id="rId1375"/>
    <p:sldLayoutId id="2147491430" r:id="rId1376"/>
    <p:sldLayoutId id="2147491444" r:id="rId1377"/>
    <p:sldLayoutId id="2147491522" r:id="rId1378"/>
    <p:sldLayoutId id="2147491555" r:id="rId1379"/>
    <p:sldLayoutId id="2147491542" r:id="rId1380"/>
    <p:sldLayoutId id="2147491594" r:id="rId1381"/>
    <p:sldLayoutId id="2147491585" r:id="rId1382"/>
    <p:sldLayoutId id="2147491597" r:id="rId1383"/>
    <p:sldLayoutId id="2147491600" r:id="rId1384"/>
    <p:sldLayoutId id="2147491606" r:id="rId1385"/>
    <p:sldLayoutId id="2147491612" r:id="rId1386"/>
    <p:sldLayoutId id="2147491624" r:id="rId1387"/>
    <p:sldLayoutId id="2147491618" r:id="rId1388"/>
    <p:sldLayoutId id="2147491448" r:id="rId1389"/>
    <p:sldLayoutId id="2147491452" r:id="rId1390"/>
    <p:sldLayoutId id="2147491496" r:id="rId1391"/>
    <p:sldLayoutId id="2147491504" r:id="rId1392"/>
    <p:sldLayoutId id="2147491552" r:id="rId1393"/>
    <p:sldLayoutId id="2147491524" r:id="rId1394"/>
    <p:sldLayoutId id="2147491514" r:id="rId1395"/>
    <p:sldLayoutId id="2147491558" r:id="rId1396"/>
    <p:sldLayoutId id="2147491510" r:id="rId1397"/>
    <p:sldLayoutId id="2147491561" r:id="rId1398"/>
    <p:sldLayoutId id="2147491532" r:id="rId1399"/>
    <p:sldLayoutId id="2147491647" r:id="rId1400"/>
    <p:sldLayoutId id="2147491582" r:id="rId1401"/>
    <p:sldLayoutId id="2147491650" r:id="rId1402"/>
    <p:sldLayoutId id="2147491456" r:id="rId1403"/>
    <p:sldLayoutId id="2147491462" r:id="rId1404"/>
    <p:sldLayoutId id="2147491468" r:id="rId1405"/>
    <p:sldLayoutId id="2147491482" r:id="rId1406"/>
    <p:sldLayoutId id="2147491476" r:id="rId1407"/>
    <p:sldLayoutId id="2147491564" r:id="rId1408"/>
    <p:sldLayoutId id="2147491567" r:id="rId1409"/>
    <p:sldLayoutId id="2147491698" r:id="rId1410"/>
    <p:sldLayoutId id="2147491701" r:id="rId1411"/>
    <p:sldLayoutId id="2147491186" r:id="rId1412"/>
    <p:sldLayoutId id="2147491180" r:id="rId1413"/>
    <p:sldLayoutId id="2147491177" r:id="rId1414"/>
    <p:sldLayoutId id="2147491189" r:id="rId1415"/>
    <p:sldLayoutId id="2147491706" r:id="rId1416"/>
    <p:sldLayoutId id="2147491710" r:id="rId1417"/>
    <p:sldLayoutId id="2147491708" r:id="rId1418"/>
    <p:sldLayoutId id="2147491715" r:id="rId1419"/>
    <p:sldLayoutId id="2147491713" r:id="rId1420"/>
    <p:sldLayoutId id="2147491716" r:id="rId1421"/>
    <p:sldLayoutId id="2147491717" r:id="rId1422"/>
    <p:sldLayoutId id="2147491719" r:id="rId1423"/>
    <p:sldLayoutId id="2147491721" r:id="rId1424"/>
    <p:sldLayoutId id="2147491171" r:id="rId1425"/>
    <p:sldLayoutId id="2147491723" r:id="rId1426"/>
    <p:sldLayoutId id="2147491192" r:id="rId1427"/>
    <p:sldLayoutId id="2147491195" r:id="rId1428"/>
    <p:sldLayoutId id="2147491226" r:id="rId1429"/>
    <p:sldLayoutId id="2147491228" r:id="rId1430"/>
    <p:sldLayoutId id="2147491246" r:id="rId1431"/>
    <p:sldLayoutId id="2147491236" r:id="rId1432"/>
    <p:sldLayoutId id="2147491234" r:id="rId1433"/>
    <p:sldLayoutId id="2147491248" r:id="rId1434"/>
    <p:sldLayoutId id="2147491232" r:id="rId1435"/>
    <p:sldLayoutId id="2147491250" r:id="rId1436"/>
    <p:sldLayoutId id="2147491240" r:id="rId1437"/>
    <p:sldLayoutId id="2147491260" r:id="rId1438"/>
    <p:sldLayoutId id="2147491256" r:id="rId1439"/>
    <p:sldLayoutId id="2147491262" r:id="rId1440"/>
    <p:sldLayoutId id="2147491198" r:id="rId1441"/>
    <p:sldLayoutId id="2147491204" r:id="rId1442"/>
    <p:sldLayoutId id="2147491210" r:id="rId1443"/>
    <p:sldLayoutId id="2147491220" r:id="rId1444"/>
    <p:sldLayoutId id="2147491216" r:id="rId1445"/>
    <p:sldLayoutId id="2147491460" r:id="rId1446"/>
    <p:sldLayoutId id="2147491799" r:id="rId1447"/>
    <p:sldLayoutId id="2147491807" r:id="rId1448"/>
    <p:sldLayoutId id="2147491544" r:id="rId1449"/>
    <p:sldLayoutId id="2147491540" r:id="rId1450"/>
    <p:sldLayoutId id="2147491728" r:id="rId1451"/>
    <p:sldLayoutId id="2147491800" r:id="rId1452"/>
    <p:sldLayoutId id="2147491802" r:id="rId1453"/>
    <p:sldLayoutId id="2147491801" r:id="rId1454"/>
    <p:sldLayoutId id="2147491498" r:id="rId1455"/>
    <p:sldLayoutId id="2147491492" r:id="rId1456"/>
    <p:sldLayoutId id="2147491502" r:id="rId1457"/>
    <p:sldLayoutId id="2147491506" r:id="rId1458"/>
    <p:sldLayoutId id="2147491512" r:id="rId1459"/>
    <p:sldLayoutId id="2147491520" r:id="rId1460"/>
    <p:sldLayoutId id="2147491534" r:id="rId1461"/>
    <p:sldLayoutId id="2147491526" r:id="rId1462"/>
    <p:sldLayoutId id="2147491729" r:id="rId1463"/>
    <p:sldLayoutId id="2147491730" r:id="rId1464"/>
    <p:sldLayoutId id="2147491742" r:id="rId1465"/>
    <p:sldLayoutId id="2147491743" r:id="rId1466"/>
    <p:sldLayoutId id="2147491330" r:id="rId1467"/>
    <p:sldLayoutId id="2147491747" r:id="rId1468"/>
    <p:sldLayoutId id="2147491746" r:id="rId1469"/>
    <p:sldLayoutId id="2147491334" r:id="rId1470"/>
    <p:sldLayoutId id="2147491745" r:id="rId1471"/>
    <p:sldLayoutId id="2147491338" r:id="rId1472"/>
    <p:sldLayoutId id="2147491749" r:id="rId1473"/>
    <p:sldLayoutId id="2147491755" r:id="rId1474"/>
    <p:sldLayoutId id="2147491753" r:id="rId1475"/>
    <p:sldLayoutId id="2147491756" r:id="rId1476"/>
    <p:sldLayoutId id="2147491731" r:id="rId1477"/>
    <p:sldLayoutId id="2147491733" r:id="rId1478"/>
    <p:sldLayoutId id="2147491735" r:id="rId1479"/>
    <p:sldLayoutId id="2147491739" r:id="rId1480"/>
    <p:sldLayoutId id="2147491737" r:id="rId1481"/>
    <p:sldLayoutId id="2147491775" r:id="rId1482"/>
    <p:sldLayoutId id="2147491778" r:id="rId1483"/>
    <p:sldLayoutId id="2147491760" r:id="rId1484"/>
    <p:sldLayoutId id="2147491758" r:id="rId1485"/>
    <p:sldLayoutId id="2147491757" r:id="rId1486"/>
    <p:sldLayoutId id="2147491761" r:id="rId1487"/>
    <p:sldLayoutId id="2147491784" r:id="rId1488"/>
    <p:sldLayoutId id="2147491404" r:id="rId1489"/>
    <p:sldLayoutId id="2147491400" r:id="rId1490"/>
    <p:sldLayoutId id="2147491420" r:id="rId1491"/>
    <p:sldLayoutId id="2147491416" r:id="rId1492"/>
    <p:sldLayoutId id="2147491422" r:id="rId1493"/>
    <p:sldLayoutId id="2147491795" r:id="rId1494"/>
    <p:sldLayoutId id="2147491426" r:id="rId1495"/>
    <p:sldLayoutId id="2147491796" r:id="rId1496"/>
    <p:sldLayoutId id="2147491797" r:id="rId1497"/>
    <p:sldLayoutId id="2147491436" r:id="rId1498"/>
    <p:sldLayoutId id="2147491762" r:id="rId1499"/>
    <p:sldLayoutId id="2147491763" r:id="rId1500"/>
    <p:sldLayoutId id="2147491777" r:id="rId1501"/>
    <p:sldLayoutId id="2147491779" r:id="rId1502"/>
    <p:sldLayoutId id="2147491789" r:id="rId1503"/>
    <p:sldLayoutId id="2147491785" r:id="rId1504"/>
    <p:sldLayoutId id="2147491782" r:id="rId1505"/>
    <p:sldLayoutId id="2147491790" r:id="rId1506"/>
    <p:sldLayoutId id="2147491781" r:id="rId1507"/>
    <p:sldLayoutId id="2147491406" r:id="rId1508"/>
    <p:sldLayoutId id="2147491787" r:id="rId1509"/>
    <p:sldLayoutId id="2147491450" r:id="rId1510"/>
    <p:sldLayoutId id="2147491793" r:id="rId1511"/>
    <p:sldLayoutId id="2147491454" r:id="rId1512"/>
    <p:sldLayoutId id="2147491764" r:id="rId1513"/>
    <p:sldLayoutId id="2147491766" r:id="rId1514"/>
    <p:sldLayoutId id="2147491768" r:id="rId1515"/>
    <p:sldLayoutId id="2147491773" r:id="rId1516"/>
    <p:sldLayoutId id="2147491771" r:id="rId1517"/>
    <p:sldLayoutId id="2147491791" r:id="rId1518"/>
    <p:sldLayoutId id="2147491408" r:id="rId1519"/>
    <p:sldLayoutId id="2147492029" r:id="rId1520"/>
    <p:sldLayoutId id="2147492030" r:id="rId1521"/>
    <p:sldLayoutId id="2147492056" r:id="rId1522"/>
    <p:sldLayoutId id="2147492054" r:id="rId1523"/>
    <p:sldLayoutId id="2147492053" r:id="rId1524"/>
    <p:sldLayoutId id="2147492057" r:id="rId1525"/>
    <p:sldLayoutId id="2147492032" r:id="rId1526"/>
    <p:sldLayoutId id="2147492036" r:id="rId1527"/>
    <p:sldLayoutId id="2147492034" r:id="rId1528"/>
    <p:sldLayoutId id="2147492041" r:id="rId1529"/>
    <p:sldLayoutId id="2147492039" r:id="rId1530"/>
    <p:sldLayoutId id="2147492042" r:id="rId1531"/>
    <p:sldLayoutId id="2147492043" r:id="rId1532"/>
    <p:sldLayoutId id="2147492045" r:id="rId1533"/>
    <p:sldLayoutId id="2147492047" r:id="rId1534"/>
    <p:sldLayoutId id="2147492051" r:id="rId1535"/>
    <p:sldLayoutId id="2147492049" r:id="rId1536"/>
    <p:sldLayoutId id="2147492058" r:id="rId1537"/>
    <p:sldLayoutId id="2147492059" r:id="rId1538"/>
    <p:sldLayoutId id="2147492071" r:id="rId1539"/>
    <p:sldLayoutId id="2147492072" r:id="rId1540"/>
    <p:sldLayoutId id="2147492081" r:id="rId1541"/>
    <p:sldLayoutId id="2147492076" r:id="rId1542"/>
    <p:sldLayoutId id="2147492075" r:id="rId1543"/>
    <p:sldLayoutId id="2147492082" r:id="rId1544"/>
    <p:sldLayoutId id="2147492074" r:id="rId1545"/>
    <p:sldLayoutId id="2147492083" r:id="rId1546"/>
    <p:sldLayoutId id="2147492078" r:id="rId1547"/>
    <p:sldLayoutId id="2147492088" r:id="rId1548"/>
    <p:sldLayoutId id="2147492086" r:id="rId1549"/>
    <p:sldLayoutId id="2147492089" r:id="rId1550"/>
    <p:sldLayoutId id="2147492060" r:id="rId1551"/>
    <p:sldLayoutId id="2147492062" r:id="rId1552"/>
    <p:sldLayoutId id="2147492064" r:id="rId1553"/>
    <p:sldLayoutId id="2147492068" r:id="rId1554"/>
    <p:sldLayoutId id="2147492066" r:id="rId1555"/>
    <p:sldLayoutId id="2147492108" r:id="rId1556"/>
    <p:sldLayoutId id="2147492111" r:id="rId1557"/>
    <p:sldLayoutId id="2147492093" r:id="rId1558"/>
    <p:sldLayoutId id="2147492091" r:id="rId1559"/>
    <p:sldLayoutId id="2147492090" r:id="rId1560"/>
    <p:sldLayoutId id="2147492094" r:id="rId1561"/>
    <p:sldLayoutId id="2147492117" r:id="rId1562"/>
    <p:sldLayoutId id="2147492127" r:id="rId1563"/>
    <p:sldLayoutId id="2147492123" r:id="rId1564"/>
    <p:sldLayoutId id="2147492140" r:id="rId1565"/>
    <p:sldLayoutId id="2147492137" r:id="rId1566"/>
    <p:sldLayoutId id="2147492141" r:id="rId1567"/>
    <p:sldLayoutId id="2147492142" r:id="rId1568"/>
    <p:sldLayoutId id="2147492144" r:id="rId1569"/>
    <p:sldLayoutId id="2147492146" r:id="rId1570"/>
    <p:sldLayoutId id="2147492150" r:id="rId1571"/>
    <p:sldLayoutId id="2147492148" r:id="rId1572"/>
    <p:sldLayoutId id="2147492095" r:id="rId1573"/>
    <p:sldLayoutId id="2147492096" r:id="rId1574"/>
    <p:sldLayoutId id="2147492110" r:id="rId1575"/>
    <p:sldLayoutId id="2147492112" r:id="rId1576"/>
    <p:sldLayoutId id="2147492126" r:id="rId1577"/>
    <p:sldLayoutId id="2147492118" r:id="rId1578"/>
    <p:sldLayoutId id="2147492115" r:id="rId1579"/>
    <p:sldLayoutId id="2147492128" r:id="rId1580"/>
    <p:sldLayoutId id="2147492114" r:id="rId1581"/>
    <p:sldLayoutId id="2147492129" r:id="rId1582"/>
    <p:sldLayoutId id="2147492120" r:id="rId1583"/>
    <p:sldLayoutId id="2147492152" r:id="rId1584"/>
    <p:sldLayoutId id="2147492136" r:id="rId1585"/>
    <p:sldLayoutId id="2147492153" r:id="rId1586"/>
    <p:sldLayoutId id="2147492097" r:id="rId1587"/>
    <p:sldLayoutId id="2147492099" r:id="rId1588"/>
    <p:sldLayoutId id="2147492101" r:id="rId1589"/>
    <p:sldLayoutId id="2147492106" r:id="rId1590"/>
    <p:sldLayoutId id="2147492104" r:id="rId1591"/>
    <p:sldLayoutId id="2147492130" r:id="rId1592"/>
    <p:sldLayoutId id="2147492131" r:id="rId1593"/>
    <p:sldLayoutId id="2147492155" r:id="rId1594"/>
    <p:sldLayoutId id="2147492156" r:id="rId1595"/>
    <p:sldLayoutId id="2147492182" r:id="rId1596"/>
    <p:sldLayoutId id="2147492180" r:id="rId1597"/>
    <p:sldLayoutId id="2147492179" r:id="rId1598"/>
    <p:sldLayoutId id="2147492183" r:id="rId1599"/>
    <p:sldLayoutId id="2147492158" r:id="rId1600"/>
    <p:sldLayoutId id="2147492162" r:id="rId1601"/>
    <p:sldLayoutId id="2147492160" r:id="rId1602"/>
    <p:sldLayoutId id="2147492167" r:id="rId1603"/>
    <p:sldLayoutId id="2147492165" r:id="rId1604"/>
    <p:sldLayoutId id="2147492168" r:id="rId1605"/>
    <p:sldLayoutId id="2147492169" r:id="rId1606"/>
    <p:sldLayoutId id="2147492171" r:id="rId1607"/>
    <p:sldLayoutId id="2147492173" r:id="rId1608"/>
    <p:sldLayoutId id="2147492177" r:id="rId1609"/>
    <p:sldLayoutId id="2147492175" r:id="rId1610"/>
    <p:sldLayoutId id="2147492184" r:id="rId1611"/>
    <p:sldLayoutId id="2147492185" r:id="rId1612"/>
    <p:sldLayoutId id="2147492197" r:id="rId1613"/>
    <p:sldLayoutId id="2147492198" r:id="rId1614"/>
    <p:sldLayoutId id="2147492208" r:id="rId1615"/>
    <p:sldLayoutId id="2147492202" r:id="rId1616"/>
    <p:sldLayoutId id="2147492201" r:id="rId1617"/>
    <p:sldLayoutId id="2147492209" r:id="rId1618"/>
    <p:sldLayoutId id="2147492200" r:id="rId1619"/>
    <p:sldLayoutId id="2147492211" r:id="rId1620"/>
    <p:sldLayoutId id="2147492204" r:id="rId1621"/>
    <p:sldLayoutId id="2147492217" r:id="rId1622"/>
    <p:sldLayoutId id="2147492215" r:id="rId1623"/>
    <p:sldLayoutId id="2147492219" r:id="rId1624"/>
    <p:sldLayoutId id="2147492186" r:id="rId1625"/>
    <p:sldLayoutId id="2147492188" r:id="rId1626"/>
    <p:sldLayoutId id="2147492190" r:id="rId1627"/>
    <p:sldLayoutId id="2147492194" r:id="rId1628"/>
    <p:sldLayoutId id="2147492192" r:id="rId1629"/>
    <p:sldLayoutId id="2147491923" r:id="rId1630"/>
    <p:sldLayoutId id="2147491924" r:id="rId1631"/>
    <p:sldLayoutId id="2147491979" r:id="rId1632"/>
    <p:sldLayoutId id="2147491974" r:id="rId1633"/>
    <p:sldLayoutId id="2147491971" r:id="rId1634"/>
    <p:sldLayoutId id="2147491813" r:id="rId1635"/>
    <p:sldLayoutId id="2147491926" r:id="rId1636"/>
    <p:sldLayoutId id="2147491930" r:id="rId1637"/>
    <p:sldLayoutId id="2147491928" r:id="rId1638"/>
    <p:sldLayoutId id="2147491935" r:id="rId1639"/>
    <p:sldLayoutId id="2147491933" r:id="rId1640"/>
    <p:sldLayoutId id="2147491936" r:id="rId1641"/>
    <p:sldLayoutId id="2147491941" r:id="rId1642"/>
    <p:sldLayoutId id="2147491945" r:id="rId1643"/>
    <p:sldLayoutId id="2147491948" r:id="rId1644"/>
    <p:sldLayoutId id="2147491957" r:id="rId1645"/>
    <p:sldLayoutId id="2147491952" r:id="rId1646"/>
    <p:sldLayoutId id="2147491815" r:id="rId1647"/>
    <p:sldLayoutId id="2147491816" r:id="rId1648"/>
    <p:sldLayoutId id="2147491834" r:id="rId1649"/>
    <p:sldLayoutId id="2147491835" r:id="rId1650"/>
    <p:sldLayoutId id="2147491847" r:id="rId1651"/>
    <p:sldLayoutId id="2147491839" r:id="rId1652"/>
    <p:sldLayoutId id="2147491838" r:id="rId1653"/>
    <p:sldLayoutId id="2147491848" r:id="rId1654"/>
    <p:sldLayoutId id="2147491837" r:id="rId1655"/>
    <p:sldLayoutId id="2147491850" r:id="rId1656"/>
    <p:sldLayoutId id="2147491842" r:id="rId1657"/>
    <p:sldLayoutId id="2147491856" r:id="rId1658"/>
    <p:sldLayoutId id="2147491854" r:id="rId1659"/>
    <p:sldLayoutId id="2147491857" r:id="rId1660"/>
    <p:sldLayoutId id="2147491818" r:id="rId1661"/>
    <p:sldLayoutId id="2147491821" r:id="rId1662"/>
    <p:sldLayoutId id="2147491823" r:id="rId1663"/>
    <p:sldLayoutId id="2147491829" r:id="rId1664"/>
    <p:sldLayoutId id="2147491826" r:id="rId1665"/>
    <p:sldLayoutId id="2147491876" r:id="rId1666"/>
    <p:sldLayoutId id="2147491879" r:id="rId1667"/>
    <p:sldLayoutId id="2147491861" r:id="rId1668"/>
    <p:sldLayoutId id="2147491859" r:id="rId1669"/>
    <p:sldLayoutId id="2147491858" r:id="rId1670"/>
    <p:sldLayoutId id="2147491862" r:id="rId1671"/>
    <p:sldLayoutId id="2147491885" r:id="rId1672"/>
    <p:sldLayoutId id="2147491895" r:id="rId1673"/>
    <p:sldLayoutId id="2147491891" r:id="rId1674"/>
    <p:sldLayoutId id="2147491908" r:id="rId1675"/>
    <p:sldLayoutId id="2147491905" r:id="rId1676"/>
    <p:sldLayoutId id="2147491909" r:id="rId1677"/>
    <p:sldLayoutId id="2147491910" r:id="rId1678"/>
    <p:sldLayoutId id="2147491912" r:id="rId1679"/>
    <p:sldLayoutId id="2147491914" r:id="rId1680"/>
    <p:sldLayoutId id="2147491918" r:id="rId1681"/>
    <p:sldLayoutId id="2147491916" r:id="rId1682"/>
    <p:sldLayoutId id="2147491863" r:id="rId1683"/>
    <p:sldLayoutId id="2147491864" r:id="rId1684"/>
    <p:sldLayoutId id="2147491878" r:id="rId1685"/>
    <p:sldLayoutId id="2147491880" r:id="rId1686"/>
    <p:sldLayoutId id="2147491894" r:id="rId1687"/>
    <p:sldLayoutId id="2147491886" r:id="rId1688"/>
    <p:sldLayoutId id="2147491883" r:id="rId1689"/>
    <p:sldLayoutId id="2147491896" r:id="rId1690"/>
    <p:sldLayoutId id="2147491882" r:id="rId1691"/>
    <p:sldLayoutId id="2147491897" r:id="rId1692"/>
    <p:sldLayoutId id="2147491888" r:id="rId1693"/>
    <p:sldLayoutId id="2147491920" r:id="rId1694"/>
    <p:sldLayoutId id="2147491904" r:id="rId1695"/>
    <p:sldLayoutId id="2147491921" r:id="rId1696"/>
    <p:sldLayoutId id="2147491865" r:id="rId1697"/>
    <p:sldLayoutId id="2147491867" r:id="rId1698"/>
    <p:sldLayoutId id="2147491869" r:id="rId1699"/>
    <p:sldLayoutId id="2147491874" r:id="rId1700"/>
    <p:sldLayoutId id="2147491872" r:id="rId1701"/>
    <p:sldLayoutId id="2147491898" r:id="rId1702"/>
    <p:sldLayoutId id="2147491899" r:id="rId1703"/>
    <p:sldLayoutId id="2147491975" r:id="rId1704"/>
    <p:sldLayoutId id="2147491812" r:id="rId1705"/>
    <p:sldLayoutId id="2147491994" r:id="rId1706"/>
    <p:sldLayoutId id="2147491992" r:id="rId1707"/>
    <p:sldLayoutId id="2147491991" r:id="rId1708"/>
    <p:sldLayoutId id="2147491995" r:id="rId1709"/>
    <p:sldLayoutId id="2147491819" r:id="rId1710"/>
    <p:sldLayoutId id="2147491833" r:id="rId1711"/>
    <p:sldLayoutId id="2147491827" r:id="rId1712"/>
    <p:sldLayoutId id="2147491852" r:id="rId1713"/>
    <p:sldLayoutId id="2147491846" r:id="rId1714"/>
    <p:sldLayoutId id="2147491980" r:id="rId1715"/>
    <p:sldLayoutId id="2147491981" r:id="rId1716"/>
    <p:sldLayoutId id="2147491983" r:id="rId1717"/>
    <p:sldLayoutId id="2147491985" r:id="rId1718"/>
    <p:sldLayoutId id="2147491989" r:id="rId1719"/>
    <p:sldLayoutId id="2147491987" r:id="rId1720"/>
    <p:sldLayoutId id="2147491996" r:id="rId1721"/>
    <p:sldLayoutId id="2147491997" r:id="rId1722"/>
    <p:sldLayoutId id="2147492009" r:id="rId1723"/>
    <p:sldLayoutId id="2147492010" r:id="rId1724"/>
    <p:sldLayoutId id="2147492019" r:id="rId1725"/>
    <p:sldLayoutId id="2147492014" r:id="rId1726"/>
    <p:sldLayoutId id="2147492013" r:id="rId1727"/>
    <p:sldLayoutId id="2147492020" r:id="rId1728"/>
    <p:sldLayoutId id="2147492012" r:id="rId1729"/>
    <p:sldLayoutId id="2147492021" r:id="rId1730"/>
    <p:sldLayoutId id="2147492016" r:id="rId1731"/>
    <p:sldLayoutId id="2147492026" r:id="rId1732"/>
    <p:sldLayoutId id="2147492024" r:id="rId1733"/>
    <p:sldLayoutId id="2147492027" r:id="rId1734"/>
    <p:sldLayoutId id="2147491998" r:id="rId1735"/>
    <p:sldLayoutId id="2147492000" r:id="rId1736"/>
    <p:sldLayoutId id="2147492002" r:id="rId1737"/>
    <p:sldLayoutId id="2147492006" r:id="rId1738"/>
    <p:sldLayoutId id="2147492004" r:id="rId1739"/>
    <p:sldLayoutId id="2147491942" r:id="rId1740"/>
    <p:sldLayoutId id="2147491944" r:id="rId1741"/>
    <p:sldLayoutId id="2147491811" r:id="rId1742"/>
    <p:sldLayoutId id="2147491809" r:id="rId1743"/>
    <p:sldLayoutId id="2147491808" r:id="rId1744"/>
    <p:sldLayoutId id="2147491937" r:id="rId1745"/>
    <p:sldLayoutId id="2147491949" r:id="rId1746"/>
    <p:sldLayoutId id="2147491956" r:id="rId1747"/>
    <p:sldLayoutId id="2147491953" r:id="rId1748"/>
    <p:sldLayoutId id="2147491963" r:id="rId1749"/>
    <p:sldLayoutId id="2147491961" r:id="rId1750"/>
    <p:sldLayoutId id="2147491964" r:id="rId1751"/>
    <p:sldLayoutId id="2147491965" r:id="rId1752"/>
    <p:sldLayoutId id="2147491967" r:id="rId1753"/>
    <p:sldLayoutId id="2147491970" r:id="rId1754"/>
    <p:sldLayoutId id="2147491978" r:id="rId1755"/>
    <p:sldLayoutId id="2147491973" r:id="rId1756"/>
    <p:sldLayoutId id="2147491938" r:id="rId1757"/>
    <p:sldLayoutId id="2147491939" r:id="rId1758"/>
    <p:sldLayoutId id="2147490895" r:id="rId1759"/>
    <p:sldLayoutId id="2147490899" r:id="rId1760"/>
    <p:sldLayoutId id="2147490969" r:id="rId1761"/>
    <p:sldLayoutId id="2147490967" r:id="rId1762"/>
    <p:sldLayoutId id="2147490966" r:id="rId1763"/>
    <p:sldLayoutId id="2147490971" r:id="rId1764"/>
    <p:sldLayoutId id="2147490909" r:id="rId1765"/>
    <p:sldLayoutId id="2147490923" r:id="rId1766"/>
    <p:sldLayoutId id="2147490917" r:id="rId1767"/>
    <p:sldLayoutId id="2147490937" r:id="rId1768"/>
    <p:sldLayoutId id="2147490933" r:id="rId1769"/>
    <p:sldLayoutId id="2147490939" r:id="rId1770"/>
    <p:sldLayoutId id="2147490943" r:id="rId1771"/>
    <p:sldLayoutId id="2147490946" r:id="rId1772"/>
    <p:sldLayoutId id="2147490949" r:id="rId1773"/>
    <p:sldLayoutId id="2147490957" r:id="rId1774"/>
    <p:sldLayoutId id="2147490953" r:id="rId1775"/>
    <p:sldLayoutId id="2147490972" r:id="rId1776"/>
    <p:sldLayoutId id="2147490973" r:id="rId1777"/>
    <p:sldLayoutId id="2147490994" r:id="rId1778"/>
    <p:sldLayoutId id="2147490995" r:id="rId1779"/>
    <p:sldLayoutId id="2147491009" r:id="rId1780"/>
    <p:sldLayoutId id="2147491001" r:id="rId1781"/>
    <p:sldLayoutId id="2147491000" r:id="rId1782"/>
    <p:sldLayoutId id="2147491010" r:id="rId1783"/>
    <p:sldLayoutId id="2147490998" r:id="rId1784"/>
    <p:sldLayoutId id="2147491012" r:id="rId1785"/>
    <p:sldLayoutId id="2147491004" r:id="rId1786"/>
    <p:sldLayoutId id="2147491019" r:id="rId1787"/>
    <p:sldLayoutId id="2147491016" r:id="rId1788"/>
    <p:sldLayoutId id="2147491021" r:id="rId1789"/>
    <p:sldLayoutId id="2147490974" r:id="rId1790"/>
    <p:sldLayoutId id="2147490977" r:id="rId1791"/>
    <p:sldLayoutId id="2147490982" r:id="rId1792"/>
    <p:sldLayoutId id="2147490989" r:id="rId1793"/>
    <p:sldLayoutId id="2147490986" r:id="rId1794"/>
    <p:sldLayoutId id="2147491083" r:id="rId1795"/>
    <p:sldLayoutId id="2147491088" r:id="rId1796"/>
    <p:sldLayoutId id="2147491044" r:id="rId1797"/>
    <p:sldLayoutId id="2147491038" r:id="rId1798"/>
    <p:sldLayoutId id="2147491036" r:id="rId1799"/>
    <p:sldLayoutId id="2147491048" r:id="rId1800"/>
    <p:sldLayoutId id="2147491097" r:id="rId1801"/>
    <p:sldLayoutId id="2147491107" r:id="rId1802"/>
    <p:sldLayoutId id="2147491103" r:id="rId1803"/>
    <p:sldLayoutId id="2147491120" r:id="rId1804"/>
    <p:sldLayoutId id="2147491117" r:id="rId1805"/>
    <p:sldLayoutId id="2147491121" r:id="rId1806"/>
    <p:sldLayoutId id="2147491122" r:id="rId1807"/>
    <p:sldLayoutId id="2147491124" r:id="rId1808"/>
    <p:sldLayoutId id="2147491126" r:id="rId1809"/>
    <p:sldLayoutId id="2147491130" r:id="rId1810"/>
    <p:sldLayoutId id="2147491128" r:id="rId1811"/>
    <p:sldLayoutId id="2147491050" r:id="rId1812"/>
    <p:sldLayoutId id="2147491054" r:id="rId1813"/>
    <p:sldLayoutId id="2147491086" r:id="rId1814"/>
    <p:sldLayoutId id="2147491089" r:id="rId1815"/>
    <p:sldLayoutId id="2147491106" r:id="rId1816"/>
    <p:sldLayoutId id="2147491098" r:id="rId1817"/>
    <p:sldLayoutId id="2147491094" r:id="rId1818"/>
    <p:sldLayoutId id="2147491108" r:id="rId1819"/>
    <p:sldLayoutId id="2147491092" r:id="rId1820"/>
    <p:sldLayoutId id="2147491109" r:id="rId1821"/>
    <p:sldLayoutId id="2147491100" r:id="rId1822"/>
    <p:sldLayoutId id="2147491132" r:id="rId1823"/>
    <p:sldLayoutId id="2147491116" r:id="rId1824"/>
    <p:sldLayoutId id="2147491133" r:id="rId1825"/>
    <p:sldLayoutId id="2147491058" r:id="rId1826"/>
    <p:sldLayoutId id="2147491064" r:id="rId1827"/>
    <p:sldLayoutId id="2147491070" r:id="rId1828"/>
    <p:sldLayoutId id="2147491080" r:id="rId1829"/>
    <p:sldLayoutId id="2147491077" r:id="rId1830"/>
    <p:sldLayoutId id="2147491110" r:id="rId1831"/>
    <p:sldLayoutId id="2147491111" r:id="rId1832"/>
    <p:sldLayoutId id="2147491167" r:id="rId1833"/>
    <p:sldLayoutId id="2147491170" r:id="rId1834"/>
    <p:sldLayoutId id="2147491239" r:id="rId1835"/>
    <p:sldLayoutId id="2147491233" r:id="rId1836"/>
    <p:sldLayoutId id="2147491231" r:id="rId1837"/>
    <p:sldLayoutId id="2147491243" r:id="rId1838"/>
    <p:sldLayoutId id="2147491175" r:id="rId1839"/>
    <p:sldLayoutId id="2147491184" r:id="rId1840"/>
    <p:sldLayoutId id="2147491179" r:id="rId1841"/>
    <p:sldLayoutId id="2147491197" r:id="rId1842"/>
    <p:sldLayoutId id="2147491191" r:id="rId1843"/>
    <p:sldLayoutId id="2147491199" r:id="rId1844"/>
    <p:sldLayoutId id="2147491202" r:id="rId1845"/>
    <p:sldLayoutId id="2147491206" r:id="rId1846"/>
    <p:sldLayoutId id="2147491212" r:id="rId1847"/>
    <p:sldLayoutId id="2147491225" r:id="rId1848"/>
    <p:sldLayoutId id="2147491218" r:id="rId1849"/>
    <p:sldLayoutId id="2147491247" r:id="rId1850"/>
    <p:sldLayoutId id="2147491251" r:id="rId1851"/>
    <p:sldLayoutId id="2147491289" r:id="rId1852"/>
    <p:sldLayoutId id="2147491293" r:id="rId1853"/>
    <p:sldLayoutId id="2147491321" r:id="rId1854"/>
    <p:sldLayoutId id="2147491307" r:id="rId1855"/>
    <p:sldLayoutId id="2147491303" r:id="rId1856"/>
    <p:sldLayoutId id="2147491323" r:id="rId1857"/>
    <p:sldLayoutId id="2147491299" r:id="rId1858"/>
    <p:sldLayoutId id="2147491325" r:id="rId1859"/>
    <p:sldLayoutId id="2147491313" r:id="rId1860"/>
    <p:sldLayoutId id="2147491339" r:id="rId1861"/>
    <p:sldLayoutId id="2147491333" r:id="rId1862"/>
    <p:sldLayoutId id="2147491341" r:id="rId1863"/>
    <p:sldLayoutId id="2147491255" r:id="rId1864"/>
    <p:sldLayoutId id="2147491263" r:id="rId1865"/>
    <p:sldLayoutId id="2147491269" r:id="rId1866"/>
    <p:sldLayoutId id="2147491281" r:id="rId1867"/>
    <p:sldLayoutId id="2147491275" r:id="rId1868"/>
    <p:sldLayoutId id="2147491587" r:id="rId1869"/>
    <p:sldLayoutId id="2147491589" r:id="rId1870"/>
    <p:sldLayoutId id="2147491659" r:id="rId1871"/>
    <p:sldLayoutId id="2147491654" r:id="rId1872"/>
    <p:sldLayoutId id="2147491651" r:id="rId1873"/>
    <p:sldLayoutId id="2147491379" r:id="rId1874"/>
    <p:sldLayoutId id="2147491592" r:id="rId1875"/>
    <p:sldLayoutId id="2147491598" r:id="rId1876"/>
    <p:sldLayoutId id="2147491595" r:id="rId1877"/>
    <p:sldLayoutId id="2147491605" r:id="rId1878"/>
    <p:sldLayoutId id="2147491602" r:id="rId1879"/>
    <p:sldLayoutId id="2147491607" r:id="rId1880"/>
    <p:sldLayoutId id="2147491614" r:id="rId1881"/>
    <p:sldLayoutId id="2147491620" r:id="rId1882"/>
    <p:sldLayoutId id="2147491625" r:id="rId1883"/>
    <p:sldLayoutId id="2147491635" r:id="rId1884"/>
    <p:sldLayoutId id="2147491630" r:id="rId1885"/>
    <p:sldLayoutId id="2147491383" r:id="rId1886"/>
    <p:sldLayoutId id="2147491385" r:id="rId1887"/>
    <p:sldLayoutId id="2147491421" r:id="rId1888"/>
    <p:sldLayoutId id="2147491423" r:id="rId1889"/>
    <p:sldLayoutId id="2147491447" r:id="rId1890"/>
    <p:sldLayoutId id="2147491431" r:id="rId1891"/>
    <p:sldLayoutId id="2147491429" r:id="rId1892"/>
    <p:sldLayoutId id="2147491449" r:id="rId1893"/>
    <p:sldLayoutId id="2147491427" r:id="rId1894"/>
    <p:sldLayoutId id="2147491453" r:id="rId1895"/>
    <p:sldLayoutId id="2147491437" r:id="rId1896"/>
    <p:sldLayoutId id="2147491465" r:id="rId1897"/>
    <p:sldLayoutId id="2147491461" r:id="rId1898"/>
    <p:sldLayoutId id="2147491467" r:id="rId1899"/>
    <p:sldLayoutId id="2147491389" r:id="rId1900"/>
    <p:sldLayoutId id="2147491395" r:id="rId1901"/>
    <p:sldLayoutId id="2147491399" r:id="rId1902"/>
    <p:sldLayoutId id="2147491411" r:id="rId1903"/>
    <p:sldLayoutId id="2147491405" r:id="rId1904"/>
    <p:sldLayoutId id="2147491505" r:id="rId1905"/>
    <p:sldLayoutId id="2147491511" r:id="rId1906"/>
    <p:sldLayoutId id="2147491475" r:id="rId1907"/>
    <p:sldLayoutId id="2147491471" r:id="rId1908"/>
    <p:sldLayoutId id="2147491469" r:id="rId1909"/>
    <p:sldLayoutId id="2147491477" r:id="rId1910"/>
    <p:sldLayoutId id="2147491523" r:id="rId1911"/>
    <p:sldLayoutId id="2147491543" r:id="rId1912"/>
    <p:sldLayoutId id="2147491535" r:id="rId1913"/>
    <p:sldLayoutId id="2147491565" r:id="rId1914"/>
    <p:sldLayoutId id="2147491560" r:id="rId1915"/>
    <p:sldLayoutId id="2147491566" r:id="rId1916"/>
    <p:sldLayoutId id="2147491568" r:id="rId1917"/>
    <p:sldLayoutId id="2147491571" r:id="rId1918"/>
    <p:sldLayoutId id="2147491574" r:id="rId1919"/>
    <p:sldLayoutId id="2147491580" r:id="rId1920"/>
    <p:sldLayoutId id="2147491577" r:id="rId1921"/>
    <p:sldLayoutId id="2147491479" r:id="rId1922"/>
    <p:sldLayoutId id="2147491481" r:id="rId1923"/>
    <p:sldLayoutId id="2147491509" r:id="rId1924"/>
    <p:sldLayoutId id="2147491513" r:id="rId1925"/>
    <p:sldLayoutId id="2147491541" r:id="rId1926"/>
    <p:sldLayoutId id="2147491525" r:id="rId1927"/>
    <p:sldLayoutId id="2147491519" r:id="rId1928"/>
    <p:sldLayoutId id="2147491545" r:id="rId1929"/>
    <p:sldLayoutId id="2147491517" r:id="rId1930"/>
    <p:sldLayoutId id="2147491547" r:id="rId1931"/>
    <p:sldLayoutId id="2147491529" r:id="rId1932"/>
    <p:sldLayoutId id="2147491583" r:id="rId1933"/>
    <p:sldLayoutId id="2147491559" r:id="rId1934"/>
    <p:sldLayoutId id="2147491584" r:id="rId1935"/>
    <p:sldLayoutId id="2147491483" r:id="rId1936"/>
    <p:sldLayoutId id="2147491487" r:id="rId1937"/>
    <p:sldLayoutId id="2147491491" r:id="rId1938"/>
    <p:sldLayoutId id="2147491501" r:id="rId1939"/>
    <p:sldLayoutId id="2147491497" r:id="rId1940"/>
    <p:sldLayoutId id="2147491549" r:id="rId1941"/>
    <p:sldLayoutId id="2147491551" r:id="rId1942"/>
    <p:sldLayoutId id="2147491655" r:id="rId1943"/>
    <p:sldLayoutId id="2147491377" r:id="rId1944"/>
    <p:sldLayoutId id="2147491674" r:id="rId1945"/>
    <p:sldLayoutId id="2147491672" r:id="rId1946"/>
    <p:sldLayoutId id="2147491671" r:id="rId1947"/>
    <p:sldLayoutId id="2147491675" r:id="rId1948"/>
    <p:sldLayoutId id="2147491391" r:id="rId1949"/>
    <p:sldLayoutId id="2147491419" r:id="rId1950"/>
    <p:sldLayoutId id="2147491407" r:id="rId1951"/>
    <p:sldLayoutId id="2147491457" r:id="rId1952"/>
    <p:sldLayoutId id="2147491445" r:id="rId1953"/>
    <p:sldLayoutId id="2147491660" r:id="rId1954"/>
    <p:sldLayoutId id="2147491661" r:id="rId1955"/>
    <p:sldLayoutId id="2147491663" r:id="rId1956"/>
    <p:sldLayoutId id="2147491665" r:id="rId1957"/>
    <p:sldLayoutId id="2147491669" r:id="rId1958"/>
    <p:sldLayoutId id="2147491667" r:id="rId1959"/>
    <p:sldLayoutId id="2147491676" r:id="rId1960"/>
    <p:sldLayoutId id="2147491677" r:id="rId1961"/>
    <p:sldLayoutId id="2147491689" r:id="rId1962"/>
    <p:sldLayoutId id="2147491690" r:id="rId1963"/>
    <p:sldLayoutId id="2147491702" r:id="rId1964"/>
    <p:sldLayoutId id="2147491694" r:id="rId1965"/>
    <p:sldLayoutId id="2147491693" r:id="rId1966"/>
    <p:sldLayoutId id="2147491703" r:id="rId1967"/>
    <p:sldLayoutId id="2147491692" r:id="rId1968"/>
    <p:sldLayoutId id="2147491705" r:id="rId1969"/>
    <p:sldLayoutId id="2147491697" r:id="rId1970"/>
    <p:sldLayoutId id="2147490556" r:id="rId1971"/>
    <p:sldLayoutId id="2147490554" r:id="rId1972"/>
    <p:sldLayoutId id="2147490557" r:id="rId1973"/>
    <p:sldLayoutId id="2147491678" r:id="rId1974"/>
    <p:sldLayoutId id="2147491680" r:id="rId1975"/>
    <p:sldLayoutId id="2147491682" r:id="rId1976"/>
    <p:sldLayoutId id="2147491686" r:id="rId1977"/>
    <p:sldLayoutId id="2147491684" r:id="rId1978"/>
    <p:sldLayoutId id="2147491616" r:id="rId1979"/>
    <p:sldLayoutId id="2147491619" r:id="rId1980"/>
    <p:sldLayoutId id="2147491375" r:id="rId1981"/>
    <p:sldLayoutId id="2147491371" r:id="rId1982"/>
    <p:sldLayoutId id="2147491369" r:id="rId1983"/>
    <p:sldLayoutId id="2147491608" r:id="rId1984"/>
    <p:sldLayoutId id="2147491626" r:id="rId1985"/>
    <p:sldLayoutId id="2147491634" r:id="rId1986"/>
    <p:sldLayoutId id="2147491631" r:id="rId1987"/>
    <p:sldLayoutId id="2147491641" r:id="rId1988"/>
    <p:sldLayoutId id="2147491639" r:id="rId1989"/>
    <p:sldLayoutId id="2147491642" r:id="rId1990"/>
    <p:sldLayoutId id="2147491643" r:id="rId1991"/>
    <p:sldLayoutId id="2147491645" r:id="rId1992"/>
    <p:sldLayoutId id="2147491649" r:id="rId1993"/>
    <p:sldLayoutId id="2147491658" r:id="rId1994"/>
    <p:sldLayoutId id="2147491653" r:id="rId1995"/>
    <p:sldLayoutId id="2147491610" r:id="rId1996"/>
    <p:sldLayoutId id="2147491611" r:id="rId1997"/>
    <p:sldLayoutId id="2147490615" r:id="rId1998"/>
    <p:sldLayoutId id="2147490617" r:id="rId1999"/>
    <p:sldLayoutId id="2147490660" r:id="rId2000"/>
    <p:sldLayoutId id="2147490657" r:id="rId2001"/>
    <p:sldLayoutId id="2147490655" r:id="rId2002"/>
    <p:sldLayoutId id="2147490662" r:id="rId2003"/>
    <p:sldLayoutId id="2147490620" r:id="rId2004"/>
    <p:sldLayoutId id="2147490627" r:id="rId2005"/>
    <p:sldLayoutId id="2147490624" r:id="rId2006"/>
    <p:sldLayoutId id="2147490635" r:id="rId2007"/>
    <p:sldLayoutId id="2147490632" r:id="rId2008"/>
    <p:sldLayoutId id="2147490637" r:id="rId2009"/>
    <p:sldLayoutId id="2147490638" r:id="rId2010"/>
    <p:sldLayoutId id="2147490641" r:id="rId2011"/>
    <p:sldLayoutId id="2147490644" r:id="rId2012"/>
    <p:sldLayoutId id="2147490651" r:id="rId2013"/>
    <p:sldLayoutId id="2147490648" r:id="rId2014"/>
    <p:sldLayoutId id="2147490664" r:id="rId2015"/>
    <p:sldLayoutId id="2147490665" r:id="rId2016"/>
    <p:sldLayoutId id="2147490695" r:id="rId2017"/>
    <p:sldLayoutId id="2147490697" r:id="rId2018"/>
    <p:sldLayoutId id="2147490715" r:id="rId2019"/>
    <p:sldLayoutId id="2147490705" r:id="rId2020"/>
    <p:sldLayoutId id="2147490703" r:id="rId2021"/>
    <p:sldLayoutId id="2147490717" r:id="rId2022"/>
    <p:sldLayoutId id="2147490701" r:id="rId2023"/>
    <p:sldLayoutId id="2147490719" r:id="rId2024"/>
    <p:sldLayoutId id="2147490709" r:id="rId2025"/>
    <p:sldLayoutId id="2147490729" r:id="rId2026"/>
    <p:sldLayoutId id="2147490725" r:id="rId2027"/>
    <p:sldLayoutId id="2147490731" r:id="rId2028"/>
    <p:sldLayoutId id="2147490671" r:id="rId2029"/>
    <p:sldLayoutId id="2147490678" r:id="rId2030"/>
    <p:sldLayoutId id="2147490681" r:id="rId2031"/>
    <p:sldLayoutId id="2147490689" r:id="rId2032"/>
    <p:sldLayoutId id="2147490685" r:id="rId2033"/>
    <p:sldLayoutId id="2147490827" r:id="rId2034"/>
    <p:sldLayoutId id="2147490837" r:id="rId2035"/>
    <p:sldLayoutId id="2147490779" r:id="rId2036"/>
    <p:sldLayoutId id="2147490771" r:id="rId2037"/>
    <p:sldLayoutId id="2147490767" r:id="rId2038"/>
    <p:sldLayoutId id="2147490781" r:id="rId2039"/>
    <p:sldLayoutId id="2147490859" r:id="rId2040"/>
    <p:sldLayoutId id="2147490893" r:id="rId2041"/>
    <p:sldLayoutId id="2147490879" r:id="rId2042"/>
    <p:sldLayoutId id="2147490940" r:id="rId2043"/>
    <p:sldLayoutId id="2147490931" r:id="rId2044"/>
    <p:sldLayoutId id="2147490941" r:id="rId2045"/>
    <p:sldLayoutId id="2147490942" r:id="rId2046"/>
    <p:sldLayoutId id="2147490947" r:id="rId2047"/>
    <p:sldLayoutId id="2147490954" r:id="rId2048"/>
    <p:sldLayoutId id="2147490963" r:id="rId2049"/>
    <p:sldLayoutId id="2147490961" r:id="rId2050"/>
    <p:sldLayoutId id="2147490785" r:id="rId2051"/>
    <p:sldLayoutId id="2147490789" r:id="rId2052"/>
    <p:sldLayoutId id="2147490833" r:id="rId2053"/>
    <p:sldLayoutId id="2147490841" r:id="rId2054"/>
    <p:sldLayoutId id="2147490891" r:id="rId2055"/>
    <p:sldLayoutId id="2147490861" r:id="rId2056"/>
    <p:sldLayoutId id="2147490851" r:id="rId2057"/>
    <p:sldLayoutId id="2147490897" r:id="rId2058"/>
    <p:sldLayoutId id="2147490847" r:id="rId2059"/>
    <p:sldLayoutId id="2147490901" r:id="rId2060"/>
    <p:sldLayoutId id="2147490869" r:id="rId2061"/>
    <p:sldLayoutId id="2147490980" r:id="rId2062"/>
    <p:sldLayoutId id="2147490927" r:id="rId2063"/>
    <p:sldLayoutId id="2147490985" r:id="rId2064"/>
    <p:sldLayoutId id="2147490793" r:id="rId2065"/>
    <p:sldLayoutId id="2147490799" r:id="rId2066"/>
    <p:sldLayoutId id="2147490805" r:id="rId2067"/>
    <p:sldLayoutId id="2147490819" r:id="rId2068"/>
    <p:sldLayoutId id="2147490813" r:id="rId2069"/>
    <p:sldLayoutId id="2147490903" r:id="rId2070"/>
    <p:sldLayoutId id="2147490907" r:id="rId2071"/>
    <p:sldLayoutId id="2147491024" r:id="rId2072"/>
    <p:sldLayoutId id="2147491025" r:id="rId2073"/>
    <p:sldLayoutId id="2147490564" r:id="rId2074"/>
    <p:sldLayoutId id="2147490562" r:id="rId2075"/>
    <p:sldLayoutId id="2147490561" r:id="rId2076"/>
    <p:sldLayoutId id="2147490565" r:id="rId2077"/>
    <p:sldLayoutId id="2147491028" r:id="rId2078"/>
    <p:sldLayoutId id="2147491040" r:id="rId2079"/>
    <p:sldLayoutId id="2147491032" r:id="rId2080"/>
    <p:sldLayoutId id="2147491068" r:id="rId2081"/>
    <p:sldLayoutId id="2147491056" r:id="rId2082"/>
    <p:sldLayoutId id="2147491074" r:id="rId2083"/>
    <p:sldLayoutId id="2147491078" r:id="rId2084"/>
    <p:sldLayoutId id="2147491084" r:id="rId2085"/>
    <p:sldLayoutId id="2147491090" r:id="rId2086"/>
    <p:sldLayoutId id="2147490559" r:id="rId2087"/>
    <p:sldLayoutId id="2147491096" r:id="rId2088"/>
    <p:sldLayoutId id="2147490566" r:id="rId2089"/>
    <p:sldLayoutId id="2147490567" r:id="rId2090"/>
    <p:sldLayoutId id="2147490582" r:id="rId2091"/>
    <p:sldLayoutId id="2147490584" r:id="rId2092"/>
    <p:sldLayoutId id="2147490598" r:id="rId2093"/>
    <p:sldLayoutId id="2147490590" r:id="rId2094"/>
    <p:sldLayoutId id="2147490588" r:id="rId2095"/>
    <p:sldLayoutId id="2147490600" r:id="rId2096"/>
    <p:sldLayoutId id="2147490587" r:id="rId2097"/>
    <p:sldLayoutId id="2147490601" r:id="rId2098"/>
    <p:sldLayoutId id="2147490593" r:id="rId2099"/>
    <p:sldLayoutId id="2147490610" r:id="rId2100"/>
    <p:sldLayoutId id="2147490606" r:id="rId2101"/>
    <p:sldLayoutId id="2147490611" r:id="rId2102"/>
    <p:sldLayoutId id="2147490568" r:id="rId2103"/>
    <p:sldLayoutId id="2147490570" r:id="rId2104"/>
    <p:sldLayoutId id="2147490572" r:id="rId2105"/>
    <p:sldLayoutId id="2147490577" r:id="rId2106"/>
    <p:sldLayoutId id="2147490574" r:id="rId2107"/>
    <p:sldLayoutId id="2147490797" r:id="rId2108"/>
    <p:sldLayoutId id="2147491351" r:id="rId2109"/>
    <p:sldLayoutId id="2147491367" r:id="rId2110"/>
    <p:sldLayoutId id="2147490881" r:id="rId2111"/>
    <p:sldLayoutId id="2147490877" r:id="rId2112"/>
    <p:sldLayoutId id="2147491134" r:id="rId2113"/>
    <p:sldLayoutId id="2147491353" r:id="rId2114"/>
    <p:sldLayoutId id="2147491357" r:id="rId2115"/>
    <p:sldLayoutId id="2147491355" r:id="rId2116"/>
    <p:sldLayoutId id="2147490835" r:id="rId2117"/>
    <p:sldLayoutId id="2147490829" r:id="rId2118"/>
    <p:sldLayoutId id="2147490839" r:id="rId2119"/>
    <p:sldLayoutId id="2147490843" r:id="rId2120"/>
    <p:sldLayoutId id="2147490849" r:id="rId2121"/>
    <p:sldLayoutId id="2147490857" r:id="rId2122"/>
    <p:sldLayoutId id="2147490871" r:id="rId2123"/>
    <p:sldLayoutId id="2147490863" r:id="rId2124"/>
    <p:sldLayoutId id="2147491135" r:id="rId2125"/>
    <p:sldLayoutId id="2147491136" r:id="rId2126"/>
    <p:sldLayoutId id="2147491148" r:id="rId2127"/>
    <p:sldLayoutId id="2147491149" r:id="rId2128"/>
    <p:sldLayoutId id="2147490669" r:id="rId2129"/>
    <p:sldLayoutId id="2147491153" r:id="rId2130"/>
    <p:sldLayoutId id="2147491152" r:id="rId2131"/>
    <p:sldLayoutId id="2147490672" r:id="rId2132"/>
    <p:sldLayoutId id="2147491151" r:id="rId2133"/>
    <p:sldLayoutId id="2147490676" r:id="rId2134"/>
    <p:sldLayoutId id="2147491155" r:id="rId2135"/>
    <p:sldLayoutId id="2147491161" r:id="rId2136"/>
    <p:sldLayoutId id="2147491159" r:id="rId2137"/>
    <p:sldLayoutId id="2147491162" r:id="rId2138"/>
    <p:sldLayoutId id="2147491137" r:id="rId2139"/>
    <p:sldLayoutId id="2147491139" r:id="rId2140"/>
    <p:sldLayoutId id="2147491141" r:id="rId2141"/>
    <p:sldLayoutId id="2147491145" r:id="rId2142"/>
    <p:sldLayoutId id="2147491143" r:id="rId2143"/>
    <p:sldLayoutId id="2147491229" r:id="rId2144"/>
    <p:sldLayoutId id="2147491245" r:id="rId2145"/>
    <p:sldLayoutId id="2147491169" r:id="rId2146"/>
    <p:sldLayoutId id="2147491164" r:id="rId2147"/>
    <p:sldLayoutId id="2147491163" r:id="rId2148"/>
    <p:sldLayoutId id="2147491173" r:id="rId2149"/>
    <p:sldLayoutId id="2147491271" r:id="rId2150"/>
    <p:sldLayoutId id="2147490741" r:id="rId2151"/>
    <p:sldLayoutId id="2147490737" r:id="rId2152"/>
    <p:sldLayoutId id="2147490757" r:id="rId2153"/>
    <p:sldLayoutId id="2147490753" r:id="rId2154"/>
    <p:sldLayoutId id="2147490759" r:id="rId2155"/>
    <p:sldLayoutId id="2147491343" r:id="rId2156"/>
    <p:sldLayoutId id="2147490763" r:id="rId2157"/>
    <p:sldLayoutId id="2147491345" r:id="rId2158"/>
    <p:sldLayoutId id="2147491347" r:id="rId2159"/>
    <p:sldLayoutId id="2147490773" r:id="rId2160"/>
    <p:sldLayoutId id="2147491176" r:id="rId2161"/>
    <p:sldLayoutId id="2147491181" r:id="rId2162"/>
    <p:sldLayoutId id="2147491241" r:id="rId2163"/>
    <p:sldLayoutId id="2147491249" r:id="rId2164"/>
    <p:sldLayoutId id="2147491301" r:id="rId2165"/>
    <p:sldLayoutId id="2147491277" r:id="rId2166"/>
    <p:sldLayoutId id="2147491261" r:id="rId2167"/>
    <p:sldLayoutId id="2147491305" r:id="rId2168"/>
    <p:sldLayoutId id="2147491257" r:id="rId2169"/>
    <p:sldLayoutId id="2147490743" r:id="rId2170"/>
    <p:sldLayoutId id="2147491291" r:id="rId2171"/>
    <p:sldLayoutId id="2147490787" r:id="rId2172"/>
    <p:sldLayoutId id="2147491327" r:id="rId2173"/>
    <p:sldLayoutId id="2147490791" r:id="rId2174"/>
    <p:sldLayoutId id="2147491185" r:id="rId2175"/>
    <p:sldLayoutId id="2147491193" r:id="rId2176"/>
    <p:sldLayoutId id="2147491200" r:id="rId2177"/>
    <p:sldLayoutId id="2147491217" r:id="rId2178"/>
    <p:sldLayoutId id="2147491211" r:id="rId2179"/>
    <p:sldLayoutId id="2147491309" r:id="rId2180"/>
    <p:sldLayoutId id="2147490745" r:id="rId2181"/>
    <p:sldLayoutId id="2147491727" r:id="rId2182"/>
    <p:sldLayoutId id="2147490354" r:id="rId2183"/>
    <p:sldLayoutId id="2147489871" r:id="rId2184"/>
    <p:sldLayoutId id="2147490357" r:id="rId2185"/>
    <p:sldLayoutId id="2147490388" r:id="rId2186"/>
    <p:sldLayoutId id="2147490386" r:id="rId2187"/>
    <p:sldLayoutId id="2147490385" r:id="rId2188"/>
    <p:sldLayoutId id="2147490389" r:id="rId2189"/>
    <p:sldLayoutId id="2147490364" r:id="rId2190"/>
    <p:sldLayoutId id="2147490368" r:id="rId2191"/>
    <p:sldLayoutId id="2147490366" r:id="rId2192"/>
    <p:sldLayoutId id="2147490373" r:id="rId2193"/>
    <p:sldLayoutId id="2147490371" r:id="rId2194"/>
    <p:sldLayoutId id="2147490374" r:id="rId2195"/>
    <p:sldLayoutId id="2147490375" r:id="rId2196"/>
    <p:sldLayoutId id="2147490377" r:id="rId2197"/>
    <p:sldLayoutId id="2147490379" r:id="rId2198"/>
    <p:sldLayoutId id="2147490383" r:id="rId2199"/>
    <p:sldLayoutId id="2147490381" r:id="rId2200"/>
    <p:sldLayoutId id="2147490390" r:id="rId2201"/>
    <p:sldLayoutId id="2147490391" r:id="rId2202"/>
    <p:sldLayoutId id="2147490403" r:id="rId2203"/>
    <p:sldLayoutId id="2147490404" r:id="rId2204"/>
    <p:sldLayoutId id="2147490413" r:id="rId2205"/>
    <p:sldLayoutId id="2147490408" r:id="rId2206"/>
    <p:sldLayoutId id="2147490407" r:id="rId2207"/>
    <p:sldLayoutId id="2147490414" r:id="rId2208"/>
    <p:sldLayoutId id="2147490406" r:id="rId2209"/>
    <p:sldLayoutId id="2147490415" r:id="rId2210"/>
    <p:sldLayoutId id="2147490410" r:id="rId2211"/>
    <p:sldLayoutId id="2147490420" r:id="rId2212"/>
    <p:sldLayoutId id="2147490418" r:id="rId2213"/>
    <p:sldLayoutId id="2147490421" r:id="rId2214"/>
    <p:sldLayoutId id="2147490392" r:id="rId2215"/>
    <p:sldLayoutId id="2147490394" r:id="rId2216"/>
    <p:sldLayoutId id="2147490396" r:id="rId2217"/>
    <p:sldLayoutId id="2147490400" r:id="rId2218"/>
    <p:sldLayoutId id="2147490398" r:id="rId2219"/>
    <p:sldLayoutId id="2147490440" r:id="rId2220"/>
    <p:sldLayoutId id="2147490443" r:id="rId2221"/>
    <p:sldLayoutId id="2147490425" r:id="rId2222"/>
    <p:sldLayoutId id="2147490423" r:id="rId2223"/>
    <p:sldLayoutId id="2147490422" r:id="rId2224"/>
    <p:sldLayoutId id="2147490426" r:id="rId2225"/>
    <p:sldLayoutId id="2147490449" r:id="rId2226"/>
    <p:sldLayoutId id="2147490459" r:id="rId2227"/>
    <p:sldLayoutId id="2147490455" r:id="rId2228"/>
    <p:sldLayoutId id="2147488618" r:id="rId2229"/>
    <p:sldLayoutId id="2147492325" r:id="rId2230"/>
    <p:sldLayoutId id="2147488619" r:id="rId2231"/>
    <p:sldLayoutId id="2147488620" r:id="rId2232"/>
    <p:sldLayoutId id="2147488622" r:id="rId2233"/>
    <p:sldLayoutId id="2147488624" r:id="rId2234"/>
    <p:sldLayoutId id="2147488628" r:id="rId2235"/>
    <p:sldLayoutId id="2147488626" r:id="rId2236"/>
    <p:sldLayoutId id="2147490427" r:id="rId2237"/>
    <p:sldLayoutId id="2147490428" r:id="rId2238"/>
    <p:sldLayoutId id="2147490442" r:id="rId2239"/>
    <p:sldLayoutId id="2147490444" r:id="rId2240"/>
    <p:sldLayoutId id="2147490458" r:id="rId2241"/>
    <p:sldLayoutId id="2147490450" r:id="rId2242"/>
    <p:sldLayoutId id="2147490447" r:id="rId2243"/>
    <p:sldLayoutId id="2147490460" r:id="rId2244"/>
    <p:sldLayoutId id="2147490446" r:id="rId2245"/>
    <p:sldLayoutId id="2147490461" r:id="rId2246"/>
    <p:sldLayoutId id="2147490452" r:id="rId2247"/>
    <p:sldLayoutId id="2147488630" r:id="rId2248"/>
    <p:sldLayoutId id="2147490468" r:id="rId2249"/>
    <p:sldLayoutId id="2147488631" r:id="rId2250"/>
    <p:sldLayoutId id="2147490429" r:id="rId2251"/>
    <p:sldLayoutId id="2147490431" r:id="rId2252"/>
    <p:sldLayoutId id="2147490433" r:id="rId2253"/>
    <p:sldLayoutId id="2147490438" r:id="rId2254"/>
    <p:sldLayoutId id="2147490436" r:id="rId2255"/>
    <p:sldLayoutId id="2147490462" r:id="rId2256"/>
    <p:sldLayoutId id="2147490463" r:id="rId2257"/>
    <p:sldLayoutId id="2147488633" r:id="rId2258"/>
    <p:sldLayoutId id="2147488634" r:id="rId2259"/>
    <p:sldLayoutId id="2147488660" r:id="rId2260"/>
    <p:sldLayoutId id="2147488658" r:id="rId2261"/>
    <p:sldLayoutId id="2147488657" r:id="rId2262"/>
    <p:sldLayoutId id="2147488661" r:id="rId2263"/>
    <p:sldLayoutId id="2147488636" r:id="rId2264"/>
    <p:sldLayoutId id="2147488640" r:id="rId2265"/>
    <p:sldLayoutId id="2147488638" r:id="rId2266"/>
    <p:sldLayoutId id="2147488645" r:id="rId2267"/>
    <p:sldLayoutId id="2147488643" r:id="rId2268"/>
    <p:sldLayoutId id="2147488646" r:id="rId2269"/>
    <p:sldLayoutId id="2147488647" r:id="rId2270"/>
    <p:sldLayoutId id="2147488649" r:id="rId2271"/>
    <p:sldLayoutId id="2147488651" r:id="rId2272"/>
    <p:sldLayoutId id="2147488655" r:id="rId2273"/>
    <p:sldLayoutId id="2147488653" r:id="rId2274"/>
    <p:sldLayoutId id="2147488662" r:id="rId2275"/>
    <p:sldLayoutId id="2147488663" r:id="rId2276"/>
    <p:sldLayoutId id="2147488675" r:id="rId2277"/>
    <p:sldLayoutId id="2147488676" r:id="rId2278"/>
    <p:sldLayoutId id="2147488685" r:id="rId2279"/>
    <p:sldLayoutId id="2147488680" r:id="rId2280"/>
    <p:sldLayoutId id="2147488679" r:id="rId2281"/>
    <p:sldLayoutId id="2147488686" r:id="rId2282"/>
    <p:sldLayoutId id="2147488678" r:id="rId2283"/>
    <p:sldLayoutId id="2147488687" r:id="rId2284"/>
    <p:sldLayoutId id="2147488682" r:id="rId2285"/>
    <p:sldLayoutId id="2147488692" r:id="rId2286"/>
    <p:sldLayoutId id="2147488690" r:id="rId2287"/>
    <p:sldLayoutId id="2147488693" r:id="rId2288"/>
    <p:sldLayoutId id="2147488664" r:id="rId2289"/>
    <p:sldLayoutId id="2147488666" r:id="rId2290"/>
    <p:sldLayoutId id="2147488668" r:id="rId2291"/>
    <p:sldLayoutId id="2147488672" r:id="rId2292"/>
    <p:sldLayoutId id="2147488670" r:id="rId2293"/>
    <p:sldLayoutId id="2147488964" r:id="rId2294"/>
    <p:sldLayoutId id="2147488966" r:id="rId2295"/>
    <p:sldLayoutId id="2147489076" r:id="rId2296"/>
    <p:sldLayoutId id="2147489066" r:id="rId2297"/>
    <p:sldLayoutId id="2147489060" r:id="rId2298"/>
    <p:sldLayoutId id="2147488724" r:id="rId2299"/>
    <p:sldLayoutId id="2147488970" r:id="rId2300"/>
    <p:sldLayoutId id="2147488978" r:id="rId2301"/>
    <p:sldLayoutId id="2147488974" r:id="rId2302"/>
    <p:sldLayoutId id="2147488988" r:id="rId2303"/>
    <p:sldLayoutId id="2147488984" r:id="rId2304"/>
    <p:sldLayoutId id="2147488990" r:id="rId2305"/>
    <p:sldLayoutId id="2147489000" r:id="rId2306"/>
    <p:sldLayoutId id="2147489008" r:id="rId2307"/>
    <p:sldLayoutId id="2147489014" r:id="rId2308"/>
    <p:sldLayoutId id="2147489032" r:id="rId2309"/>
    <p:sldLayoutId id="2147489022" r:id="rId2310"/>
    <p:sldLayoutId id="2147488729" r:id="rId2311"/>
    <p:sldLayoutId id="2147488732" r:id="rId2312"/>
    <p:sldLayoutId id="2147488776" r:id="rId2313"/>
    <p:sldLayoutId id="2147488779" r:id="rId2314"/>
    <p:sldLayoutId id="2147488809" r:id="rId2315"/>
    <p:sldLayoutId id="2147488791" r:id="rId2316"/>
    <p:sldLayoutId id="2147488788" r:id="rId2317"/>
    <p:sldLayoutId id="2147488812" r:id="rId2318"/>
    <p:sldLayoutId id="2147488785" r:id="rId2319"/>
    <p:sldLayoutId id="2147488816" r:id="rId2320"/>
    <p:sldLayoutId id="2147488798" r:id="rId2321"/>
    <p:sldLayoutId id="2147488830" r:id="rId2322"/>
    <p:sldLayoutId id="2147488826" r:id="rId2323"/>
    <p:sldLayoutId id="2147488832" r:id="rId2324"/>
    <p:sldLayoutId id="2147488738" r:id="rId2325"/>
    <p:sldLayoutId id="2147488745" r:id="rId2326"/>
    <p:sldLayoutId id="2147488751" r:id="rId2327"/>
    <p:sldLayoutId id="2147488765" r:id="rId2328"/>
    <p:sldLayoutId id="2147488758" r:id="rId2329"/>
    <p:sldLayoutId id="2147488870" r:id="rId2330"/>
    <p:sldLayoutId id="2147488876" r:id="rId2331"/>
    <p:sldLayoutId id="2147488840" r:id="rId2332"/>
    <p:sldLayoutId id="2147488836" r:id="rId2333"/>
    <p:sldLayoutId id="2147488834" r:id="rId2334"/>
    <p:sldLayoutId id="2147488842" r:id="rId2335"/>
    <p:sldLayoutId id="2147488888" r:id="rId2336"/>
    <p:sldLayoutId id="2147488908" r:id="rId2337"/>
    <p:sldLayoutId id="2147488900" r:id="rId2338"/>
    <p:sldLayoutId id="2147488934" r:id="rId2339"/>
    <p:sldLayoutId id="2147488928" r:id="rId2340"/>
    <p:sldLayoutId id="2147488936" r:id="rId2341"/>
    <p:sldLayoutId id="2147488938" r:id="rId2342"/>
    <p:sldLayoutId id="2147488942" r:id="rId2343"/>
    <p:sldLayoutId id="2147488946" r:id="rId2344"/>
    <p:sldLayoutId id="2147488954" r:id="rId2345"/>
    <p:sldLayoutId id="2147488950" r:id="rId2346"/>
    <p:sldLayoutId id="2147488844" r:id="rId2347"/>
    <p:sldLayoutId id="2147488846" r:id="rId2348"/>
    <p:sldLayoutId id="2147488874" r:id="rId2349"/>
    <p:sldLayoutId id="2147488878" r:id="rId2350"/>
    <p:sldLayoutId id="2147488906" r:id="rId2351"/>
    <p:sldLayoutId id="2147488890" r:id="rId2352"/>
    <p:sldLayoutId id="2147488884" r:id="rId2353"/>
    <p:sldLayoutId id="2147488910" r:id="rId2354"/>
    <p:sldLayoutId id="2147488882" r:id="rId2355"/>
    <p:sldLayoutId id="2147488912" r:id="rId2356"/>
    <p:sldLayoutId id="2147488894" r:id="rId2357"/>
    <p:sldLayoutId id="2147488958" r:id="rId2358"/>
    <p:sldLayoutId id="2147488926" r:id="rId2359"/>
    <p:sldLayoutId id="2147488960" r:id="rId2360"/>
    <p:sldLayoutId id="2147488848" r:id="rId2361"/>
    <p:sldLayoutId id="2147488852" r:id="rId2362"/>
    <p:sldLayoutId id="2147488856" r:id="rId2363"/>
    <p:sldLayoutId id="2147488866" r:id="rId2364"/>
    <p:sldLayoutId id="2147488862" r:id="rId2365"/>
    <p:sldLayoutId id="2147488914" r:id="rId2366"/>
    <p:sldLayoutId id="2147488916" r:id="rId2367"/>
    <p:sldLayoutId id="2147489068" r:id="rId2368"/>
    <p:sldLayoutId id="2147488722" r:id="rId2369"/>
    <p:sldLayoutId id="2147489145" r:id="rId2370"/>
    <p:sldLayoutId id="2147489139" r:id="rId2371"/>
    <p:sldLayoutId id="2147489136" r:id="rId2372"/>
    <p:sldLayoutId id="2147489148" r:id="rId2373"/>
    <p:sldLayoutId id="2147488740" r:id="rId2374"/>
    <p:sldLayoutId id="2147488774" r:id="rId2375"/>
    <p:sldLayoutId id="2147488760" r:id="rId2376"/>
    <p:sldLayoutId id="2147488821" r:id="rId2377"/>
    <p:sldLayoutId id="2147488807" r:id="rId2378"/>
    <p:sldLayoutId id="2147489081" r:id="rId2379"/>
    <p:sldLayoutId id="2147489096" r:id="rId2380"/>
    <p:sldLayoutId id="2147489106" r:id="rId2381"/>
    <p:sldLayoutId id="2147489116" r:id="rId2382"/>
    <p:sldLayoutId id="2147489130" r:id="rId2383"/>
    <p:sldLayoutId id="2147489124" r:id="rId2384"/>
    <p:sldLayoutId id="2147489151" r:id="rId2385"/>
    <p:sldLayoutId id="2147489154" r:id="rId2386"/>
    <p:sldLayoutId id="2147489185" r:id="rId2387"/>
    <p:sldLayoutId id="2147489187" r:id="rId2388"/>
    <p:sldLayoutId id="2147489205" r:id="rId2389"/>
    <p:sldLayoutId id="2147489195" r:id="rId2390"/>
    <p:sldLayoutId id="2147489193" r:id="rId2391"/>
    <p:sldLayoutId id="2147489207" r:id="rId2392"/>
    <p:sldLayoutId id="2147489191" r:id="rId2393"/>
    <p:sldLayoutId id="2147489209" r:id="rId2394"/>
    <p:sldLayoutId id="2147489199" r:id="rId2395"/>
    <p:sldLayoutId id="2147489219" r:id="rId2396"/>
    <p:sldLayoutId id="2147489215" r:id="rId2397"/>
    <p:sldLayoutId id="2147489221" r:id="rId2398"/>
    <p:sldLayoutId id="2147489157" r:id="rId2399"/>
    <p:sldLayoutId id="2147489163" r:id="rId2400"/>
    <p:sldLayoutId id="2147489169" r:id="rId2401"/>
    <p:sldLayoutId id="2147489179" r:id="rId2402"/>
    <p:sldLayoutId id="2147489175" r:id="rId2403"/>
    <p:sldLayoutId id="2147489002" r:id="rId2404"/>
    <p:sldLayoutId id="2147489006" r:id="rId2405"/>
    <p:sldLayoutId id="2147488697" r:id="rId2406"/>
    <p:sldLayoutId id="2147488695" r:id="rId2407"/>
    <p:sldLayoutId id="2147488694" r:id="rId2408"/>
    <p:sldLayoutId id="2147488992" r:id="rId2409"/>
    <p:sldLayoutId id="2147489016" r:id="rId2410"/>
    <p:sldLayoutId id="2147489030" r:id="rId2411"/>
    <p:sldLayoutId id="2147489024" r:id="rId2412"/>
    <p:sldLayoutId id="2147489044" r:id="rId2413"/>
    <p:sldLayoutId id="2147489040" r:id="rId2414"/>
    <p:sldLayoutId id="2147489046" r:id="rId2415"/>
    <p:sldLayoutId id="2147489048" r:id="rId2416"/>
    <p:sldLayoutId id="2147489052" r:id="rId2417"/>
    <p:sldLayoutId id="2147489058" r:id="rId2418"/>
    <p:sldLayoutId id="2147489074" r:id="rId2419"/>
    <p:sldLayoutId id="2147489064" r:id="rId2420"/>
    <p:sldLayoutId id="2147488994" r:id="rId2421"/>
    <p:sldLayoutId id="2147488996" r:id="rId2422"/>
    <p:sldLayoutId id="2147489412" r:id="rId2423"/>
    <p:sldLayoutId id="2147489414" r:id="rId2424"/>
    <p:sldLayoutId id="2147489466" r:id="rId2425"/>
    <p:sldLayoutId id="2147489462" r:id="rId2426"/>
    <p:sldLayoutId id="2147489460" r:id="rId2427"/>
    <p:sldLayoutId id="2147489468" r:id="rId2428"/>
    <p:sldLayoutId id="2147489418" r:id="rId2429"/>
    <p:sldLayoutId id="2147489426" r:id="rId2430"/>
    <p:sldLayoutId id="2147489422" r:id="rId2431"/>
    <p:sldLayoutId id="2147489436" r:id="rId2432"/>
    <p:sldLayoutId id="2147489432" r:id="rId2433"/>
    <p:sldLayoutId id="2147489438" r:id="rId2434"/>
    <p:sldLayoutId id="2147489440" r:id="rId2435"/>
    <p:sldLayoutId id="2147489444" r:id="rId2436"/>
    <p:sldLayoutId id="2147489448" r:id="rId2437"/>
    <p:sldLayoutId id="2147489456" r:id="rId2438"/>
    <p:sldLayoutId id="2147489452" r:id="rId2439"/>
    <p:sldLayoutId id="2147489470" r:id="rId2440"/>
    <p:sldLayoutId id="2147489472" r:id="rId2441"/>
    <p:sldLayoutId id="2147489504" r:id="rId2442"/>
    <p:sldLayoutId id="2147489506" r:id="rId2443"/>
    <p:sldLayoutId id="2147489524" r:id="rId2444"/>
    <p:sldLayoutId id="2147489514" r:id="rId2445"/>
    <p:sldLayoutId id="2147489512" r:id="rId2446"/>
    <p:sldLayoutId id="2147489526" r:id="rId2447"/>
    <p:sldLayoutId id="2147489510" r:id="rId2448"/>
    <p:sldLayoutId id="2147489528" r:id="rId2449"/>
    <p:sldLayoutId id="2147489518" r:id="rId2450"/>
    <p:sldLayoutId id="2147489538" r:id="rId2451"/>
    <p:sldLayoutId id="2147489534" r:id="rId2452"/>
    <p:sldLayoutId id="2147489540" r:id="rId2453"/>
    <p:sldLayoutId id="2147489478" r:id="rId2454"/>
    <p:sldLayoutId id="2147489486" r:id="rId2455"/>
    <p:sldLayoutId id="2147489490" r:id="rId2456"/>
    <p:sldLayoutId id="2147489498" r:id="rId2457"/>
    <p:sldLayoutId id="2147489494" r:id="rId2458"/>
    <p:sldLayoutId id="2147489636" r:id="rId2459"/>
    <p:sldLayoutId id="2147489646" r:id="rId2460"/>
    <p:sldLayoutId id="2147489588" r:id="rId2461"/>
    <p:sldLayoutId id="2147489580" r:id="rId2462"/>
    <p:sldLayoutId id="2147489576" r:id="rId2463"/>
    <p:sldLayoutId id="2147489590" r:id="rId2464"/>
    <p:sldLayoutId id="2147489668" r:id="rId2465"/>
    <p:sldLayoutId id="2147489701" r:id="rId2466"/>
    <p:sldLayoutId id="2147489688" r:id="rId2467"/>
    <p:sldLayoutId id="2147489740" r:id="rId2468"/>
    <p:sldLayoutId id="2147489731" r:id="rId2469"/>
    <p:sldLayoutId id="2147489743" r:id="rId2470"/>
    <p:sldLayoutId id="2147489746" r:id="rId2471"/>
    <p:sldLayoutId id="2147489752" r:id="rId2472"/>
    <p:sldLayoutId id="2147489758" r:id="rId2473"/>
    <p:sldLayoutId id="2147489770" r:id="rId2474"/>
    <p:sldLayoutId id="2147489764" r:id="rId2475"/>
    <p:sldLayoutId id="2147489594" r:id="rId2476"/>
    <p:sldLayoutId id="2147489598" r:id="rId2477"/>
    <p:sldLayoutId id="2147489642" r:id="rId2478"/>
    <p:sldLayoutId id="2147489650" r:id="rId2479"/>
    <p:sldLayoutId id="2147489698" r:id="rId2480"/>
    <p:sldLayoutId id="2147489670" r:id="rId2481"/>
    <p:sldLayoutId id="2147489660" r:id="rId2482"/>
    <p:sldLayoutId id="2147489704" r:id="rId2483"/>
    <p:sldLayoutId id="2147489656" r:id="rId2484"/>
    <p:sldLayoutId id="2147489707" r:id="rId2485"/>
    <p:sldLayoutId id="2147489678" r:id="rId2486"/>
    <p:sldLayoutId id="2147489793" r:id="rId2487"/>
    <p:sldLayoutId id="2147489728" r:id="rId2488"/>
    <p:sldLayoutId id="2147489796" r:id="rId2489"/>
    <p:sldLayoutId id="2147489602" r:id="rId2490"/>
    <p:sldLayoutId id="2147489608" r:id="rId2491"/>
    <p:sldLayoutId id="2147489614" r:id="rId2492"/>
    <p:sldLayoutId id="2147489628" r:id="rId2493"/>
    <p:sldLayoutId id="2147489622" r:id="rId2494"/>
    <p:sldLayoutId id="2147489710" r:id="rId2495"/>
    <p:sldLayoutId id="2147489713" r:id="rId2496"/>
    <p:sldLayoutId id="2147489844" r:id="rId2497"/>
    <p:sldLayoutId id="2147489847" r:id="rId2498"/>
    <p:sldLayoutId id="2147489332" r:id="rId2499"/>
    <p:sldLayoutId id="2147489326" r:id="rId2500"/>
    <p:sldLayoutId id="2147489323" r:id="rId2501"/>
    <p:sldLayoutId id="2147489335" r:id="rId2502"/>
    <p:sldLayoutId id="2147489852" r:id="rId2503"/>
    <p:sldLayoutId id="2147489856" r:id="rId2504"/>
    <p:sldLayoutId id="2147489854" r:id="rId2505"/>
    <p:sldLayoutId id="2147489861" r:id="rId2506"/>
    <p:sldLayoutId id="2147489859" r:id="rId2507"/>
    <p:sldLayoutId id="2147489862" r:id="rId2508"/>
    <p:sldLayoutId id="2147489863" r:id="rId2509"/>
    <p:sldLayoutId id="2147489865" r:id="rId2510"/>
    <p:sldLayoutId id="2147489867" r:id="rId2511"/>
    <p:sldLayoutId id="2147489317" r:id="rId2512"/>
    <p:sldLayoutId id="2147489869" r:id="rId2513"/>
    <p:sldLayoutId id="2147489338" r:id="rId2514"/>
    <p:sldLayoutId id="2147489341" r:id="rId2515"/>
    <p:sldLayoutId id="2147489372" r:id="rId2516"/>
    <p:sldLayoutId id="2147489374" r:id="rId2517"/>
    <p:sldLayoutId id="2147489392" r:id="rId2518"/>
    <p:sldLayoutId id="2147489382" r:id="rId2519"/>
    <p:sldLayoutId id="2147489380" r:id="rId2520"/>
    <p:sldLayoutId id="2147489394" r:id="rId2521"/>
    <p:sldLayoutId id="2147489378" r:id="rId2522"/>
    <p:sldLayoutId id="2147489396" r:id="rId2523"/>
    <p:sldLayoutId id="2147489386" r:id="rId2524"/>
    <p:sldLayoutId id="2147489406" r:id="rId2525"/>
    <p:sldLayoutId id="2147489402" r:id="rId2526"/>
    <p:sldLayoutId id="2147489408" r:id="rId2527"/>
    <p:sldLayoutId id="2147489344" r:id="rId2528"/>
    <p:sldLayoutId id="2147489350" r:id="rId2529"/>
    <p:sldLayoutId id="2147489356" r:id="rId2530"/>
    <p:sldLayoutId id="2147489366" r:id="rId2531"/>
    <p:sldLayoutId id="2147489362" r:id="rId2532"/>
    <p:sldLayoutId id="2147489606" r:id="rId2533"/>
    <p:sldLayoutId id="2147489943" r:id="rId2534"/>
    <p:sldLayoutId id="2147489951" r:id="rId2535"/>
    <p:sldLayoutId id="2147489690" r:id="rId2536"/>
    <p:sldLayoutId id="2147489686" r:id="rId2537"/>
    <p:sldLayoutId id="2147489872" r:id="rId2538"/>
    <p:sldLayoutId id="2147489944" r:id="rId2539"/>
    <p:sldLayoutId id="2147489946" r:id="rId2540"/>
    <p:sldLayoutId id="2147489945" r:id="rId2541"/>
    <p:sldLayoutId id="2147489644" r:id="rId2542"/>
    <p:sldLayoutId id="2147489638" r:id="rId2543"/>
    <p:sldLayoutId id="2147489648" r:id="rId2544"/>
    <p:sldLayoutId id="2147489652" r:id="rId2545"/>
    <p:sldLayoutId id="2147489658" r:id="rId2546"/>
    <p:sldLayoutId id="2147489666" r:id="rId2547"/>
    <p:sldLayoutId id="2147489680" r:id="rId2548"/>
    <p:sldLayoutId id="2147489672" r:id="rId2549"/>
    <p:sldLayoutId id="2147489873" r:id="rId2550"/>
    <p:sldLayoutId id="2147489874" r:id="rId2551"/>
    <p:sldLayoutId id="2147489886" r:id="rId2552"/>
    <p:sldLayoutId id="2147489887" r:id="rId2553"/>
    <p:sldLayoutId id="2147489476" r:id="rId2554"/>
    <p:sldLayoutId id="2147489891" r:id="rId2555"/>
    <p:sldLayoutId id="2147489890" r:id="rId2556"/>
    <p:sldLayoutId id="2147489480" r:id="rId2557"/>
    <p:sldLayoutId id="2147489889" r:id="rId2558"/>
    <p:sldLayoutId id="2147489484" r:id="rId2559"/>
    <p:sldLayoutId id="2147489893" r:id="rId2560"/>
    <p:sldLayoutId id="2147489899" r:id="rId2561"/>
    <p:sldLayoutId id="2147489897" r:id="rId2562"/>
    <p:sldLayoutId id="2147489900" r:id="rId2563"/>
    <p:sldLayoutId id="2147489875" r:id="rId2564"/>
    <p:sldLayoutId id="2147489877" r:id="rId2565"/>
    <p:sldLayoutId id="2147489879" r:id="rId2566"/>
    <p:sldLayoutId id="2147489883" r:id="rId2567"/>
    <p:sldLayoutId id="2147489881" r:id="rId2568"/>
    <p:sldLayoutId id="2147489919" r:id="rId2569"/>
    <p:sldLayoutId id="2147489922" r:id="rId2570"/>
    <p:sldLayoutId id="2147489904" r:id="rId2571"/>
    <p:sldLayoutId id="2147489902" r:id="rId2572"/>
    <p:sldLayoutId id="2147489901" r:id="rId2573"/>
    <p:sldLayoutId id="2147489905" r:id="rId2574"/>
    <p:sldLayoutId id="2147489928" r:id="rId2575"/>
    <p:sldLayoutId id="2147489550" r:id="rId2576"/>
    <p:sldLayoutId id="2147489546" r:id="rId2577"/>
    <p:sldLayoutId id="2147489566" r:id="rId2578"/>
    <p:sldLayoutId id="2147489562" r:id="rId2579"/>
    <p:sldLayoutId id="2147489568" r:id="rId2580"/>
    <p:sldLayoutId id="2147489939" r:id="rId2581"/>
    <p:sldLayoutId id="2147489572" r:id="rId2582"/>
    <p:sldLayoutId id="2147489940" r:id="rId2583"/>
    <p:sldLayoutId id="2147489941" r:id="rId2584"/>
    <p:sldLayoutId id="2147489582" r:id="rId2585"/>
    <p:sldLayoutId id="2147489906" r:id="rId2586"/>
    <p:sldLayoutId id="2147489907" r:id="rId2587"/>
    <p:sldLayoutId id="2147489921" r:id="rId2588"/>
    <p:sldLayoutId id="2147489923" r:id="rId2589"/>
    <p:sldLayoutId id="2147489933" r:id="rId2590"/>
    <p:sldLayoutId id="2147489929" r:id="rId2591"/>
    <p:sldLayoutId id="2147489926" r:id="rId2592"/>
    <p:sldLayoutId id="2147489934" r:id="rId2593"/>
    <p:sldLayoutId id="2147489925" r:id="rId2594"/>
    <p:sldLayoutId id="2147489552" r:id="rId2595"/>
    <p:sldLayoutId id="2147489931" r:id="rId2596"/>
    <p:sldLayoutId id="2147489596" r:id="rId2597"/>
    <p:sldLayoutId id="2147489937" r:id="rId2598"/>
    <p:sldLayoutId id="2147489600" r:id="rId2599"/>
    <p:sldLayoutId id="2147489908" r:id="rId2600"/>
    <p:sldLayoutId id="2147489910" r:id="rId2601"/>
    <p:sldLayoutId id="2147489912" r:id="rId2602"/>
    <p:sldLayoutId id="2147489917" r:id="rId2603"/>
    <p:sldLayoutId id="2147489915" r:id="rId2604"/>
    <p:sldLayoutId id="2147489935" r:id="rId2605"/>
    <p:sldLayoutId id="2147489554" r:id="rId2606"/>
    <p:sldLayoutId id="2147490173" r:id="rId2607"/>
    <p:sldLayoutId id="2147490174" r:id="rId2608"/>
    <p:sldLayoutId id="2147490200" r:id="rId2609"/>
    <p:sldLayoutId id="2147490198" r:id="rId2610"/>
    <p:sldLayoutId id="2147490197" r:id="rId2611"/>
    <p:sldLayoutId id="2147490201" r:id="rId2612"/>
    <p:sldLayoutId id="2147490176" r:id="rId2613"/>
    <p:sldLayoutId id="2147490180" r:id="rId2614"/>
    <p:sldLayoutId id="2147490178" r:id="rId2615"/>
    <p:sldLayoutId id="2147490185" r:id="rId2616"/>
    <p:sldLayoutId id="2147490183" r:id="rId2617"/>
    <p:sldLayoutId id="2147490186" r:id="rId2618"/>
    <p:sldLayoutId id="2147490187" r:id="rId2619"/>
    <p:sldLayoutId id="2147490189" r:id="rId2620"/>
    <p:sldLayoutId id="2147490191" r:id="rId2621"/>
    <p:sldLayoutId id="2147490195" r:id="rId2622"/>
    <p:sldLayoutId id="2147490193" r:id="rId2623"/>
    <p:sldLayoutId id="2147490202" r:id="rId2624"/>
    <p:sldLayoutId id="2147490203" r:id="rId2625"/>
    <p:sldLayoutId id="2147490215" r:id="rId2626"/>
    <p:sldLayoutId id="2147490216" r:id="rId2627"/>
    <p:sldLayoutId id="2147490225" r:id="rId2628"/>
    <p:sldLayoutId id="2147490220" r:id="rId2629"/>
    <p:sldLayoutId id="2147490219" r:id="rId2630"/>
    <p:sldLayoutId id="2147490226" r:id="rId2631"/>
    <p:sldLayoutId id="2147490218" r:id="rId2632"/>
    <p:sldLayoutId id="2147490227" r:id="rId2633"/>
    <p:sldLayoutId id="2147490222" r:id="rId2634"/>
    <p:sldLayoutId id="2147490232" r:id="rId2635"/>
    <p:sldLayoutId id="2147490230" r:id="rId2636"/>
    <p:sldLayoutId id="2147490233" r:id="rId2637"/>
    <p:sldLayoutId id="2147490204" r:id="rId2638"/>
    <p:sldLayoutId id="2147490206" r:id="rId2639"/>
    <p:sldLayoutId id="2147490208" r:id="rId2640"/>
    <p:sldLayoutId id="2147490212" r:id="rId2641"/>
    <p:sldLayoutId id="2147490210" r:id="rId2642"/>
    <p:sldLayoutId id="2147490252" r:id="rId2643"/>
    <p:sldLayoutId id="2147490255" r:id="rId2644"/>
    <p:sldLayoutId id="2147490237" r:id="rId2645"/>
    <p:sldLayoutId id="2147490235" r:id="rId2646"/>
    <p:sldLayoutId id="2147490234" r:id="rId2647"/>
    <p:sldLayoutId id="2147490238" r:id="rId2648"/>
    <p:sldLayoutId id="2147490261" r:id="rId2649"/>
    <p:sldLayoutId id="2147490271" r:id="rId2650"/>
    <p:sldLayoutId id="2147490267" r:id="rId2651"/>
    <p:sldLayoutId id="2147490284" r:id="rId2652"/>
    <p:sldLayoutId id="2147490281" r:id="rId2653"/>
    <p:sldLayoutId id="2147490285" r:id="rId2654"/>
    <p:sldLayoutId id="2147490286" r:id="rId2655"/>
    <p:sldLayoutId id="2147490288" r:id="rId2656"/>
    <p:sldLayoutId id="2147490290" r:id="rId2657"/>
    <p:sldLayoutId id="2147490294" r:id="rId2658"/>
    <p:sldLayoutId id="2147490292" r:id="rId2659"/>
    <p:sldLayoutId id="2147490239" r:id="rId2660"/>
    <p:sldLayoutId id="2147490240" r:id="rId2661"/>
    <p:sldLayoutId id="2147490254" r:id="rId2662"/>
    <p:sldLayoutId id="2147490256" r:id="rId2663"/>
    <p:sldLayoutId id="2147490270" r:id="rId2664"/>
    <p:sldLayoutId id="2147490262" r:id="rId2665"/>
    <p:sldLayoutId id="2147490259" r:id="rId2666"/>
    <p:sldLayoutId id="2147490272" r:id="rId2667"/>
    <p:sldLayoutId id="2147490258" r:id="rId2668"/>
    <p:sldLayoutId id="2147490273" r:id="rId2669"/>
    <p:sldLayoutId id="2147490264" r:id="rId2670"/>
    <p:sldLayoutId id="2147490296" r:id="rId2671"/>
    <p:sldLayoutId id="2147490280" r:id="rId2672"/>
    <p:sldLayoutId id="2147490297" r:id="rId2673"/>
    <p:sldLayoutId id="2147490241" r:id="rId2674"/>
    <p:sldLayoutId id="2147490243" r:id="rId2675"/>
    <p:sldLayoutId id="2147490245" r:id="rId2676"/>
    <p:sldLayoutId id="2147490250" r:id="rId2677"/>
    <p:sldLayoutId id="2147490248" r:id="rId2678"/>
    <p:sldLayoutId id="2147490274" r:id="rId2679"/>
    <p:sldLayoutId id="2147490275" r:id="rId2680"/>
    <p:sldLayoutId id="2147490299" r:id="rId2681"/>
    <p:sldLayoutId id="2147490300" r:id="rId2682"/>
    <p:sldLayoutId id="2147490326" r:id="rId2683"/>
    <p:sldLayoutId id="2147490324" r:id="rId2684"/>
    <p:sldLayoutId id="2147490323" r:id="rId2685"/>
    <p:sldLayoutId id="2147490327" r:id="rId2686"/>
    <p:sldLayoutId id="2147490302" r:id="rId2687"/>
    <p:sldLayoutId id="2147490306" r:id="rId2688"/>
    <p:sldLayoutId id="2147490304" r:id="rId2689"/>
    <p:sldLayoutId id="2147490311" r:id="rId2690"/>
    <p:sldLayoutId id="2147490309" r:id="rId2691"/>
    <p:sldLayoutId id="2147490312" r:id="rId2692"/>
    <p:sldLayoutId id="2147490313" r:id="rId2693"/>
    <p:sldLayoutId id="2147490315" r:id="rId2694"/>
    <p:sldLayoutId id="2147490317" r:id="rId2695"/>
    <p:sldLayoutId id="2147490321" r:id="rId2696"/>
    <p:sldLayoutId id="2147490319" r:id="rId2697"/>
    <p:sldLayoutId id="2147490328" r:id="rId2698"/>
    <p:sldLayoutId id="2147490329" r:id="rId2699"/>
    <p:sldLayoutId id="2147490341" r:id="rId2700"/>
    <p:sldLayoutId id="2147490342" r:id="rId2701"/>
    <p:sldLayoutId id="2147490352" r:id="rId2702"/>
    <p:sldLayoutId id="2147490346" r:id="rId2703"/>
    <p:sldLayoutId id="2147490345" r:id="rId2704"/>
    <p:sldLayoutId id="2147490353" r:id="rId2705"/>
    <p:sldLayoutId id="2147490344" r:id="rId2706"/>
    <p:sldLayoutId id="2147490355" r:id="rId2707"/>
    <p:sldLayoutId id="2147490348" r:id="rId2708"/>
    <p:sldLayoutId id="2147490361" r:id="rId2709"/>
    <p:sldLayoutId id="2147490359" r:id="rId2710"/>
    <p:sldLayoutId id="2147490363" r:id="rId2711"/>
    <p:sldLayoutId id="2147490330" r:id="rId2712"/>
    <p:sldLayoutId id="2147490332" r:id="rId2713"/>
    <p:sldLayoutId id="2147490334" r:id="rId2714"/>
    <p:sldLayoutId id="2147490338" r:id="rId2715"/>
    <p:sldLayoutId id="2147490336" r:id="rId2716"/>
    <p:sldLayoutId id="2147490067" r:id="rId2717"/>
    <p:sldLayoutId id="2147490068" r:id="rId2718"/>
    <p:sldLayoutId id="2147490123" r:id="rId2719"/>
    <p:sldLayoutId id="2147490118" r:id="rId2720"/>
    <p:sldLayoutId id="2147490115" r:id="rId2721"/>
    <p:sldLayoutId id="2147489957" r:id="rId2722"/>
    <p:sldLayoutId id="2147490070" r:id="rId2723"/>
    <p:sldLayoutId id="2147490074" r:id="rId2724"/>
    <p:sldLayoutId id="2147490072" r:id="rId2725"/>
    <p:sldLayoutId id="2147490079" r:id="rId2726"/>
    <p:sldLayoutId id="2147490077" r:id="rId2727"/>
    <p:sldLayoutId id="2147490080" r:id="rId2728"/>
    <p:sldLayoutId id="2147490085" r:id="rId2729"/>
    <p:sldLayoutId id="2147490089" r:id="rId2730"/>
    <p:sldLayoutId id="2147490092" r:id="rId2731"/>
    <p:sldLayoutId id="2147490101" r:id="rId2732"/>
    <p:sldLayoutId id="2147490096" r:id="rId2733"/>
    <p:sldLayoutId id="2147489959" r:id="rId2734"/>
    <p:sldLayoutId id="2147489960" r:id="rId2735"/>
    <p:sldLayoutId id="2147489978" r:id="rId2736"/>
    <p:sldLayoutId id="2147489979" r:id="rId2737"/>
    <p:sldLayoutId id="2147489991" r:id="rId2738"/>
    <p:sldLayoutId id="2147489983" r:id="rId2739"/>
    <p:sldLayoutId id="2147489982" r:id="rId2740"/>
    <p:sldLayoutId id="2147489992" r:id="rId2741"/>
    <p:sldLayoutId id="2147489981" r:id="rId2742"/>
    <p:sldLayoutId id="2147489994" r:id="rId2743"/>
    <p:sldLayoutId id="2147489986" r:id="rId2744"/>
    <p:sldLayoutId id="2147490000" r:id="rId2745"/>
    <p:sldLayoutId id="2147489998" r:id="rId2746"/>
    <p:sldLayoutId id="2147490001" r:id="rId2747"/>
    <p:sldLayoutId id="2147489962" r:id="rId2748"/>
    <p:sldLayoutId id="2147489965" r:id="rId2749"/>
    <p:sldLayoutId id="2147489967" r:id="rId2750"/>
    <p:sldLayoutId id="2147489973" r:id="rId2751"/>
    <p:sldLayoutId id="2147489970" r:id="rId2752"/>
    <p:sldLayoutId id="2147490020" r:id="rId2753"/>
    <p:sldLayoutId id="2147490023" r:id="rId2754"/>
    <p:sldLayoutId id="2147490005" r:id="rId2755"/>
    <p:sldLayoutId id="2147490003" r:id="rId2756"/>
    <p:sldLayoutId id="2147490002" r:id="rId2757"/>
    <p:sldLayoutId id="2147490006" r:id="rId2758"/>
    <p:sldLayoutId id="2147490029" r:id="rId2759"/>
    <p:sldLayoutId id="2147490039" r:id="rId2760"/>
    <p:sldLayoutId id="2147490035" r:id="rId2761"/>
    <p:sldLayoutId id="2147490052" r:id="rId2762"/>
    <p:sldLayoutId id="2147490049" r:id="rId2763"/>
    <p:sldLayoutId id="2147490053" r:id="rId2764"/>
    <p:sldLayoutId id="2147490054" r:id="rId2765"/>
    <p:sldLayoutId id="2147490056" r:id="rId2766"/>
    <p:sldLayoutId id="2147490058" r:id="rId2767"/>
    <p:sldLayoutId id="2147490062" r:id="rId2768"/>
    <p:sldLayoutId id="2147490060" r:id="rId2769"/>
    <p:sldLayoutId id="2147490007" r:id="rId2770"/>
    <p:sldLayoutId id="2147490008" r:id="rId2771"/>
    <p:sldLayoutId id="2147490022" r:id="rId2772"/>
    <p:sldLayoutId id="2147490024" r:id="rId2773"/>
    <p:sldLayoutId id="2147490038" r:id="rId2774"/>
    <p:sldLayoutId id="2147490030" r:id="rId2775"/>
    <p:sldLayoutId id="2147490027" r:id="rId2776"/>
    <p:sldLayoutId id="2147490040" r:id="rId2777"/>
    <p:sldLayoutId id="2147490026" r:id="rId2778"/>
    <p:sldLayoutId id="2147490041" r:id="rId2779"/>
    <p:sldLayoutId id="2147490032" r:id="rId2780"/>
    <p:sldLayoutId id="2147490064" r:id="rId2781"/>
    <p:sldLayoutId id="2147490048" r:id="rId2782"/>
    <p:sldLayoutId id="2147490065" r:id="rId2783"/>
    <p:sldLayoutId id="2147490009" r:id="rId2784"/>
    <p:sldLayoutId id="2147490011" r:id="rId2785"/>
    <p:sldLayoutId id="2147490013" r:id="rId2786"/>
    <p:sldLayoutId id="2147490018" r:id="rId2787"/>
    <p:sldLayoutId id="2147490016" r:id="rId2788"/>
    <p:sldLayoutId id="2147490042" r:id="rId2789"/>
    <p:sldLayoutId id="2147490043" r:id="rId2790"/>
    <p:sldLayoutId id="2147490119" r:id="rId2791"/>
    <p:sldLayoutId id="2147489956" r:id="rId2792"/>
    <p:sldLayoutId id="2147490138" r:id="rId2793"/>
    <p:sldLayoutId id="2147490136" r:id="rId2794"/>
    <p:sldLayoutId id="2147490135" r:id="rId2795"/>
    <p:sldLayoutId id="2147490139" r:id="rId2796"/>
    <p:sldLayoutId id="2147489963" r:id="rId2797"/>
    <p:sldLayoutId id="2147489977" r:id="rId2798"/>
    <p:sldLayoutId id="2147489971" r:id="rId2799"/>
    <p:sldLayoutId id="2147489996" r:id="rId2800"/>
    <p:sldLayoutId id="2147489990" r:id="rId2801"/>
    <p:sldLayoutId id="2147490124" r:id="rId2802"/>
    <p:sldLayoutId id="2147490125" r:id="rId2803"/>
    <p:sldLayoutId id="2147490127" r:id="rId2804"/>
    <p:sldLayoutId id="2147490129" r:id="rId2805"/>
    <p:sldLayoutId id="2147490133" r:id="rId2806"/>
    <p:sldLayoutId id="2147490131" r:id="rId2807"/>
    <p:sldLayoutId id="2147490140" r:id="rId2808"/>
    <p:sldLayoutId id="2147490141" r:id="rId2809"/>
    <p:sldLayoutId id="2147490153" r:id="rId2810"/>
    <p:sldLayoutId id="2147490154" r:id="rId2811"/>
    <p:sldLayoutId id="2147490163" r:id="rId2812"/>
    <p:sldLayoutId id="2147490158" r:id="rId2813"/>
    <p:sldLayoutId id="2147490157" r:id="rId2814"/>
    <p:sldLayoutId id="2147490164" r:id="rId2815"/>
    <p:sldLayoutId id="2147490156" r:id="rId2816"/>
    <p:sldLayoutId id="2147490165" r:id="rId2817"/>
    <p:sldLayoutId id="2147490160" r:id="rId2818"/>
    <p:sldLayoutId id="2147490170" r:id="rId2819"/>
    <p:sldLayoutId id="2147490168" r:id="rId2820"/>
    <p:sldLayoutId id="2147490171" r:id="rId2821"/>
    <p:sldLayoutId id="2147490142" r:id="rId2822"/>
    <p:sldLayoutId id="2147490144" r:id="rId2823"/>
    <p:sldLayoutId id="2147490146" r:id="rId2824"/>
    <p:sldLayoutId id="2147490150" r:id="rId2825"/>
    <p:sldLayoutId id="2147490148" r:id="rId2826"/>
    <p:sldLayoutId id="2147490086" r:id="rId2827"/>
    <p:sldLayoutId id="2147490088" r:id="rId2828"/>
    <p:sldLayoutId id="2147489955" r:id="rId2829"/>
    <p:sldLayoutId id="2147489953" r:id="rId2830"/>
    <p:sldLayoutId id="2147489952" r:id="rId2831"/>
    <p:sldLayoutId id="2147490081" r:id="rId2832"/>
    <p:sldLayoutId id="2147490093" r:id="rId2833"/>
    <p:sldLayoutId id="2147490100" r:id="rId2834"/>
    <p:sldLayoutId id="2147490097" r:id="rId2835"/>
    <p:sldLayoutId id="2147490107" r:id="rId2836"/>
    <p:sldLayoutId id="2147490105" r:id="rId2837"/>
    <p:sldLayoutId id="2147490108" r:id="rId2838"/>
    <p:sldLayoutId id="2147490109" r:id="rId2839"/>
    <p:sldLayoutId id="2147490111" r:id="rId2840"/>
    <p:sldLayoutId id="2147490114" r:id="rId2841"/>
    <p:sldLayoutId id="2147490122" r:id="rId2842"/>
    <p:sldLayoutId id="2147490117" r:id="rId2843"/>
    <p:sldLayoutId id="2147490082" r:id="rId2844"/>
    <p:sldLayoutId id="2147490083" r:id="rId2845"/>
    <p:sldLayoutId id="2147489041" r:id="rId2846"/>
    <p:sldLayoutId id="2147489045" r:id="rId2847"/>
    <p:sldLayoutId id="2147489115" r:id="rId2848"/>
    <p:sldLayoutId id="2147489113" r:id="rId2849"/>
    <p:sldLayoutId id="2147489112" r:id="rId2850"/>
    <p:sldLayoutId id="2147489117" r:id="rId2851"/>
    <p:sldLayoutId id="2147489055" r:id="rId2852"/>
    <p:sldLayoutId id="2147489069" r:id="rId2853"/>
    <p:sldLayoutId id="2147489063" r:id="rId2854"/>
    <p:sldLayoutId id="2147489083" r:id="rId2855"/>
    <p:sldLayoutId id="2147489079" r:id="rId2856"/>
    <p:sldLayoutId id="2147489085" r:id="rId2857"/>
    <p:sldLayoutId id="2147489089" r:id="rId2858"/>
    <p:sldLayoutId id="2147489092" r:id="rId2859"/>
    <p:sldLayoutId id="2147489095" r:id="rId2860"/>
    <p:sldLayoutId id="2147489103" r:id="rId2861"/>
    <p:sldLayoutId id="2147489099" r:id="rId2862"/>
    <p:sldLayoutId id="2147489118" r:id="rId2863"/>
    <p:sldLayoutId id="2147489119" r:id="rId2864"/>
    <p:sldLayoutId id="2147489140" r:id="rId2865"/>
    <p:sldLayoutId id="2147489141" r:id="rId2866"/>
    <p:sldLayoutId id="2147489155" r:id="rId2867"/>
    <p:sldLayoutId id="2147489147" r:id="rId2868"/>
    <p:sldLayoutId id="2147489146" r:id="rId2869"/>
    <p:sldLayoutId id="2147489156" r:id="rId2870"/>
    <p:sldLayoutId id="2147489144" r:id="rId2871"/>
    <p:sldLayoutId id="2147489158" r:id="rId2872"/>
    <p:sldLayoutId id="2147489150" r:id="rId2873"/>
    <p:sldLayoutId id="2147489165" r:id="rId2874"/>
    <p:sldLayoutId id="2147489162" r:id="rId2875"/>
    <p:sldLayoutId id="2147489167" r:id="rId2876"/>
    <p:sldLayoutId id="2147489120" r:id="rId2877"/>
    <p:sldLayoutId id="2147489123" r:id="rId2878"/>
    <p:sldLayoutId id="2147489128" r:id="rId2879"/>
    <p:sldLayoutId id="2147489135" r:id="rId2880"/>
    <p:sldLayoutId id="2147489132" r:id="rId2881"/>
    <p:sldLayoutId id="2147489229" r:id="rId2882"/>
    <p:sldLayoutId id="2147489234" r:id="rId2883"/>
    <p:sldLayoutId id="2147489190" r:id="rId2884"/>
    <p:sldLayoutId id="2147489184" r:id="rId2885"/>
    <p:sldLayoutId id="2147489182" r:id="rId2886"/>
    <p:sldLayoutId id="2147489194" r:id="rId2887"/>
    <p:sldLayoutId id="2147489243" r:id="rId2888"/>
    <p:sldLayoutId id="2147489253" r:id="rId2889"/>
    <p:sldLayoutId id="2147489249" r:id="rId2890"/>
    <p:sldLayoutId id="2147489266" r:id="rId2891"/>
    <p:sldLayoutId id="2147489263" r:id="rId2892"/>
    <p:sldLayoutId id="2147489267" r:id="rId2893"/>
    <p:sldLayoutId id="2147489268" r:id="rId2894"/>
    <p:sldLayoutId id="2147489270" r:id="rId2895"/>
    <p:sldLayoutId id="2147489272" r:id="rId2896"/>
    <p:sldLayoutId id="2147489276" r:id="rId2897"/>
    <p:sldLayoutId id="2147489274" r:id="rId2898"/>
    <p:sldLayoutId id="2147489196" r:id="rId2899"/>
    <p:sldLayoutId id="2147489200" r:id="rId2900"/>
    <p:sldLayoutId id="2147489232" r:id="rId2901"/>
    <p:sldLayoutId id="2147489235" r:id="rId2902"/>
    <p:sldLayoutId id="2147489252" r:id="rId2903"/>
    <p:sldLayoutId id="2147489244" r:id="rId2904"/>
    <p:sldLayoutId id="2147489240" r:id="rId2905"/>
    <p:sldLayoutId id="2147489254" r:id="rId2906"/>
    <p:sldLayoutId id="2147489238" r:id="rId2907"/>
    <p:sldLayoutId id="2147489255" r:id="rId2908"/>
    <p:sldLayoutId id="2147489246" r:id="rId2909"/>
    <p:sldLayoutId id="2147489278" r:id="rId2910"/>
    <p:sldLayoutId id="2147489262" r:id="rId2911"/>
    <p:sldLayoutId id="2147489279" r:id="rId2912"/>
    <p:sldLayoutId id="2147489204" r:id="rId2913"/>
    <p:sldLayoutId id="2147489210" r:id="rId2914"/>
    <p:sldLayoutId id="2147489216" r:id="rId2915"/>
    <p:sldLayoutId id="2147489226" r:id="rId2916"/>
    <p:sldLayoutId id="2147489223" r:id="rId2917"/>
    <p:sldLayoutId id="2147489256" r:id="rId2918"/>
    <p:sldLayoutId id="2147489257" r:id="rId2919"/>
    <p:sldLayoutId id="2147489313" r:id="rId2920"/>
    <p:sldLayoutId id="2147489316" r:id="rId2921"/>
    <p:sldLayoutId id="2147489385" r:id="rId2922"/>
    <p:sldLayoutId id="2147489379" r:id="rId2923"/>
    <p:sldLayoutId id="2147489377" r:id="rId2924"/>
    <p:sldLayoutId id="2147489389" r:id="rId2925"/>
    <p:sldLayoutId id="2147489321" r:id="rId2926"/>
    <p:sldLayoutId id="2147489330" r:id="rId2927"/>
    <p:sldLayoutId id="2147489325" r:id="rId2928"/>
    <p:sldLayoutId id="2147489343" r:id="rId2929"/>
    <p:sldLayoutId id="2147489337" r:id="rId2930"/>
    <p:sldLayoutId id="2147489345" r:id="rId2931"/>
    <p:sldLayoutId id="2147489348" r:id="rId2932"/>
    <p:sldLayoutId id="2147489352" r:id="rId2933"/>
    <p:sldLayoutId id="2147489358" r:id="rId2934"/>
    <p:sldLayoutId id="2147489371" r:id="rId2935"/>
    <p:sldLayoutId id="2147489364" r:id="rId2936"/>
    <p:sldLayoutId id="2147489393" r:id="rId2937"/>
    <p:sldLayoutId id="2147489397" r:id="rId2938"/>
    <p:sldLayoutId id="2147489435" r:id="rId2939"/>
    <p:sldLayoutId id="2147489439" r:id="rId2940"/>
    <p:sldLayoutId id="2147489467" r:id="rId2941"/>
    <p:sldLayoutId id="2147489453" r:id="rId2942"/>
    <p:sldLayoutId id="2147489449" r:id="rId2943"/>
    <p:sldLayoutId id="2147489469" r:id="rId2944"/>
    <p:sldLayoutId id="2147489445" r:id="rId2945"/>
    <p:sldLayoutId id="2147489471" r:id="rId2946"/>
    <p:sldLayoutId id="2147489459" r:id="rId2947"/>
    <p:sldLayoutId id="2147489485" r:id="rId2948"/>
    <p:sldLayoutId id="2147489479" r:id="rId2949"/>
    <p:sldLayoutId id="2147489487" r:id="rId2950"/>
    <p:sldLayoutId id="2147489401" r:id="rId2951"/>
    <p:sldLayoutId id="2147489409" r:id="rId2952"/>
    <p:sldLayoutId id="2147489415" r:id="rId2953"/>
    <p:sldLayoutId id="2147489427" r:id="rId2954"/>
    <p:sldLayoutId id="2147489421" r:id="rId2955"/>
    <p:sldLayoutId id="2147489733" r:id="rId2956"/>
    <p:sldLayoutId id="2147489735" r:id="rId2957"/>
    <p:sldLayoutId id="2147489805" r:id="rId2958"/>
    <p:sldLayoutId id="2147489800" r:id="rId2959"/>
    <p:sldLayoutId id="2147489797" r:id="rId2960"/>
    <p:sldLayoutId id="2147489525" r:id="rId2961"/>
    <p:sldLayoutId id="2147489738" r:id="rId2962"/>
    <p:sldLayoutId id="2147489744" r:id="rId2963"/>
    <p:sldLayoutId id="2147489741" r:id="rId2964"/>
    <p:sldLayoutId id="2147489751" r:id="rId2965"/>
    <p:sldLayoutId id="2147489748" r:id="rId2966"/>
    <p:sldLayoutId id="2147489753" r:id="rId2967"/>
    <p:sldLayoutId id="2147489760" r:id="rId2968"/>
    <p:sldLayoutId id="2147489766" r:id="rId2969"/>
    <p:sldLayoutId id="2147489771" r:id="rId2970"/>
    <p:sldLayoutId id="2147489781" r:id="rId2971"/>
    <p:sldLayoutId id="2147489776" r:id="rId2972"/>
    <p:sldLayoutId id="2147489529" r:id="rId2973"/>
    <p:sldLayoutId id="2147489531" r:id="rId2974"/>
    <p:sldLayoutId id="2147489567" r:id="rId2975"/>
    <p:sldLayoutId id="2147489569" r:id="rId2976"/>
    <p:sldLayoutId id="2147489593" r:id="rId2977"/>
    <p:sldLayoutId id="2147489577" r:id="rId2978"/>
    <p:sldLayoutId id="2147489575" r:id="rId2979"/>
    <p:sldLayoutId id="2147489595" r:id="rId2980"/>
    <p:sldLayoutId id="2147489573" r:id="rId2981"/>
    <p:sldLayoutId id="2147489599" r:id="rId2982"/>
    <p:sldLayoutId id="2147489583" r:id="rId2983"/>
    <p:sldLayoutId id="2147489611" r:id="rId2984"/>
    <p:sldLayoutId id="2147489607" r:id="rId2985"/>
    <p:sldLayoutId id="2147489613" r:id="rId2986"/>
    <p:sldLayoutId id="2147489535" r:id="rId2987"/>
    <p:sldLayoutId id="2147489541" r:id="rId2988"/>
    <p:sldLayoutId id="2147489545" r:id="rId2989"/>
    <p:sldLayoutId id="2147489557" r:id="rId2990"/>
    <p:sldLayoutId id="2147489551" r:id="rId2991"/>
    <p:sldLayoutId id="2147489651" r:id="rId2992"/>
    <p:sldLayoutId id="2147489657" r:id="rId2993"/>
    <p:sldLayoutId id="2147489621" r:id="rId2994"/>
    <p:sldLayoutId id="2147489617" r:id="rId2995"/>
    <p:sldLayoutId id="2147489615" r:id="rId2996"/>
    <p:sldLayoutId id="2147489623" r:id="rId2997"/>
    <p:sldLayoutId id="2147489669" r:id="rId2998"/>
    <p:sldLayoutId id="2147489689" r:id="rId2999"/>
    <p:sldLayoutId id="2147489681" r:id="rId3000"/>
    <p:sldLayoutId id="2147489711" r:id="rId3001"/>
    <p:sldLayoutId id="2147489706" r:id="rId3002"/>
    <p:sldLayoutId id="2147489712" r:id="rId3003"/>
    <p:sldLayoutId id="2147489714" r:id="rId3004"/>
    <p:sldLayoutId id="2147489717" r:id="rId3005"/>
    <p:sldLayoutId id="2147489720" r:id="rId3006"/>
    <p:sldLayoutId id="2147489726" r:id="rId3007"/>
    <p:sldLayoutId id="2147489723" r:id="rId3008"/>
    <p:sldLayoutId id="2147489625" r:id="rId3009"/>
    <p:sldLayoutId id="2147489627" r:id="rId3010"/>
    <p:sldLayoutId id="2147489655" r:id="rId3011"/>
    <p:sldLayoutId id="2147489659" r:id="rId3012"/>
    <p:sldLayoutId id="2147489687" r:id="rId3013"/>
    <p:sldLayoutId id="2147489671" r:id="rId3014"/>
    <p:sldLayoutId id="2147489665" r:id="rId3015"/>
    <p:sldLayoutId id="2147489691" r:id="rId3016"/>
    <p:sldLayoutId id="2147489663" r:id="rId3017"/>
    <p:sldLayoutId id="2147489693" r:id="rId3018"/>
    <p:sldLayoutId id="2147489675" r:id="rId3019"/>
    <p:sldLayoutId id="2147489729" r:id="rId3020"/>
    <p:sldLayoutId id="2147489705" r:id="rId3021"/>
    <p:sldLayoutId id="2147489730" r:id="rId3022"/>
    <p:sldLayoutId id="2147489629" r:id="rId3023"/>
    <p:sldLayoutId id="2147489633" r:id="rId3024"/>
    <p:sldLayoutId id="2147489637" r:id="rId3025"/>
    <p:sldLayoutId id="2147489647" r:id="rId3026"/>
    <p:sldLayoutId id="2147489643" r:id="rId3027"/>
    <p:sldLayoutId id="2147489695" r:id="rId3028"/>
    <p:sldLayoutId id="2147489697" r:id="rId3029"/>
    <p:sldLayoutId id="2147489801" r:id="rId3030"/>
    <p:sldLayoutId id="2147489523" r:id="rId3031"/>
    <p:sldLayoutId id="2147489820" r:id="rId3032"/>
    <p:sldLayoutId id="2147489818" r:id="rId3033"/>
    <p:sldLayoutId id="2147489817" r:id="rId3034"/>
    <p:sldLayoutId id="2147489821" r:id="rId3035"/>
    <p:sldLayoutId id="2147489537" r:id="rId3036"/>
    <p:sldLayoutId id="2147489565" r:id="rId3037"/>
    <p:sldLayoutId id="2147489553" r:id="rId3038"/>
    <p:sldLayoutId id="2147489603" r:id="rId3039"/>
    <p:sldLayoutId id="2147489591" r:id="rId3040"/>
    <p:sldLayoutId id="2147489806" r:id="rId3041"/>
    <p:sldLayoutId id="2147489807" r:id="rId3042"/>
    <p:sldLayoutId id="2147489809" r:id="rId3043"/>
    <p:sldLayoutId id="2147489811" r:id="rId3044"/>
    <p:sldLayoutId id="2147489815" r:id="rId3045"/>
    <p:sldLayoutId id="2147489813" r:id="rId3046"/>
    <p:sldLayoutId id="2147489822" r:id="rId3047"/>
    <p:sldLayoutId id="2147489823" r:id="rId3048"/>
    <p:sldLayoutId id="2147489835" r:id="rId3049"/>
    <p:sldLayoutId id="2147489836" r:id="rId3050"/>
    <p:sldLayoutId id="2147489848" r:id="rId3051"/>
    <p:sldLayoutId id="2147489840" r:id="rId3052"/>
    <p:sldLayoutId id="2147489839" r:id="rId3053"/>
    <p:sldLayoutId id="2147489849" r:id="rId3054"/>
    <p:sldLayoutId id="2147489838" r:id="rId3055"/>
    <p:sldLayoutId id="2147489851" r:id="rId3056"/>
    <p:sldLayoutId id="2147489843" r:id="rId3057"/>
    <p:sldLayoutId id="2147488702" r:id="rId3058"/>
    <p:sldLayoutId id="2147488700" r:id="rId3059"/>
    <p:sldLayoutId id="2147488703" r:id="rId3060"/>
    <p:sldLayoutId id="2147489824" r:id="rId3061"/>
    <p:sldLayoutId id="2147489826" r:id="rId3062"/>
    <p:sldLayoutId id="2147489828" r:id="rId3063"/>
    <p:sldLayoutId id="2147489832" r:id="rId3064"/>
    <p:sldLayoutId id="2147489830" r:id="rId3065"/>
    <p:sldLayoutId id="2147489762" r:id="rId3066"/>
    <p:sldLayoutId id="2147489765" r:id="rId3067"/>
    <p:sldLayoutId id="2147489521" r:id="rId3068"/>
    <p:sldLayoutId id="2147489517" r:id="rId3069"/>
    <p:sldLayoutId id="2147489515" r:id="rId3070"/>
    <p:sldLayoutId id="2147489754" r:id="rId3071"/>
    <p:sldLayoutId id="2147489772" r:id="rId3072"/>
    <p:sldLayoutId id="2147489780" r:id="rId3073"/>
    <p:sldLayoutId id="2147489777" r:id="rId3074"/>
    <p:sldLayoutId id="2147489787" r:id="rId3075"/>
    <p:sldLayoutId id="2147489785" r:id="rId3076"/>
    <p:sldLayoutId id="2147489788" r:id="rId3077"/>
    <p:sldLayoutId id="2147489789" r:id="rId3078"/>
    <p:sldLayoutId id="2147489791" r:id="rId3079"/>
    <p:sldLayoutId id="2147489795" r:id="rId3080"/>
    <p:sldLayoutId id="2147489804" r:id="rId3081"/>
    <p:sldLayoutId id="2147489799" r:id="rId3082"/>
    <p:sldLayoutId id="2147489756" r:id="rId3083"/>
    <p:sldLayoutId id="2147489757" r:id="rId3084"/>
    <p:sldLayoutId id="2147488761" r:id="rId3085"/>
    <p:sldLayoutId id="2147488763" r:id="rId3086"/>
    <p:sldLayoutId id="2147488806" r:id="rId3087"/>
    <p:sldLayoutId id="2147488803" r:id="rId3088"/>
    <p:sldLayoutId id="2147488801" r:id="rId3089"/>
    <p:sldLayoutId id="2147488808" r:id="rId3090"/>
    <p:sldLayoutId id="2147488766" r:id="rId3091"/>
    <p:sldLayoutId id="2147488773" r:id="rId3092"/>
    <p:sldLayoutId id="2147488770" r:id="rId3093"/>
    <p:sldLayoutId id="2147488781" r:id="rId3094"/>
    <p:sldLayoutId id="2147488778" r:id="rId3095"/>
    <p:sldLayoutId id="2147488783" r:id="rId3096"/>
    <p:sldLayoutId id="2147488784" r:id="rId3097"/>
    <p:sldLayoutId id="2147488787" r:id="rId3098"/>
    <p:sldLayoutId id="2147488790" r:id="rId3099"/>
    <p:sldLayoutId id="2147488797" r:id="rId3100"/>
    <p:sldLayoutId id="2147488794" r:id="rId3101"/>
    <p:sldLayoutId id="2147488810" r:id="rId3102"/>
    <p:sldLayoutId id="2147488811" r:id="rId3103"/>
    <p:sldLayoutId id="2147488841" r:id="rId3104"/>
    <p:sldLayoutId id="2147488843" r:id="rId3105"/>
    <p:sldLayoutId id="2147488861" r:id="rId3106"/>
    <p:sldLayoutId id="2147488851" r:id="rId3107"/>
    <p:sldLayoutId id="2147488849" r:id="rId3108"/>
    <p:sldLayoutId id="2147488863" r:id="rId3109"/>
    <p:sldLayoutId id="2147488847" r:id="rId3110"/>
    <p:sldLayoutId id="2147488865" r:id="rId3111"/>
    <p:sldLayoutId id="2147488855" r:id="rId3112"/>
    <p:sldLayoutId id="2147488875" r:id="rId3113"/>
    <p:sldLayoutId id="2147488871" r:id="rId3114"/>
    <p:sldLayoutId id="2147488877" r:id="rId3115"/>
    <p:sldLayoutId id="2147488817" r:id="rId3116"/>
    <p:sldLayoutId id="2147488824" r:id="rId3117"/>
    <p:sldLayoutId id="2147488827" r:id="rId3118"/>
    <p:sldLayoutId id="2147488835" r:id="rId3119"/>
    <p:sldLayoutId id="2147488831" r:id="rId3120"/>
    <p:sldLayoutId id="2147488973" r:id="rId3121"/>
    <p:sldLayoutId id="2147488983" r:id="rId3122"/>
    <p:sldLayoutId id="2147488925" r:id="rId3123"/>
    <p:sldLayoutId id="2147488917" r:id="rId3124"/>
    <p:sldLayoutId id="2147488913" r:id="rId3125"/>
    <p:sldLayoutId id="2147488927" r:id="rId3126"/>
    <p:sldLayoutId id="2147489005" r:id="rId3127"/>
    <p:sldLayoutId id="2147489039" r:id="rId3128"/>
    <p:sldLayoutId id="2147489025" r:id="rId3129"/>
    <p:sldLayoutId id="2147489086" r:id="rId3130"/>
    <p:sldLayoutId id="2147489077" r:id="rId3131"/>
    <p:sldLayoutId id="2147489087" r:id="rId3132"/>
    <p:sldLayoutId id="2147489088" r:id="rId3133"/>
    <p:sldLayoutId id="2147489093" r:id="rId3134"/>
    <p:sldLayoutId id="2147489100" r:id="rId3135"/>
    <p:sldLayoutId id="2147489109" r:id="rId3136"/>
    <p:sldLayoutId id="2147489107" r:id="rId3137"/>
    <p:sldLayoutId id="2147488931" r:id="rId3138"/>
    <p:sldLayoutId id="2147488935" r:id="rId3139"/>
    <p:sldLayoutId id="2147488979" r:id="rId3140"/>
    <p:sldLayoutId id="2147488987" r:id="rId3141"/>
    <p:sldLayoutId id="2147489037" r:id="rId3142"/>
    <p:sldLayoutId id="2147489007" r:id="rId3143"/>
    <p:sldLayoutId id="2147488997" r:id="rId3144"/>
    <p:sldLayoutId id="2147489043" r:id="rId3145"/>
    <p:sldLayoutId id="2147488993" r:id="rId3146"/>
    <p:sldLayoutId id="2147489047" r:id="rId3147"/>
    <p:sldLayoutId id="2147489015" r:id="rId3148"/>
    <p:sldLayoutId id="2147489126" r:id="rId3149"/>
    <p:sldLayoutId id="2147489073" r:id="rId3150"/>
    <p:sldLayoutId id="2147489131" r:id="rId3151"/>
    <p:sldLayoutId id="2147488939" r:id="rId3152"/>
    <p:sldLayoutId id="2147488945" r:id="rId3153"/>
    <p:sldLayoutId id="2147488951" r:id="rId3154"/>
    <p:sldLayoutId id="2147488965" r:id="rId3155"/>
    <p:sldLayoutId id="2147488959" r:id="rId3156"/>
    <p:sldLayoutId id="2147489049" r:id="rId3157"/>
    <p:sldLayoutId id="2147489053" r:id="rId3158"/>
    <p:sldLayoutId id="2147489170" r:id="rId3159"/>
    <p:sldLayoutId id="2147489171" r:id="rId3160"/>
    <p:sldLayoutId id="2147488710" r:id="rId3161"/>
    <p:sldLayoutId id="2147488708" r:id="rId3162"/>
    <p:sldLayoutId id="2147488707" r:id="rId3163"/>
    <p:sldLayoutId id="2147488711" r:id="rId3164"/>
    <p:sldLayoutId id="2147489174" r:id="rId3165"/>
    <p:sldLayoutId id="2147489186" r:id="rId3166"/>
    <p:sldLayoutId id="2147489178" r:id="rId3167"/>
    <p:sldLayoutId id="2147489214" r:id="rId3168"/>
    <p:sldLayoutId id="2147489202" r:id="rId3169"/>
    <p:sldLayoutId id="2147489220" r:id="rId3170"/>
    <p:sldLayoutId id="2147489224" r:id="rId3171"/>
    <p:sldLayoutId id="2147489230" r:id="rId3172"/>
    <p:sldLayoutId id="2147489236" r:id="rId3173"/>
    <p:sldLayoutId id="2147488705" r:id="rId3174"/>
    <p:sldLayoutId id="2147489242" r:id="rId3175"/>
    <p:sldLayoutId id="2147488712" r:id="rId3176"/>
    <p:sldLayoutId id="2147488713" r:id="rId3177"/>
    <p:sldLayoutId id="2147488728" r:id="rId3178"/>
    <p:sldLayoutId id="2147488730" r:id="rId3179"/>
    <p:sldLayoutId id="2147488744" r:id="rId3180"/>
    <p:sldLayoutId id="2147488736" r:id="rId3181"/>
    <p:sldLayoutId id="2147488734" r:id="rId3182"/>
    <p:sldLayoutId id="2147488746" r:id="rId3183"/>
    <p:sldLayoutId id="2147488733" r:id="rId3184"/>
    <p:sldLayoutId id="2147488747" r:id="rId3185"/>
    <p:sldLayoutId id="2147488739" r:id="rId3186"/>
    <p:sldLayoutId id="2147488756" r:id="rId3187"/>
    <p:sldLayoutId id="2147488752" r:id="rId3188"/>
    <p:sldLayoutId id="2147488757" r:id="rId3189"/>
    <p:sldLayoutId id="2147488714" r:id="rId3190"/>
    <p:sldLayoutId id="2147488716" r:id="rId3191"/>
    <p:sldLayoutId id="2147488718" r:id="rId3192"/>
    <p:sldLayoutId id="2147488723" r:id="rId3193"/>
    <p:sldLayoutId id="2147488720" r:id="rId3194"/>
    <p:sldLayoutId id="2147488943" r:id="rId3195"/>
    <p:sldLayoutId id="2147489497" r:id="rId3196"/>
    <p:sldLayoutId id="2147489513" r:id="rId3197"/>
    <p:sldLayoutId id="2147489027" r:id="rId3198"/>
    <p:sldLayoutId id="2147489023" r:id="rId3199"/>
    <p:sldLayoutId id="2147489280" r:id="rId3200"/>
    <p:sldLayoutId id="2147489499" r:id="rId3201"/>
    <p:sldLayoutId id="2147489503" r:id="rId3202"/>
    <p:sldLayoutId id="2147489501" r:id="rId3203"/>
    <p:sldLayoutId id="2147488981" r:id="rId3204"/>
    <p:sldLayoutId id="2147488975" r:id="rId3205"/>
    <p:sldLayoutId id="2147488985" r:id="rId3206"/>
    <p:sldLayoutId id="2147488989" r:id="rId3207"/>
    <p:sldLayoutId id="2147488995" r:id="rId3208"/>
    <p:sldLayoutId id="2147489003" r:id="rId3209"/>
    <p:sldLayoutId id="2147489017" r:id="rId3210"/>
    <p:sldLayoutId id="2147489009" r:id="rId3211"/>
    <p:sldLayoutId id="2147489281" r:id="rId3212"/>
    <p:sldLayoutId id="2147489282" r:id="rId3213"/>
    <p:sldLayoutId id="2147489294" r:id="rId3214"/>
    <p:sldLayoutId id="2147489295" r:id="rId3215"/>
    <p:sldLayoutId id="2147488815" r:id="rId3216"/>
    <p:sldLayoutId id="2147489299" r:id="rId3217"/>
    <p:sldLayoutId id="2147489298" r:id="rId3218"/>
    <p:sldLayoutId id="2147488818" r:id="rId3219"/>
    <p:sldLayoutId id="2147489297" r:id="rId3220"/>
    <p:sldLayoutId id="2147488822" r:id="rId3221"/>
    <p:sldLayoutId id="2147489301" r:id="rId3222"/>
    <p:sldLayoutId id="2147489307" r:id="rId3223"/>
    <p:sldLayoutId id="2147489305" r:id="rId3224"/>
    <p:sldLayoutId id="2147489308" r:id="rId3225"/>
    <p:sldLayoutId id="2147489283" r:id="rId3226"/>
    <p:sldLayoutId id="2147489285" r:id="rId3227"/>
    <p:sldLayoutId id="2147489287" r:id="rId3228"/>
    <p:sldLayoutId id="2147489291" r:id="rId3229"/>
    <p:sldLayoutId id="2147489289" r:id="rId3230"/>
    <p:sldLayoutId id="2147489375" r:id="rId3231"/>
    <p:sldLayoutId id="2147489391" r:id="rId3232"/>
    <p:sldLayoutId id="2147489315" r:id="rId3233"/>
    <p:sldLayoutId id="2147489310" r:id="rId3234"/>
    <p:sldLayoutId id="2147489309" r:id="rId3235"/>
    <p:sldLayoutId id="2147489319" r:id="rId3236"/>
    <p:sldLayoutId id="2147489417" r:id="rId3237"/>
    <p:sldLayoutId id="2147488887" r:id="rId3238"/>
    <p:sldLayoutId id="2147488883" r:id="rId3239"/>
    <p:sldLayoutId id="2147488903" r:id="rId3240"/>
    <p:sldLayoutId id="2147488899" r:id="rId3241"/>
    <p:sldLayoutId id="2147488905" r:id="rId3242"/>
    <p:sldLayoutId id="2147489489" r:id="rId3243"/>
    <p:sldLayoutId id="2147488909" r:id="rId3244"/>
    <p:sldLayoutId id="2147489491" r:id="rId3245"/>
    <p:sldLayoutId id="2147489493" r:id="rId3246"/>
    <p:sldLayoutId id="2147488919" r:id="rId3247"/>
    <p:sldLayoutId id="2147489322" r:id="rId3248"/>
    <p:sldLayoutId id="2147489327" r:id="rId3249"/>
    <p:sldLayoutId id="2147489387" r:id="rId3250"/>
    <p:sldLayoutId id="2147489395" r:id="rId3251"/>
    <p:sldLayoutId id="2147489447" r:id="rId3252"/>
    <p:sldLayoutId id="2147489423" r:id="rId3253"/>
    <p:sldLayoutId id="2147489407" r:id="rId3254"/>
    <p:sldLayoutId id="2147489451" r:id="rId3255"/>
    <p:sldLayoutId id="2147489403" r:id="rId3256"/>
    <p:sldLayoutId id="2147488889" r:id="rId3257"/>
    <p:sldLayoutId id="2147489437" r:id="rId3258"/>
    <p:sldLayoutId id="2147488933" r:id="rId3259"/>
    <p:sldLayoutId id="2147489473" r:id="rId3260"/>
    <p:sldLayoutId id="2147488937" r:id="rId3261"/>
    <p:sldLayoutId id="2147489331" r:id="rId3262"/>
    <p:sldLayoutId id="2147489339" r:id="rId3263"/>
    <p:sldLayoutId id="2147489346" r:id="rId3264"/>
    <p:sldLayoutId id="2147489363" r:id="rId3265"/>
    <p:sldLayoutId id="2147489357" r:id="rId3266"/>
    <p:sldLayoutId id="2147489455" r:id="rId3267"/>
    <p:sldLayoutId id="2147488891" r:id="rId3268"/>
    <p:sldLayoutId id="2147495125" r:id="rId3269"/>
    <p:sldLayoutId id="2147495123" r:id="rId3270"/>
    <p:sldLayoutId id="2147495349" r:id="rId3271"/>
    <p:sldLayoutId id="2147496309" r:id="rId3272"/>
    <p:sldLayoutId id="2147496388" r:id="rId3273"/>
    <p:sldLayoutId id="2147496383" r:id="rId3274"/>
    <p:sldLayoutId id="2147496380" r:id="rId3275"/>
    <p:sldLayoutId id="2147496390" r:id="rId3276"/>
    <p:sldLayoutId id="2147496316" r:id="rId3277"/>
    <p:sldLayoutId id="2147496326" r:id="rId3278"/>
    <p:sldLayoutId id="2147496322" r:id="rId3279"/>
    <p:sldLayoutId id="2147496340" r:id="rId3280"/>
    <p:sldLayoutId id="2147496336" r:id="rId3281"/>
    <p:sldLayoutId id="2147496342" r:id="rId3282"/>
    <p:sldLayoutId id="2147496350" r:id="rId3283"/>
    <p:sldLayoutId id="2147496354" r:id="rId3284"/>
    <p:sldLayoutId id="2147496358" r:id="rId3285"/>
    <p:sldLayoutId id="2147496366" r:id="rId3286"/>
    <p:sldLayoutId id="2147496362" r:id="rId3287"/>
    <p:sldLayoutId id="2147496393" r:id="rId3288"/>
    <p:sldLayoutId id="2147496395" r:id="rId3289"/>
    <p:sldLayoutId id="2147496421" r:id="rId3290"/>
    <p:sldLayoutId id="2147496423" r:id="rId3291"/>
    <p:sldLayoutId id="2147496441" r:id="rId3292"/>
    <p:sldLayoutId id="2147496431" r:id="rId3293"/>
    <p:sldLayoutId id="2147496429" r:id="rId3294"/>
    <p:sldLayoutId id="2147496443" r:id="rId3295"/>
    <p:sldLayoutId id="2147496427" r:id="rId3296"/>
    <p:sldLayoutId id="2147496445" r:id="rId3297"/>
    <p:sldLayoutId id="2147496435" r:id="rId3298"/>
    <p:sldLayoutId id="2147496455" r:id="rId3299"/>
    <p:sldLayoutId id="2147496451" r:id="rId3300"/>
    <p:sldLayoutId id="2147496457" r:id="rId3301"/>
    <p:sldLayoutId id="2147496399" r:id="rId3302"/>
    <p:sldLayoutId id="2147496403" r:id="rId3303"/>
    <p:sldLayoutId id="2147496407" r:id="rId3304"/>
    <p:sldLayoutId id="2147496415" r:id="rId3305"/>
    <p:sldLayoutId id="2147496411" r:id="rId3306"/>
    <p:sldLayoutId id="2147496529" r:id="rId3307"/>
    <p:sldLayoutId id="2147496535" r:id="rId3308"/>
    <p:sldLayoutId id="2147496499" r:id="rId3309"/>
    <p:sldLayoutId id="2147496495" r:id="rId3310"/>
    <p:sldLayoutId id="2147496493" r:id="rId3311"/>
    <p:sldLayoutId id="2147496501" r:id="rId3312"/>
    <p:sldLayoutId id="2147496547" r:id="rId3313"/>
    <p:sldLayoutId id="2147496567" r:id="rId3314"/>
    <p:sldLayoutId id="2147496559" r:id="rId3315"/>
    <p:sldLayoutId id="2147496593" r:id="rId3316"/>
    <p:sldLayoutId id="2147496587" r:id="rId3317"/>
    <p:sldLayoutId id="2147496595" r:id="rId3318"/>
    <p:sldLayoutId id="2147496597" r:id="rId3319"/>
    <p:sldLayoutId id="2147496601" r:id="rId3320"/>
    <p:sldLayoutId id="2147496605" r:id="rId3321"/>
    <p:sldLayoutId id="2147496613" r:id="rId3322"/>
    <p:sldLayoutId id="2147496609" r:id="rId3323"/>
    <p:sldLayoutId id="2147496503" r:id="rId3324"/>
    <p:sldLayoutId id="2147496505" r:id="rId3325"/>
    <p:sldLayoutId id="2147496533" r:id="rId3326"/>
    <p:sldLayoutId id="2147496537" r:id="rId3327"/>
    <p:sldLayoutId id="2147496565" r:id="rId3328"/>
    <p:sldLayoutId id="2147496549" r:id="rId3329"/>
    <p:sldLayoutId id="2147496543" r:id="rId3330"/>
    <p:sldLayoutId id="2147496569" r:id="rId3331"/>
    <p:sldLayoutId id="2147496541" r:id="rId3332"/>
    <p:sldLayoutId id="2147496571" r:id="rId3333"/>
    <p:sldLayoutId id="2147496553" r:id="rId3334"/>
    <p:sldLayoutId id="2147496634" r:id="rId3335"/>
    <p:sldLayoutId id="2147496585" r:id="rId3336"/>
    <p:sldLayoutId id="2147496636" r:id="rId3337"/>
    <p:sldLayoutId id="2147496507" r:id="rId3338"/>
    <p:sldLayoutId id="2147496511" r:id="rId3339"/>
    <p:sldLayoutId id="2147496515" r:id="rId3340"/>
    <p:sldLayoutId id="2147496525" r:id="rId3341"/>
    <p:sldLayoutId id="2147496521" r:id="rId3342"/>
    <p:sldLayoutId id="2147496573" r:id="rId3343"/>
    <p:sldLayoutId id="2147496575" r:id="rId3344"/>
    <p:sldLayoutId id="2147496683" r:id="rId3345"/>
    <p:sldLayoutId id="2147496685" r:id="rId3346"/>
    <p:sldLayoutId id="2147496737" r:id="rId3347"/>
    <p:sldLayoutId id="2147496733" r:id="rId3348"/>
    <p:sldLayoutId id="2147496731" r:id="rId3349"/>
    <p:sldLayoutId id="2147496739" r:id="rId3350"/>
    <p:sldLayoutId id="2147496689" r:id="rId3351"/>
    <p:sldLayoutId id="2147496697" r:id="rId3352"/>
    <p:sldLayoutId id="2147496693" r:id="rId3353"/>
    <p:sldLayoutId id="2147496707" r:id="rId3354"/>
    <p:sldLayoutId id="2147496703" r:id="rId3355"/>
    <p:sldLayoutId id="2147496709" r:id="rId3356"/>
    <p:sldLayoutId id="2147496711" r:id="rId3357"/>
    <p:sldLayoutId id="2147496715" r:id="rId3358"/>
    <p:sldLayoutId id="2147496719" r:id="rId3359"/>
    <p:sldLayoutId id="2147496727" r:id="rId3360"/>
    <p:sldLayoutId id="2147496723" r:id="rId3361"/>
    <p:sldLayoutId id="2147496741" r:id="rId3362"/>
    <p:sldLayoutId id="2147496743" r:id="rId3363"/>
    <p:sldLayoutId id="2147496767" r:id="rId3364"/>
    <p:sldLayoutId id="2147496769" r:id="rId3365"/>
    <p:sldLayoutId id="2147496787" r:id="rId3366"/>
    <p:sldLayoutId id="2147496777" r:id="rId3367"/>
    <p:sldLayoutId id="2147496775" r:id="rId3368"/>
    <p:sldLayoutId id="2147496789" r:id="rId3369"/>
    <p:sldLayoutId id="2147496773" r:id="rId3370"/>
    <p:sldLayoutId id="2147496791" r:id="rId3371"/>
    <p:sldLayoutId id="2147496781" r:id="rId3372"/>
    <p:sldLayoutId id="2147496801" r:id="rId3373"/>
    <p:sldLayoutId id="2147496797" r:id="rId3374"/>
    <p:sldLayoutId id="2147496803" r:id="rId3375"/>
    <p:sldLayoutId id="2147496745" r:id="rId3376"/>
    <p:sldLayoutId id="2147496749" r:id="rId3377"/>
    <p:sldLayoutId id="2147496753" r:id="rId3378"/>
    <p:sldLayoutId id="2147496761" r:id="rId3379"/>
    <p:sldLayoutId id="2147496757" r:id="rId3380"/>
    <p:sldLayoutId id="2147497177" r:id="rId3381"/>
    <p:sldLayoutId id="2147497179" r:id="rId3382"/>
    <p:sldLayoutId id="2147497289" r:id="rId3383"/>
    <p:sldLayoutId id="2147497279" r:id="rId3384"/>
    <p:sldLayoutId id="2147497273" r:id="rId3385"/>
    <p:sldLayoutId id="2147496937" r:id="rId3386"/>
    <p:sldLayoutId id="2147497183" r:id="rId3387"/>
    <p:sldLayoutId id="2147497191" r:id="rId3388"/>
    <p:sldLayoutId id="2147497187" r:id="rId3389"/>
    <p:sldLayoutId id="2147497201" r:id="rId3390"/>
    <p:sldLayoutId id="2147497197" r:id="rId3391"/>
    <p:sldLayoutId id="2147497203" r:id="rId3392"/>
    <p:sldLayoutId id="2147497213" r:id="rId3393"/>
    <p:sldLayoutId id="2147497221" r:id="rId3394"/>
    <p:sldLayoutId id="2147497227" r:id="rId3395"/>
    <p:sldLayoutId id="2147497245" r:id="rId3396"/>
    <p:sldLayoutId id="2147497235" r:id="rId3397"/>
    <p:sldLayoutId id="2147496942" r:id="rId3398"/>
    <p:sldLayoutId id="2147496945" r:id="rId3399"/>
    <p:sldLayoutId id="2147496989" r:id="rId3400"/>
    <p:sldLayoutId id="2147496992" r:id="rId3401"/>
    <p:sldLayoutId id="2147497022" r:id="rId3402"/>
    <p:sldLayoutId id="2147497004" r:id="rId3403"/>
    <p:sldLayoutId id="2147497001" r:id="rId3404"/>
    <p:sldLayoutId id="2147497025" r:id="rId3405"/>
    <p:sldLayoutId id="2147496998" r:id="rId3406"/>
    <p:sldLayoutId id="2147497029" r:id="rId3407"/>
    <p:sldLayoutId id="2147497011" r:id="rId3408"/>
    <p:sldLayoutId id="2147497043" r:id="rId3409"/>
    <p:sldLayoutId id="2147497039" r:id="rId3410"/>
    <p:sldLayoutId id="2147497045" r:id="rId3411"/>
    <p:sldLayoutId id="2147496951" r:id="rId3412"/>
    <p:sldLayoutId id="2147496958" r:id="rId3413"/>
    <p:sldLayoutId id="2147496964" r:id="rId3414"/>
    <p:sldLayoutId id="2147496978" r:id="rId3415"/>
    <p:sldLayoutId id="2147496971" r:id="rId3416"/>
    <p:sldLayoutId id="2147497083" r:id="rId3417"/>
    <p:sldLayoutId id="2147497089" r:id="rId3418"/>
    <p:sldLayoutId id="2147497053" r:id="rId3419"/>
    <p:sldLayoutId id="2147497049" r:id="rId3420"/>
    <p:sldLayoutId id="2147497047" r:id="rId3421"/>
    <p:sldLayoutId id="2147497055" r:id="rId3422"/>
    <p:sldLayoutId id="2147497101" r:id="rId3423"/>
    <p:sldLayoutId id="2147497121" r:id="rId3424"/>
    <p:sldLayoutId id="2147497113" r:id="rId3425"/>
    <p:sldLayoutId id="2147497147" r:id="rId3426"/>
    <p:sldLayoutId id="2147497141" r:id="rId3427"/>
    <p:sldLayoutId id="2147497149" r:id="rId3428"/>
    <p:sldLayoutId id="2147497151" r:id="rId3429"/>
    <p:sldLayoutId id="2147497155" r:id="rId3430"/>
    <p:sldLayoutId id="2147497159" r:id="rId3431"/>
    <p:sldLayoutId id="2147497167" r:id="rId3432"/>
    <p:sldLayoutId id="2147497163" r:id="rId3433"/>
    <p:sldLayoutId id="2147497057" r:id="rId3434"/>
    <p:sldLayoutId id="2147497059" r:id="rId3435"/>
    <p:sldLayoutId id="2147497087" r:id="rId3436"/>
    <p:sldLayoutId id="2147497091" r:id="rId3437"/>
    <p:sldLayoutId id="2147497119" r:id="rId3438"/>
    <p:sldLayoutId id="2147497103" r:id="rId3439"/>
    <p:sldLayoutId id="2147497097" r:id="rId3440"/>
    <p:sldLayoutId id="2147497123" r:id="rId3441"/>
    <p:sldLayoutId id="2147497095" r:id="rId3442"/>
    <p:sldLayoutId id="2147497125" r:id="rId3443"/>
    <p:sldLayoutId id="2147497107" r:id="rId3444"/>
    <p:sldLayoutId id="2147497171" r:id="rId3445"/>
    <p:sldLayoutId id="2147497139" r:id="rId3446"/>
    <p:sldLayoutId id="2147497173" r:id="rId3447"/>
    <p:sldLayoutId id="2147497061" r:id="rId3448"/>
    <p:sldLayoutId id="2147497065" r:id="rId3449"/>
    <p:sldLayoutId id="2147497069" r:id="rId3450"/>
    <p:sldLayoutId id="2147497079" r:id="rId3451"/>
    <p:sldLayoutId id="2147497075" r:id="rId3452"/>
    <p:sldLayoutId id="2147497127" r:id="rId3453"/>
    <p:sldLayoutId id="2147497129" r:id="rId3454"/>
    <p:sldLayoutId id="2147497281" r:id="rId3455"/>
    <p:sldLayoutId id="2147496935" r:id="rId3456"/>
    <p:sldLayoutId id="2147497358" r:id="rId3457"/>
    <p:sldLayoutId id="2147497352" r:id="rId3458"/>
    <p:sldLayoutId id="2147497349" r:id="rId3459"/>
    <p:sldLayoutId id="2147497361" r:id="rId3460"/>
    <p:sldLayoutId id="2147496953" r:id="rId3461"/>
    <p:sldLayoutId id="2147496987" r:id="rId3462"/>
    <p:sldLayoutId id="2147496973" r:id="rId3463"/>
    <p:sldLayoutId id="2147497034" r:id="rId3464"/>
    <p:sldLayoutId id="2147497020" r:id="rId3465"/>
    <p:sldLayoutId id="2147497294" r:id="rId3466"/>
    <p:sldLayoutId id="2147497309" r:id="rId3467"/>
    <p:sldLayoutId id="2147497319" r:id="rId3468"/>
    <p:sldLayoutId id="2147497329" r:id="rId3469"/>
    <p:sldLayoutId id="2147497343" r:id="rId3470"/>
    <p:sldLayoutId id="2147497337" r:id="rId3471"/>
    <p:sldLayoutId id="2147497364" r:id="rId3472"/>
    <p:sldLayoutId id="2147497367" r:id="rId3473"/>
    <p:sldLayoutId id="2147497398" r:id="rId3474"/>
    <p:sldLayoutId id="2147497400" r:id="rId3475"/>
    <p:sldLayoutId id="2147497418" r:id="rId3476"/>
    <p:sldLayoutId id="2147497408" r:id="rId3477"/>
    <p:sldLayoutId id="2147497406" r:id="rId3478"/>
    <p:sldLayoutId id="2147497420" r:id="rId3479"/>
    <p:sldLayoutId id="2147497404" r:id="rId3480"/>
    <p:sldLayoutId id="2147497422" r:id="rId3481"/>
    <p:sldLayoutId id="2147497412" r:id="rId3482"/>
    <p:sldLayoutId id="2147497432" r:id="rId3483"/>
    <p:sldLayoutId id="2147497428" r:id="rId3484"/>
    <p:sldLayoutId id="2147497434" r:id="rId3485"/>
    <p:sldLayoutId id="2147497370" r:id="rId3486"/>
    <p:sldLayoutId id="2147497376" r:id="rId3487"/>
    <p:sldLayoutId id="2147497382" r:id="rId3488"/>
    <p:sldLayoutId id="2147497392" r:id="rId3489"/>
    <p:sldLayoutId id="2147497388" r:id="rId3490"/>
    <p:sldLayoutId id="2147497215" r:id="rId3491"/>
    <p:sldLayoutId id="2147497219" r:id="rId3492"/>
    <p:sldLayoutId id="2147496896" r:id="rId3493"/>
    <p:sldLayoutId id="2147496892" r:id="rId3494"/>
    <p:sldLayoutId id="2147496890" r:id="rId3495"/>
    <p:sldLayoutId id="2147497205" r:id="rId3496"/>
    <p:sldLayoutId id="2147497229" r:id="rId3497"/>
    <p:sldLayoutId id="2147497243" r:id="rId3498"/>
    <p:sldLayoutId id="2147497237" r:id="rId3499"/>
    <p:sldLayoutId id="2147497257" r:id="rId3500"/>
    <p:sldLayoutId id="2147497253" r:id="rId3501"/>
    <p:sldLayoutId id="2147497259" r:id="rId3502"/>
    <p:sldLayoutId id="2147497261" r:id="rId3503"/>
    <p:sldLayoutId id="2147497265" r:id="rId3504"/>
    <p:sldLayoutId id="2147497271" r:id="rId3505"/>
    <p:sldLayoutId id="2147497287" r:id="rId3506"/>
    <p:sldLayoutId id="2147497277" r:id="rId3507"/>
    <p:sldLayoutId id="2147497207" r:id="rId3508"/>
    <p:sldLayoutId id="2147497209" r:id="rId3509"/>
    <p:sldLayoutId id="2147497626" r:id="rId3510"/>
    <p:sldLayoutId id="2147497628" r:id="rId3511"/>
    <p:sldLayoutId id="2147497680" r:id="rId3512"/>
    <p:sldLayoutId id="2147497676" r:id="rId3513"/>
    <p:sldLayoutId id="2147497674" r:id="rId3514"/>
    <p:sldLayoutId id="2147497682" r:id="rId3515"/>
    <p:sldLayoutId id="2147497632" r:id="rId3516"/>
    <p:sldLayoutId id="2147497640" r:id="rId3517"/>
    <p:sldLayoutId id="2147497636" r:id="rId3518"/>
    <p:sldLayoutId id="2147497650" r:id="rId3519"/>
    <p:sldLayoutId id="2147497646" r:id="rId3520"/>
    <p:sldLayoutId id="2147497652" r:id="rId3521"/>
    <p:sldLayoutId id="2147497654" r:id="rId3522"/>
    <p:sldLayoutId id="2147497658" r:id="rId3523"/>
    <p:sldLayoutId id="2147497662" r:id="rId3524"/>
    <p:sldLayoutId id="2147497670" r:id="rId3525"/>
    <p:sldLayoutId id="2147497666" r:id="rId3526"/>
    <p:sldLayoutId id="2147497684" r:id="rId3527"/>
    <p:sldLayoutId id="2147497686" r:id="rId3528"/>
    <p:sldLayoutId id="2147497718" r:id="rId3529"/>
    <p:sldLayoutId id="2147497720" r:id="rId3530"/>
    <p:sldLayoutId id="2147497738" r:id="rId3531"/>
    <p:sldLayoutId id="2147497728" r:id="rId3532"/>
    <p:sldLayoutId id="2147497726" r:id="rId3533"/>
    <p:sldLayoutId id="2147497740" r:id="rId3534"/>
    <p:sldLayoutId id="2147497724" r:id="rId3535"/>
    <p:sldLayoutId id="2147497742" r:id="rId3536"/>
    <p:sldLayoutId id="2147497732" r:id="rId3537"/>
    <p:sldLayoutId id="2147497752" r:id="rId3538"/>
    <p:sldLayoutId id="2147497748" r:id="rId3539"/>
    <p:sldLayoutId id="2147497754" r:id="rId3540"/>
    <p:sldLayoutId id="2147497692" r:id="rId3541"/>
    <p:sldLayoutId id="2147497700" r:id="rId3542"/>
    <p:sldLayoutId id="2147497704" r:id="rId3543"/>
    <p:sldLayoutId id="2147497712" r:id="rId3544"/>
    <p:sldLayoutId id="2147497708" r:id="rId3545"/>
    <p:sldLayoutId id="2147497850" r:id="rId3546"/>
    <p:sldLayoutId id="2147497860" r:id="rId3547"/>
    <p:sldLayoutId id="2147497802" r:id="rId3548"/>
    <p:sldLayoutId id="2147497794" r:id="rId3549"/>
    <p:sldLayoutId id="2147497790" r:id="rId3550"/>
    <p:sldLayoutId id="2147497804" r:id="rId3551"/>
    <p:sldLayoutId id="2147497882" r:id="rId3552"/>
    <p:sldLayoutId id="2147492347" r:id="rId3553"/>
    <p:sldLayoutId id="2147492334" r:id="rId3554"/>
    <p:sldLayoutId id="2147492386" r:id="rId3555"/>
    <p:sldLayoutId id="2147492377" r:id="rId3556"/>
    <p:sldLayoutId id="2147492389" r:id="rId3557"/>
    <p:sldLayoutId id="2147492392" r:id="rId3558"/>
    <p:sldLayoutId id="2147492398" r:id="rId3559"/>
    <p:sldLayoutId id="2147492404" r:id="rId3560"/>
    <p:sldLayoutId id="2147492416" r:id="rId3561"/>
    <p:sldLayoutId id="2147492410" r:id="rId3562"/>
    <p:sldLayoutId id="2147497808" r:id="rId3563"/>
    <p:sldLayoutId id="2147497812" r:id="rId3564"/>
    <p:sldLayoutId id="2147497856" r:id="rId3565"/>
    <p:sldLayoutId id="2147497864" r:id="rId3566"/>
    <p:sldLayoutId id="2147492344" r:id="rId3567"/>
    <p:sldLayoutId id="2147497884" r:id="rId3568"/>
    <p:sldLayoutId id="2147497874" r:id="rId3569"/>
    <p:sldLayoutId id="2147492350" r:id="rId3570"/>
    <p:sldLayoutId id="2147497870" r:id="rId3571"/>
    <p:sldLayoutId id="2147492353" r:id="rId3572"/>
    <p:sldLayoutId id="2147497892" r:id="rId3573"/>
    <p:sldLayoutId id="2147492439" r:id="rId3574"/>
    <p:sldLayoutId id="2147492374" r:id="rId3575"/>
    <p:sldLayoutId id="2147492442" r:id="rId3576"/>
    <p:sldLayoutId id="2147497816" r:id="rId3577"/>
    <p:sldLayoutId id="2147497822" r:id="rId3578"/>
    <p:sldLayoutId id="2147497828" r:id="rId3579"/>
    <p:sldLayoutId id="2147497842" r:id="rId3580"/>
    <p:sldLayoutId id="2147497836" r:id="rId3581"/>
    <p:sldLayoutId id="2147492356" r:id="rId3582"/>
    <p:sldLayoutId id="2147492359" r:id="rId3583"/>
    <p:sldLayoutId id="2147492490" r:id="rId3584"/>
    <p:sldLayoutId id="2147492493" r:id="rId3585"/>
    <p:sldLayoutId id="2147497545" r:id="rId3586"/>
    <p:sldLayoutId id="2147497539" r:id="rId3587"/>
    <p:sldLayoutId id="2147497536" r:id="rId3588"/>
    <p:sldLayoutId id="2147497548" r:id="rId3589"/>
    <p:sldLayoutId id="2147492499" r:id="rId3590"/>
    <p:sldLayoutId id="2147492511" r:id="rId3591"/>
    <p:sldLayoutId id="2147492505" r:id="rId3592"/>
    <p:sldLayoutId id="2147492526" r:id="rId3593"/>
    <p:sldLayoutId id="2147492520" r:id="rId3594"/>
    <p:sldLayoutId id="2147492529" r:id="rId3595"/>
    <p:sldLayoutId id="2147492532" r:id="rId3596"/>
    <p:sldLayoutId id="2147492538" r:id="rId3597"/>
    <p:sldLayoutId id="2147492544" r:id="rId3598"/>
    <p:sldLayoutId id="2147497530" r:id="rId3599"/>
    <p:sldLayoutId id="2147492550" r:id="rId3600"/>
    <p:sldLayoutId id="2147497551" r:id="rId3601"/>
    <p:sldLayoutId id="2147497554" r:id="rId3602"/>
    <p:sldLayoutId id="2147497586" r:id="rId3603"/>
    <p:sldLayoutId id="2147497588" r:id="rId3604"/>
    <p:sldLayoutId id="2147497606" r:id="rId3605"/>
    <p:sldLayoutId id="2147497596" r:id="rId3606"/>
    <p:sldLayoutId id="2147497594" r:id="rId3607"/>
    <p:sldLayoutId id="2147497608" r:id="rId3608"/>
    <p:sldLayoutId id="2147497592" r:id="rId3609"/>
    <p:sldLayoutId id="2147497610" r:id="rId3610"/>
    <p:sldLayoutId id="2147497600" r:id="rId3611"/>
    <p:sldLayoutId id="2147497620" r:id="rId3612"/>
    <p:sldLayoutId id="2147497616" r:id="rId3613"/>
    <p:sldLayoutId id="2147497622" r:id="rId3614"/>
    <p:sldLayoutId id="2147497557" r:id="rId3615"/>
    <p:sldLayoutId id="2147497563" r:id="rId3616"/>
    <p:sldLayoutId id="2147497569" r:id="rId3617"/>
    <p:sldLayoutId id="2147497580" r:id="rId3618"/>
    <p:sldLayoutId id="2147497575" r:id="rId3619"/>
    <p:sldLayoutId id="2147497820" r:id="rId3620"/>
    <p:sldLayoutId id="2147492791" r:id="rId3621"/>
    <p:sldLayoutId id="2147492807" r:id="rId3622"/>
    <p:sldLayoutId id="2147492336" r:id="rId3623"/>
    <p:sldLayoutId id="2147492332" r:id="rId3624"/>
    <p:sldLayoutId id="2147492617" r:id="rId3625"/>
    <p:sldLayoutId id="2147492793" r:id="rId3626"/>
    <p:sldLayoutId id="2147492797" r:id="rId3627"/>
    <p:sldLayoutId id="2147492795" r:id="rId3628"/>
    <p:sldLayoutId id="2147497858" r:id="rId3629"/>
    <p:sldLayoutId id="2147497852" r:id="rId3630"/>
    <p:sldLayoutId id="2147497862" r:id="rId3631"/>
    <p:sldLayoutId id="2147497866" r:id="rId3632"/>
    <p:sldLayoutId id="2147497872" r:id="rId3633"/>
    <p:sldLayoutId id="2147497880" r:id="rId3634"/>
    <p:sldLayoutId id="2147497894" r:id="rId3635"/>
    <p:sldLayoutId id="2147497886" r:id="rId3636"/>
    <p:sldLayoutId id="2147492619" r:id="rId3637"/>
    <p:sldLayoutId id="2147492621" r:id="rId3638"/>
    <p:sldLayoutId id="2147492645" r:id="rId3639"/>
    <p:sldLayoutId id="2147492647" r:id="rId3640"/>
    <p:sldLayoutId id="2147497690" r:id="rId3641"/>
    <p:sldLayoutId id="2147492655" r:id="rId3642"/>
    <p:sldLayoutId id="2147492653" r:id="rId3643"/>
    <p:sldLayoutId id="2147497694" r:id="rId3644"/>
    <p:sldLayoutId id="2147492651" r:id="rId3645"/>
    <p:sldLayoutId id="2147497698" r:id="rId3646"/>
    <p:sldLayoutId id="2147492659" r:id="rId3647"/>
    <p:sldLayoutId id="2147492671" r:id="rId3648"/>
    <p:sldLayoutId id="2147492667" r:id="rId3649"/>
    <p:sldLayoutId id="2147492673" r:id="rId3650"/>
    <p:sldLayoutId id="2147492623" r:id="rId3651"/>
    <p:sldLayoutId id="2147492627" r:id="rId3652"/>
    <p:sldLayoutId id="2147492631" r:id="rId3653"/>
    <p:sldLayoutId id="2147492639" r:id="rId3654"/>
    <p:sldLayoutId id="2147492635" r:id="rId3655"/>
    <p:sldLayoutId id="2147492720" r:id="rId3656"/>
    <p:sldLayoutId id="2147492728" r:id="rId3657"/>
    <p:sldLayoutId id="2147492682" r:id="rId3658"/>
    <p:sldLayoutId id="2147492678" r:id="rId3659"/>
    <p:sldLayoutId id="2147492675" r:id="rId3660"/>
    <p:sldLayoutId id="2147492685" r:id="rId3661"/>
    <p:sldLayoutId id="2147492741" r:id="rId3662"/>
    <p:sldLayoutId id="2147497764" r:id="rId3663"/>
    <p:sldLayoutId id="2147497760" r:id="rId3664"/>
    <p:sldLayoutId id="2147497780" r:id="rId3665"/>
    <p:sldLayoutId id="2147497776" r:id="rId3666"/>
    <p:sldLayoutId id="2147497782" r:id="rId3667"/>
    <p:sldLayoutId id="2147492778" r:id="rId3668"/>
    <p:sldLayoutId id="2147497786" r:id="rId3669"/>
    <p:sldLayoutId id="2147492782" r:id="rId3670"/>
    <p:sldLayoutId id="2147492785" r:id="rId3671"/>
    <p:sldLayoutId id="2147497796" r:id="rId3672"/>
    <p:sldLayoutId id="2147492687" r:id="rId3673"/>
    <p:sldLayoutId id="2147492690" r:id="rId3674"/>
    <p:sldLayoutId id="2147492726" r:id="rId3675"/>
    <p:sldLayoutId id="2147492730" r:id="rId3676"/>
    <p:sldLayoutId id="2147492756" r:id="rId3677"/>
    <p:sldLayoutId id="2147492744" r:id="rId3678"/>
    <p:sldLayoutId id="2147492736" r:id="rId3679"/>
    <p:sldLayoutId id="2147492758" r:id="rId3680"/>
    <p:sldLayoutId id="2147492734" r:id="rId3681"/>
    <p:sldLayoutId id="2147497766" r:id="rId3682"/>
    <p:sldLayoutId id="2147492751" r:id="rId3683"/>
    <p:sldLayoutId id="2147497810" r:id="rId3684"/>
    <p:sldLayoutId id="2147492769" r:id="rId3685"/>
    <p:sldLayoutId id="2147497814" r:id="rId3686"/>
    <p:sldLayoutId id="2147492693" r:id="rId3687"/>
    <p:sldLayoutId id="2147492698" r:id="rId3688"/>
    <p:sldLayoutId id="2147492703" r:id="rId3689"/>
    <p:sldLayoutId id="2147492714" r:id="rId3690"/>
    <p:sldLayoutId id="2147492710" r:id="rId3691"/>
    <p:sldLayoutId id="2147492760" r:id="rId3692"/>
    <p:sldLayoutId id="2147497768" r:id="rId3693"/>
    <p:sldLayoutId id="2147493343" r:id="rId3694"/>
    <p:sldLayoutId id="2147493345" r:id="rId3695"/>
    <p:sldLayoutId id="2147493397" r:id="rId3696"/>
    <p:sldLayoutId id="2147493393" r:id="rId3697"/>
    <p:sldLayoutId id="2147493391" r:id="rId3698"/>
    <p:sldLayoutId id="2147493399" r:id="rId3699"/>
    <p:sldLayoutId id="2147493349" r:id="rId3700"/>
    <p:sldLayoutId id="2147493357" r:id="rId3701"/>
    <p:sldLayoutId id="2147493353" r:id="rId3702"/>
    <p:sldLayoutId id="2147493367" r:id="rId3703"/>
    <p:sldLayoutId id="2147493363" r:id="rId3704"/>
    <p:sldLayoutId id="2147493369" r:id="rId3705"/>
    <p:sldLayoutId id="2147493371" r:id="rId3706"/>
    <p:sldLayoutId id="2147493375" r:id="rId3707"/>
    <p:sldLayoutId id="2147493379" r:id="rId3708"/>
    <p:sldLayoutId id="2147493387" r:id="rId3709"/>
    <p:sldLayoutId id="2147493383" r:id="rId3710"/>
    <p:sldLayoutId id="2147493401" r:id="rId3711"/>
    <p:sldLayoutId id="2147493403" r:id="rId3712"/>
    <p:sldLayoutId id="2147493427" r:id="rId3713"/>
    <p:sldLayoutId id="2147493429" r:id="rId3714"/>
    <p:sldLayoutId id="2147493447" r:id="rId3715"/>
    <p:sldLayoutId id="2147493437" r:id="rId3716"/>
    <p:sldLayoutId id="2147493435" r:id="rId3717"/>
    <p:sldLayoutId id="2147493449" r:id="rId3718"/>
    <p:sldLayoutId id="2147493433" r:id="rId3719"/>
    <p:sldLayoutId id="2147493451" r:id="rId3720"/>
    <p:sldLayoutId id="2147493441" r:id="rId3721"/>
    <p:sldLayoutId id="2147493461" r:id="rId3722"/>
    <p:sldLayoutId id="2147493457" r:id="rId3723"/>
    <p:sldLayoutId id="2147493463" r:id="rId3724"/>
    <p:sldLayoutId id="2147493405" r:id="rId3725"/>
    <p:sldLayoutId id="2147493409" r:id="rId3726"/>
    <p:sldLayoutId id="2147493413" r:id="rId3727"/>
    <p:sldLayoutId id="2147493421" r:id="rId3728"/>
    <p:sldLayoutId id="2147493417" r:id="rId3729"/>
    <p:sldLayoutId id="2147493501" r:id="rId3730"/>
    <p:sldLayoutId id="2147493507" r:id="rId3731"/>
    <p:sldLayoutId id="2147493471" r:id="rId3732"/>
    <p:sldLayoutId id="2147493467" r:id="rId3733"/>
    <p:sldLayoutId id="2147493465" r:id="rId3734"/>
    <p:sldLayoutId id="2147493473" r:id="rId3735"/>
    <p:sldLayoutId id="2147493519" r:id="rId3736"/>
    <p:sldLayoutId id="2147493539" r:id="rId3737"/>
    <p:sldLayoutId id="2147493531" r:id="rId3738"/>
    <p:sldLayoutId id="2147493565" r:id="rId3739"/>
    <p:sldLayoutId id="2147493559" r:id="rId3740"/>
    <p:sldLayoutId id="2147493567" r:id="rId3741"/>
    <p:sldLayoutId id="2147493569" r:id="rId3742"/>
    <p:sldLayoutId id="2147493573" r:id="rId3743"/>
    <p:sldLayoutId id="2147493577" r:id="rId3744"/>
    <p:sldLayoutId id="2147493585" r:id="rId3745"/>
    <p:sldLayoutId id="2147493581" r:id="rId3746"/>
    <p:sldLayoutId id="2147493475" r:id="rId3747"/>
    <p:sldLayoutId id="2147493477" r:id="rId3748"/>
    <p:sldLayoutId id="2147493505" r:id="rId3749"/>
    <p:sldLayoutId id="2147493509" r:id="rId3750"/>
    <p:sldLayoutId id="2147493537" r:id="rId3751"/>
    <p:sldLayoutId id="2147493521" r:id="rId3752"/>
    <p:sldLayoutId id="2147493515" r:id="rId3753"/>
    <p:sldLayoutId id="2147493541" r:id="rId3754"/>
    <p:sldLayoutId id="2147493513" r:id="rId3755"/>
    <p:sldLayoutId id="2147493543" r:id="rId3756"/>
    <p:sldLayoutId id="2147493525" r:id="rId3757"/>
    <p:sldLayoutId id="2147493589" r:id="rId3758"/>
    <p:sldLayoutId id="2147493557" r:id="rId3759"/>
    <p:sldLayoutId id="2147493591" r:id="rId3760"/>
    <p:sldLayoutId id="2147493479" r:id="rId3761"/>
    <p:sldLayoutId id="2147493483" r:id="rId3762"/>
    <p:sldLayoutId id="2147493487" r:id="rId3763"/>
    <p:sldLayoutId id="2147493497" r:id="rId3764"/>
    <p:sldLayoutId id="2147493493" r:id="rId3765"/>
    <p:sldLayoutId id="2147493545" r:id="rId3766"/>
    <p:sldLayoutId id="2147493547" r:id="rId3767"/>
    <p:sldLayoutId id="2147493595" r:id="rId3768"/>
    <p:sldLayoutId id="2147493597" r:id="rId3769"/>
    <p:sldLayoutId id="2147493649" r:id="rId3770"/>
    <p:sldLayoutId id="2147493645" r:id="rId3771"/>
    <p:sldLayoutId id="2147493643" r:id="rId3772"/>
    <p:sldLayoutId id="2147493651" r:id="rId3773"/>
    <p:sldLayoutId id="2147493601" r:id="rId3774"/>
    <p:sldLayoutId id="2147493609" r:id="rId3775"/>
    <p:sldLayoutId id="2147493605" r:id="rId3776"/>
    <p:sldLayoutId id="2147493619" r:id="rId3777"/>
    <p:sldLayoutId id="2147493615" r:id="rId3778"/>
    <p:sldLayoutId id="2147493621" r:id="rId3779"/>
    <p:sldLayoutId id="2147493623" r:id="rId3780"/>
    <p:sldLayoutId id="2147493627" r:id="rId3781"/>
    <p:sldLayoutId id="2147493631" r:id="rId3782"/>
    <p:sldLayoutId id="2147493639" r:id="rId3783"/>
    <p:sldLayoutId id="2147493635" r:id="rId3784"/>
    <p:sldLayoutId id="2147493653" r:id="rId3785"/>
    <p:sldLayoutId id="2147493655" r:id="rId3786"/>
    <p:sldLayoutId id="2147493679" r:id="rId3787"/>
    <p:sldLayoutId id="2147493681" r:id="rId3788"/>
    <p:sldLayoutId id="2147493699" r:id="rId3789"/>
    <p:sldLayoutId id="2147493689" r:id="rId3790"/>
    <p:sldLayoutId id="2147493687" r:id="rId3791"/>
    <p:sldLayoutId id="2147493701" r:id="rId3792"/>
    <p:sldLayoutId id="2147493685" r:id="rId3793"/>
    <p:sldLayoutId id="2147493703" r:id="rId3794"/>
    <p:sldLayoutId id="2147493693" r:id="rId3795"/>
    <p:sldLayoutId id="2147493713" r:id="rId3796"/>
    <p:sldLayoutId id="2147493709" r:id="rId3797"/>
    <p:sldLayoutId id="2147493715" r:id="rId3798"/>
    <p:sldLayoutId id="2147493657" r:id="rId3799"/>
    <p:sldLayoutId id="2147493661" r:id="rId3800"/>
    <p:sldLayoutId id="2147493665" r:id="rId3801"/>
    <p:sldLayoutId id="2147493673" r:id="rId3802"/>
    <p:sldLayoutId id="2147493669" r:id="rId3803"/>
    <p:sldLayoutId id="2147493131" r:id="rId3804"/>
    <p:sldLayoutId id="2147493133" r:id="rId3805"/>
    <p:sldLayoutId id="2147493243" r:id="rId3806"/>
    <p:sldLayoutId id="2147493233" r:id="rId3807"/>
    <p:sldLayoutId id="2147493227" r:id="rId3808"/>
    <p:sldLayoutId id="2147492911" r:id="rId3809"/>
    <p:sldLayoutId id="2147493137" r:id="rId3810"/>
    <p:sldLayoutId id="2147493145" r:id="rId3811"/>
    <p:sldLayoutId id="2147493141" r:id="rId3812"/>
    <p:sldLayoutId id="2147493155" r:id="rId3813"/>
    <p:sldLayoutId id="2147493151" r:id="rId3814"/>
    <p:sldLayoutId id="2147493157" r:id="rId3815"/>
    <p:sldLayoutId id="2147493167" r:id="rId3816"/>
    <p:sldLayoutId id="2147493175" r:id="rId3817"/>
    <p:sldLayoutId id="2147493181" r:id="rId3818"/>
    <p:sldLayoutId id="2147493199" r:id="rId3819"/>
    <p:sldLayoutId id="2147493189" r:id="rId3820"/>
    <p:sldLayoutId id="2147492915" r:id="rId3821"/>
    <p:sldLayoutId id="2147492917" r:id="rId3822"/>
    <p:sldLayoutId id="2147492953" r:id="rId3823"/>
    <p:sldLayoutId id="2147492955" r:id="rId3824"/>
    <p:sldLayoutId id="2147492979" r:id="rId3825"/>
    <p:sldLayoutId id="2147492963" r:id="rId3826"/>
    <p:sldLayoutId id="2147492961" r:id="rId3827"/>
    <p:sldLayoutId id="2147492981" r:id="rId3828"/>
    <p:sldLayoutId id="2147492959" r:id="rId3829"/>
    <p:sldLayoutId id="2147492985" r:id="rId3830"/>
    <p:sldLayoutId id="2147492969" r:id="rId3831"/>
    <p:sldLayoutId id="2147492997" r:id="rId3832"/>
    <p:sldLayoutId id="2147492993" r:id="rId3833"/>
    <p:sldLayoutId id="2147492999" r:id="rId3834"/>
    <p:sldLayoutId id="2147492921" r:id="rId3835"/>
    <p:sldLayoutId id="2147492927" r:id="rId3836"/>
    <p:sldLayoutId id="2147492931" r:id="rId3837"/>
    <p:sldLayoutId id="2147492943" r:id="rId3838"/>
    <p:sldLayoutId id="2147492937" r:id="rId3839"/>
    <p:sldLayoutId id="2147493037" r:id="rId3840"/>
    <p:sldLayoutId id="2147493043" r:id="rId3841"/>
    <p:sldLayoutId id="2147493007" r:id="rId3842"/>
    <p:sldLayoutId id="2147493003" r:id="rId3843"/>
    <p:sldLayoutId id="2147493001" r:id="rId3844"/>
    <p:sldLayoutId id="2147493009" r:id="rId3845"/>
    <p:sldLayoutId id="2147493055" r:id="rId3846"/>
    <p:sldLayoutId id="2147493075" r:id="rId3847"/>
    <p:sldLayoutId id="2147493067" r:id="rId3848"/>
    <p:sldLayoutId id="2147493101" r:id="rId3849"/>
    <p:sldLayoutId id="2147493095" r:id="rId3850"/>
    <p:sldLayoutId id="2147493103" r:id="rId3851"/>
    <p:sldLayoutId id="2147493105" r:id="rId3852"/>
    <p:sldLayoutId id="2147493109" r:id="rId3853"/>
    <p:sldLayoutId id="2147493113" r:id="rId3854"/>
    <p:sldLayoutId id="2147493121" r:id="rId3855"/>
    <p:sldLayoutId id="2147493117" r:id="rId3856"/>
    <p:sldLayoutId id="2147493011" r:id="rId3857"/>
    <p:sldLayoutId id="2147493013" r:id="rId3858"/>
    <p:sldLayoutId id="2147493041" r:id="rId3859"/>
    <p:sldLayoutId id="2147493045" r:id="rId3860"/>
    <p:sldLayoutId id="2147493073" r:id="rId3861"/>
    <p:sldLayoutId id="2147493057" r:id="rId3862"/>
    <p:sldLayoutId id="2147493051" r:id="rId3863"/>
    <p:sldLayoutId id="2147493077" r:id="rId3864"/>
    <p:sldLayoutId id="2147493049" r:id="rId3865"/>
    <p:sldLayoutId id="2147493079" r:id="rId3866"/>
    <p:sldLayoutId id="2147493061" r:id="rId3867"/>
    <p:sldLayoutId id="2147493125" r:id="rId3868"/>
    <p:sldLayoutId id="2147493093" r:id="rId3869"/>
    <p:sldLayoutId id="2147493127" r:id="rId3870"/>
    <p:sldLayoutId id="2147493015" r:id="rId3871"/>
    <p:sldLayoutId id="2147493019" r:id="rId3872"/>
    <p:sldLayoutId id="2147493023" r:id="rId3873"/>
    <p:sldLayoutId id="2147493033" r:id="rId3874"/>
    <p:sldLayoutId id="2147493029" r:id="rId3875"/>
    <p:sldLayoutId id="2147493081" r:id="rId3876"/>
    <p:sldLayoutId id="2147493083" r:id="rId3877"/>
    <p:sldLayoutId id="2147493235" r:id="rId3878"/>
    <p:sldLayoutId id="2147492909" r:id="rId3879"/>
    <p:sldLayoutId id="2147493273" r:id="rId3880"/>
    <p:sldLayoutId id="2147493269" r:id="rId3881"/>
    <p:sldLayoutId id="2147493267" r:id="rId3882"/>
    <p:sldLayoutId id="2147493275" r:id="rId3883"/>
    <p:sldLayoutId id="2147492923" r:id="rId3884"/>
    <p:sldLayoutId id="2147492951" r:id="rId3885"/>
    <p:sldLayoutId id="2147492939" r:id="rId3886"/>
    <p:sldLayoutId id="2147492989" r:id="rId3887"/>
    <p:sldLayoutId id="2147492977" r:id="rId3888"/>
    <p:sldLayoutId id="2147493245" r:id="rId3889"/>
    <p:sldLayoutId id="2147493247" r:id="rId3890"/>
    <p:sldLayoutId id="2147493251" r:id="rId3891"/>
    <p:sldLayoutId id="2147493255" r:id="rId3892"/>
    <p:sldLayoutId id="2147493263" r:id="rId3893"/>
    <p:sldLayoutId id="2147493259" r:id="rId3894"/>
    <p:sldLayoutId id="2147493277" r:id="rId3895"/>
    <p:sldLayoutId id="2147493279" r:id="rId3896"/>
    <p:sldLayoutId id="2147493303" r:id="rId3897"/>
    <p:sldLayoutId id="2147493305" r:id="rId3898"/>
    <p:sldLayoutId id="2147493323" r:id="rId3899"/>
    <p:sldLayoutId id="2147493313" r:id="rId3900"/>
    <p:sldLayoutId id="2147493311" r:id="rId3901"/>
    <p:sldLayoutId id="2147493325" r:id="rId3902"/>
    <p:sldLayoutId id="2147493309" r:id="rId3903"/>
    <p:sldLayoutId id="2147493327" r:id="rId3904"/>
    <p:sldLayoutId id="2147493317" r:id="rId3905"/>
    <p:sldLayoutId id="2147493337" r:id="rId3906"/>
    <p:sldLayoutId id="2147493333" r:id="rId3907"/>
    <p:sldLayoutId id="2147493339" r:id="rId3908"/>
    <p:sldLayoutId id="2147493281" r:id="rId3909"/>
    <p:sldLayoutId id="2147493285" r:id="rId3910"/>
    <p:sldLayoutId id="2147493289" r:id="rId3911"/>
    <p:sldLayoutId id="2147493297" r:id="rId3912"/>
    <p:sldLayoutId id="2147493293" r:id="rId3913"/>
    <p:sldLayoutId id="2147493169" r:id="rId3914"/>
    <p:sldLayoutId id="2147493173" r:id="rId3915"/>
    <p:sldLayoutId id="2147492907" r:id="rId3916"/>
    <p:sldLayoutId id="2147492903" r:id="rId3917"/>
    <p:sldLayoutId id="2147492901" r:id="rId3918"/>
    <p:sldLayoutId id="2147493159" r:id="rId3919"/>
    <p:sldLayoutId id="2147493183" r:id="rId3920"/>
    <p:sldLayoutId id="2147493197" r:id="rId3921"/>
    <p:sldLayoutId id="2147493191" r:id="rId3922"/>
    <p:sldLayoutId id="2147493211" r:id="rId3923"/>
    <p:sldLayoutId id="2147493207" r:id="rId3924"/>
    <p:sldLayoutId id="2147493213" r:id="rId3925"/>
    <p:sldLayoutId id="2147493215" r:id="rId3926"/>
    <p:sldLayoutId id="2147493219" r:id="rId3927"/>
    <p:sldLayoutId id="2147493225" r:id="rId3928"/>
    <p:sldLayoutId id="2147493241" r:id="rId3929"/>
    <p:sldLayoutId id="2147493231" r:id="rId3930"/>
    <p:sldLayoutId id="2147493161" r:id="rId3931"/>
    <p:sldLayoutId id="2147493163" r:id="rId3932"/>
    <p:sldLayoutId id="2147494512" r:id="rId3933"/>
    <p:sldLayoutId id="2147494516" r:id="rId3934"/>
    <p:sldLayoutId id="2147494614" r:id="rId3935"/>
    <p:sldLayoutId id="2147494610" r:id="rId3936"/>
    <p:sldLayoutId id="2147494608" r:id="rId3937"/>
    <p:sldLayoutId id="2147494616" r:id="rId3938"/>
    <p:sldLayoutId id="2147494526" r:id="rId3939"/>
    <p:sldLayoutId id="2147494540" r:id="rId3940"/>
    <p:sldLayoutId id="2147494534" r:id="rId3941"/>
    <p:sldLayoutId id="2147494558" r:id="rId3942"/>
    <p:sldLayoutId id="2147494552" r:id="rId3943"/>
    <p:sldLayoutId id="2147494562" r:id="rId3944"/>
    <p:sldLayoutId id="2147494570" r:id="rId3945"/>
    <p:sldLayoutId id="2147494576" r:id="rId3946"/>
    <p:sldLayoutId id="2147494582" r:id="rId3947"/>
    <p:sldLayoutId id="2147494594" r:id="rId3948"/>
    <p:sldLayoutId id="2147494588" r:id="rId3949"/>
    <p:sldLayoutId id="2147494618" r:id="rId3950"/>
    <p:sldLayoutId id="2147494620" r:id="rId3951"/>
    <p:sldLayoutId id="2147494648" r:id="rId3952"/>
    <p:sldLayoutId id="2147494650" r:id="rId3953"/>
    <p:sldLayoutId id="2147494668" r:id="rId3954"/>
    <p:sldLayoutId id="2147494658" r:id="rId3955"/>
    <p:sldLayoutId id="2147494656" r:id="rId3956"/>
    <p:sldLayoutId id="2147494670" r:id="rId3957"/>
    <p:sldLayoutId id="2147494654" r:id="rId3958"/>
    <p:sldLayoutId id="2147494672" r:id="rId3959"/>
    <p:sldLayoutId id="2147494662" r:id="rId3960"/>
    <p:sldLayoutId id="2147494682" r:id="rId3961"/>
    <p:sldLayoutId id="2147494678" r:id="rId3962"/>
    <p:sldLayoutId id="2147494684" r:id="rId3963"/>
    <p:sldLayoutId id="2147494622" r:id="rId3964"/>
    <p:sldLayoutId id="2147494626" r:id="rId3965"/>
    <p:sldLayoutId id="2147494632" r:id="rId3966"/>
    <p:sldLayoutId id="2147494642" r:id="rId3967"/>
    <p:sldLayoutId id="2147494638" r:id="rId3968"/>
    <p:sldLayoutId id="2147494756" r:id="rId3969"/>
    <p:sldLayoutId id="2147494766" r:id="rId3970"/>
    <p:sldLayoutId id="2147494710" r:id="rId3971"/>
    <p:sldLayoutId id="2147494704" r:id="rId3972"/>
    <p:sldLayoutId id="2147494702" r:id="rId3973"/>
    <p:sldLayoutId id="2147494714" r:id="rId3974"/>
    <p:sldLayoutId id="2147494784" r:id="rId3975"/>
    <p:sldLayoutId id="2147494804" r:id="rId3976"/>
    <p:sldLayoutId id="2147494796" r:id="rId3977"/>
    <p:sldLayoutId id="2147494830" r:id="rId3978"/>
    <p:sldLayoutId id="2147494824" r:id="rId3979"/>
    <p:sldLayoutId id="2147494832" r:id="rId3980"/>
    <p:sldLayoutId id="2147494834" r:id="rId3981"/>
    <p:sldLayoutId id="2147494838" r:id="rId3982"/>
    <p:sldLayoutId id="2147494842" r:id="rId3983"/>
    <p:sldLayoutId id="2147494850" r:id="rId3984"/>
    <p:sldLayoutId id="2147494846" r:id="rId3985"/>
    <p:sldLayoutId id="2147494716" r:id="rId3986"/>
    <p:sldLayoutId id="2147494720" r:id="rId3987"/>
    <p:sldLayoutId id="2147494762" r:id="rId3988"/>
    <p:sldLayoutId id="2147494768" r:id="rId3989"/>
    <p:sldLayoutId id="2147494802" r:id="rId3990"/>
    <p:sldLayoutId id="2147494786" r:id="rId3991"/>
    <p:sldLayoutId id="2147494778" r:id="rId3992"/>
    <p:sldLayoutId id="2147494806" r:id="rId3993"/>
    <p:sldLayoutId id="2147494774" r:id="rId3994"/>
    <p:sldLayoutId id="2147494808" r:id="rId3995"/>
    <p:sldLayoutId id="2147494790" r:id="rId3996"/>
    <p:sldLayoutId id="2147494854" r:id="rId3997"/>
    <p:sldLayoutId id="2147494822" r:id="rId3998"/>
    <p:sldLayoutId id="2147494856" r:id="rId3999"/>
    <p:sldLayoutId id="2147494724" r:id="rId4000"/>
    <p:sldLayoutId id="2147494730" r:id="rId4001"/>
    <p:sldLayoutId id="2147494736" r:id="rId4002"/>
    <p:sldLayoutId id="2147494750" r:id="rId4003"/>
    <p:sldLayoutId id="2147494744" r:id="rId4004"/>
    <p:sldLayoutId id="2147494810" r:id="rId4005"/>
    <p:sldLayoutId id="2147494812" r:id="rId4006"/>
    <p:sldLayoutId id="2147494924" r:id="rId4007"/>
    <p:sldLayoutId id="2147494928" r:id="rId4008"/>
    <p:sldLayoutId id="2147495012" r:id="rId4009"/>
    <p:sldLayoutId id="2147495006" r:id="rId4010"/>
    <p:sldLayoutId id="2147495004" r:id="rId4011"/>
    <p:sldLayoutId id="2147495016" r:id="rId4012"/>
    <p:sldLayoutId id="2147494934" r:id="rId4013"/>
    <p:sldLayoutId id="2147494946" r:id="rId4014"/>
    <p:sldLayoutId id="2147494940" r:id="rId4015"/>
    <p:sldLayoutId id="2147494964" r:id="rId4016"/>
    <p:sldLayoutId id="2147494956" r:id="rId4017"/>
    <p:sldLayoutId id="2147494966" r:id="rId4018"/>
    <p:sldLayoutId id="2147494970" r:id="rId4019"/>
    <p:sldLayoutId id="2147494976" r:id="rId4020"/>
    <p:sldLayoutId id="2147494984" r:id="rId4021"/>
    <p:sldLayoutId id="2147494998" r:id="rId4022"/>
    <p:sldLayoutId id="2147494992" r:id="rId4023"/>
    <p:sldLayoutId id="2147495020" r:id="rId4024"/>
    <p:sldLayoutId id="2147495024" r:id="rId4025"/>
    <p:sldLayoutId id="2147495062" r:id="rId4026"/>
    <p:sldLayoutId id="2147495066" r:id="rId4027"/>
    <p:sldLayoutId id="2147495094" r:id="rId4028"/>
    <p:sldLayoutId id="2147495080" r:id="rId4029"/>
    <p:sldLayoutId id="2147495076" r:id="rId4030"/>
    <p:sldLayoutId id="2147495096" r:id="rId4031"/>
    <p:sldLayoutId id="2147495072" r:id="rId4032"/>
    <p:sldLayoutId id="2147495098" r:id="rId4033"/>
    <p:sldLayoutId id="2147495086" r:id="rId4034"/>
    <p:sldLayoutId id="2147495112" r:id="rId4035"/>
    <p:sldLayoutId id="2147495106" r:id="rId4036"/>
    <p:sldLayoutId id="2147495114" r:id="rId4037"/>
    <p:sldLayoutId id="2147495028" r:id="rId4038"/>
    <p:sldLayoutId id="2147495036" r:id="rId4039"/>
    <p:sldLayoutId id="2147495042" r:id="rId4040"/>
    <p:sldLayoutId id="2147495054" r:id="rId4041"/>
    <p:sldLayoutId id="2147495048" r:id="rId4042"/>
    <p:sldLayoutId id="2147495249" r:id="rId4043"/>
    <p:sldLayoutId id="2147495250" r:id="rId4044"/>
    <p:sldLayoutId id="2147495305" r:id="rId4045"/>
    <p:sldLayoutId id="2147495300" r:id="rId4046"/>
    <p:sldLayoutId id="2147495297" r:id="rId4047"/>
    <p:sldLayoutId id="2147495139" r:id="rId4048"/>
    <p:sldLayoutId id="2147495252" r:id="rId4049"/>
    <p:sldLayoutId id="2147495256" r:id="rId4050"/>
    <p:sldLayoutId id="2147495254" r:id="rId4051"/>
    <p:sldLayoutId id="2147495261" r:id="rId4052"/>
    <p:sldLayoutId id="2147495259" r:id="rId4053"/>
    <p:sldLayoutId id="2147495262" r:id="rId4054"/>
    <p:sldLayoutId id="2147495267" r:id="rId4055"/>
    <p:sldLayoutId id="2147495271" r:id="rId4056"/>
    <p:sldLayoutId id="2147495274" r:id="rId4057"/>
    <p:sldLayoutId id="2147495283" r:id="rId4058"/>
    <p:sldLayoutId id="2147495278" r:id="rId4059"/>
    <p:sldLayoutId id="2147495141" r:id="rId4060"/>
    <p:sldLayoutId id="2147495142" r:id="rId4061"/>
    <p:sldLayoutId id="2147495160" r:id="rId4062"/>
    <p:sldLayoutId id="2147495161" r:id="rId4063"/>
    <p:sldLayoutId id="2147495173" r:id="rId4064"/>
    <p:sldLayoutId id="2147495165" r:id="rId4065"/>
    <p:sldLayoutId id="2147495164" r:id="rId4066"/>
    <p:sldLayoutId id="2147495174" r:id="rId4067"/>
    <p:sldLayoutId id="2147495163" r:id="rId4068"/>
    <p:sldLayoutId id="2147495176" r:id="rId4069"/>
    <p:sldLayoutId id="2147495168" r:id="rId4070"/>
    <p:sldLayoutId id="2147495182" r:id="rId4071"/>
    <p:sldLayoutId id="2147495180" r:id="rId4072"/>
    <p:sldLayoutId id="2147495183" r:id="rId4073"/>
    <p:sldLayoutId id="2147495144" r:id="rId4074"/>
    <p:sldLayoutId id="2147495147" r:id="rId4075"/>
    <p:sldLayoutId id="2147495149" r:id="rId4076"/>
    <p:sldLayoutId id="2147495155" r:id="rId4077"/>
    <p:sldLayoutId id="2147495152" r:id="rId4078"/>
    <p:sldLayoutId id="2147495202" r:id="rId4079"/>
    <p:sldLayoutId id="2147495205" r:id="rId4080"/>
    <p:sldLayoutId id="2147495187" r:id="rId4081"/>
    <p:sldLayoutId id="2147495185" r:id="rId4082"/>
    <p:sldLayoutId id="2147495184" r:id="rId4083"/>
    <p:sldLayoutId id="2147495188" r:id="rId4084"/>
    <p:sldLayoutId id="2147495211" r:id="rId4085"/>
    <p:sldLayoutId id="2147495221" r:id="rId4086"/>
    <p:sldLayoutId id="2147495217" r:id="rId4087"/>
    <p:sldLayoutId id="2147495234" r:id="rId4088"/>
    <p:sldLayoutId id="2147495231" r:id="rId4089"/>
    <p:sldLayoutId id="2147495235" r:id="rId4090"/>
    <p:sldLayoutId id="2147495236" r:id="rId4091"/>
    <p:sldLayoutId id="2147495238" r:id="rId4092"/>
    <p:sldLayoutId id="2147495240" r:id="rId4093"/>
    <p:sldLayoutId id="2147495244" r:id="rId4094"/>
    <p:sldLayoutId id="2147495242" r:id="rId4095"/>
    <p:sldLayoutId id="2147495189" r:id="rId4096"/>
    <p:sldLayoutId id="2147495190" r:id="rId4097"/>
    <p:sldLayoutId id="2147495204" r:id="rId4098"/>
    <p:sldLayoutId id="2147495206" r:id="rId4099"/>
    <p:sldLayoutId id="2147495220" r:id="rId4100"/>
    <p:sldLayoutId id="2147495212" r:id="rId4101"/>
    <p:sldLayoutId id="2147495209" r:id="rId4102"/>
    <p:sldLayoutId id="2147495222" r:id="rId4103"/>
    <p:sldLayoutId id="2147495208" r:id="rId4104"/>
    <p:sldLayoutId id="2147495223" r:id="rId4105"/>
    <p:sldLayoutId id="2147495214" r:id="rId4106"/>
    <p:sldLayoutId id="2147495246" r:id="rId4107"/>
    <p:sldLayoutId id="2147495230" r:id="rId4108"/>
    <p:sldLayoutId id="2147495247" r:id="rId4109"/>
    <p:sldLayoutId id="2147495191" r:id="rId4110"/>
    <p:sldLayoutId id="2147495193" r:id="rId4111"/>
    <p:sldLayoutId id="2147495195" r:id="rId4112"/>
    <p:sldLayoutId id="2147495200" r:id="rId4113"/>
    <p:sldLayoutId id="2147495198" r:id="rId4114"/>
    <p:sldLayoutId id="2147495224" r:id="rId4115"/>
    <p:sldLayoutId id="2147495225" r:id="rId4116"/>
    <p:sldLayoutId id="2147495301" r:id="rId4117"/>
    <p:sldLayoutId id="2147495138" r:id="rId4118"/>
    <p:sldLayoutId id="2147495320" r:id="rId4119"/>
    <p:sldLayoutId id="2147495318" r:id="rId4120"/>
    <p:sldLayoutId id="2147495317" r:id="rId4121"/>
    <p:sldLayoutId id="2147495321" r:id="rId4122"/>
    <p:sldLayoutId id="2147495145" r:id="rId4123"/>
    <p:sldLayoutId id="2147495159" r:id="rId4124"/>
    <p:sldLayoutId id="2147495153" r:id="rId4125"/>
    <p:sldLayoutId id="2147495178" r:id="rId4126"/>
    <p:sldLayoutId id="2147495172" r:id="rId4127"/>
    <p:sldLayoutId id="2147495306" r:id="rId4128"/>
    <p:sldLayoutId id="2147495307" r:id="rId4129"/>
    <p:sldLayoutId id="2147495309" r:id="rId4130"/>
    <p:sldLayoutId id="2147495311" r:id="rId4131"/>
    <p:sldLayoutId id="2147495315" r:id="rId4132"/>
    <p:sldLayoutId id="2147495313" r:id="rId4133"/>
    <p:sldLayoutId id="2147495322" r:id="rId4134"/>
    <p:sldLayoutId id="2147495323" r:id="rId4135"/>
    <p:sldLayoutId id="2147495335" r:id="rId4136"/>
    <p:sldLayoutId id="2147495336" r:id="rId4137"/>
    <p:sldLayoutId id="2147495345" r:id="rId4138"/>
    <p:sldLayoutId id="2147495340" r:id="rId4139"/>
    <p:sldLayoutId id="2147495339" r:id="rId4140"/>
    <p:sldLayoutId id="2147495346" r:id="rId4141"/>
    <p:sldLayoutId id="2147495338" r:id="rId4142"/>
    <p:sldLayoutId id="2147495347" r:id="rId4143"/>
    <p:sldLayoutId id="2147495342" r:id="rId4144"/>
    <p:sldLayoutId id="2147494134" r:id="rId4145"/>
    <p:sldLayoutId id="2147494130" r:id="rId4146"/>
    <p:sldLayoutId id="2147494136" r:id="rId4147"/>
    <p:sldLayoutId id="2147495324" r:id="rId4148"/>
    <p:sldLayoutId id="2147495326" r:id="rId4149"/>
    <p:sldLayoutId id="2147495328" r:id="rId4150"/>
    <p:sldLayoutId id="2147495332" r:id="rId4151"/>
    <p:sldLayoutId id="2147495330" r:id="rId4152"/>
    <p:sldLayoutId id="2147495268" r:id="rId4153"/>
    <p:sldLayoutId id="2147495270" r:id="rId4154"/>
    <p:sldLayoutId id="2147495137" r:id="rId4155"/>
    <p:sldLayoutId id="2147495135" r:id="rId4156"/>
    <p:sldLayoutId id="2147495134" r:id="rId4157"/>
    <p:sldLayoutId id="2147495263" r:id="rId4158"/>
    <p:sldLayoutId id="2147495275" r:id="rId4159"/>
    <p:sldLayoutId id="2147495282" r:id="rId4160"/>
    <p:sldLayoutId id="2147495279" r:id="rId4161"/>
    <p:sldLayoutId id="2147495289" r:id="rId4162"/>
    <p:sldLayoutId id="2147495287" r:id="rId4163"/>
    <p:sldLayoutId id="2147495290" r:id="rId4164"/>
    <p:sldLayoutId id="2147495291" r:id="rId4165"/>
    <p:sldLayoutId id="2147495293" r:id="rId4166"/>
    <p:sldLayoutId id="2147495296" r:id="rId4167"/>
    <p:sldLayoutId id="2147495304" r:id="rId4168"/>
    <p:sldLayoutId id="2147495299" r:id="rId4169"/>
    <p:sldLayoutId id="2147495264" r:id="rId4170"/>
    <p:sldLayoutId id="2147495265" r:id="rId4171"/>
    <p:sldLayoutId id="2147494220" r:id="rId4172"/>
    <p:sldLayoutId id="2147494222" r:id="rId4173"/>
    <p:sldLayoutId id="2147494274" r:id="rId4174"/>
    <p:sldLayoutId id="2147494270" r:id="rId4175"/>
    <p:sldLayoutId id="2147494268" r:id="rId4176"/>
    <p:sldLayoutId id="2147494276" r:id="rId4177"/>
    <p:sldLayoutId id="2147494226" r:id="rId4178"/>
    <p:sldLayoutId id="2147494234" r:id="rId4179"/>
    <p:sldLayoutId id="2147494230" r:id="rId4180"/>
    <p:sldLayoutId id="2147494244" r:id="rId4181"/>
    <p:sldLayoutId id="2147494240" r:id="rId4182"/>
    <p:sldLayoutId id="2147494246" r:id="rId4183"/>
    <p:sldLayoutId id="2147494248" r:id="rId4184"/>
    <p:sldLayoutId id="2147494252" r:id="rId4185"/>
    <p:sldLayoutId id="2147494256" r:id="rId4186"/>
    <p:sldLayoutId id="2147494264" r:id="rId4187"/>
    <p:sldLayoutId id="2147494260" r:id="rId4188"/>
    <p:sldLayoutId id="2147494278" r:id="rId4189"/>
    <p:sldLayoutId id="2147494280" r:id="rId4190"/>
    <p:sldLayoutId id="2147494312" r:id="rId4191"/>
    <p:sldLayoutId id="2147494314" r:id="rId4192"/>
    <p:sldLayoutId id="2147494332" r:id="rId4193"/>
    <p:sldLayoutId id="2147494322" r:id="rId4194"/>
    <p:sldLayoutId id="2147494320" r:id="rId4195"/>
    <p:sldLayoutId id="2147494334" r:id="rId4196"/>
    <p:sldLayoutId id="2147494318" r:id="rId4197"/>
    <p:sldLayoutId id="2147494336" r:id="rId4198"/>
    <p:sldLayoutId id="2147494326" r:id="rId4199"/>
    <p:sldLayoutId id="2147494346" r:id="rId4200"/>
    <p:sldLayoutId id="2147494342" r:id="rId4201"/>
    <p:sldLayoutId id="2147494348" r:id="rId4202"/>
    <p:sldLayoutId id="2147494286" r:id="rId4203"/>
    <p:sldLayoutId id="2147494294" r:id="rId4204"/>
    <p:sldLayoutId id="2147494298" r:id="rId4205"/>
    <p:sldLayoutId id="2147494306" r:id="rId4206"/>
    <p:sldLayoutId id="2147494302" r:id="rId4207"/>
    <p:sldLayoutId id="2147494444" r:id="rId4208"/>
    <p:sldLayoutId id="2147494454" r:id="rId4209"/>
    <p:sldLayoutId id="2147494396" r:id="rId4210"/>
    <p:sldLayoutId id="2147494388" r:id="rId4211"/>
    <p:sldLayoutId id="2147494384" r:id="rId4212"/>
    <p:sldLayoutId id="2147494398" r:id="rId4213"/>
    <p:sldLayoutId id="2147494476" r:id="rId4214"/>
    <p:sldLayoutId id="2147494510" r:id="rId4215"/>
    <p:sldLayoutId id="2147494496" r:id="rId4216"/>
    <p:sldLayoutId id="2147494564" r:id="rId4217"/>
    <p:sldLayoutId id="2147494548" r:id="rId4218"/>
    <p:sldLayoutId id="2147494566" r:id="rId4219"/>
    <p:sldLayoutId id="2147494568" r:id="rId4220"/>
    <p:sldLayoutId id="2147494578" r:id="rId4221"/>
    <p:sldLayoutId id="2147494590" r:id="rId4222"/>
    <p:sldLayoutId id="2147494604" r:id="rId4223"/>
    <p:sldLayoutId id="2147494600" r:id="rId4224"/>
    <p:sldLayoutId id="2147494402" r:id="rId4225"/>
    <p:sldLayoutId id="2147494406" r:id="rId4226"/>
    <p:sldLayoutId id="2147494450" r:id="rId4227"/>
    <p:sldLayoutId id="2147494458" r:id="rId4228"/>
    <p:sldLayoutId id="2147494508" r:id="rId4229"/>
    <p:sldLayoutId id="2147494478" r:id="rId4230"/>
    <p:sldLayoutId id="2147494468" r:id="rId4231"/>
    <p:sldLayoutId id="2147494514" r:id="rId4232"/>
    <p:sldLayoutId id="2147494464" r:id="rId4233"/>
    <p:sldLayoutId id="2147494518" r:id="rId4234"/>
    <p:sldLayoutId id="2147494486" r:id="rId4235"/>
    <p:sldLayoutId id="2147494630" r:id="rId4236"/>
    <p:sldLayoutId id="2147494544" r:id="rId4237"/>
    <p:sldLayoutId id="2147494636" r:id="rId4238"/>
    <p:sldLayoutId id="2147494410" r:id="rId4239"/>
    <p:sldLayoutId id="2147494416" r:id="rId4240"/>
    <p:sldLayoutId id="2147494422" r:id="rId4241"/>
    <p:sldLayoutId id="2147494436" r:id="rId4242"/>
    <p:sldLayoutId id="2147494430" r:id="rId4243"/>
    <p:sldLayoutId id="2147494520" r:id="rId4244"/>
    <p:sldLayoutId id="2147494524" r:id="rId4245"/>
    <p:sldLayoutId id="2147494688" r:id="rId4246"/>
    <p:sldLayoutId id="2147494690" r:id="rId4247"/>
    <p:sldLayoutId id="2147494150" r:id="rId4248"/>
    <p:sldLayoutId id="2147494146" r:id="rId4249"/>
    <p:sldLayoutId id="2147494144" r:id="rId4250"/>
    <p:sldLayoutId id="2147494152" r:id="rId4251"/>
    <p:sldLayoutId id="2147494694" r:id="rId4252"/>
    <p:sldLayoutId id="2147494706" r:id="rId4253"/>
    <p:sldLayoutId id="2147494698" r:id="rId4254"/>
    <p:sldLayoutId id="2147494734" r:id="rId4255"/>
    <p:sldLayoutId id="2147494722" r:id="rId4256"/>
    <p:sldLayoutId id="2147494740" r:id="rId4257"/>
    <p:sldLayoutId id="2147494746" r:id="rId4258"/>
    <p:sldLayoutId id="2147494758" r:id="rId4259"/>
    <p:sldLayoutId id="2147494770" r:id="rId4260"/>
    <p:sldLayoutId id="2147494140" r:id="rId4261"/>
    <p:sldLayoutId id="2147494782" r:id="rId4262"/>
    <p:sldLayoutId id="2147494154" r:id="rId4263"/>
    <p:sldLayoutId id="2147494156" r:id="rId4264"/>
    <p:sldLayoutId id="2147494180" r:id="rId4265"/>
    <p:sldLayoutId id="2147494182" r:id="rId4266"/>
    <p:sldLayoutId id="2147494200" r:id="rId4267"/>
    <p:sldLayoutId id="2147494190" r:id="rId4268"/>
    <p:sldLayoutId id="2147494188" r:id="rId4269"/>
    <p:sldLayoutId id="2147494202" r:id="rId4270"/>
    <p:sldLayoutId id="2147494186" r:id="rId4271"/>
    <p:sldLayoutId id="2147494204" r:id="rId4272"/>
    <p:sldLayoutId id="2147494194" r:id="rId4273"/>
    <p:sldLayoutId id="2147494214" r:id="rId4274"/>
    <p:sldLayoutId id="2147494210" r:id="rId4275"/>
    <p:sldLayoutId id="2147494216" r:id="rId4276"/>
    <p:sldLayoutId id="2147494158" r:id="rId4277"/>
    <p:sldLayoutId id="2147494162" r:id="rId4278"/>
    <p:sldLayoutId id="2147494166" r:id="rId4279"/>
    <p:sldLayoutId id="2147494174" r:id="rId4280"/>
    <p:sldLayoutId id="2147494170" r:id="rId4281"/>
    <p:sldLayoutId id="2147494414" r:id="rId4282"/>
    <p:sldLayoutId id="2147495124" r:id="rId4283"/>
    <p:sldLayoutId id="2147495133" r:id="rId4284"/>
    <p:sldLayoutId id="2147494498" r:id="rId4285"/>
    <p:sldLayoutId id="2147494494" r:id="rId4286"/>
    <p:sldLayoutId id="2147494858" r:id="rId4287"/>
    <p:sldLayoutId id="2147495126" r:id="rId4288"/>
    <p:sldLayoutId id="2147495128" r:id="rId4289"/>
    <p:sldLayoutId id="2147495127" r:id="rId4290"/>
    <p:sldLayoutId id="2147494452" r:id="rId4291"/>
    <p:sldLayoutId id="2147494446" r:id="rId4292"/>
    <p:sldLayoutId id="2147494456" r:id="rId4293"/>
    <p:sldLayoutId id="2147494460" r:id="rId4294"/>
    <p:sldLayoutId id="2147494466" r:id="rId4295"/>
    <p:sldLayoutId id="2147494474" r:id="rId4296"/>
    <p:sldLayoutId id="2147494488" r:id="rId4297"/>
    <p:sldLayoutId id="2147494480" r:id="rId4298"/>
    <p:sldLayoutId id="2147494860" r:id="rId4299"/>
    <p:sldLayoutId id="2147494862" r:id="rId4300"/>
    <p:sldLayoutId id="2147494886" r:id="rId4301"/>
    <p:sldLayoutId id="2147494888" r:id="rId4302"/>
    <p:sldLayoutId id="2147494284" r:id="rId4303"/>
    <p:sldLayoutId id="2147494896" r:id="rId4304"/>
    <p:sldLayoutId id="2147494894" r:id="rId4305"/>
    <p:sldLayoutId id="2147494288" r:id="rId4306"/>
    <p:sldLayoutId id="2147494892" r:id="rId4307"/>
    <p:sldLayoutId id="2147494292" r:id="rId4308"/>
    <p:sldLayoutId id="2147494900" r:id="rId4309"/>
    <p:sldLayoutId id="2147494912" r:id="rId4310"/>
    <p:sldLayoutId id="2147494908" r:id="rId4311"/>
    <p:sldLayoutId id="2147494914" r:id="rId4312"/>
    <p:sldLayoutId id="2147494864" r:id="rId4313"/>
    <p:sldLayoutId id="2147494868" r:id="rId4314"/>
    <p:sldLayoutId id="2147494872" r:id="rId4315"/>
    <p:sldLayoutId id="2147494880" r:id="rId4316"/>
    <p:sldLayoutId id="2147494876" r:id="rId4317"/>
    <p:sldLayoutId id="2147495002" r:id="rId4318"/>
    <p:sldLayoutId id="2147495018" r:id="rId4319"/>
    <p:sldLayoutId id="2147494926" r:id="rId4320"/>
    <p:sldLayoutId id="2147494918" r:id="rId4321"/>
    <p:sldLayoutId id="2147494916" r:id="rId4322"/>
    <p:sldLayoutId id="2147494932" r:id="rId4323"/>
    <p:sldLayoutId id="2147495044" r:id="rId4324"/>
    <p:sldLayoutId id="2147494358" r:id="rId4325"/>
    <p:sldLayoutId id="2147494354" r:id="rId4326"/>
    <p:sldLayoutId id="2147494374" r:id="rId4327"/>
    <p:sldLayoutId id="2147494370" r:id="rId4328"/>
    <p:sldLayoutId id="2147494376" r:id="rId4329"/>
    <p:sldLayoutId id="2147495116" r:id="rId4330"/>
    <p:sldLayoutId id="2147494380" r:id="rId4331"/>
    <p:sldLayoutId id="2147495118" r:id="rId4332"/>
    <p:sldLayoutId id="2147495120" r:id="rId4333"/>
    <p:sldLayoutId id="2147494390" r:id="rId4334"/>
    <p:sldLayoutId id="2147494936" r:id="rId4335"/>
    <p:sldLayoutId id="2147494942" r:id="rId4336"/>
    <p:sldLayoutId id="2147495014" r:id="rId4337"/>
    <p:sldLayoutId id="2147495022" r:id="rId4338"/>
    <p:sldLayoutId id="2147495074" r:id="rId4339"/>
    <p:sldLayoutId id="2147495050" r:id="rId4340"/>
    <p:sldLayoutId id="2147495034" r:id="rId4341"/>
    <p:sldLayoutId id="2147495078" r:id="rId4342"/>
    <p:sldLayoutId id="2147495030" r:id="rId4343"/>
    <p:sldLayoutId id="2147494360" r:id="rId4344"/>
    <p:sldLayoutId id="2147495064" r:id="rId4345"/>
    <p:sldLayoutId id="2147494404" r:id="rId4346"/>
    <p:sldLayoutId id="2147495100" r:id="rId4347"/>
    <p:sldLayoutId id="2147494408" r:id="rId4348"/>
    <p:sldLayoutId id="2147494948" r:id="rId4349"/>
    <p:sldLayoutId id="2147494958" r:id="rId4350"/>
    <p:sldLayoutId id="2147494968" r:id="rId4351"/>
    <p:sldLayoutId id="2147494990" r:id="rId4352"/>
    <p:sldLayoutId id="2147494982" r:id="rId4353"/>
    <p:sldLayoutId id="2147495082" r:id="rId4354"/>
    <p:sldLayoutId id="2147494362" r:id="rId4355"/>
    <p:sldLayoutId id="2147495351" r:id="rId4356"/>
    <p:sldLayoutId id="2147495352" r:id="rId4357"/>
    <p:sldLayoutId id="2147494891" r:id="rId4358"/>
    <p:sldLayoutId id="2147494023" r:id="rId4359"/>
    <p:sldLayoutId id="2147494897" r:id="rId4360"/>
    <p:sldLayoutId id="2147494959" r:id="rId4361"/>
    <p:sldLayoutId id="2147494955" r:id="rId4362"/>
    <p:sldLayoutId id="2147494953" r:id="rId4363"/>
    <p:sldLayoutId id="2147494961" r:id="rId4364"/>
    <p:sldLayoutId id="2147494911" r:id="rId4365"/>
    <p:sldLayoutId id="2147494919" r:id="rId4366"/>
    <p:sldLayoutId id="2147494915" r:id="rId4367"/>
    <p:sldLayoutId id="2147494929" r:id="rId4368"/>
    <p:sldLayoutId id="2147494925" r:id="rId4369"/>
    <p:sldLayoutId id="2147494931" r:id="rId4370"/>
    <p:sldLayoutId id="2147494933" r:id="rId4371"/>
    <p:sldLayoutId id="2147494937" r:id="rId4372"/>
    <p:sldLayoutId id="2147494941" r:id="rId4373"/>
    <p:sldLayoutId id="2147494949" r:id="rId4374"/>
    <p:sldLayoutId id="2147494945" r:id="rId4375"/>
    <p:sldLayoutId id="2147494963" r:id="rId4376"/>
    <p:sldLayoutId id="2147494965" r:id="rId4377"/>
    <p:sldLayoutId id="2147494989" r:id="rId4378"/>
    <p:sldLayoutId id="2147494991" r:id="rId4379"/>
    <p:sldLayoutId id="2147495009" r:id="rId4380"/>
    <p:sldLayoutId id="2147494999" r:id="rId4381"/>
    <p:sldLayoutId id="2147494997" r:id="rId4382"/>
    <p:sldLayoutId id="2147495011" r:id="rId4383"/>
    <p:sldLayoutId id="2147494995" r:id="rId4384"/>
    <p:sldLayoutId id="2147495013" r:id="rId4385"/>
    <p:sldLayoutId id="2147495003" r:id="rId4386"/>
    <p:sldLayoutId id="2147495023" r:id="rId4387"/>
    <p:sldLayoutId id="2147495019" r:id="rId4388"/>
    <p:sldLayoutId id="2147495025" r:id="rId4389"/>
    <p:sldLayoutId id="2147494967" r:id="rId4390"/>
    <p:sldLayoutId id="2147494971" r:id="rId4391"/>
    <p:sldLayoutId id="2147494975" r:id="rId4392"/>
    <p:sldLayoutId id="2147494983" r:id="rId4393"/>
    <p:sldLayoutId id="2147494979" r:id="rId4394"/>
    <p:sldLayoutId id="2147495063" r:id="rId4395"/>
    <p:sldLayoutId id="2147495069" r:id="rId4396"/>
    <p:sldLayoutId id="2147495033" r:id="rId4397"/>
    <p:sldLayoutId id="2147495029" r:id="rId4398"/>
    <p:sldLayoutId id="2147495027" r:id="rId4399"/>
    <p:sldLayoutId id="2147495035" r:id="rId4400"/>
    <p:sldLayoutId id="2147495081" r:id="rId4401"/>
    <p:sldLayoutId id="2147495101" r:id="rId4402"/>
    <p:sldLayoutId id="2147495093" r:id="rId4403"/>
    <p:sldLayoutId id="2147497689" r:id="rId4404"/>
    <p:sldLayoutId id="2147497683" r:id="rId4405"/>
    <p:sldLayoutId id="2147497691" r:id="rId4406"/>
    <p:sldLayoutId id="2147497693" r:id="rId4407"/>
    <p:sldLayoutId id="2147497697" r:id="rId4408"/>
    <p:sldLayoutId id="2147497701" r:id="rId4409"/>
    <p:sldLayoutId id="2147497709" r:id="rId4410"/>
    <p:sldLayoutId id="2147497705" r:id="rId4411"/>
    <p:sldLayoutId id="2147495037" r:id="rId4412"/>
    <p:sldLayoutId id="2147495039" r:id="rId4413"/>
    <p:sldLayoutId id="2147495067" r:id="rId4414"/>
    <p:sldLayoutId id="2147495071" r:id="rId4415"/>
    <p:sldLayoutId id="2147495099" r:id="rId4416"/>
    <p:sldLayoutId id="2147495083" r:id="rId4417"/>
    <p:sldLayoutId id="2147495077" r:id="rId4418"/>
    <p:sldLayoutId id="2147495103" r:id="rId4419"/>
    <p:sldLayoutId id="2147495075" r:id="rId4420"/>
    <p:sldLayoutId id="2147495105" r:id="rId4421"/>
    <p:sldLayoutId id="2147495087" r:id="rId4422"/>
    <p:sldLayoutId id="2147497713" r:id="rId4423"/>
    <p:sldLayoutId id="2147495119" r:id="rId4424"/>
    <p:sldLayoutId id="2147497715" r:id="rId4425"/>
    <p:sldLayoutId id="2147495041" r:id="rId4426"/>
    <p:sldLayoutId id="2147495045" r:id="rId4427"/>
    <p:sldLayoutId id="2147495049" r:id="rId4428"/>
    <p:sldLayoutId id="2147495059" r:id="rId4429"/>
    <p:sldLayoutId id="2147495055" r:id="rId4430"/>
    <p:sldLayoutId id="2147495107" r:id="rId4431"/>
    <p:sldLayoutId id="2147495109" r:id="rId4432"/>
    <p:sldLayoutId id="2147497719" r:id="rId4433"/>
    <p:sldLayoutId id="2147497721" r:id="rId4434"/>
    <p:sldLayoutId id="2147497773" r:id="rId4435"/>
    <p:sldLayoutId id="2147497769" r:id="rId4436"/>
    <p:sldLayoutId id="2147497767" r:id="rId4437"/>
    <p:sldLayoutId id="2147497775" r:id="rId4438"/>
    <p:sldLayoutId id="2147497725" r:id="rId4439"/>
    <p:sldLayoutId id="2147497733" r:id="rId4440"/>
    <p:sldLayoutId id="2147497729" r:id="rId4441"/>
    <p:sldLayoutId id="2147497743" r:id="rId4442"/>
    <p:sldLayoutId id="2147497739" r:id="rId4443"/>
    <p:sldLayoutId id="2147497745" r:id="rId4444"/>
    <p:sldLayoutId id="2147497747" r:id="rId4445"/>
    <p:sldLayoutId id="2147497751" r:id="rId4446"/>
    <p:sldLayoutId id="2147497755" r:id="rId4447"/>
    <p:sldLayoutId id="2147497763" r:id="rId4448"/>
    <p:sldLayoutId id="2147497759" r:id="rId4449"/>
    <p:sldLayoutId id="2147497777" r:id="rId4450"/>
    <p:sldLayoutId id="2147497779" r:id="rId4451"/>
    <p:sldLayoutId id="2147497803" r:id="rId4452"/>
    <p:sldLayoutId id="2147497805" r:id="rId4453"/>
    <p:sldLayoutId id="2147497823" r:id="rId4454"/>
    <p:sldLayoutId id="2147497813" r:id="rId4455"/>
    <p:sldLayoutId id="2147497811" r:id="rId4456"/>
    <p:sldLayoutId id="2147497825" r:id="rId4457"/>
    <p:sldLayoutId id="2147497809" r:id="rId4458"/>
    <p:sldLayoutId id="2147497827" r:id="rId4459"/>
    <p:sldLayoutId id="2147497817" r:id="rId4460"/>
    <p:sldLayoutId id="2147497837" r:id="rId4461"/>
    <p:sldLayoutId id="2147497833" r:id="rId4462"/>
    <p:sldLayoutId id="2147497839" r:id="rId4463"/>
    <p:sldLayoutId id="2147497781" r:id="rId4464"/>
    <p:sldLayoutId id="2147497785" r:id="rId4465"/>
    <p:sldLayoutId id="2147497789" r:id="rId4466"/>
    <p:sldLayoutId id="2147497797" r:id="rId4467"/>
    <p:sldLayoutId id="2147497793" r:id="rId4468"/>
    <p:sldLayoutId id="2147492640" r:id="rId4469"/>
    <p:sldLayoutId id="2147492644" r:id="rId4470"/>
    <p:sldLayoutId id="2147492820" r:id="rId4471"/>
    <p:sldLayoutId id="2147492810" r:id="rId4472"/>
    <p:sldLayoutId id="2147492800" r:id="rId4473"/>
    <p:sldLayoutId id="2147492333" r:id="rId4474"/>
    <p:sldLayoutId id="2147492652" r:id="rId4475"/>
    <p:sldLayoutId id="2147492668" r:id="rId4476"/>
    <p:sldLayoutId id="2147492660" r:id="rId4477"/>
    <p:sldLayoutId id="2147492686" r:id="rId4478"/>
    <p:sldLayoutId id="2147492679" r:id="rId4479"/>
    <p:sldLayoutId id="2147492689" r:id="rId4480"/>
    <p:sldLayoutId id="2147492705" r:id="rId4481"/>
    <p:sldLayoutId id="2147492719" r:id="rId4482"/>
    <p:sldLayoutId id="2147492729" r:id="rId4483"/>
    <p:sldLayoutId id="2147492759" r:id="rId4484"/>
    <p:sldLayoutId id="2147492743" r:id="rId4485"/>
    <p:sldLayoutId id="2147492343" r:id="rId4486"/>
    <p:sldLayoutId id="2147492348" r:id="rId4487"/>
    <p:sldLayoutId id="2147492414" r:id="rId4488"/>
    <p:sldLayoutId id="2147492418" r:id="rId4489"/>
    <p:sldLayoutId id="2147492451" r:id="rId4490"/>
    <p:sldLayoutId id="2147492431" r:id="rId4491"/>
    <p:sldLayoutId id="2147492428" r:id="rId4492"/>
    <p:sldLayoutId id="2147492454" r:id="rId4493"/>
    <p:sldLayoutId id="2147492425" r:id="rId4494"/>
    <p:sldLayoutId id="2147492458" r:id="rId4495"/>
    <p:sldLayoutId id="2147492438" r:id="rId4496"/>
    <p:sldLayoutId id="2147492472" r:id="rId4497"/>
    <p:sldLayoutId id="2147492468" r:id="rId4498"/>
    <p:sldLayoutId id="2147492474" r:id="rId4499"/>
    <p:sldLayoutId id="2147492357" r:id="rId4500"/>
    <p:sldLayoutId id="2147492367" r:id="rId4501"/>
    <p:sldLayoutId id="2147492376" r:id="rId4502"/>
    <p:sldLayoutId id="2147492397" r:id="rId4503"/>
    <p:sldLayoutId id="2147492387" r:id="rId4504"/>
    <p:sldLayoutId id="2147492525" r:id="rId4505"/>
    <p:sldLayoutId id="2147492534" r:id="rId4506"/>
    <p:sldLayoutId id="2147492482" r:id="rId4507"/>
    <p:sldLayoutId id="2147492478" r:id="rId4508"/>
    <p:sldLayoutId id="2147492476" r:id="rId4509"/>
    <p:sldLayoutId id="2147492484" r:id="rId4510"/>
    <p:sldLayoutId id="2147492552" r:id="rId4511"/>
    <p:sldLayoutId id="2147492572" r:id="rId4512"/>
    <p:sldLayoutId id="2147492564" r:id="rId4513"/>
    <p:sldLayoutId id="2147492598" r:id="rId4514"/>
    <p:sldLayoutId id="2147492592" r:id="rId4515"/>
    <p:sldLayoutId id="2147492600" r:id="rId4516"/>
    <p:sldLayoutId id="2147492602" r:id="rId4517"/>
    <p:sldLayoutId id="2147492606" r:id="rId4518"/>
    <p:sldLayoutId id="2147492610" r:id="rId4519"/>
    <p:sldLayoutId id="2147492620" r:id="rId4520"/>
    <p:sldLayoutId id="2147492614" r:id="rId4521"/>
    <p:sldLayoutId id="2147492486" r:id="rId4522"/>
    <p:sldLayoutId id="2147492489" r:id="rId4523"/>
    <p:sldLayoutId id="2147492531" r:id="rId4524"/>
    <p:sldLayoutId id="2147492537" r:id="rId4525"/>
    <p:sldLayoutId id="2147492570" r:id="rId4526"/>
    <p:sldLayoutId id="2147492554" r:id="rId4527"/>
    <p:sldLayoutId id="2147492546" r:id="rId4528"/>
    <p:sldLayoutId id="2147492574" r:id="rId4529"/>
    <p:sldLayoutId id="2147492543" r:id="rId4530"/>
    <p:sldLayoutId id="2147492576" r:id="rId4531"/>
    <p:sldLayoutId id="2147492558" r:id="rId4532"/>
    <p:sldLayoutId id="2147492628" r:id="rId4533"/>
    <p:sldLayoutId id="2147492590" r:id="rId4534"/>
    <p:sldLayoutId id="2147492632" r:id="rId4535"/>
    <p:sldLayoutId id="2147492492" r:id="rId4536"/>
    <p:sldLayoutId id="2147492498" r:id="rId4537"/>
    <p:sldLayoutId id="2147492504" r:id="rId4538"/>
    <p:sldLayoutId id="2147492519" r:id="rId4539"/>
    <p:sldLayoutId id="2147492513" r:id="rId4540"/>
    <p:sldLayoutId id="2147492578" r:id="rId4541"/>
    <p:sldLayoutId id="2147492580" r:id="rId4542"/>
    <p:sldLayoutId id="2147492812" r:id="rId4543"/>
    <p:sldLayoutId id="2147492329" r:id="rId4544"/>
    <p:sldLayoutId id="2147492889" r:id="rId4545"/>
    <p:sldLayoutId id="2147492883" r:id="rId4546"/>
    <p:sldLayoutId id="2147492880" r:id="rId4547"/>
    <p:sldLayoutId id="2147492892" r:id="rId4548"/>
    <p:sldLayoutId id="2147492360" r:id="rId4549"/>
    <p:sldLayoutId id="2147492411" r:id="rId4550"/>
    <p:sldLayoutId id="2147492390" r:id="rId4551"/>
    <p:sldLayoutId id="2147492463" r:id="rId4552"/>
    <p:sldLayoutId id="2147492449" r:id="rId4553"/>
    <p:sldLayoutId id="2147492825" r:id="rId4554"/>
    <p:sldLayoutId id="2147492840" r:id="rId4555"/>
    <p:sldLayoutId id="2147492850" r:id="rId4556"/>
    <p:sldLayoutId id="2147492860" r:id="rId4557"/>
    <p:sldLayoutId id="2147492874" r:id="rId4558"/>
    <p:sldLayoutId id="2147492868" r:id="rId4559"/>
    <p:sldLayoutId id="2147492895" r:id="rId4560"/>
    <p:sldLayoutId id="2147492898" r:id="rId4561"/>
    <p:sldLayoutId id="2147492958" r:id="rId4562"/>
    <p:sldLayoutId id="2147492962" r:id="rId4563"/>
    <p:sldLayoutId id="2147492998" r:id="rId4564"/>
    <p:sldLayoutId id="2147492978" r:id="rId4565"/>
    <p:sldLayoutId id="2147492974" r:id="rId4566"/>
    <p:sldLayoutId id="2147493002" r:id="rId4567"/>
    <p:sldLayoutId id="2147492970" r:id="rId4568"/>
    <p:sldLayoutId id="2147493006" r:id="rId4569"/>
    <p:sldLayoutId id="2147492986" r:id="rId4570"/>
    <p:sldLayoutId id="2147493026" r:id="rId4571"/>
    <p:sldLayoutId id="2147493018" r:id="rId4572"/>
    <p:sldLayoutId id="2147493030" r:id="rId4573"/>
    <p:sldLayoutId id="2147492902" r:id="rId4574"/>
    <p:sldLayoutId id="2147492914" r:id="rId4575"/>
    <p:sldLayoutId id="2147492926" r:id="rId4576"/>
    <p:sldLayoutId id="2147492946" r:id="rId4577"/>
    <p:sldLayoutId id="2147492938" r:id="rId4578"/>
    <p:sldLayoutId id="2147492709" r:id="rId4579"/>
    <p:sldLayoutId id="2147492716" r:id="rId4580"/>
    <p:sldLayoutId id="2147497847" r:id="rId4581"/>
    <p:sldLayoutId id="2147497843" r:id="rId4582"/>
    <p:sldLayoutId id="2147497841" r:id="rId4583"/>
    <p:sldLayoutId id="2147492692" r:id="rId4584"/>
    <p:sldLayoutId id="2147492733" r:id="rId4585"/>
    <p:sldLayoutId id="2147492755" r:id="rId4586"/>
    <p:sldLayoutId id="2147492746" r:id="rId4587"/>
    <p:sldLayoutId id="2147492775" r:id="rId4588"/>
    <p:sldLayoutId id="2147492770" r:id="rId4589"/>
    <p:sldLayoutId id="2147492777" r:id="rId4590"/>
    <p:sldLayoutId id="2147492780" r:id="rId4591"/>
    <p:sldLayoutId id="2147492786" r:id="rId4592"/>
    <p:sldLayoutId id="2147492796" r:id="rId4593"/>
    <p:sldLayoutId id="2147492818" r:id="rId4594"/>
    <p:sldLayoutId id="2147492808" r:id="rId4595"/>
    <p:sldLayoutId id="2147492695" r:id="rId4596"/>
    <p:sldLayoutId id="2147492699" r:id="rId4597"/>
    <p:sldLayoutId id="2147493412" r:id="rId4598"/>
    <p:sldLayoutId id="2147493416" r:id="rId4599"/>
    <p:sldLayoutId id="2147493520" r:id="rId4600"/>
    <p:sldLayoutId id="2147493512" r:id="rId4601"/>
    <p:sldLayoutId id="2147493508" r:id="rId4602"/>
    <p:sldLayoutId id="2147493524" r:id="rId4603"/>
    <p:sldLayoutId id="2147493424" r:id="rId4604"/>
    <p:sldLayoutId id="2147493440" r:id="rId4605"/>
    <p:sldLayoutId id="2147493432" r:id="rId4606"/>
    <p:sldLayoutId id="2147493460" r:id="rId4607"/>
    <p:sldLayoutId id="2147493452" r:id="rId4608"/>
    <p:sldLayoutId id="2147493464" r:id="rId4609"/>
    <p:sldLayoutId id="2147493468" r:id="rId4610"/>
    <p:sldLayoutId id="2147493476" r:id="rId4611"/>
    <p:sldLayoutId id="2147493484" r:id="rId4612"/>
    <p:sldLayoutId id="2147493500" r:id="rId4613"/>
    <p:sldLayoutId id="2147493492" r:id="rId4614"/>
    <p:sldLayoutId id="2147493528" r:id="rId4615"/>
    <p:sldLayoutId id="2147493532" r:id="rId4616"/>
    <p:sldLayoutId id="2147493596" r:id="rId4617"/>
    <p:sldLayoutId id="2147493600" r:id="rId4618"/>
    <p:sldLayoutId id="2147493636" r:id="rId4619"/>
    <p:sldLayoutId id="2147493616" r:id="rId4620"/>
    <p:sldLayoutId id="2147493612" r:id="rId4621"/>
    <p:sldLayoutId id="2147493640" r:id="rId4622"/>
    <p:sldLayoutId id="2147493608" r:id="rId4623"/>
    <p:sldLayoutId id="2147493644" r:id="rId4624"/>
    <p:sldLayoutId id="2147493624" r:id="rId4625"/>
    <p:sldLayoutId id="2147493664" r:id="rId4626"/>
    <p:sldLayoutId id="2147493656" r:id="rId4627"/>
    <p:sldLayoutId id="2147493668" r:id="rId4628"/>
    <p:sldLayoutId id="2147493544" r:id="rId4629"/>
    <p:sldLayoutId id="2147493560" r:id="rId4630"/>
    <p:sldLayoutId id="2147493568" r:id="rId4631"/>
    <p:sldLayoutId id="2147493584" r:id="rId4632"/>
    <p:sldLayoutId id="2147493576" r:id="rId4633"/>
    <p:sldLayoutId id="2147493788" r:id="rId4634"/>
    <p:sldLayoutId id="2147493798" r:id="rId4635"/>
    <p:sldLayoutId id="2147493740" r:id="rId4636"/>
    <p:sldLayoutId id="2147493732" r:id="rId4637"/>
    <p:sldLayoutId id="2147493728" r:id="rId4638"/>
    <p:sldLayoutId id="2147493742" r:id="rId4639"/>
    <p:sldLayoutId id="2147493820" r:id="rId4640"/>
    <p:sldLayoutId id="2147493853" r:id="rId4641"/>
    <p:sldLayoutId id="2147493840" r:id="rId4642"/>
    <p:sldLayoutId id="2147493892" r:id="rId4643"/>
    <p:sldLayoutId id="2147493883" r:id="rId4644"/>
    <p:sldLayoutId id="2147493895" r:id="rId4645"/>
    <p:sldLayoutId id="2147493898" r:id="rId4646"/>
    <p:sldLayoutId id="2147493904" r:id="rId4647"/>
    <p:sldLayoutId id="2147493910" r:id="rId4648"/>
    <p:sldLayoutId id="2147493922" r:id="rId4649"/>
    <p:sldLayoutId id="2147493916" r:id="rId4650"/>
    <p:sldLayoutId id="2147493746" r:id="rId4651"/>
    <p:sldLayoutId id="2147493750" r:id="rId4652"/>
    <p:sldLayoutId id="2147493794" r:id="rId4653"/>
    <p:sldLayoutId id="2147493802" r:id="rId4654"/>
    <p:sldLayoutId id="2147493850" r:id="rId4655"/>
    <p:sldLayoutId id="2147493822" r:id="rId4656"/>
    <p:sldLayoutId id="2147493812" r:id="rId4657"/>
    <p:sldLayoutId id="2147493856" r:id="rId4658"/>
    <p:sldLayoutId id="2147493808" r:id="rId4659"/>
    <p:sldLayoutId id="2147493859" r:id="rId4660"/>
    <p:sldLayoutId id="2147493830" r:id="rId4661"/>
    <p:sldLayoutId id="2147493945" r:id="rId4662"/>
    <p:sldLayoutId id="2147493880" r:id="rId4663"/>
    <p:sldLayoutId id="2147493948" r:id="rId4664"/>
    <p:sldLayoutId id="2147493754" r:id="rId4665"/>
    <p:sldLayoutId id="2147493760" r:id="rId4666"/>
    <p:sldLayoutId id="2147493766" r:id="rId4667"/>
    <p:sldLayoutId id="2147493780" r:id="rId4668"/>
    <p:sldLayoutId id="2147493774" r:id="rId4669"/>
    <p:sldLayoutId id="2147493862" r:id="rId4670"/>
    <p:sldLayoutId id="2147493865" r:id="rId4671"/>
    <p:sldLayoutId id="2147493996" r:id="rId4672"/>
    <p:sldLayoutId id="2147493999" r:id="rId4673"/>
    <p:sldLayoutId id="2147493252" r:id="rId4674"/>
    <p:sldLayoutId id="2147493240" r:id="rId4675"/>
    <p:sldLayoutId id="2147493234" r:id="rId4676"/>
    <p:sldLayoutId id="2147493258" r:id="rId4677"/>
    <p:sldLayoutId id="2147494004" r:id="rId4678"/>
    <p:sldLayoutId id="2147494008" r:id="rId4679"/>
    <p:sldLayoutId id="2147494006" r:id="rId4680"/>
    <p:sldLayoutId id="2147494013" r:id="rId4681"/>
    <p:sldLayoutId id="2147494011" r:id="rId4682"/>
    <p:sldLayoutId id="2147494014" r:id="rId4683"/>
    <p:sldLayoutId id="2147494015" r:id="rId4684"/>
    <p:sldLayoutId id="2147494017" r:id="rId4685"/>
    <p:sldLayoutId id="2147494019" r:id="rId4686"/>
    <p:sldLayoutId id="2147493222" r:id="rId4687"/>
    <p:sldLayoutId id="2147494021" r:id="rId4688"/>
    <p:sldLayoutId id="2147493264" r:id="rId4689"/>
    <p:sldLayoutId id="2147493270" r:id="rId4690"/>
    <p:sldLayoutId id="2147493332" r:id="rId4691"/>
    <p:sldLayoutId id="2147493336" r:id="rId4692"/>
    <p:sldLayoutId id="2147493372" r:id="rId4693"/>
    <p:sldLayoutId id="2147493352" r:id="rId4694"/>
    <p:sldLayoutId id="2147493348" r:id="rId4695"/>
    <p:sldLayoutId id="2147493376" r:id="rId4696"/>
    <p:sldLayoutId id="2147493344" r:id="rId4697"/>
    <p:sldLayoutId id="2147493380" r:id="rId4698"/>
    <p:sldLayoutId id="2147493360" r:id="rId4699"/>
    <p:sldLayoutId id="2147493400" r:id="rId4700"/>
    <p:sldLayoutId id="2147493392" r:id="rId4701"/>
    <p:sldLayoutId id="2147493404" r:id="rId4702"/>
    <p:sldLayoutId id="2147493276" r:id="rId4703"/>
    <p:sldLayoutId id="2147493288" r:id="rId4704"/>
    <p:sldLayoutId id="2147493300" r:id="rId4705"/>
    <p:sldLayoutId id="2147493320" r:id="rId4706"/>
    <p:sldLayoutId id="2147493312" r:id="rId4707"/>
    <p:sldLayoutId id="2147493758" r:id="rId4708"/>
    <p:sldLayoutId id="2147494097" r:id="rId4709"/>
    <p:sldLayoutId id="2147494105" r:id="rId4710"/>
    <p:sldLayoutId id="2147493842" r:id="rId4711"/>
    <p:sldLayoutId id="2147493838" r:id="rId4712"/>
    <p:sldLayoutId id="2147494026" r:id="rId4713"/>
    <p:sldLayoutId id="2147494098" r:id="rId4714"/>
    <p:sldLayoutId id="2147494100" r:id="rId4715"/>
    <p:sldLayoutId id="2147494099" r:id="rId4716"/>
    <p:sldLayoutId id="2147493796" r:id="rId4717"/>
    <p:sldLayoutId id="2147493790" r:id="rId4718"/>
    <p:sldLayoutId id="2147493800" r:id="rId4719"/>
    <p:sldLayoutId id="2147493804" r:id="rId4720"/>
    <p:sldLayoutId id="2147493810" r:id="rId4721"/>
    <p:sldLayoutId id="2147493818" r:id="rId4722"/>
    <p:sldLayoutId id="2147493832" r:id="rId4723"/>
    <p:sldLayoutId id="2147493824" r:id="rId4724"/>
    <p:sldLayoutId id="2147494027" r:id="rId4725"/>
    <p:sldLayoutId id="2147494028" r:id="rId4726"/>
    <p:sldLayoutId id="2147494040" r:id="rId4727"/>
    <p:sldLayoutId id="2147494041" r:id="rId4728"/>
    <p:sldLayoutId id="2147493540" r:id="rId4729"/>
    <p:sldLayoutId id="2147494045" r:id="rId4730"/>
    <p:sldLayoutId id="2147494044" r:id="rId4731"/>
    <p:sldLayoutId id="2147493548" r:id="rId4732"/>
    <p:sldLayoutId id="2147494043" r:id="rId4733"/>
    <p:sldLayoutId id="2147493556" r:id="rId4734"/>
    <p:sldLayoutId id="2147494047" r:id="rId4735"/>
    <p:sldLayoutId id="2147494053" r:id="rId4736"/>
    <p:sldLayoutId id="2147494051" r:id="rId4737"/>
    <p:sldLayoutId id="2147494054" r:id="rId4738"/>
    <p:sldLayoutId id="2147494029" r:id="rId4739"/>
    <p:sldLayoutId id="2147494031" r:id="rId4740"/>
    <p:sldLayoutId id="2147494033" r:id="rId4741"/>
    <p:sldLayoutId id="2147494037" r:id="rId4742"/>
    <p:sldLayoutId id="2147494035" r:id="rId4743"/>
    <p:sldLayoutId id="2147494073" r:id="rId4744"/>
    <p:sldLayoutId id="2147494076" r:id="rId4745"/>
    <p:sldLayoutId id="2147494058" r:id="rId4746"/>
    <p:sldLayoutId id="2147494056" r:id="rId4747"/>
    <p:sldLayoutId id="2147494055" r:id="rId4748"/>
    <p:sldLayoutId id="2147494059" r:id="rId4749"/>
    <p:sldLayoutId id="2147494082" r:id="rId4750"/>
    <p:sldLayoutId id="2147493688" r:id="rId4751"/>
    <p:sldLayoutId id="2147493680" r:id="rId4752"/>
    <p:sldLayoutId id="2147493718" r:id="rId4753"/>
    <p:sldLayoutId id="2147493712" r:id="rId4754"/>
    <p:sldLayoutId id="2147493720" r:id="rId4755"/>
    <p:sldLayoutId id="2147494093" r:id="rId4756"/>
    <p:sldLayoutId id="2147493724" r:id="rId4757"/>
    <p:sldLayoutId id="2147494094" r:id="rId4758"/>
    <p:sldLayoutId id="2147494095" r:id="rId4759"/>
    <p:sldLayoutId id="2147493734" r:id="rId4760"/>
    <p:sldLayoutId id="2147494060" r:id="rId4761"/>
    <p:sldLayoutId id="2147494061" r:id="rId4762"/>
    <p:sldLayoutId id="2147494075" r:id="rId4763"/>
    <p:sldLayoutId id="2147494077" r:id="rId4764"/>
    <p:sldLayoutId id="2147494087" r:id="rId4765"/>
    <p:sldLayoutId id="2147494083" r:id="rId4766"/>
    <p:sldLayoutId id="2147494080" r:id="rId4767"/>
    <p:sldLayoutId id="2147494088" r:id="rId4768"/>
    <p:sldLayoutId id="2147494079" r:id="rId4769"/>
    <p:sldLayoutId id="2147493692" r:id="rId4770"/>
    <p:sldLayoutId id="2147494085" r:id="rId4771"/>
    <p:sldLayoutId id="2147493748" r:id="rId4772"/>
    <p:sldLayoutId id="2147494091" r:id="rId4773"/>
    <p:sldLayoutId id="2147493752" r:id="rId4774"/>
    <p:sldLayoutId id="2147494062" r:id="rId4775"/>
    <p:sldLayoutId id="2147494064" r:id="rId4776"/>
    <p:sldLayoutId id="2147494066" r:id="rId4777"/>
    <p:sldLayoutId id="2147494071" r:id="rId4778"/>
    <p:sldLayoutId id="2147494069" r:id="rId4779"/>
    <p:sldLayoutId id="2147494089" r:id="rId4780"/>
    <p:sldLayoutId id="2147493696" r:id="rId4781"/>
    <p:sldLayoutId id="2147494529" r:id="rId4782"/>
    <p:sldLayoutId id="2147494531" r:id="rId4783"/>
    <p:sldLayoutId id="2147494583" r:id="rId4784"/>
    <p:sldLayoutId id="2147494579" r:id="rId4785"/>
    <p:sldLayoutId id="2147494577" r:id="rId4786"/>
    <p:sldLayoutId id="2147494585" r:id="rId4787"/>
    <p:sldLayoutId id="2147494535" r:id="rId4788"/>
    <p:sldLayoutId id="2147494543" r:id="rId4789"/>
    <p:sldLayoutId id="2147494539" r:id="rId4790"/>
    <p:sldLayoutId id="2147494553" r:id="rId4791"/>
    <p:sldLayoutId id="2147494549" r:id="rId4792"/>
    <p:sldLayoutId id="2147494555" r:id="rId4793"/>
    <p:sldLayoutId id="2147494557" r:id="rId4794"/>
    <p:sldLayoutId id="2147494561" r:id="rId4795"/>
    <p:sldLayoutId id="2147494565" r:id="rId4796"/>
    <p:sldLayoutId id="2147494573" r:id="rId4797"/>
    <p:sldLayoutId id="2147494569" r:id="rId4798"/>
    <p:sldLayoutId id="2147494587" r:id="rId4799"/>
    <p:sldLayoutId id="2147494589" r:id="rId4800"/>
    <p:sldLayoutId id="2147494613" r:id="rId4801"/>
    <p:sldLayoutId id="2147494615" r:id="rId4802"/>
    <p:sldLayoutId id="2147494633" r:id="rId4803"/>
    <p:sldLayoutId id="2147494623" r:id="rId4804"/>
    <p:sldLayoutId id="2147494621" r:id="rId4805"/>
    <p:sldLayoutId id="2147494635" r:id="rId4806"/>
    <p:sldLayoutId id="2147494619" r:id="rId4807"/>
    <p:sldLayoutId id="2147494637" r:id="rId4808"/>
    <p:sldLayoutId id="2147494627" r:id="rId4809"/>
    <p:sldLayoutId id="2147494647" r:id="rId4810"/>
    <p:sldLayoutId id="2147494643" r:id="rId4811"/>
    <p:sldLayoutId id="2147494649" r:id="rId4812"/>
    <p:sldLayoutId id="2147494591" r:id="rId4813"/>
    <p:sldLayoutId id="2147494595" r:id="rId4814"/>
    <p:sldLayoutId id="2147494599" r:id="rId4815"/>
    <p:sldLayoutId id="2147494607" r:id="rId4816"/>
    <p:sldLayoutId id="2147494603" r:id="rId4817"/>
    <p:sldLayoutId id="2147494687" r:id="rId4818"/>
    <p:sldLayoutId id="2147494693" r:id="rId4819"/>
    <p:sldLayoutId id="2147494657" r:id="rId4820"/>
    <p:sldLayoutId id="2147494653" r:id="rId4821"/>
    <p:sldLayoutId id="2147494651" r:id="rId4822"/>
    <p:sldLayoutId id="2147494659" r:id="rId4823"/>
    <p:sldLayoutId id="2147494705" r:id="rId4824"/>
    <p:sldLayoutId id="2147494725" r:id="rId4825"/>
    <p:sldLayoutId id="2147494717" r:id="rId4826"/>
    <p:sldLayoutId id="2147494751" r:id="rId4827"/>
    <p:sldLayoutId id="2147494745" r:id="rId4828"/>
    <p:sldLayoutId id="2147494753" r:id="rId4829"/>
    <p:sldLayoutId id="2147494755" r:id="rId4830"/>
    <p:sldLayoutId id="2147494759" r:id="rId4831"/>
    <p:sldLayoutId id="2147494763" r:id="rId4832"/>
    <p:sldLayoutId id="2147494771" r:id="rId4833"/>
    <p:sldLayoutId id="2147494767" r:id="rId4834"/>
    <p:sldLayoutId id="2147494661" r:id="rId4835"/>
    <p:sldLayoutId id="2147494663" r:id="rId4836"/>
    <p:sldLayoutId id="2147494691" r:id="rId4837"/>
    <p:sldLayoutId id="2147494695" r:id="rId4838"/>
    <p:sldLayoutId id="2147494723" r:id="rId4839"/>
    <p:sldLayoutId id="2147494707" r:id="rId4840"/>
    <p:sldLayoutId id="2147494701" r:id="rId4841"/>
    <p:sldLayoutId id="2147494727" r:id="rId4842"/>
    <p:sldLayoutId id="2147494699" r:id="rId4843"/>
    <p:sldLayoutId id="2147494729" r:id="rId4844"/>
    <p:sldLayoutId id="2147494711" r:id="rId4845"/>
    <p:sldLayoutId id="2147494775" r:id="rId4846"/>
    <p:sldLayoutId id="2147494743" r:id="rId4847"/>
    <p:sldLayoutId id="2147494777" r:id="rId4848"/>
    <p:sldLayoutId id="2147494665" r:id="rId4849"/>
    <p:sldLayoutId id="2147494669" r:id="rId4850"/>
    <p:sldLayoutId id="2147494673" r:id="rId4851"/>
    <p:sldLayoutId id="2147494683" r:id="rId4852"/>
    <p:sldLayoutId id="2147494679" r:id="rId4853"/>
    <p:sldLayoutId id="2147494731" r:id="rId4854"/>
    <p:sldLayoutId id="2147494733" r:id="rId4855"/>
    <p:sldLayoutId id="2147494781" r:id="rId4856"/>
    <p:sldLayoutId id="2147494783" r:id="rId4857"/>
    <p:sldLayoutId id="2147494835" r:id="rId4858"/>
    <p:sldLayoutId id="2147494831" r:id="rId4859"/>
    <p:sldLayoutId id="2147494829" r:id="rId4860"/>
    <p:sldLayoutId id="2147494837" r:id="rId4861"/>
    <p:sldLayoutId id="2147494787" r:id="rId4862"/>
    <p:sldLayoutId id="2147494795" r:id="rId4863"/>
    <p:sldLayoutId id="2147494791" r:id="rId4864"/>
    <p:sldLayoutId id="2147494805" r:id="rId4865"/>
    <p:sldLayoutId id="2147494801" r:id="rId4866"/>
    <p:sldLayoutId id="2147494807" r:id="rId4867"/>
    <p:sldLayoutId id="2147494809" r:id="rId4868"/>
    <p:sldLayoutId id="2147494813" r:id="rId4869"/>
    <p:sldLayoutId id="2147494817" r:id="rId4870"/>
    <p:sldLayoutId id="2147494825" r:id="rId4871"/>
    <p:sldLayoutId id="2147494821" r:id="rId4872"/>
    <p:sldLayoutId id="2147494839" r:id="rId4873"/>
    <p:sldLayoutId id="2147494841" r:id="rId4874"/>
    <p:sldLayoutId id="2147494865" r:id="rId4875"/>
    <p:sldLayoutId id="2147494867" r:id="rId4876"/>
    <p:sldLayoutId id="2147494887" r:id="rId4877"/>
    <p:sldLayoutId id="2147494875" r:id="rId4878"/>
    <p:sldLayoutId id="2147494873" r:id="rId4879"/>
    <p:sldLayoutId id="2147494889" r:id="rId4880"/>
    <p:sldLayoutId id="2147494871" r:id="rId4881"/>
    <p:sldLayoutId id="2147494893" r:id="rId4882"/>
    <p:sldLayoutId id="2147494879" r:id="rId4883"/>
    <p:sldLayoutId id="2147494905" r:id="rId4884"/>
    <p:sldLayoutId id="2147494901" r:id="rId4885"/>
    <p:sldLayoutId id="2147494909" r:id="rId4886"/>
    <p:sldLayoutId id="2147494843" r:id="rId4887"/>
    <p:sldLayoutId id="2147494847" r:id="rId4888"/>
    <p:sldLayoutId id="2147494851" r:id="rId4889"/>
    <p:sldLayoutId id="2147494859" r:id="rId4890"/>
    <p:sldLayoutId id="2147494855" r:id="rId4891"/>
    <p:sldLayoutId id="2147494317" r:id="rId4892"/>
    <p:sldLayoutId id="2147494319" r:id="rId4893"/>
    <p:sldLayoutId id="2147494429" r:id="rId4894"/>
    <p:sldLayoutId id="2147494419" r:id="rId4895"/>
    <p:sldLayoutId id="2147494413" r:id="rId4896"/>
    <p:sldLayoutId id="2147494111" r:id="rId4897"/>
    <p:sldLayoutId id="2147494323" r:id="rId4898"/>
    <p:sldLayoutId id="2147494331" r:id="rId4899"/>
    <p:sldLayoutId id="2147494327" r:id="rId4900"/>
    <p:sldLayoutId id="2147494341" r:id="rId4901"/>
    <p:sldLayoutId id="2147494337" r:id="rId4902"/>
    <p:sldLayoutId id="2147494343" r:id="rId4903"/>
    <p:sldLayoutId id="2147494353" r:id="rId4904"/>
    <p:sldLayoutId id="2147494361" r:id="rId4905"/>
    <p:sldLayoutId id="2147494367" r:id="rId4906"/>
    <p:sldLayoutId id="2147494385" r:id="rId4907"/>
    <p:sldLayoutId id="2147494375" r:id="rId4908"/>
    <p:sldLayoutId id="2147494113" r:id="rId4909"/>
    <p:sldLayoutId id="2147494114" r:id="rId4910"/>
    <p:sldLayoutId id="2147494139" r:id="rId4911"/>
    <p:sldLayoutId id="2147494141" r:id="rId4912"/>
    <p:sldLayoutId id="2147494165" r:id="rId4913"/>
    <p:sldLayoutId id="2147494149" r:id="rId4914"/>
    <p:sldLayoutId id="2147494147" r:id="rId4915"/>
    <p:sldLayoutId id="2147494167" r:id="rId4916"/>
    <p:sldLayoutId id="2147494145" r:id="rId4917"/>
    <p:sldLayoutId id="2147494171" r:id="rId4918"/>
    <p:sldLayoutId id="2147494155" r:id="rId4919"/>
    <p:sldLayoutId id="2147494183" r:id="rId4920"/>
    <p:sldLayoutId id="2147494179" r:id="rId4921"/>
    <p:sldLayoutId id="2147494185" r:id="rId4922"/>
    <p:sldLayoutId id="2147494116" r:id="rId4923"/>
    <p:sldLayoutId id="2147494119" r:id="rId4924"/>
    <p:sldLayoutId id="2147494121" r:id="rId4925"/>
    <p:sldLayoutId id="2147494129" r:id="rId4926"/>
    <p:sldLayoutId id="2147494124" r:id="rId4927"/>
    <p:sldLayoutId id="2147494223" r:id="rId4928"/>
    <p:sldLayoutId id="2147494229" r:id="rId4929"/>
    <p:sldLayoutId id="2147494193" r:id="rId4930"/>
    <p:sldLayoutId id="2147494189" r:id="rId4931"/>
    <p:sldLayoutId id="2147494187" r:id="rId4932"/>
    <p:sldLayoutId id="2147494195" r:id="rId4933"/>
    <p:sldLayoutId id="2147494241" r:id="rId4934"/>
    <p:sldLayoutId id="2147494261" r:id="rId4935"/>
    <p:sldLayoutId id="2147494253" r:id="rId4936"/>
    <p:sldLayoutId id="2147494287" r:id="rId4937"/>
    <p:sldLayoutId id="2147494281" r:id="rId4938"/>
    <p:sldLayoutId id="2147494289" r:id="rId4939"/>
    <p:sldLayoutId id="2147494291" r:id="rId4940"/>
    <p:sldLayoutId id="2147494295" r:id="rId4941"/>
    <p:sldLayoutId id="2147494299" r:id="rId4942"/>
    <p:sldLayoutId id="2147494307" r:id="rId4943"/>
    <p:sldLayoutId id="2147494303" r:id="rId4944"/>
    <p:sldLayoutId id="2147494197" r:id="rId4945"/>
    <p:sldLayoutId id="2147494199" r:id="rId4946"/>
    <p:sldLayoutId id="2147494227" r:id="rId4947"/>
    <p:sldLayoutId id="2147494231" r:id="rId4948"/>
    <p:sldLayoutId id="2147494259" r:id="rId4949"/>
    <p:sldLayoutId id="2147494243" r:id="rId4950"/>
    <p:sldLayoutId id="2147494237" r:id="rId4951"/>
    <p:sldLayoutId id="2147494263" r:id="rId4952"/>
    <p:sldLayoutId id="2147494235" r:id="rId4953"/>
    <p:sldLayoutId id="2147494265" r:id="rId4954"/>
    <p:sldLayoutId id="2147494247" r:id="rId4955"/>
    <p:sldLayoutId id="2147494311" r:id="rId4956"/>
    <p:sldLayoutId id="2147494279" r:id="rId4957"/>
    <p:sldLayoutId id="2147494313" r:id="rId4958"/>
    <p:sldLayoutId id="2147494201" r:id="rId4959"/>
    <p:sldLayoutId id="2147494205" r:id="rId4960"/>
    <p:sldLayoutId id="2147494209" r:id="rId4961"/>
    <p:sldLayoutId id="2147494219" r:id="rId4962"/>
    <p:sldLayoutId id="2147494215" r:id="rId4963"/>
    <p:sldLayoutId id="2147494267" r:id="rId4964"/>
    <p:sldLayoutId id="2147494269" r:id="rId4965"/>
    <p:sldLayoutId id="2147494421" r:id="rId4966"/>
    <p:sldLayoutId id="2147494110" r:id="rId4967"/>
    <p:sldLayoutId id="2147494459" r:id="rId4968"/>
    <p:sldLayoutId id="2147494455" r:id="rId4969"/>
    <p:sldLayoutId id="2147494453" r:id="rId4970"/>
    <p:sldLayoutId id="2147494461" r:id="rId4971"/>
    <p:sldLayoutId id="2147494117" r:id="rId4972"/>
    <p:sldLayoutId id="2147494137" r:id="rId4973"/>
    <p:sldLayoutId id="2147494125" r:id="rId4974"/>
    <p:sldLayoutId id="2147494175" r:id="rId4975"/>
    <p:sldLayoutId id="2147494163" r:id="rId4976"/>
    <p:sldLayoutId id="2147494431" r:id="rId4977"/>
    <p:sldLayoutId id="2147494433" r:id="rId4978"/>
    <p:sldLayoutId id="2147494437" r:id="rId4979"/>
    <p:sldLayoutId id="2147494441" r:id="rId4980"/>
    <p:sldLayoutId id="2147494449" r:id="rId4981"/>
    <p:sldLayoutId id="2147494445" r:id="rId4982"/>
    <p:sldLayoutId id="2147494463" r:id="rId4983"/>
    <p:sldLayoutId id="2147494465" r:id="rId4984"/>
    <p:sldLayoutId id="2147494489" r:id="rId4985"/>
    <p:sldLayoutId id="2147494491" r:id="rId4986"/>
    <p:sldLayoutId id="2147494509" r:id="rId4987"/>
    <p:sldLayoutId id="2147494499" r:id="rId4988"/>
    <p:sldLayoutId id="2147494497" r:id="rId4989"/>
    <p:sldLayoutId id="2147494511" r:id="rId4990"/>
    <p:sldLayoutId id="2147494495" r:id="rId4991"/>
    <p:sldLayoutId id="2147494513" r:id="rId4992"/>
    <p:sldLayoutId id="2147494503" r:id="rId4993"/>
    <p:sldLayoutId id="2147494523" r:id="rId4994"/>
    <p:sldLayoutId id="2147494519" r:id="rId4995"/>
    <p:sldLayoutId id="2147494525" r:id="rId4996"/>
    <p:sldLayoutId id="2147494467" r:id="rId4997"/>
    <p:sldLayoutId id="2147494471" r:id="rId4998"/>
    <p:sldLayoutId id="2147494475" r:id="rId4999"/>
    <p:sldLayoutId id="2147494483" r:id="rId5000"/>
    <p:sldLayoutId id="2147494479" r:id="rId5001"/>
    <p:sldLayoutId id="2147494355" r:id="rId5002"/>
    <p:sldLayoutId id="2147494359" r:id="rId5003"/>
    <p:sldLayoutId id="2147494109" r:id="rId5004"/>
    <p:sldLayoutId id="2147494107" r:id="rId5005"/>
    <p:sldLayoutId id="2147494106" r:id="rId5006"/>
    <p:sldLayoutId id="2147494345" r:id="rId5007"/>
    <p:sldLayoutId id="2147494369" r:id="rId5008"/>
    <p:sldLayoutId id="2147494383" r:id="rId5009"/>
    <p:sldLayoutId id="2147494377" r:id="rId5010"/>
    <p:sldLayoutId id="2147494397" r:id="rId5011"/>
    <p:sldLayoutId id="2147494393" r:id="rId5012"/>
    <p:sldLayoutId id="2147494399" r:id="rId5013"/>
    <p:sldLayoutId id="2147494401" r:id="rId5014"/>
    <p:sldLayoutId id="2147494405" r:id="rId5015"/>
    <p:sldLayoutId id="2147494411" r:id="rId5016"/>
    <p:sldLayoutId id="2147494427" r:id="rId5017"/>
    <p:sldLayoutId id="2147494417" r:id="rId5018"/>
    <p:sldLayoutId id="2147494347" r:id="rId5019"/>
    <p:sldLayoutId id="2147494349" r:id="rId5020"/>
    <p:sldLayoutId id="2147492771" r:id="rId5021"/>
    <p:sldLayoutId id="2147492776" r:id="rId5022"/>
    <p:sldLayoutId id="2147492859" r:id="rId5023"/>
    <p:sldLayoutId id="2147492857" r:id="rId5024"/>
    <p:sldLayoutId id="2147492856" r:id="rId5025"/>
    <p:sldLayoutId id="2147492861" r:id="rId5026"/>
    <p:sldLayoutId id="2147492790" r:id="rId5027"/>
    <p:sldLayoutId id="2147492813" r:id="rId5028"/>
    <p:sldLayoutId id="2147492806" r:id="rId5029"/>
    <p:sldLayoutId id="2147492827" r:id="rId5030"/>
    <p:sldLayoutId id="2147492823" r:id="rId5031"/>
    <p:sldLayoutId id="2147492829" r:id="rId5032"/>
    <p:sldLayoutId id="2147492833" r:id="rId5033"/>
    <p:sldLayoutId id="2147492836" r:id="rId5034"/>
    <p:sldLayoutId id="2147492839" r:id="rId5035"/>
    <p:sldLayoutId id="2147492847" r:id="rId5036"/>
    <p:sldLayoutId id="2147492843" r:id="rId5037"/>
    <p:sldLayoutId id="2147492862" r:id="rId5038"/>
    <p:sldLayoutId id="2147492863" r:id="rId5039"/>
    <p:sldLayoutId id="2147492884" r:id="rId5040"/>
    <p:sldLayoutId id="2147492885" r:id="rId5041"/>
    <p:sldLayoutId id="2147492899" r:id="rId5042"/>
    <p:sldLayoutId id="2147492891" r:id="rId5043"/>
    <p:sldLayoutId id="2147492890" r:id="rId5044"/>
    <p:sldLayoutId id="2147492900" r:id="rId5045"/>
    <p:sldLayoutId id="2147492888" r:id="rId5046"/>
    <p:sldLayoutId id="2147492904" r:id="rId5047"/>
    <p:sldLayoutId id="2147492894" r:id="rId5048"/>
    <p:sldLayoutId id="2147492918" r:id="rId5049"/>
    <p:sldLayoutId id="2147492912" r:id="rId5050"/>
    <p:sldLayoutId id="2147492922" r:id="rId5051"/>
    <p:sldLayoutId id="2147492864" r:id="rId5052"/>
    <p:sldLayoutId id="2147492867" r:id="rId5053"/>
    <p:sldLayoutId id="2147492872" r:id="rId5054"/>
    <p:sldLayoutId id="2147492879" r:id="rId5055"/>
    <p:sldLayoutId id="2147492876" r:id="rId5056"/>
    <p:sldLayoutId id="2147493046" r:id="rId5057"/>
    <p:sldLayoutId id="2147493056" r:id="rId5058"/>
    <p:sldLayoutId id="2147492968" r:id="rId5059"/>
    <p:sldLayoutId id="2147492956" r:id="rId5060"/>
    <p:sldLayoutId id="2147492952" r:id="rId5061"/>
    <p:sldLayoutId id="2147492976" r:id="rId5062"/>
    <p:sldLayoutId id="2147493074" r:id="rId5063"/>
    <p:sldLayoutId id="2147493094" r:id="rId5064"/>
    <p:sldLayoutId id="2147493086" r:id="rId5065"/>
    <p:sldLayoutId id="2147493120" r:id="rId5066"/>
    <p:sldLayoutId id="2147493114" r:id="rId5067"/>
    <p:sldLayoutId id="2147493122" r:id="rId5068"/>
    <p:sldLayoutId id="2147493124" r:id="rId5069"/>
    <p:sldLayoutId id="2147493128" r:id="rId5070"/>
    <p:sldLayoutId id="2147493132" r:id="rId5071"/>
    <p:sldLayoutId id="2147493140" r:id="rId5072"/>
    <p:sldLayoutId id="2147493136" r:id="rId5073"/>
    <p:sldLayoutId id="2147492980" r:id="rId5074"/>
    <p:sldLayoutId id="2147492988" r:id="rId5075"/>
    <p:sldLayoutId id="2147493052" r:id="rId5076"/>
    <p:sldLayoutId id="2147493058" r:id="rId5077"/>
    <p:sldLayoutId id="2147493092" r:id="rId5078"/>
    <p:sldLayoutId id="2147493076" r:id="rId5079"/>
    <p:sldLayoutId id="2147493068" r:id="rId5080"/>
    <p:sldLayoutId id="2147493096" r:id="rId5081"/>
    <p:sldLayoutId id="2147493064" r:id="rId5082"/>
    <p:sldLayoutId id="2147493098" r:id="rId5083"/>
    <p:sldLayoutId id="2147493080" r:id="rId5084"/>
    <p:sldLayoutId id="2147493144" r:id="rId5085"/>
    <p:sldLayoutId id="2147493112" r:id="rId5086"/>
    <p:sldLayoutId id="2147493146" r:id="rId5087"/>
    <p:sldLayoutId id="2147492996" r:id="rId5088"/>
    <p:sldLayoutId id="2147493008" r:id="rId5089"/>
    <p:sldLayoutId id="2147493020" r:id="rId5090"/>
    <p:sldLayoutId id="2147493040" r:id="rId5091"/>
    <p:sldLayoutId id="2147493034" r:id="rId5092"/>
    <p:sldLayoutId id="2147493100" r:id="rId5093"/>
    <p:sldLayoutId id="2147493102" r:id="rId5094"/>
    <p:sldLayoutId id="2147493214" r:id="rId5095"/>
    <p:sldLayoutId id="2147493220" r:id="rId5096"/>
    <p:sldLayoutId id="2147493358" r:id="rId5097"/>
    <p:sldLayoutId id="2147493346" r:id="rId5098"/>
    <p:sldLayoutId id="2147493342" r:id="rId5099"/>
    <p:sldLayoutId id="2147493366" r:id="rId5100"/>
    <p:sldLayoutId id="2147493230" r:id="rId5101"/>
    <p:sldLayoutId id="2147493248" r:id="rId5102"/>
    <p:sldLayoutId id="2147493238" r:id="rId5103"/>
    <p:sldLayoutId id="2147493274" r:id="rId5104"/>
    <p:sldLayoutId id="2147493262" r:id="rId5105"/>
    <p:sldLayoutId id="2147493278" r:id="rId5106"/>
    <p:sldLayoutId id="2147493284" r:id="rId5107"/>
    <p:sldLayoutId id="2147493292" r:id="rId5108"/>
    <p:sldLayoutId id="2147493304" r:id="rId5109"/>
    <p:sldLayoutId id="2147493330" r:id="rId5110"/>
    <p:sldLayoutId id="2147493316" r:id="rId5111"/>
    <p:sldLayoutId id="2147493374" r:id="rId5112"/>
    <p:sldLayoutId id="2147493382" r:id="rId5113"/>
    <p:sldLayoutId id="2147493458" r:id="rId5114"/>
    <p:sldLayoutId id="2147493466" r:id="rId5115"/>
    <p:sldLayoutId id="2147493522" r:id="rId5116"/>
    <p:sldLayoutId id="2147493494" r:id="rId5117"/>
    <p:sldLayoutId id="2147493486" r:id="rId5118"/>
    <p:sldLayoutId id="2147493526" r:id="rId5119"/>
    <p:sldLayoutId id="2147493478" r:id="rId5120"/>
    <p:sldLayoutId id="2147493530" r:id="rId5121"/>
    <p:sldLayoutId id="2147493506" r:id="rId5122"/>
    <p:sldLayoutId id="2147493558" r:id="rId5123"/>
    <p:sldLayoutId id="2147493546" r:id="rId5124"/>
    <p:sldLayoutId id="2147493562" r:id="rId5125"/>
    <p:sldLayoutId id="2147493390" r:id="rId5126"/>
    <p:sldLayoutId id="2147493406" r:id="rId5127"/>
    <p:sldLayoutId id="2147493418" r:id="rId5128"/>
    <p:sldLayoutId id="2147493442" r:id="rId5129"/>
    <p:sldLayoutId id="2147493430" r:id="rId5130"/>
    <p:sldLayoutId id="2147493885" r:id="rId5131"/>
    <p:sldLayoutId id="2147493887" r:id="rId5132"/>
    <p:sldLayoutId id="2147493957" r:id="rId5133"/>
    <p:sldLayoutId id="2147493952" r:id="rId5134"/>
    <p:sldLayoutId id="2147493949" r:id="rId5135"/>
    <p:sldLayoutId id="2147493638" r:id="rId5136"/>
    <p:sldLayoutId id="2147493890" r:id="rId5137"/>
    <p:sldLayoutId id="2147493896" r:id="rId5138"/>
    <p:sldLayoutId id="2147493893" r:id="rId5139"/>
    <p:sldLayoutId id="2147493903" r:id="rId5140"/>
    <p:sldLayoutId id="2147493900" r:id="rId5141"/>
    <p:sldLayoutId id="2147493905" r:id="rId5142"/>
    <p:sldLayoutId id="2147493912" r:id="rId5143"/>
    <p:sldLayoutId id="2147493918" r:id="rId5144"/>
    <p:sldLayoutId id="2147493923" r:id="rId5145"/>
    <p:sldLayoutId id="2147493933" r:id="rId5146"/>
    <p:sldLayoutId id="2147493928" r:id="rId5147"/>
    <p:sldLayoutId id="2147493646" r:id="rId5148"/>
    <p:sldLayoutId id="2147493650" r:id="rId5149"/>
    <p:sldLayoutId id="2147493719" r:id="rId5150"/>
    <p:sldLayoutId id="2147493721" r:id="rId5151"/>
    <p:sldLayoutId id="2147493745" r:id="rId5152"/>
    <p:sldLayoutId id="2147493729" r:id="rId5153"/>
    <p:sldLayoutId id="2147493727" r:id="rId5154"/>
    <p:sldLayoutId id="2147493747" r:id="rId5155"/>
    <p:sldLayoutId id="2147493725" r:id="rId5156"/>
    <p:sldLayoutId id="2147493751" r:id="rId5157"/>
    <p:sldLayoutId id="2147493735" r:id="rId5158"/>
    <p:sldLayoutId id="2147493763" r:id="rId5159"/>
    <p:sldLayoutId id="2147493759" r:id="rId5160"/>
    <p:sldLayoutId id="2147493765" r:id="rId5161"/>
    <p:sldLayoutId id="2147493658" r:id="rId5162"/>
    <p:sldLayoutId id="2147493670" r:id="rId5163"/>
    <p:sldLayoutId id="2147493678" r:id="rId5164"/>
    <p:sldLayoutId id="2147493702" r:id="rId5165"/>
    <p:sldLayoutId id="2147493690" r:id="rId5166"/>
    <p:sldLayoutId id="2147493803" r:id="rId5167"/>
    <p:sldLayoutId id="2147493809" r:id="rId5168"/>
    <p:sldLayoutId id="2147493773" r:id="rId5169"/>
    <p:sldLayoutId id="2147493769" r:id="rId5170"/>
    <p:sldLayoutId id="2147493767" r:id="rId5171"/>
    <p:sldLayoutId id="2147493775" r:id="rId5172"/>
    <p:sldLayoutId id="2147493821" r:id="rId5173"/>
    <p:sldLayoutId id="2147493841" r:id="rId5174"/>
    <p:sldLayoutId id="2147493833" r:id="rId5175"/>
    <p:sldLayoutId id="2147493863" r:id="rId5176"/>
    <p:sldLayoutId id="2147493858" r:id="rId5177"/>
    <p:sldLayoutId id="2147493864" r:id="rId5178"/>
    <p:sldLayoutId id="2147493866" r:id="rId5179"/>
    <p:sldLayoutId id="2147493869" r:id="rId5180"/>
    <p:sldLayoutId id="2147493872" r:id="rId5181"/>
    <p:sldLayoutId id="2147493878" r:id="rId5182"/>
    <p:sldLayoutId id="2147493875" r:id="rId5183"/>
    <p:sldLayoutId id="2147493777" r:id="rId5184"/>
    <p:sldLayoutId id="2147493779" r:id="rId5185"/>
    <p:sldLayoutId id="2147493807" r:id="rId5186"/>
    <p:sldLayoutId id="2147493811" r:id="rId5187"/>
    <p:sldLayoutId id="2147493839" r:id="rId5188"/>
    <p:sldLayoutId id="2147493823" r:id="rId5189"/>
    <p:sldLayoutId id="2147493817" r:id="rId5190"/>
    <p:sldLayoutId id="2147493843" r:id="rId5191"/>
    <p:sldLayoutId id="2147493815" r:id="rId5192"/>
    <p:sldLayoutId id="2147493845" r:id="rId5193"/>
    <p:sldLayoutId id="2147493827" r:id="rId5194"/>
    <p:sldLayoutId id="2147493881" r:id="rId5195"/>
    <p:sldLayoutId id="2147493857" r:id="rId5196"/>
    <p:sldLayoutId id="2147493882" r:id="rId5197"/>
    <p:sldLayoutId id="2147493781" r:id="rId5198"/>
    <p:sldLayoutId id="2147493785" r:id="rId5199"/>
    <p:sldLayoutId id="2147493789" r:id="rId5200"/>
    <p:sldLayoutId id="2147493799" r:id="rId5201"/>
    <p:sldLayoutId id="2147493795" r:id="rId5202"/>
    <p:sldLayoutId id="2147493847" r:id="rId5203"/>
    <p:sldLayoutId id="2147493849" r:id="rId5204"/>
    <p:sldLayoutId id="2147493953" r:id="rId5205"/>
    <p:sldLayoutId id="2147493634" r:id="rId5206"/>
    <p:sldLayoutId id="2147493972" r:id="rId5207"/>
    <p:sldLayoutId id="2147493970" r:id="rId5208"/>
    <p:sldLayoutId id="2147493969" r:id="rId5209"/>
    <p:sldLayoutId id="2147493973" r:id="rId5210"/>
    <p:sldLayoutId id="2147493662" r:id="rId5211"/>
    <p:sldLayoutId id="2147493717" r:id="rId5212"/>
    <p:sldLayoutId id="2147493694" r:id="rId5213"/>
    <p:sldLayoutId id="2147493755" r:id="rId5214"/>
    <p:sldLayoutId id="2147493743" r:id="rId5215"/>
    <p:sldLayoutId id="2147493958" r:id="rId5216"/>
    <p:sldLayoutId id="2147493959" r:id="rId5217"/>
    <p:sldLayoutId id="2147493961" r:id="rId5218"/>
    <p:sldLayoutId id="2147493963" r:id="rId5219"/>
    <p:sldLayoutId id="2147493967" r:id="rId5220"/>
    <p:sldLayoutId id="2147493965" r:id="rId5221"/>
    <p:sldLayoutId id="2147493974" r:id="rId5222"/>
    <p:sldLayoutId id="2147493975" r:id="rId5223"/>
    <p:sldLayoutId id="2147493987" r:id="rId5224"/>
    <p:sldLayoutId id="2147493988" r:id="rId5225"/>
    <p:sldLayoutId id="2147494000" r:id="rId5226"/>
    <p:sldLayoutId id="2147493992" r:id="rId5227"/>
    <p:sldLayoutId id="2147493991" r:id="rId5228"/>
    <p:sldLayoutId id="2147494001" r:id="rId5229"/>
    <p:sldLayoutId id="2147493990" r:id="rId5230"/>
    <p:sldLayoutId id="2147494003" r:id="rId5231"/>
    <p:sldLayoutId id="2147493995" r:id="rId5232"/>
    <p:sldLayoutId id="2147497857" r:id="rId5233"/>
    <p:sldLayoutId id="2147497853" r:id="rId5234"/>
    <p:sldLayoutId id="2147497859" r:id="rId5235"/>
    <p:sldLayoutId id="2147493976" r:id="rId5236"/>
    <p:sldLayoutId id="2147493978" r:id="rId5237"/>
    <p:sldLayoutId id="2147493980" r:id="rId5238"/>
    <p:sldLayoutId id="2147493984" r:id="rId5239"/>
    <p:sldLayoutId id="2147493982" r:id="rId5240"/>
    <p:sldLayoutId id="2147493914" r:id="rId5241"/>
    <p:sldLayoutId id="2147493917" r:id="rId5242"/>
    <p:sldLayoutId id="2147493630" r:id="rId5243"/>
    <p:sldLayoutId id="2147493622" r:id="rId5244"/>
    <p:sldLayoutId id="2147493618" r:id="rId5245"/>
    <p:sldLayoutId id="2147493906" r:id="rId5246"/>
    <p:sldLayoutId id="2147493924" r:id="rId5247"/>
    <p:sldLayoutId id="2147493932" r:id="rId5248"/>
    <p:sldLayoutId id="2147493929" r:id="rId5249"/>
    <p:sldLayoutId id="2147493939" r:id="rId5250"/>
    <p:sldLayoutId id="2147493937" r:id="rId5251"/>
    <p:sldLayoutId id="2147493940" r:id="rId5252"/>
    <p:sldLayoutId id="2147493941" r:id="rId5253"/>
    <p:sldLayoutId id="2147493943" r:id="rId5254"/>
    <p:sldLayoutId id="2147493947" r:id="rId5255"/>
    <p:sldLayoutId id="2147493956" r:id="rId5256"/>
    <p:sldLayoutId id="2147493951" r:id="rId5257"/>
    <p:sldLayoutId id="2147493908" r:id="rId5258"/>
    <p:sldLayoutId id="2147493909" r:id="rId5259"/>
    <p:sldLayoutId id="2147492391" r:id="rId5260"/>
    <p:sldLayoutId id="2147492394" r:id="rId5261"/>
    <p:sldLayoutId id="2147492448" r:id="rId5262"/>
    <p:sldLayoutId id="2147492445" r:id="rId5263"/>
    <p:sldLayoutId id="2147492443" r:id="rId5264"/>
    <p:sldLayoutId id="2147492450" r:id="rId5265"/>
    <p:sldLayoutId id="2147492399" r:id="rId5266"/>
    <p:sldLayoutId id="2147492409" r:id="rId5267"/>
    <p:sldLayoutId id="2147492405" r:id="rId5268"/>
    <p:sldLayoutId id="2147492421" r:id="rId5269"/>
    <p:sldLayoutId id="2147492417" r:id="rId5270"/>
    <p:sldLayoutId id="2147492423" r:id="rId5271"/>
    <p:sldLayoutId id="2147492424" r:id="rId5272"/>
    <p:sldLayoutId id="2147492427" r:id="rId5273"/>
    <p:sldLayoutId id="2147492430" r:id="rId5274"/>
    <p:sldLayoutId id="2147492437" r:id="rId5275"/>
    <p:sldLayoutId id="2147492434" r:id="rId5276"/>
    <p:sldLayoutId id="2147492452" r:id="rId5277"/>
    <p:sldLayoutId id="2147492453" r:id="rId5278"/>
    <p:sldLayoutId id="2147492483" r:id="rId5279"/>
    <p:sldLayoutId id="2147492485" r:id="rId5280"/>
    <p:sldLayoutId id="2147492512" r:id="rId5281"/>
    <p:sldLayoutId id="2147492497" r:id="rId5282"/>
    <p:sldLayoutId id="2147492494" r:id="rId5283"/>
    <p:sldLayoutId id="2147492515" r:id="rId5284"/>
    <p:sldLayoutId id="2147492491" r:id="rId5285"/>
    <p:sldLayoutId id="2147492518" r:id="rId5286"/>
    <p:sldLayoutId id="2147492503" r:id="rId5287"/>
    <p:sldLayoutId id="2147492533" r:id="rId5288"/>
    <p:sldLayoutId id="2147492527" r:id="rId5289"/>
    <p:sldLayoutId id="2147492536" r:id="rId5290"/>
    <p:sldLayoutId id="2147492459" r:id="rId5291"/>
    <p:sldLayoutId id="2147492466" r:id="rId5292"/>
    <p:sldLayoutId id="2147492469" r:id="rId5293"/>
    <p:sldLayoutId id="2147492477" r:id="rId5294"/>
    <p:sldLayoutId id="2147492473" r:id="rId5295"/>
    <p:sldLayoutId id="2147492658" r:id="rId5296"/>
    <p:sldLayoutId id="2147492677" r:id="rId5297"/>
    <p:sldLayoutId id="2147492589" r:id="rId5298"/>
    <p:sldLayoutId id="2147492581" r:id="rId5299"/>
    <p:sldLayoutId id="2147492577" r:id="rId5300"/>
    <p:sldLayoutId id="2147492591" r:id="rId5301"/>
    <p:sldLayoutId id="2147492715" r:id="rId5302"/>
    <p:sldLayoutId id="2147492768" r:id="rId5303"/>
    <p:sldLayoutId id="2147492747" r:id="rId5304"/>
    <p:sldLayoutId id="2147492830" r:id="rId5305"/>
    <p:sldLayoutId id="2147492821" r:id="rId5306"/>
    <p:sldLayoutId id="2147492831" r:id="rId5307"/>
    <p:sldLayoutId id="2147492832" r:id="rId5308"/>
    <p:sldLayoutId id="2147492837" r:id="rId5309"/>
    <p:sldLayoutId id="2147492844" r:id="rId5310"/>
    <p:sldLayoutId id="2147492853" r:id="rId5311"/>
    <p:sldLayoutId id="2147492851" r:id="rId5312"/>
    <p:sldLayoutId id="2147492595" r:id="rId5313"/>
    <p:sldLayoutId id="2147492599" r:id="rId5314"/>
    <p:sldLayoutId id="2147492670" r:id="rId5315"/>
    <p:sldLayoutId id="2147492684" r:id="rId5316"/>
    <p:sldLayoutId id="2147492766" r:id="rId5317"/>
    <p:sldLayoutId id="2147492718" r:id="rId5318"/>
    <p:sldLayoutId id="2147492701" r:id="rId5319"/>
    <p:sldLayoutId id="2147492774" r:id="rId5320"/>
    <p:sldLayoutId id="2147492694" r:id="rId5321"/>
    <p:sldLayoutId id="2147492779" r:id="rId5322"/>
    <p:sldLayoutId id="2147492731" r:id="rId5323"/>
    <p:sldLayoutId id="2147492870" r:id="rId5324"/>
    <p:sldLayoutId id="2147492817" r:id="rId5325"/>
    <p:sldLayoutId id="2147492875" r:id="rId5326"/>
    <p:sldLayoutId id="2147492603" r:id="rId5327"/>
    <p:sldLayoutId id="2147492609" r:id="rId5328"/>
    <p:sldLayoutId id="2147492615" r:id="rId5329"/>
    <p:sldLayoutId id="2147492642" r:id="rId5330"/>
    <p:sldLayoutId id="2147492630" r:id="rId5331"/>
    <p:sldLayoutId id="2147492781" r:id="rId5332"/>
    <p:sldLayoutId id="2147492787" r:id="rId5333"/>
    <p:sldLayoutId id="2147492928" r:id="rId5334"/>
    <p:sldLayoutId id="2147492930" r:id="rId5335"/>
    <p:sldLayoutId id="2147497873" r:id="rId5336"/>
    <p:sldLayoutId id="2147497869" r:id="rId5337"/>
    <p:sldLayoutId id="2147497867" r:id="rId5338"/>
    <p:sldLayoutId id="2147497875" r:id="rId5339"/>
    <p:sldLayoutId id="2147492936" r:id="rId5340"/>
    <p:sldLayoutId id="2147492960" r:id="rId5341"/>
    <p:sldLayoutId id="2147492944" r:id="rId5342"/>
    <p:sldLayoutId id="2147493016" r:id="rId5343"/>
    <p:sldLayoutId id="2147492992" r:id="rId5344"/>
    <p:sldLayoutId id="2147493028" r:id="rId5345"/>
    <p:sldLayoutId id="2147493036" r:id="rId5346"/>
    <p:sldLayoutId id="2147493048" r:id="rId5347"/>
    <p:sldLayoutId id="2147493060" r:id="rId5348"/>
    <p:sldLayoutId id="2147497863" r:id="rId5349"/>
    <p:sldLayoutId id="2147493072" r:id="rId5350"/>
    <p:sldLayoutId id="2147497877" r:id="rId5351"/>
    <p:sldLayoutId id="2147497879" r:id="rId5352"/>
    <p:sldLayoutId id="2147492341" r:id="rId5353"/>
    <p:sldLayoutId id="2147492345" r:id="rId5354"/>
    <p:sldLayoutId id="2147492366" r:id="rId5355"/>
    <p:sldLayoutId id="2147492354" r:id="rId5356"/>
    <p:sldLayoutId id="2147492351" r:id="rId5357"/>
    <p:sldLayoutId id="2147492369" r:id="rId5358"/>
    <p:sldLayoutId id="2147492349" r:id="rId5359"/>
    <p:sldLayoutId id="2147492370" r:id="rId5360"/>
    <p:sldLayoutId id="2147492358" r:id="rId5361"/>
    <p:sldLayoutId id="2147492384" r:id="rId5362"/>
    <p:sldLayoutId id="2147492378" r:id="rId5363"/>
    <p:sldLayoutId id="2147492385" r:id="rId5364"/>
    <p:sldLayoutId id="2147497881" r:id="rId5365"/>
    <p:sldLayoutId id="2147497885" r:id="rId5366"/>
    <p:sldLayoutId id="2147497889" r:id="rId5367"/>
    <p:sldLayoutId id="2147492331" r:id="rId5368"/>
    <p:sldLayoutId id="2147497893" r:id="rId5369"/>
    <p:sldLayoutId id="2147492607" r:id="rId5370"/>
    <p:sldLayoutId id="2147493582" r:id="rId5371"/>
    <p:sldLayoutId id="2147493614" r:id="rId5372"/>
    <p:sldLayoutId id="2147492750" r:id="rId5373"/>
    <p:sldLayoutId id="2147492745" r:id="rId5374"/>
    <p:sldLayoutId id="2147493148" r:id="rId5375"/>
    <p:sldLayoutId id="2147493586" r:id="rId5376"/>
    <p:sldLayoutId id="2147493594" r:id="rId5377"/>
    <p:sldLayoutId id="2147493590" r:id="rId5378"/>
    <p:sldLayoutId id="2147492674" r:id="rId5379"/>
    <p:sldLayoutId id="2147492662" r:id="rId5380"/>
    <p:sldLayoutId id="2147492681" r:id="rId5381"/>
    <p:sldLayoutId id="2147492688" r:id="rId5382"/>
    <p:sldLayoutId id="2147492697" r:id="rId5383"/>
    <p:sldLayoutId id="2147492711" r:id="rId5384"/>
    <p:sldLayoutId id="2147492735" r:id="rId5385"/>
    <p:sldLayoutId id="2147492721" r:id="rId5386"/>
    <p:sldLayoutId id="2147493150" r:id="rId5387"/>
    <p:sldLayoutId id="2147493152" r:id="rId5388"/>
    <p:sldLayoutId id="2147493176" r:id="rId5389"/>
    <p:sldLayoutId id="2147493178" r:id="rId5390"/>
    <p:sldLayoutId id="2147492457" r:id="rId5391"/>
    <p:sldLayoutId id="2147493186" r:id="rId5392"/>
    <p:sldLayoutId id="2147493184" r:id="rId5393"/>
    <p:sldLayoutId id="2147492460" r:id="rId5394"/>
    <p:sldLayoutId id="2147493182" r:id="rId5395"/>
    <p:sldLayoutId id="2147492464" r:id="rId5396"/>
    <p:sldLayoutId id="2147493190" r:id="rId5397"/>
    <p:sldLayoutId id="2147493202" r:id="rId5398"/>
    <p:sldLayoutId id="2147493198" r:id="rId5399"/>
    <p:sldLayoutId id="2147493204" r:id="rId5400"/>
    <p:sldLayoutId id="2147493154" r:id="rId5401"/>
    <p:sldLayoutId id="2147493158" r:id="rId5402"/>
    <p:sldLayoutId id="2147493162" r:id="rId5403"/>
    <p:sldLayoutId id="2147493170" r:id="rId5404"/>
    <p:sldLayoutId id="2147493166" r:id="rId5405"/>
    <p:sldLayoutId id="2147493338" r:id="rId5406"/>
    <p:sldLayoutId id="2147493370" r:id="rId5407"/>
    <p:sldLayoutId id="2147493218" r:id="rId5408"/>
    <p:sldLayoutId id="2147493208" r:id="rId5409"/>
    <p:sldLayoutId id="2147493206" r:id="rId5410"/>
    <p:sldLayoutId id="2147493226" r:id="rId5411"/>
    <p:sldLayoutId id="2147493422" r:id="rId5412"/>
    <p:sldLayoutId id="2147492551" r:id="rId5413"/>
    <p:sldLayoutId id="2147492545" r:id="rId5414"/>
    <p:sldLayoutId id="2147492567" r:id="rId5415"/>
    <p:sldLayoutId id="2147492563" r:id="rId5416"/>
    <p:sldLayoutId id="2147492569" r:id="rId5417"/>
    <p:sldLayoutId id="2147493566" r:id="rId5418"/>
    <p:sldLayoutId id="2147492573" r:id="rId5419"/>
    <p:sldLayoutId id="2147493570" r:id="rId5420"/>
    <p:sldLayoutId id="2147493574" r:id="rId5421"/>
    <p:sldLayoutId id="2147492583" r:id="rId5422"/>
    <p:sldLayoutId id="2147493232" r:id="rId5423"/>
    <p:sldLayoutId id="2147493242" r:id="rId5424"/>
    <p:sldLayoutId id="2147493362" r:id="rId5425"/>
    <p:sldLayoutId id="2147493378" r:id="rId5426"/>
    <p:sldLayoutId id="2147493482" r:id="rId5427"/>
    <p:sldLayoutId id="2147493434" r:id="rId5428"/>
    <p:sldLayoutId id="2147493402" r:id="rId5429"/>
    <p:sldLayoutId id="2147493490" r:id="rId5430"/>
    <p:sldLayoutId id="2147493394" r:id="rId5431"/>
    <p:sldLayoutId id="2147492553" r:id="rId5432"/>
    <p:sldLayoutId id="2147493462" r:id="rId5433"/>
    <p:sldLayoutId id="2147492597" r:id="rId5434"/>
    <p:sldLayoutId id="2147493534" r:id="rId5435"/>
    <p:sldLayoutId id="2147492601" r:id="rId5436"/>
    <p:sldLayoutId id="2147493250" r:id="rId5437"/>
    <p:sldLayoutId id="2147493266" r:id="rId5438"/>
    <p:sldLayoutId id="2147493280" r:id="rId5439"/>
    <p:sldLayoutId id="2147493314" r:id="rId5440"/>
    <p:sldLayoutId id="2147493302" r:id="rId5441"/>
    <p:sldLayoutId id="2147493498" r:id="rId5442"/>
    <p:sldLayoutId id="2147492555" r:id="rId5443"/>
    <p:sldLayoutId id="2147494025" r:id="rId5444"/>
    <p:sldLayoutId id="2147497498" r:id="rId5445"/>
    <p:sldLayoutId id="2147496786" r:id="rId5446"/>
    <p:sldLayoutId id="2147497501" r:id="rId5447"/>
    <p:sldLayoutId id="2147497535" r:id="rId5448"/>
    <p:sldLayoutId id="2147497532" r:id="rId5449"/>
    <p:sldLayoutId id="2147497531" r:id="rId5450"/>
    <p:sldLayoutId id="2147497537" r:id="rId5451"/>
    <p:sldLayoutId id="2147497508" r:id="rId5452"/>
    <p:sldLayoutId id="2147497512" r:id="rId5453"/>
    <p:sldLayoutId id="2147497510" r:id="rId5454"/>
    <p:sldLayoutId id="2147497517" r:id="rId5455"/>
    <p:sldLayoutId id="2147497515" r:id="rId5456"/>
    <p:sldLayoutId id="2147497518" r:id="rId5457"/>
    <p:sldLayoutId id="2147497519" r:id="rId5458"/>
    <p:sldLayoutId id="2147497521" r:id="rId5459"/>
    <p:sldLayoutId id="2147497523" r:id="rId5460"/>
    <p:sldLayoutId id="2147497528" r:id="rId5461"/>
    <p:sldLayoutId id="2147497525" r:id="rId5462"/>
    <p:sldLayoutId id="2147497538" r:id="rId5463"/>
    <p:sldLayoutId id="2147497540" r:id="rId5464"/>
    <p:sldLayoutId id="2147497558" r:id="rId5465"/>
    <p:sldLayoutId id="2147497559" r:id="rId5466"/>
    <p:sldLayoutId id="2147497573" r:id="rId5467"/>
    <p:sldLayoutId id="2147497565" r:id="rId5468"/>
    <p:sldLayoutId id="2147497564" r:id="rId5469"/>
    <p:sldLayoutId id="2147497574" r:id="rId5470"/>
    <p:sldLayoutId id="2147497562" r:id="rId5471"/>
    <p:sldLayoutId id="2147497576" r:id="rId5472"/>
    <p:sldLayoutId id="2147497568" r:id="rId5473"/>
    <p:sldLayoutId id="2147497585" r:id="rId5474"/>
    <p:sldLayoutId id="2147497581" r:id="rId5475"/>
    <p:sldLayoutId id="2147497587" r:id="rId5476"/>
    <p:sldLayoutId id="2147497541" r:id="rId5477"/>
    <p:sldLayoutId id="2147497544" r:id="rId5478"/>
    <p:sldLayoutId id="2147497547" r:id="rId5479"/>
    <p:sldLayoutId id="2147497553" r:id="rId5480"/>
    <p:sldLayoutId id="2147497550" r:id="rId5481"/>
    <p:sldLayoutId id="2147497625" r:id="rId5482"/>
    <p:sldLayoutId id="2147497631" r:id="rId5483"/>
    <p:sldLayoutId id="2147497595" r:id="rId5484"/>
    <p:sldLayoutId id="2147497591" r:id="rId5485"/>
    <p:sldLayoutId id="2147497589" r:id="rId5486"/>
    <p:sldLayoutId id="2147497597" r:id="rId5487"/>
    <p:sldLayoutId id="2147497643" r:id="rId5488"/>
    <p:sldLayoutId id="2147497663" r:id="rId5489"/>
    <p:sldLayoutId id="2147497655" r:id="rId5490"/>
    <p:sldLayoutId id="2147495355" r:id="rId5491"/>
    <p:sldLayoutId id="2147495121" r:id="rId5492"/>
    <p:sldLayoutId id="2147495356" r:id="rId5493"/>
    <p:sldLayoutId id="2147495357" r:id="rId5494"/>
    <p:sldLayoutId id="2147495359" r:id="rId5495"/>
    <p:sldLayoutId id="2147495361" r:id="rId5496"/>
    <p:sldLayoutId id="2147495365" r:id="rId5497"/>
    <p:sldLayoutId id="2147495363" r:id="rId5498"/>
    <p:sldLayoutId id="2147497599" r:id="rId5499"/>
    <p:sldLayoutId id="2147497601" r:id="rId5500"/>
    <p:sldLayoutId id="2147497629" r:id="rId5501"/>
    <p:sldLayoutId id="2147497633" r:id="rId5502"/>
    <p:sldLayoutId id="2147497661" r:id="rId5503"/>
    <p:sldLayoutId id="2147497645" r:id="rId5504"/>
    <p:sldLayoutId id="2147497639" r:id="rId5505"/>
    <p:sldLayoutId id="2147497665" r:id="rId5506"/>
    <p:sldLayoutId id="2147497637" r:id="rId5507"/>
    <p:sldLayoutId id="2147497667" r:id="rId5508"/>
    <p:sldLayoutId id="2147497649" r:id="rId5509"/>
    <p:sldLayoutId id="2147495367" r:id="rId5510"/>
    <p:sldLayoutId id="2147497681" r:id="rId5511"/>
    <p:sldLayoutId id="2147495368" r:id="rId5512"/>
    <p:sldLayoutId id="2147497603" r:id="rId5513"/>
    <p:sldLayoutId id="2147497607" r:id="rId5514"/>
    <p:sldLayoutId id="2147497611" r:id="rId5515"/>
    <p:sldLayoutId id="2147497621" r:id="rId5516"/>
    <p:sldLayoutId id="2147497617" r:id="rId5517"/>
    <p:sldLayoutId id="2147497669" r:id="rId5518"/>
    <p:sldLayoutId id="2147497671" r:id="rId5519"/>
    <p:sldLayoutId id="2147495370" r:id="rId5520"/>
    <p:sldLayoutId id="2147495371" r:id="rId5521"/>
    <p:sldLayoutId id="2147495397" r:id="rId5522"/>
    <p:sldLayoutId id="2147495395" r:id="rId5523"/>
    <p:sldLayoutId id="2147495394" r:id="rId5524"/>
    <p:sldLayoutId id="2147495398" r:id="rId5525"/>
    <p:sldLayoutId id="2147495373" r:id="rId5526"/>
    <p:sldLayoutId id="2147495377" r:id="rId5527"/>
    <p:sldLayoutId id="2147495375" r:id="rId5528"/>
    <p:sldLayoutId id="2147495382" r:id="rId5529"/>
    <p:sldLayoutId id="2147495380" r:id="rId5530"/>
    <p:sldLayoutId id="2147495383" r:id="rId5531"/>
    <p:sldLayoutId id="2147495384" r:id="rId5532"/>
    <p:sldLayoutId id="2147495386" r:id="rId5533"/>
    <p:sldLayoutId id="2147495388" r:id="rId5534"/>
    <p:sldLayoutId id="2147495392" r:id="rId5535"/>
    <p:sldLayoutId id="2147495390" r:id="rId5536"/>
    <p:sldLayoutId id="2147495399" r:id="rId5537"/>
    <p:sldLayoutId id="2147495400" r:id="rId5538"/>
    <p:sldLayoutId id="2147495412" r:id="rId5539"/>
    <p:sldLayoutId id="2147495413" r:id="rId5540"/>
    <p:sldLayoutId id="2147495422" r:id="rId5541"/>
    <p:sldLayoutId id="2147495417" r:id="rId5542"/>
    <p:sldLayoutId id="2147495416" r:id="rId5543"/>
    <p:sldLayoutId id="2147495423" r:id="rId5544"/>
    <p:sldLayoutId id="2147495415" r:id="rId5545"/>
    <p:sldLayoutId id="2147495424" r:id="rId5546"/>
    <p:sldLayoutId id="2147495419" r:id="rId5547"/>
    <p:sldLayoutId id="2147495429" r:id="rId5548"/>
    <p:sldLayoutId id="2147495427" r:id="rId5549"/>
    <p:sldLayoutId id="2147495430" r:id="rId5550"/>
    <p:sldLayoutId id="2147495401" r:id="rId5551"/>
    <p:sldLayoutId id="2147495403" r:id="rId5552"/>
    <p:sldLayoutId id="2147495405" r:id="rId5553"/>
    <p:sldLayoutId id="2147495409" r:id="rId5554"/>
    <p:sldLayoutId id="2147495407" r:id="rId5555"/>
    <p:sldLayoutId id="2147495701" r:id="rId5556"/>
    <p:sldLayoutId id="2147495703" r:id="rId5557"/>
    <p:sldLayoutId id="2147495813" r:id="rId5558"/>
    <p:sldLayoutId id="2147495803" r:id="rId5559"/>
    <p:sldLayoutId id="2147495797" r:id="rId5560"/>
    <p:sldLayoutId id="2147495461" r:id="rId5561"/>
    <p:sldLayoutId id="2147495707" r:id="rId5562"/>
    <p:sldLayoutId id="2147495715" r:id="rId5563"/>
    <p:sldLayoutId id="2147495711" r:id="rId5564"/>
    <p:sldLayoutId id="2147495725" r:id="rId5565"/>
    <p:sldLayoutId id="2147495721" r:id="rId5566"/>
    <p:sldLayoutId id="2147495727" r:id="rId5567"/>
    <p:sldLayoutId id="2147495737" r:id="rId5568"/>
    <p:sldLayoutId id="2147495745" r:id="rId5569"/>
    <p:sldLayoutId id="2147495751" r:id="rId5570"/>
    <p:sldLayoutId id="2147495769" r:id="rId5571"/>
    <p:sldLayoutId id="2147495759" r:id="rId5572"/>
    <p:sldLayoutId id="2147495466" r:id="rId5573"/>
    <p:sldLayoutId id="2147495469" r:id="rId5574"/>
    <p:sldLayoutId id="2147495513" r:id="rId5575"/>
    <p:sldLayoutId id="2147495516" r:id="rId5576"/>
    <p:sldLayoutId id="2147495546" r:id="rId5577"/>
    <p:sldLayoutId id="2147495528" r:id="rId5578"/>
    <p:sldLayoutId id="2147495525" r:id="rId5579"/>
    <p:sldLayoutId id="2147495549" r:id="rId5580"/>
    <p:sldLayoutId id="2147495522" r:id="rId5581"/>
    <p:sldLayoutId id="2147495553" r:id="rId5582"/>
    <p:sldLayoutId id="2147495535" r:id="rId5583"/>
    <p:sldLayoutId id="2147495567" r:id="rId5584"/>
    <p:sldLayoutId id="2147495563" r:id="rId5585"/>
    <p:sldLayoutId id="2147495569" r:id="rId5586"/>
    <p:sldLayoutId id="2147495475" r:id="rId5587"/>
    <p:sldLayoutId id="2147495482" r:id="rId5588"/>
    <p:sldLayoutId id="2147495488" r:id="rId5589"/>
    <p:sldLayoutId id="2147495502" r:id="rId5590"/>
    <p:sldLayoutId id="2147495495" r:id="rId5591"/>
    <p:sldLayoutId id="2147495607" r:id="rId5592"/>
    <p:sldLayoutId id="2147495613" r:id="rId5593"/>
    <p:sldLayoutId id="2147495577" r:id="rId5594"/>
    <p:sldLayoutId id="2147495573" r:id="rId5595"/>
    <p:sldLayoutId id="2147495571" r:id="rId5596"/>
    <p:sldLayoutId id="2147495579" r:id="rId5597"/>
    <p:sldLayoutId id="2147495625" r:id="rId5598"/>
    <p:sldLayoutId id="2147495645" r:id="rId5599"/>
    <p:sldLayoutId id="2147495637" r:id="rId5600"/>
    <p:sldLayoutId id="2147495671" r:id="rId5601"/>
    <p:sldLayoutId id="2147495665" r:id="rId5602"/>
    <p:sldLayoutId id="2147495673" r:id="rId5603"/>
    <p:sldLayoutId id="2147495675" r:id="rId5604"/>
    <p:sldLayoutId id="2147495679" r:id="rId5605"/>
    <p:sldLayoutId id="2147495683" r:id="rId5606"/>
    <p:sldLayoutId id="2147495691" r:id="rId5607"/>
    <p:sldLayoutId id="2147495687" r:id="rId5608"/>
    <p:sldLayoutId id="2147495581" r:id="rId5609"/>
    <p:sldLayoutId id="2147495583" r:id="rId5610"/>
    <p:sldLayoutId id="2147495611" r:id="rId5611"/>
    <p:sldLayoutId id="2147495615" r:id="rId5612"/>
    <p:sldLayoutId id="2147495643" r:id="rId5613"/>
    <p:sldLayoutId id="2147495627" r:id="rId5614"/>
    <p:sldLayoutId id="2147495621" r:id="rId5615"/>
    <p:sldLayoutId id="2147495647" r:id="rId5616"/>
    <p:sldLayoutId id="2147495619" r:id="rId5617"/>
    <p:sldLayoutId id="2147495649" r:id="rId5618"/>
    <p:sldLayoutId id="2147495631" r:id="rId5619"/>
    <p:sldLayoutId id="2147495695" r:id="rId5620"/>
    <p:sldLayoutId id="2147495663" r:id="rId5621"/>
    <p:sldLayoutId id="2147495697" r:id="rId5622"/>
    <p:sldLayoutId id="2147495585" r:id="rId5623"/>
    <p:sldLayoutId id="2147495589" r:id="rId5624"/>
    <p:sldLayoutId id="2147495593" r:id="rId5625"/>
    <p:sldLayoutId id="2147495603" r:id="rId5626"/>
    <p:sldLayoutId id="2147495599" r:id="rId5627"/>
    <p:sldLayoutId id="2147495651" r:id="rId5628"/>
    <p:sldLayoutId id="2147495653" r:id="rId5629"/>
    <p:sldLayoutId id="2147495805" r:id="rId5630"/>
    <p:sldLayoutId id="2147495459" r:id="rId5631"/>
    <p:sldLayoutId id="2147495882" r:id="rId5632"/>
    <p:sldLayoutId id="2147495876" r:id="rId5633"/>
    <p:sldLayoutId id="2147495873" r:id="rId5634"/>
    <p:sldLayoutId id="2147495885" r:id="rId5635"/>
    <p:sldLayoutId id="2147495477" r:id="rId5636"/>
    <p:sldLayoutId id="2147495511" r:id="rId5637"/>
    <p:sldLayoutId id="2147495497" r:id="rId5638"/>
    <p:sldLayoutId id="2147495558" r:id="rId5639"/>
    <p:sldLayoutId id="2147495544" r:id="rId5640"/>
    <p:sldLayoutId id="2147495818" r:id="rId5641"/>
    <p:sldLayoutId id="2147495833" r:id="rId5642"/>
    <p:sldLayoutId id="2147495843" r:id="rId5643"/>
    <p:sldLayoutId id="2147495853" r:id="rId5644"/>
    <p:sldLayoutId id="2147495867" r:id="rId5645"/>
    <p:sldLayoutId id="2147495861" r:id="rId5646"/>
    <p:sldLayoutId id="2147495888" r:id="rId5647"/>
    <p:sldLayoutId id="2147495891" r:id="rId5648"/>
    <p:sldLayoutId id="2147495922" r:id="rId5649"/>
    <p:sldLayoutId id="2147495924" r:id="rId5650"/>
    <p:sldLayoutId id="2147495942" r:id="rId5651"/>
    <p:sldLayoutId id="2147495932" r:id="rId5652"/>
    <p:sldLayoutId id="2147495930" r:id="rId5653"/>
    <p:sldLayoutId id="2147495944" r:id="rId5654"/>
    <p:sldLayoutId id="2147495928" r:id="rId5655"/>
    <p:sldLayoutId id="2147495946" r:id="rId5656"/>
    <p:sldLayoutId id="2147495936" r:id="rId5657"/>
    <p:sldLayoutId id="2147495956" r:id="rId5658"/>
    <p:sldLayoutId id="2147495952" r:id="rId5659"/>
    <p:sldLayoutId id="2147495958" r:id="rId5660"/>
    <p:sldLayoutId id="2147495894" r:id="rId5661"/>
    <p:sldLayoutId id="2147495900" r:id="rId5662"/>
    <p:sldLayoutId id="2147495906" r:id="rId5663"/>
    <p:sldLayoutId id="2147495916" r:id="rId5664"/>
    <p:sldLayoutId id="2147495912" r:id="rId5665"/>
    <p:sldLayoutId id="2147495739" r:id="rId5666"/>
    <p:sldLayoutId id="2147495743" r:id="rId5667"/>
    <p:sldLayoutId id="2147495434" r:id="rId5668"/>
    <p:sldLayoutId id="2147495432" r:id="rId5669"/>
    <p:sldLayoutId id="2147495431" r:id="rId5670"/>
    <p:sldLayoutId id="2147495729" r:id="rId5671"/>
    <p:sldLayoutId id="2147495753" r:id="rId5672"/>
    <p:sldLayoutId id="2147495767" r:id="rId5673"/>
    <p:sldLayoutId id="2147495761" r:id="rId5674"/>
    <p:sldLayoutId id="2147495781" r:id="rId5675"/>
    <p:sldLayoutId id="2147495777" r:id="rId5676"/>
    <p:sldLayoutId id="2147495783" r:id="rId5677"/>
    <p:sldLayoutId id="2147495785" r:id="rId5678"/>
    <p:sldLayoutId id="2147495789" r:id="rId5679"/>
    <p:sldLayoutId id="2147495795" r:id="rId5680"/>
    <p:sldLayoutId id="2147495811" r:id="rId5681"/>
    <p:sldLayoutId id="2147495801" r:id="rId5682"/>
    <p:sldLayoutId id="2147495731" r:id="rId5683"/>
    <p:sldLayoutId id="2147495733" r:id="rId5684"/>
    <p:sldLayoutId id="2147496149" r:id="rId5685"/>
    <p:sldLayoutId id="2147496151" r:id="rId5686"/>
    <p:sldLayoutId id="2147496203" r:id="rId5687"/>
    <p:sldLayoutId id="2147496199" r:id="rId5688"/>
    <p:sldLayoutId id="2147496197" r:id="rId5689"/>
    <p:sldLayoutId id="2147496205" r:id="rId5690"/>
    <p:sldLayoutId id="2147496155" r:id="rId5691"/>
    <p:sldLayoutId id="2147496163" r:id="rId5692"/>
    <p:sldLayoutId id="2147496159" r:id="rId5693"/>
    <p:sldLayoutId id="2147496173" r:id="rId5694"/>
    <p:sldLayoutId id="2147496169" r:id="rId5695"/>
    <p:sldLayoutId id="2147496175" r:id="rId5696"/>
    <p:sldLayoutId id="2147496177" r:id="rId5697"/>
    <p:sldLayoutId id="2147496181" r:id="rId5698"/>
    <p:sldLayoutId id="2147496185" r:id="rId5699"/>
    <p:sldLayoutId id="2147496193" r:id="rId5700"/>
    <p:sldLayoutId id="2147496189" r:id="rId5701"/>
    <p:sldLayoutId id="2147496207" r:id="rId5702"/>
    <p:sldLayoutId id="2147496209" r:id="rId5703"/>
    <p:sldLayoutId id="2147496241" r:id="rId5704"/>
    <p:sldLayoutId id="2147496243" r:id="rId5705"/>
    <p:sldLayoutId id="2147496261" r:id="rId5706"/>
    <p:sldLayoutId id="2147496251" r:id="rId5707"/>
    <p:sldLayoutId id="2147496249" r:id="rId5708"/>
    <p:sldLayoutId id="2147496263" r:id="rId5709"/>
    <p:sldLayoutId id="2147496247" r:id="rId5710"/>
    <p:sldLayoutId id="2147496265" r:id="rId5711"/>
    <p:sldLayoutId id="2147496255" r:id="rId5712"/>
    <p:sldLayoutId id="2147496275" r:id="rId5713"/>
    <p:sldLayoutId id="2147496271" r:id="rId5714"/>
    <p:sldLayoutId id="2147496277" r:id="rId5715"/>
    <p:sldLayoutId id="2147496215" r:id="rId5716"/>
    <p:sldLayoutId id="2147496223" r:id="rId5717"/>
    <p:sldLayoutId id="2147496227" r:id="rId5718"/>
    <p:sldLayoutId id="2147496235" r:id="rId5719"/>
    <p:sldLayoutId id="2147496231" r:id="rId5720"/>
    <p:sldLayoutId id="2147496410" r:id="rId5721"/>
    <p:sldLayoutId id="2147496430" r:id="rId5722"/>
    <p:sldLayoutId id="2147496335" r:id="rId5723"/>
    <p:sldLayoutId id="2147496323" r:id="rId5724"/>
    <p:sldLayoutId id="2147496317" r:id="rId5725"/>
    <p:sldLayoutId id="2147496339" r:id="rId5726"/>
    <p:sldLayoutId id="2147496466" r:id="rId5727"/>
    <p:sldLayoutId id="2147496506" r:id="rId5728"/>
    <p:sldLayoutId id="2147496486" r:id="rId5729"/>
    <p:sldLayoutId id="2147496584" r:id="rId5730"/>
    <p:sldLayoutId id="2147496566" r:id="rId5731"/>
    <p:sldLayoutId id="2147496590" r:id="rId5732"/>
    <p:sldLayoutId id="2147496596" r:id="rId5733"/>
    <p:sldLayoutId id="2147496608" r:id="rId5734"/>
    <p:sldLayoutId id="2147496618" r:id="rId5735"/>
    <p:sldLayoutId id="2147496630" r:id="rId5736"/>
    <p:sldLayoutId id="2147496624" r:id="rId5737"/>
    <p:sldLayoutId id="2147496345" r:id="rId5738"/>
    <p:sldLayoutId id="2147496349" r:id="rId5739"/>
    <p:sldLayoutId id="2147496422" r:id="rId5740"/>
    <p:sldLayoutId id="2147496438" r:id="rId5741"/>
    <p:sldLayoutId id="2147496500" r:id="rId5742"/>
    <p:sldLayoutId id="2147496468" r:id="rId5743"/>
    <p:sldLayoutId id="2147496458" r:id="rId5744"/>
    <p:sldLayoutId id="2147496512" r:id="rId5745"/>
    <p:sldLayoutId id="2147496450" r:id="rId5746"/>
    <p:sldLayoutId id="2147496518" r:id="rId5747"/>
    <p:sldLayoutId id="2147496476" r:id="rId5748"/>
    <p:sldLayoutId id="2147496655" r:id="rId5749"/>
    <p:sldLayoutId id="2147496560" r:id="rId5750"/>
    <p:sldLayoutId id="2147496658" r:id="rId5751"/>
    <p:sldLayoutId id="2147496357" r:id="rId5752"/>
    <p:sldLayoutId id="2147496369" r:id="rId5753"/>
    <p:sldLayoutId id="2147496375" r:id="rId5754"/>
    <p:sldLayoutId id="2147496396" r:id="rId5755"/>
    <p:sldLayoutId id="2147496385" r:id="rId5756"/>
    <p:sldLayoutId id="2147496524" r:id="rId5757"/>
    <p:sldLayoutId id="2147496530" r:id="rId5758"/>
    <p:sldLayoutId id="2147496732" r:id="rId5759"/>
    <p:sldLayoutId id="2147496738" r:id="rId5760"/>
    <p:sldLayoutId id="2147496069" r:id="rId5761"/>
    <p:sldLayoutId id="2147496063" r:id="rId5762"/>
    <p:sldLayoutId id="2147496060" r:id="rId5763"/>
    <p:sldLayoutId id="2147496072" r:id="rId5764"/>
    <p:sldLayoutId id="2147496748" r:id="rId5765"/>
    <p:sldLayoutId id="2147496756" r:id="rId5766"/>
    <p:sldLayoutId id="2147496752" r:id="rId5767"/>
    <p:sldLayoutId id="2147496766" r:id="rId5768"/>
    <p:sldLayoutId id="2147496762" r:id="rId5769"/>
    <p:sldLayoutId id="2147496768" r:id="rId5770"/>
    <p:sldLayoutId id="2147496770" r:id="rId5771"/>
    <p:sldLayoutId id="2147496774" r:id="rId5772"/>
    <p:sldLayoutId id="2147496778" r:id="rId5773"/>
    <p:sldLayoutId id="2147496054" r:id="rId5774"/>
    <p:sldLayoutId id="2147496782" r:id="rId5775"/>
    <p:sldLayoutId id="2147496075" r:id="rId5776"/>
    <p:sldLayoutId id="2147496078" r:id="rId5777"/>
    <p:sldLayoutId id="2147496109" r:id="rId5778"/>
    <p:sldLayoutId id="2147496111" r:id="rId5779"/>
    <p:sldLayoutId id="2147496129" r:id="rId5780"/>
    <p:sldLayoutId id="2147496119" r:id="rId5781"/>
    <p:sldLayoutId id="2147496117" r:id="rId5782"/>
    <p:sldLayoutId id="2147496131" r:id="rId5783"/>
    <p:sldLayoutId id="2147496115" r:id="rId5784"/>
    <p:sldLayoutId id="2147496133" r:id="rId5785"/>
    <p:sldLayoutId id="2147496123" r:id="rId5786"/>
    <p:sldLayoutId id="2147496143" r:id="rId5787"/>
    <p:sldLayoutId id="2147496139" r:id="rId5788"/>
    <p:sldLayoutId id="2147496145" r:id="rId5789"/>
    <p:sldLayoutId id="2147496081" r:id="rId5790"/>
    <p:sldLayoutId id="2147496087" r:id="rId5791"/>
    <p:sldLayoutId id="2147496093" r:id="rId5792"/>
    <p:sldLayoutId id="2147496103" r:id="rId5793"/>
    <p:sldLayoutId id="2147496099" r:id="rId5794"/>
    <p:sldLayoutId id="2147496365" r:id="rId5795"/>
    <p:sldLayoutId id="2147496867" r:id="rId5796"/>
    <p:sldLayoutId id="2147496875" r:id="rId5797"/>
    <p:sldLayoutId id="2147496488" r:id="rId5798"/>
    <p:sldLayoutId id="2147496484" r:id="rId5799"/>
    <p:sldLayoutId id="2147496788" r:id="rId5800"/>
    <p:sldLayoutId id="2147496868" r:id="rId5801"/>
    <p:sldLayoutId id="2147496870" r:id="rId5802"/>
    <p:sldLayoutId id="2147496869" r:id="rId5803"/>
    <p:sldLayoutId id="2147496426" r:id="rId5804"/>
    <p:sldLayoutId id="2147496414" r:id="rId5805"/>
    <p:sldLayoutId id="2147496434" r:id="rId5806"/>
    <p:sldLayoutId id="2147496442" r:id="rId5807"/>
    <p:sldLayoutId id="2147496454" r:id="rId5808"/>
    <p:sldLayoutId id="2147496464" r:id="rId5809"/>
    <p:sldLayoutId id="2147496478" r:id="rId5810"/>
    <p:sldLayoutId id="2147496470" r:id="rId5811"/>
    <p:sldLayoutId id="2147496790" r:id="rId5812"/>
    <p:sldLayoutId id="2147496792" r:id="rId5813"/>
    <p:sldLayoutId id="2147496810" r:id="rId5814"/>
    <p:sldLayoutId id="2147496811" r:id="rId5815"/>
    <p:sldLayoutId id="2147496213" r:id="rId5816"/>
    <p:sldLayoutId id="2147496815" r:id="rId5817"/>
    <p:sldLayoutId id="2147496814" r:id="rId5818"/>
    <p:sldLayoutId id="2147496217" r:id="rId5819"/>
    <p:sldLayoutId id="2147496813" r:id="rId5820"/>
    <p:sldLayoutId id="2147496221" r:id="rId5821"/>
    <p:sldLayoutId id="2147496817" r:id="rId5822"/>
    <p:sldLayoutId id="2147496823" r:id="rId5823"/>
    <p:sldLayoutId id="2147496821" r:id="rId5824"/>
    <p:sldLayoutId id="2147496824" r:id="rId5825"/>
    <p:sldLayoutId id="2147496794" r:id="rId5826"/>
    <p:sldLayoutId id="2147496798" r:id="rId5827"/>
    <p:sldLayoutId id="2147496802" r:id="rId5828"/>
    <p:sldLayoutId id="2147496807" r:id="rId5829"/>
    <p:sldLayoutId id="2147496805" r:id="rId5830"/>
    <p:sldLayoutId id="2147496843" r:id="rId5831"/>
    <p:sldLayoutId id="2147496846" r:id="rId5832"/>
    <p:sldLayoutId id="2147496828" r:id="rId5833"/>
    <p:sldLayoutId id="2147496826" r:id="rId5834"/>
    <p:sldLayoutId id="2147496825" r:id="rId5835"/>
    <p:sldLayoutId id="2147496829" r:id="rId5836"/>
    <p:sldLayoutId id="2147496852" r:id="rId5837"/>
    <p:sldLayoutId id="2147496287" r:id="rId5838"/>
    <p:sldLayoutId id="2147496283" r:id="rId5839"/>
    <p:sldLayoutId id="2147496304" r:id="rId5840"/>
    <p:sldLayoutId id="2147496299" r:id="rId5841"/>
    <p:sldLayoutId id="2147496306" r:id="rId5842"/>
    <p:sldLayoutId id="2147496863" r:id="rId5843"/>
    <p:sldLayoutId id="2147496311" r:id="rId5844"/>
    <p:sldLayoutId id="2147496864" r:id="rId5845"/>
    <p:sldLayoutId id="2147496865" r:id="rId5846"/>
    <p:sldLayoutId id="2147496327" r:id="rId5847"/>
    <p:sldLayoutId id="2147496830" r:id="rId5848"/>
    <p:sldLayoutId id="2147496831" r:id="rId5849"/>
    <p:sldLayoutId id="2147496845" r:id="rId5850"/>
    <p:sldLayoutId id="2147496847" r:id="rId5851"/>
    <p:sldLayoutId id="2147496857" r:id="rId5852"/>
    <p:sldLayoutId id="2147496853" r:id="rId5853"/>
    <p:sldLayoutId id="2147496850" r:id="rId5854"/>
    <p:sldLayoutId id="2147496858" r:id="rId5855"/>
    <p:sldLayoutId id="2147496849" r:id="rId5856"/>
    <p:sldLayoutId id="2147496289" r:id="rId5857"/>
    <p:sldLayoutId id="2147496855" r:id="rId5858"/>
    <p:sldLayoutId id="2147496347" r:id="rId5859"/>
    <p:sldLayoutId id="2147496861" r:id="rId5860"/>
    <p:sldLayoutId id="2147496353" r:id="rId5861"/>
    <p:sldLayoutId id="2147496832" r:id="rId5862"/>
    <p:sldLayoutId id="2147496834" r:id="rId5863"/>
    <p:sldLayoutId id="2147496836" r:id="rId5864"/>
    <p:sldLayoutId id="2147496841" r:id="rId5865"/>
    <p:sldLayoutId id="2147496839" r:id="rId5866"/>
    <p:sldLayoutId id="2147496859" r:id="rId5867"/>
    <p:sldLayoutId id="2147496291" r:id="rId5868"/>
    <p:sldLayoutId id="2147497248" r:id="rId5869"/>
    <p:sldLayoutId id="2147497250" r:id="rId5870"/>
    <p:sldLayoutId id="2147497297" r:id="rId5871"/>
    <p:sldLayoutId id="2147497295" r:id="rId5872"/>
    <p:sldLayoutId id="2147497293" r:id="rId5873"/>
    <p:sldLayoutId id="2147497298" r:id="rId5874"/>
    <p:sldLayoutId id="2147497254" r:id="rId5875"/>
    <p:sldLayoutId id="2147497262" r:id="rId5876"/>
    <p:sldLayoutId id="2147497258" r:id="rId5877"/>
    <p:sldLayoutId id="2147497272" r:id="rId5878"/>
    <p:sldLayoutId id="2147497268" r:id="rId5879"/>
    <p:sldLayoutId id="2147497274" r:id="rId5880"/>
    <p:sldLayoutId id="2147497276" r:id="rId5881"/>
    <p:sldLayoutId id="2147497280" r:id="rId5882"/>
    <p:sldLayoutId id="2147497284" r:id="rId5883"/>
    <p:sldLayoutId id="2147497291" r:id="rId5884"/>
    <p:sldLayoutId id="2147497288" r:id="rId5885"/>
    <p:sldLayoutId id="2147497299" r:id="rId5886"/>
    <p:sldLayoutId id="2147497300" r:id="rId5887"/>
    <p:sldLayoutId id="2147497313" r:id="rId5888"/>
    <p:sldLayoutId id="2147497315" r:id="rId5889"/>
    <p:sldLayoutId id="2147497326" r:id="rId5890"/>
    <p:sldLayoutId id="2147497320" r:id="rId5891"/>
    <p:sldLayoutId id="2147497318" r:id="rId5892"/>
    <p:sldLayoutId id="2147497327" r:id="rId5893"/>
    <p:sldLayoutId id="2147497317" r:id="rId5894"/>
    <p:sldLayoutId id="2147497328" r:id="rId5895"/>
    <p:sldLayoutId id="2147497322" r:id="rId5896"/>
    <p:sldLayoutId id="2147497335" r:id="rId5897"/>
    <p:sldLayoutId id="2147497332" r:id="rId5898"/>
    <p:sldLayoutId id="2147497336" r:id="rId5899"/>
    <p:sldLayoutId id="2147497301" r:id="rId5900"/>
    <p:sldLayoutId id="2147497303" r:id="rId5901"/>
    <p:sldLayoutId id="2147497305" r:id="rId5902"/>
    <p:sldLayoutId id="2147497310" r:id="rId5903"/>
    <p:sldLayoutId id="2147497307" r:id="rId5904"/>
    <p:sldLayoutId id="2147497365" r:id="rId5905"/>
    <p:sldLayoutId id="2147497369" r:id="rId5906"/>
    <p:sldLayoutId id="2147497342" r:id="rId5907"/>
    <p:sldLayoutId id="2147497339" r:id="rId5908"/>
    <p:sldLayoutId id="2147497338" r:id="rId5909"/>
    <p:sldLayoutId id="2147497344" r:id="rId5910"/>
    <p:sldLayoutId id="2147497378" r:id="rId5911"/>
    <p:sldLayoutId id="2147497395" r:id="rId5912"/>
    <p:sldLayoutId id="2147497387" r:id="rId5913"/>
    <p:sldLayoutId id="2147497421" r:id="rId5914"/>
    <p:sldLayoutId id="2147497415" r:id="rId5915"/>
    <p:sldLayoutId id="2147497423" r:id="rId5916"/>
    <p:sldLayoutId id="2147497425" r:id="rId5917"/>
    <p:sldLayoutId id="2147497429" r:id="rId5918"/>
    <p:sldLayoutId id="2147497433" r:id="rId5919"/>
    <p:sldLayoutId id="2147497438" r:id="rId5920"/>
    <p:sldLayoutId id="2147497436" r:id="rId5921"/>
    <p:sldLayoutId id="2147497345" r:id="rId5922"/>
    <p:sldLayoutId id="2147497347" r:id="rId5923"/>
    <p:sldLayoutId id="2147497368" r:id="rId5924"/>
    <p:sldLayoutId id="2147497371" r:id="rId5925"/>
    <p:sldLayoutId id="2147497393" r:id="rId5926"/>
    <p:sldLayoutId id="2147497380" r:id="rId5927"/>
    <p:sldLayoutId id="2147497375" r:id="rId5928"/>
    <p:sldLayoutId id="2147497397" r:id="rId5929"/>
    <p:sldLayoutId id="2147497374" r:id="rId5930"/>
    <p:sldLayoutId id="2147497399" r:id="rId5931"/>
    <p:sldLayoutId id="2147497383" r:id="rId5932"/>
    <p:sldLayoutId id="2147497440" r:id="rId5933"/>
    <p:sldLayoutId id="2147497413" r:id="rId5934"/>
    <p:sldLayoutId id="2147497441" r:id="rId5935"/>
    <p:sldLayoutId id="2147497348" r:id="rId5936"/>
    <p:sldLayoutId id="2147497351" r:id="rId5937"/>
    <p:sldLayoutId id="2147497354" r:id="rId5938"/>
    <p:sldLayoutId id="2147497362" r:id="rId5939"/>
    <p:sldLayoutId id="2147497359" r:id="rId5940"/>
    <p:sldLayoutId id="2147497401" r:id="rId5941"/>
    <p:sldLayoutId id="2147497403" r:id="rId5942"/>
    <p:sldLayoutId id="2147497443" r:id="rId5943"/>
    <p:sldLayoutId id="2147497444" r:id="rId5944"/>
    <p:sldLayoutId id="2147497470" r:id="rId5945"/>
    <p:sldLayoutId id="2147497468" r:id="rId5946"/>
    <p:sldLayoutId id="2147497467" r:id="rId5947"/>
    <p:sldLayoutId id="2147497471" r:id="rId5948"/>
    <p:sldLayoutId id="2147497446" r:id="rId5949"/>
    <p:sldLayoutId id="2147497450" r:id="rId5950"/>
    <p:sldLayoutId id="2147497448" r:id="rId5951"/>
    <p:sldLayoutId id="2147497455" r:id="rId5952"/>
    <p:sldLayoutId id="2147497453" r:id="rId5953"/>
    <p:sldLayoutId id="2147497456" r:id="rId5954"/>
    <p:sldLayoutId id="2147497457" r:id="rId5955"/>
    <p:sldLayoutId id="2147497459" r:id="rId5956"/>
    <p:sldLayoutId id="2147497461" r:id="rId5957"/>
    <p:sldLayoutId id="2147497465" r:id="rId5958"/>
    <p:sldLayoutId id="2147497463" r:id="rId5959"/>
    <p:sldLayoutId id="2147497472" r:id="rId5960"/>
    <p:sldLayoutId id="2147497473" r:id="rId5961"/>
    <p:sldLayoutId id="2147497485" r:id="rId5962"/>
    <p:sldLayoutId id="2147497486" r:id="rId5963"/>
    <p:sldLayoutId id="2147497496" r:id="rId5964"/>
    <p:sldLayoutId id="2147497490" r:id="rId5965"/>
    <p:sldLayoutId id="2147497489" r:id="rId5966"/>
    <p:sldLayoutId id="2147497497" r:id="rId5967"/>
    <p:sldLayoutId id="2147497488" r:id="rId5968"/>
    <p:sldLayoutId id="2147497499" r:id="rId5969"/>
    <p:sldLayoutId id="2147497492" r:id="rId5970"/>
    <p:sldLayoutId id="2147497505" r:id="rId5971"/>
    <p:sldLayoutId id="2147497503" r:id="rId5972"/>
    <p:sldLayoutId id="2147497507" r:id="rId5973"/>
    <p:sldLayoutId id="2147497474" r:id="rId5974"/>
    <p:sldLayoutId id="2147497476" r:id="rId5975"/>
    <p:sldLayoutId id="2147497478" r:id="rId5976"/>
    <p:sldLayoutId id="2147497482" r:id="rId5977"/>
    <p:sldLayoutId id="2147497480" r:id="rId5978"/>
    <p:sldLayoutId id="2147497037" r:id="rId5979"/>
    <p:sldLayoutId id="2147497038" r:id="rId5980"/>
    <p:sldLayoutId id="2147497148" r:id="rId5981"/>
    <p:sldLayoutId id="2147497138" r:id="rId5982"/>
    <p:sldLayoutId id="2147497132" r:id="rId5983"/>
    <p:sldLayoutId id="2147496881" r:id="rId5984"/>
    <p:sldLayoutId id="2147497042" r:id="rId5985"/>
    <p:sldLayoutId id="2147497050" r:id="rId5986"/>
    <p:sldLayoutId id="2147497046" r:id="rId5987"/>
    <p:sldLayoutId id="2147497060" r:id="rId5988"/>
    <p:sldLayoutId id="2147497056" r:id="rId5989"/>
    <p:sldLayoutId id="2147497062" r:id="rId5990"/>
    <p:sldLayoutId id="2147497072" r:id="rId5991"/>
    <p:sldLayoutId id="2147497080" r:id="rId5992"/>
    <p:sldLayoutId id="2147497086" r:id="rId5993"/>
    <p:sldLayoutId id="2147497104" r:id="rId5994"/>
    <p:sldLayoutId id="2147497094" r:id="rId5995"/>
    <p:sldLayoutId id="2147496883" r:id="rId5996"/>
    <p:sldLayoutId id="2147496884" r:id="rId5997"/>
    <p:sldLayoutId id="2147496906" r:id="rId5998"/>
    <p:sldLayoutId id="2147496907" r:id="rId5999"/>
    <p:sldLayoutId id="2147496919" r:id="rId6000"/>
    <p:sldLayoutId id="2147496911" r:id="rId6001"/>
    <p:sldLayoutId id="2147496910" r:id="rId6002"/>
    <p:sldLayoutId id="2147496920" r:id="rId6003"/>
    <p:sldLayoutId id="2147496909" r:id="rId6004"/>
    <p:sldLayoutId id="2147496922" r:id="rId6005"/>
    <p:sldLayoutId id="2147496914" r:id="rId6006"/>
    <p:sldLayoutId id="2147496928" r:id="rId6007"/>
    <p:sldLayoutId id="2147496926" r:id="rId6008"/>
    <p:sldLayoutId id="2147496929" r:id="rId6009"/>
    <p:sldLayoutId id="2147496886" r:id="rId6010"/>
    <p:sldLayoutId id="2147496889" r:id="rId6011"/>
    <p:sldLayoutId id="2147496893" r:id="rId6012"/>
    <p:sldLayoutId id="2147496901" r:id="rId6013"/>
    <p:sldLayoutId id="2147496898" r:id="rId6014"/>
    <p:sldLayoutId id="2147496957" r:id="rId6015"/>
    <p:sldLayoutId id="2147496962" r:id="rId6016"/>
    <p:sldLayoutId id="2147496933" r:id="rId6017"/>
    <p:sldLayoutId id="2147496931" r:id="rId6018"/>
    <p:sldLayoutId id="2147496930" r:id="rId6019"/>
    <p:sldLayoutId id="2147496934" r:id="rId6020"/>
    <p:sldLayoutId id="2147496972" r:id="rId6021"/>
    <p:sldLayoutId id="2147496990" r:id="rId6022"/>
    <p:sldLayoutId id="2147496983" r:id="rId6023"/>
    <p:sldLayoutId id="2147497010" r:id="rId6024"/>
    <p:sldLayoutId id="2147497005" r:id="rId6025"/>
    <p:sldLayoutId id="2147497012" r:id="rId6026"/>
    <p:sldLayoutId id="2147497014" r:id="rId6027"/>
    <p:sldLayoutId id="2147497017" r:id="rId6028"/>
    <p:sldLayoutId id="2147497021" r:id="rId6029"/>
    <p:sldLayoutId id="2147497028" r:id="rId6030"/>
    <p:sldLayoutId id="2147497024" r:id="rId6031"/>
    <p:sldLayoutId id="2147496936" r:id="rId6032"/>
    <p:sldLayoutId id="2147496938" r:id="rId6033"/>
    <p:sldLayoutId id="2147496960" r:id="rId6034"/>
    <p:sldLayoutId id="2147496963" r:id="rId6035"/>
    <p:sldLayoutId id="2147496988" r:id="rId6036"/>
    <p:sldLayoutId id="2147496974" r:id="rId6037"/>
    <p:sldLayoutId id="2147496969" r:id="rId6038"/>
    <p:sldLayoutId id="2147496991" r:id="rId6039"/>
    <p:sldLayoutId id="2147496967" r:id="rId6040"/>
    <p:sldLayoutId id="2147496993" r:id="rId6041"/>
    <p:sldLayoutId id="2147496977" r:id="rId6042"/>
    <p:sldLayoutId id="2147497031" r:id="rId6043"/>
    <p:sldLayoutId id="2147497003" r:id="rId6044"/>
    <p:sldLayoutId id="2147497033" r:id="rId6045"/>
    <p:sldLayoutId id="2147496940" r:id="rId6046"/>
    <p:sldLayoutId id="2147496943" r:id="rId6047"/>
    <p:sldLayoutId id="2147496946" r:id="rId6048"/>
    <p:sldLayoutId id="2147496954" r:id="rId6049"/>
    <p:sldLayoutId id="2147496950" r:id="rId6050"/>
    <p:sldLayoutId id="2147496994" r:id="rId6051"/>
    <p:sldLayoutId id="2147496996" r:id="rId6052"/>
    <p:sldLayoutId id="2147497140" r:id="rId6053"/>
    <p:sldLayoutId id="2147496880" r:id="rId6054"/>
    <p:sldLayoutId id="2147497178" r:id="rId6055"/>
    <p:sldLayoutId id="2147497174" r:id="rId6056"/>
    <p:sldLayoutId id="2147497172" r:id="rId6057"/>
    <p:sldLayoutId id="2147497180" r:id="rId6058"/>
    <p:sldLayoutId id="2147496887" r:id="rId6059"/>
    <p:sldLayoutId id="2147496905" r:id="rId6060"/>
    <p:sldLayoutId id="2147496899" r:id="rId6061"/>
    <p:sldLayoutId id="2147496924" r:id="rId6062"/>
    <p:sldLayoutId id="2147496918" r:id="rId6063"/>
    <p:sldLayoutId id="2147497150" r:id="rId6064"/>
    <p:sldLayoutId id="2147497152" r:id="rId6065"/>
    <p:sldLayoutId id="2147497156" r:id="rId6066"/>
    <p:sldLayoutId id="2147497160" r:id="rId6067"/>
    <p:sldLayoutId id="2147497168" r:id="rId6068"/>
    <p:sldLayoutId id="2147497164" r:id="rId6069"/>
    <p:sldLayoutId id="2147497182" r:id="rId6070"/>
    <p:sldLayoutId id="2147497184" r:id="rId6071"/>
    <p:sldLayoutId id="2147497208" r:id="rId6072"/>
    <p:sldLayoutId id="2147497210" r:id="rId6073"/>
    <p:sldLayoutId id="2147497228" r:id="rId6074"/>
    <p:sldLayoutId id="2147497218" r:id="rId6075"/>
    <p:sldLayoutId id="2147497216" r:id="rId6076"/>
    <p:sldLayoutId id="2147497230" r:id="rId6077"/>
    <p:sldLayoutId id="2147497214" r:id="rId6078"/>
    <p:sldLayoutId id="2147497232" r:id="rId6079"/>
    <p:sldLayoutId id="2147497222" r:id="rId6080"/>
    <p:sldLayoutId id="2147497242" r:id="rId6081"/>
    <p:sldLayoutId id="2147497238" r:id="rId6082"/>
    <p:sldLayoutId id="2147497244" r:id="rId6083"/>
    <p:sldLayoutId id="2147497186" r:id="rId6084"/>
    <p:sldLayoutId id="2147497190" r:id="rId6085"/>
    <p:sldLayoutId id="2147497194" r:id="rId6086"/>
    <p:sldLayoutId id="2147497202" r:id="rId6087"/>
    <p:sldLayoutId id="2147497198" r:id="rId6088"/>
    <p:sldLayoutId id="2147497074" r:id="rId6089"/>
    <p:sldLayoutId id="2147497078" r:id="rId6090"/>
    <p:sldLayoutId id="2147496879" r:id="rId6091"/>
    <p:sldLayoutId id="2147496877" r:id="rId6092"/>
    <p:sldLayoutId id="2147496876" r:id="rId6093"/>
    <p:sldLayoutId id="2147497064" r:id="rId6094"/>
    <p:sldLayoutId id="2147497088" r:id="rId6095"/>
    <p:sldLayoutId id="2147497102" r:id="rId6096"/>
    <p:sldLayoutId id="2147497096" r:id="rId6097"/>
    <p:sldLayoutId id="2147497116" r:id="rId6098"/>
    <p:sldLayoutId id="2147497112" r:id="rId6099"/>
    <p:sldLayoutId id="2147497118" r:id="rId6100"/>
    <p:sldLayoutId id="2147497120" r:id="rId6101"/>
    <p:sldLayoutId id="2147497124" r:id="rId6102"/>
    <p:sldLayoutId id="2147497130" r:id="rId6103"/>
    <p:sldLayoutId id="2147497146" r:id="rId6104"/>
    <p:sldLayoutId id="2147497136" r:id="rId6105"/>
    <p:sldLayoutId id="2147497066" r:id="rId6106"/>
    <p:sldLayoutId id="2147497068" r:id="rId6107"/>
    <p:sldLayoutId id="2147495778" r:id="rId6108"/>
    <p:sldLayoutId id="2147495782" r:id="rId6109"/>
    <p:sldLayoutId id="2147495852" r:id="rId6110"/>
    <p:sldLayoutId id="2147495850" r:id="rId6111"/>
    <p:sldLayoutId id="2147495849" r:id="rId6112"/>
    <p:sldLayoutId id="2147495854" r:id="rId6113"/>
    <p:sldLayoutId id="2147495792" r:id="rId6114"/>
    <p:sldLayoutId id="2147495806" r:id="rId6115"/>
    <p:sldLayoutId id="2147495800" r:id="rId6116"/>
    <p:sldLayoutId id="2147495820" r:id="rId6117"/>
    <p:sldLayoutId id="2147495816" r:id="rId6118"/>
    <p:sldLayoutId id="2147495822" r:id="rId6119"/>
    <p:sldLayoutId id="2147495826" r:id="rId6120"/>
    <p:sldLayoutId id="2147495829" r:id="rId6121"/>
    <p:sldLayoutId id="2147495832" r:id="rId6122"/>
    <p:sldLayoutId id="2147495840" r:id="rId6123"/>
    <p:sldLayoutId id="2147495836" r:id="rId6124"/>
    <p:sldLayoutId id="2147495855" r:id="rId6125"/>
    <p:sldLayoutId id="2147495856" r:id="rId6126"/>
    <p:sldLayoutId id="2147495877" r:id="rId6127"/>
    <p:sldLayoutId id="2147495878" r:id="rId6128"/>
    <p:sldLayoutId id="2147495892" r:id="rId6129"/>
    <p:sldLayoutId id="2147495884" r:id="rId6130"/>
    <p:sldLayoutId id="2147495883" r:id="rId6131"/>
    <p:sldLayoutId id="2147495893" r:id="rId6132"/>
    <p:sldLayoutId id="2147495881" r:id="rId6133"/>
    <p:sldLayoutId id="2147495895" r:id="rId6134"/>
    <p:sldLayoutId id="2147495887" r:id="rId6135"/>
    <p:sldLayoutId id="2147495902" r:id="rId6136"/>
    <p:sldLayoutId id="2147495899" r:id="rId6137"/>
    <p:sldLayoutId id="2147495904" r:id="rId6138"/>
    <p:sldLayoutId id="2147495857" r:id="rId6139"/>
    <p:sldLayoutId id="2147495860" r:id="rId6140"/>
    <p:sldLayoutId id="2147495865" r:id="rId6141"/>
    <p:sldLayoutId id="2147495872" r:id="rId6142"/>
    <p:sldLayoutId id="2147495869" r:id="rId6143"/>
    <p:sldLayoutId id="2147495966" r:id="rId6144"/>
    <p:sldLayoutId id="2147495971" r:id="rId6145"/>
    <p:sldLayoutId id="2147495927" r:id="rId6146"/>
    <p:sldLayoutId id="2147495921" r:id="rId6147"/>
    <p:sldLayoutId id="2147495919" r:id="rId6148"/>
    <p:sldLayoutId id="2147495931" r:id="rId6149"/>
    <p:sldLayoutId id="2147495980" r:id="rId6150"/>
    <p:sldLayoutId id="2147495990" r:id="rId6151"/>
    <p:sldLayoutId id="2147495986" r:id="rId6152"/>
    <p:sldLayoutId id="2147496003" r:id="rId6153"/>
    <p:sldLayoutId id="2147496000" r:id="rId6154"/>
    <p:sldLayoutId id="2147496004" r:id="rId6155"/>
    <p:sldLayoutId id="2147496005" r:id="rId6156"/>
    <p:sldLayoutId id="2147496007" r:id="rId6157"/>
    <p:sldLayoutId id="2147496009" r:id="rId6158"/>
    <p:sldLayoutId id="2147496013" r:id="rId6159"/>
    <p:sldLayoutId id="2147496011" r:id="rId6160"/>
    <p:sldLayoutId id="2147495933" r:id="rId6161"/>
    <p:sldLayoutId id="2147495937" r:id="rId6162"/>
    <p:sldLayoutId id="2147495969" r:id="rId6163"/>
    <p:sldLayoutId id="2147495972" r:id="rId6164"/>
    <p:sldLayoutId id="2147495989" r:id="rId6165"/>
    <p:sldLayoutId id="2147495981" r:id="rId6166"/>
    <p:sldLayoutId id="2147495977" r:id="rId6167"/>
    <p:sldLayoutId id="2147495991" r:id="rId6168"/>
    <p:sldLayoutId id="2147495975" r:id="rId6169"/>
    <p:sldLayoutId id="2147495992" r:id="rId6170"/>
    <p:sldLayoutId id="2147495983" r:id="rId6171"/>
    <p:sldLayoutId id="2147496015" r:id="rId6172"/>
    <p:sldLayoutId id="2147495999" r:id="rId6173"/>
    <p:sldLayoutId id="2147496016" r:id="rId6174"/>
    <p:sldLayoutId id="2147495941" r:id="rId6175"/>
    <p:sldLayoutId id="2147495947" r:id="rId6176"/>
    <p:sldLayoutId id="2147495953" r:id="rId6177"/>
    <p:sldLayoutId id="2147495963" r:id="rId6178"/>
    <p:sldLayoutId id="2147495960" r:id="rId6179"/>
    <p:sldLayoutId id="2147495993" r:id="rId6180"/>
    <p:sldLayoutId id="2147495994" r:id="rId6181"/>
    <p:sldLayoutId id="2147496050" r:id="rId6182"/>
    <p:sldLayoutId id="2147496053" r:id="rId6183"/>
    <p:sldLayoutId id="2147496122" r:id="rId6184"/>
    <p:sldLayoutId id="2147496116" r:id="rId6185"/>
    <p:sldLayoutId id="2147496114" r:id="rId6186"/>
    <p:sldLayoutId id="2147496126" r:id="rId6187"/>
    <p:sldLayoutId id="2147496058" r:id="rId6188"/>
    <p:sldLayoutId id="2147496067" r:id="rId6189"/>
    <p:sldLayoutId id="2147496062" r:id="rId6190"/>
    <p:sldLayoutId id="2147496080" r:id="rId6191"/>
    <p:sldLayoutId id="2147496074" r:id="rId6192"/>
    <p:sldLayoutId id="2147496082" r:id="rId6193"/>
    <p:sldLayoutId id="2147496085" r:id="rId6194"/>
    <p:sldLayoutId id="2147496089" r:id="rId6195"/>
    <p:sldLayoutId id="2147496095" r:id="rId6196"/>
    <p:sldLayoutId id="2147496108" r:id="rId6197"/>
    <p:sldLayoutId id="2147496101" r:id="rId6198"/>
    <p:sldLayoutId id="2147496130" r:id="rId6199"/>
    <p:sldLayoutId id="2147496134" r:id="rId6200"/>
    <p:sldLayoutId id="2147496172" r:id="rId6201"/>
    <p:sldLayoutId id="2147496176" r:id="rId6202"/>
    <p:sldLayoutId id="2147496204" r:id="rId6203"/>
    <p:sldLayoutId id="2147496190" r:id="rId6204"/>
    <p:sldLayoutId id="2147496186" r:id="rId6205"/>
    <p:sldLayoutId id="2147496206" r:id="rId6206"/>
    <p:sldLayoutId id="2147496182" r:id="rId6207"/>
    <p:sldLayoutId id="2147496208" r:id="rId6208"/>
    <p:sldLayoutId id="2147496196" r:id="rId6209"/>
    <p:sldLayoutId id="2147496222" r:id="rId6210"/>
    <p:sldLayoutId id="2147496216" r:id="rId6211"/>
    <p:sldLayoutId id="2147496224" r:id="rId6212"/>
    <p:sldLayoutId id="2147496138" r:id="rId6213"/>
    <p:sldLayoutId id="2147496146" r:id="rId6214"/>
    <p:sldLayoutId id="2147496152" r:id="rId6215"/>
    <p:sldLayoutId id="2147496164" r:id="rId6216"/>
    <p:sldLayoutId id="2147496158" r:id="rId6217"/>
    <p:sldLayoutId id="2147496570" r:id="rId6218"/>
    <p:sldLayoutId id="2147496574" r:id="rId6219"/>
    <p:sldLayoutId id="2147496667" r:id="rId6220"/>
    <p:sldLayoutId id="2147496662" r:id="rId6221"/>
    <p:sldLayoutId id="2147496659" r:id="rId6222"/>
    <p:sldLayoutId id="2147496262" r:id="rId6223"/>
    <p:sldLayoutId id="2147496580" r:id="rId6224"/>
    <p:sldLayoutId id="2147496592" r:id="rId6225"/>
    <p:sldLayoutId id="2147496586" r:id="rId6226"/>
    <p:sldLayoutId id="2147496606" r:id="rId6227"/>
    <p:sldLayoutId id="2147496600" r:id="rId6228"/>
    <p:sldLayoutId id="2147496610" r:id="rId6229"/>
    <p:sldLayoutId id="2147496620" r:id="rId6230"/>
    <p:sldLayoutId id="2147496626" r:id="rId6231"/>
    <p:sldLayoutId id="2147496631" r:id="rId6232"/>
    <p:sldLayoutId id="2147496643" r:id="rId6233"/>
    <p:sldLayoutId id="2147496638" r:id="rId6234"/>
    <p:sldLayoutId id="2147496266" r:id="rId6235"/>
    <p:sldLayoutId id="2147496268" r:id="rId6236"/>
    <p:sldLayoutId id="2147496305" r:id="rId6237"/>
    <p:sldLayoutId id="2147496307" r:id="rId6238"/>
    <p:sldLayoutId id="2147496344" r:id="rId6239"/>
    <p:sldLayoutId id="2147496318" r:id="rId6240"/>
    <p:sldLayoutId id="2147496315" r:id="rId6241"/>
    <p:sldLayoutId id="2147496346" r:id="rId6242"/>
    <p:sldLayoutId id="2147496312" r:id="rId6243"/>
    <p:sldLayoutId id="2147496351" r:id="rId6244"/>
    <p:sldLayoutId id="2147496328" r:id="rId6245"/>
    <p:sldLayoutId id="2147496372" r:id="rId6246"/>
    <p:sldLayoutId id="2147496367" r:id="rId6247"/>
    <p:sldLayoutId id="2147496374" r:id="rId6248"/>
    <p:sldLayoutId id="2147496272" r:id="rId6249"/>
    <p:sldLayoutId id="2147496278" r:id="rId6250"/>
    <p:sldLayoutId id="2147496282" r:id="rId6251"/>
    <p:sldLayoutId id="2147496294" r:id="rId6252"/>
    <p:sldLayoutId id="2147496288" r:id="rId6253"/>
    <p:sldLayoutId id="2147496440" r:id="rId6254"/>
    <p:sldLayoutId id="2147496452" r:id="rId6255"/>
    <p:sldLayoutId id="2147496384" r:id="rId6256"/>
    <p:sldLayoutId id="2147496378" r:id="rId6257"/>
    <p:sldLayoutId id="2147496376" r:id="rId6258"/>
    <p:sldLayoutId id="2147496387" r:id="rId6259"/>
    <p:sldLayoutId id="2147496467" r:id="rId6260"/>
    <p:sldLayoutId id="2147496487" r:id="rId6261"/>
    <p:sldLayoutId id="2147496479" r:id="rId6262"/>
    <p:sldLayoutId id="2147496526" r:id="rId6263"/>
    <p:sldLayoutId id="2147496516" r:id="rId6264"/>
    <p:sldLayoutId id="2147496528" r:id="rId6265"/>
    <p:sldLayoutId id="2147496532" r:id="rId6266"/>
    <p:sldLayoutId id="2147496538" r:id="rId6267"/>
    <p:sldLayoutId id="2147496544" r:id="rId6268"/>
    <p:sldLayoutId id="2147496556" r:id="rId6269"/>
    <p:sldLayoutId id="2147496550" r:id="rId6270"/>
    <p:sldLayoutId id="2147496391" r:id="rId6271"/>
    <p:sldLayoutId id="2147496394" r:id="rId6272"/>
    <p:sldLayoutId id="2147496448" r:id="rId6273"/>
    <p:sldLayoutId id="2147496456" r:id="rId6274"/>
    <p:sldLayoutId id="2147496485" r:id="rId6275"/>
    <p:sldLayoutId id="2147496469" r:id="rId6276"/>
    <p:sldLayoutId id="2147496463" r:id="rId6277"/>
    <p:sldLayoutId id="2147496489" r:id="rId6278"/>
    <p:sldLayoutId id="2147496461" r:id="rId6279"/>
    <p:sldLayoutId id="2147496491" r:id="rId6280"/>
    <p:sldLayoutId id="2147496473" r:id="rId6281"/>
    <p:sldLayoutId id="2147496562" r:id="rId6282"/>
    <p:sldLayoutId id="2147496514" r:id="rId6283"/>
    <p:sldLayoutId id="2147496564" r:id="rId6284"/>
    <p:sldLayoutId id="2147496397" r:id="rId6285"/>
    <p:sldLayoutId id="2147496404" r:id="rId6286"/>
    <p:sldLayoutId id="2147496412" r:id="rId6287"/>
    <p:sldLayoutId id="2147496432" r:id="rId6288"/>
    <p:sldLayoutId id="2147496424" r:id="rId6289"/>
    <p:sldLayoutId id="2147496494" r:id="rId6290"/>
    <p:sldLayoutId id="2147496498" r:id="rId6291"/>
    <p:sldLayoutId id="2147496663" r:id="rId6292"/>
    <p:sldLayoutId id="2147496260" r:id="rId6293"/>
    <p:sldLayoutId id="2147496684" r:id="rId6294"/>
    <p:sldLayoutId id="2147496680" r:id="rId6295"/>
    <p:sldLayoutId id="2147496679" r:id="rId6296"/>
    <p:sldLayoutId id="2147496686" r:id="rId6297"/>
    <p:sldLayoutId id="2147496274" r:id="rId6298"/>
    <p:sldLayoutId id="2147496303" r:id="rId6299"/>
    <p:sldLayoutId id="2147496290" r:id="rId6300"/>
    <p:sldLayoutId id="2147496359" r:id="rId6301"/>
    <p:sldLayoutId id="2147496341" r:id="rId6302"/>
    <p:sldLayoutId id="2147496668" r:id="rId6303"/>
    <p:sldLayoutId id="2147496669" r:id="rId6304"/>
    <p:sldLayoutId id="2147496671" r:id="rId6305"/>
    <p:sldLayoutId id="2147496673" r:id="rId6306"/>
    <p:sldLayoutId id="2147496677" r:id="rId6307"/>
    <p:sldLayoutId id="2147496675" r:id="rId6308"/>
    <p:sldLayoutId id="2147496688" r:id="rId6309"/>
    <p:sldLayoutId id="2147496690" r:id="rId6310"/>
    <p:sldLayoutId id="2147496714" r:id="rId6311"/>
    <p:sldLayoutId id="2147496716" r:id="rId6312"/>
    <p:sldLayoutId id="2147496740" r:id="rId6313"/>
    <p:sldLayoutId id="2147496724" r:id="rId6314"/>
    <p:sldLayoutId id="2147496722" r:id="rId6315"/>
    <p:sldLayoutId id="2147496742" r:id="rId6316"/>
    <p:sldLayoutId id="2147496720" r:id="rId6317"/>
    <p:sldLayoutId id="2147496746" r:id="rId6318"/>
    <p:sldLayoutId id="2147496730" r:id="rId6319"/>
    <p:sldLayoutId id="2147495439" r:id="rId6320"/>
    <p:sldLayoutId id="2147495437" r:id="rId6321"/>
    <p:sldLayoutId id="2147495440" r:id="rId6322"/>
    <p:sldLayoutId id="2147496692" r:id="rId6323"/>
    <p:sldLayoutId id="2147496696" r:id="rId6324"/>
    <p:sldLayoutId id="2147496700" r:id="rId6325"/>
    <p:sldLayoutId id="2147496708" r:id="rId6326"/>
    <p:sldLayoutId id="2147496704" r:id="rId6327"/>
    <p:sldLayoutId id="2147496622" r:id="rId6328"/>
    <p:sldLayoutId id="2147496625" r:id="rId6329"/>
    <p:sldLayoutId id="2147496258" r:id="rId6330"/>
    <p:sldLayoutId id="2147496254" r:id="rId6331"/>
    <p:sldLayoutId id="2147496252" r:id="rId6332"/>
    <p:sldLayoutId id="2147496612" r:id="rId6333"/>
    <p:sldLayoutId id="2147496632" r:id="rId6334"/>
    <p:sldLayoutId id="2147496642" r:id="rId6335"/>
    <p:sldLayoutId id="2147496639" r:id="rId6336"/>
    <p:sldLayoutId id="2147496649" r:id="rId6337"/>
    <p:sldLayoutId id="2147496647" r:id="rId6338"/>
    <p:sldLayoutId id="2147496650" r:id="rId6339"/>
    <p:sldLayoutId id="2147496651" r:id="rId6340"/>
    <p:sldLayoutId id="2147496653" r:id="rId6341"/>
    <p:sldLayoutId id="2147496657" r:id="rId6342"/>
    <p:sldLayoutId id="2147496666" r:id="rId6343"/>
    <p:sldLayoutId id="2147496661" r:id="rId6344"/>
    <p:sldLayoutId id="2147496616" r:id="rId6345"/>
    <p:sldLayoutId id="2147496617" r:id="rId6346"/>
    <p:sldLayoutId id="2147495498" r:id="rId6347"/>
    <p:sldLayoutId id="2147495500" r:id="rId6348"/>
    <p:sldLayoutId id="2147495543" r:id="rId6349"/>
    <p:sldLayoutId id="2147495540" r:id="rId6350"/>
    <p:sldLayoutId id="2147495538" r:id="rId6351"/>
    <p:sldLayoutId id="2147495545" r:id="rId6352"/>
    <p:sldLayoutId id="2147495503" r:id="rId6353"/>
    <p:sldLayoutId id="2147495510" r:id="rId6354"/>
    <p:sldLayoutId id="2147495507" r:id="rId6355"/>
    <p:sldLayoutId id="2147495518" r:id="rId6356"/>
    <p:sldLayoutId id="2147495515" r:id="rId6357"/>
    <p:sldLayoutId id="2147495520" r:id="rId6358"/>
    <p:sldLayoutId id="2147495521" r:id="rId6359"/>
    <p:sldLayoutId id="2147495524" r:id="rId6360"/>
    <p:sldLayoutId id="2147495527" r:id="rId6361"/>
    <p:sldLayoutId id="2147495534" r:id="rId6362"/>
    <p:sldLayoutId id="2147495531" r:id="rId6363"/>
    <p:sldLayoutId id="2147495547" r:id="rId6364"/>
    <p:sldLayoutId id="2147495548" r:id="rId6365"/>
    <p:sldLayoutId id="2147495578" r:id="rId6366"/>
    <p:sldLayoutId id="2147495580" r:id="rId6367"/>
    <p:sldLayoutId id="2147495598" r:id="rId6368"/>
    <p:sldLayoutId id="2147495588" r:id="rId6369"/>
    <p:sldLayoutId id="2147495586" r:id="rId6370"/>
    <p:sldLayoutId id="2147495600" r:id="rId6371"/>
    <p:sldLayoutId id="2147495584" r:id="rId6372"/>
    <p:sldLayoutId id="2147495602" r:id="rId6373"/>
    <p:sldLayoutId id="2147495592" r:id="rId6374"/>
    <p:sldLayoutId id="2147495612" r:id="rId6375"/>
    <p:sldLayoutId id="2147495608" r:id="rId6376"/>
    <p:sldLayoutId id="2147495614" r:id="rId6377"/>
    <p:sldLayoutId id="2147495554" r:id="rId6378"/>
    <p:sldLayoutId id="2147495561" r:id="rId6379"/>
    <p:sldLayoutId id="2147495564" r:id="rId6380"/>
    <p:sldLayoutId id="2147495572" r:id="rId6381"/>
    <p:sldLayoutId id="2147495568" r:id="rId6382"/>
    <p:sldLayoutId id="2147495710" r:id="rId6383"/>
    <p:sldLayoutId id="2147495720" r:id="rId6384"/>
    <p:sldLayoutId id="2147495662" r:id="rId6385"/>
    <p:sldLayoutId id="2147495654" r:id="rId6386"/>
    <p:sldLayoutId id="2147495650" r:id="rId6387"/>
    <p:sldLayoutId id="2147495664" r:id="rId6388"/>
    <p:sldLayoutId id="2147495742" r:id="rId6389"/>
    <p:sldLayoutId id="2147495776" r:id="rId6390"/>
    <p:sldLayoutId id="2147495762" r:id="rId6391"/>
    <p:sldLayoutId id="2147495823" r:id="rId6392"/>
    <p:sldLayoutId id="2147495814" r:id="rId6393"/>
    <p:sldLayoutId id="2147495824" r:id="rId6394"/>
    <p:sldLayoutId id="2147495825" r:id="rId6395"/>
    <p:sldLayoutId id="2147495830" r:id="rId6396"/>
    <p:sldLayoutId id="2147495837" r:id="rId6397"/>
    <p:sldLayoutId id="2147495846" r:id="rId6398"/>
    <p:sldLayoutId id="2147495844" r:id="rId6399"/>
    <p:sldLayoutId id="2147495668" r:id="rId6400"/>
    <p:sldLayoutId id="2147495672" r:id="rId6401"/>
    <p:sldLayoutId id="2147495716" r:id="rId6402"/>
    <p:sldLayoutId id="2147495724" r:id="rId6403"/>
    <p:sldLayoutId id="2147495774" r:id="rId6404"/>
    <p:sldLayoutId id="2147495744" r:id="rId6405"/>
    <p:sldLayoutId id="2147495734" r:id="rId6406"/>
    <p:sldLayoutId id="2147495780" r:id="rId6407"/>
    <p:sldLayoutId id="2147495730" r:id="rId6408"/>
    <p:sldLayoutId id="2147495784" r:id="rId6409"/>
    <p:sldLayoutId id="2147495752" r:id="rId6410"/>
    <p:sldLayoutId id="2147495863" r:id="rId6411"/>
    <p:sldLayoutId id="2147495810" r:id="rId6412"/>
    <p:sldLayoutId id="2147495868" r:id="rId6413"/>
    <p:sldLayoutId id="2147495676" r:id="rId6414"/>
    <p:sldLayoutId id="2147495682" r:id="rId6415"/>
    <p:sldLayoutId id="2147495688" r:id="rId6416"/>
    <p:sldLayoutId id="2147495702" r:id="rId6417"/>
    <p:sldLayoutId id="2147495696" r:id="rId6418"/>
    <p:sldLayoutId id="2147495786" r:id="rId6419"/>
    <p:sldLayoutId id="2147495790" r:id="rId6420"/>
    <p:sldLayoutId id="2147495907" r:id="rId6421"/>
    <p:sldLayoutId id="2147495908" r:id="rId6422"/>
    <p:sldLayoutId id="2147495447" r:id="rId6423"/>
    <p:sldLayoutId id="2147495445" r:id="rId6424"/>
    <p:sldLayoutId id="2147495444" r:id="rId6425"/>
    <p:sldLayoutId id="2147495448" r:id="rId6426"/>
    <p:sldLayoutId id="2147495911" r:id="rId6427"/>
    <p:sldLayoutId id="2147495923" r:id="rId6428"/>
    <p:sldLayoutId id="2147495915" r:id="rId6429"/>
    <p:sldLayoutId id="2147495951" r:id="rId6430"/>
    <p:sldLayoutId id="2147495939" r:id="rId6431"/>
    <p:sldLayoutId id="2147495957" r:id="rId6432"/>
    <p:sldLayoutId id="2147495961" r:id="rId6433"/>
    <p:sldLayoutId id="2147495967" r:id="rId6434"/>
    <p:sldLayoutId id="2147495973" r:id="rId6435"/>
    <p:sldLayoutId id="2147495442" r:id="rId6436"/>
    <p:sldLayoutId id="2147495979" r:id="rId6437"/>
    <p:sldLayoutId id="2147495449" r:id="rId6438"/>
    <p:sldLayoutId id="2147495450" r:id="rId6439"/>
    <p:sldLayoutId id="2147495465" r:id="rId6440"/>
    <p:sldLayoutId id="2147495467" r:id="rId6441"/>
    <p:sldLayoutId id="2147495481" r:id="rId6442"/>
    <p:sldLayoutId id="2147495473" r:id="rId6443"/>
    <p:sldLayoutId id="2147495471" r:id="rId6444"/>
    <p:sldLayoutId id="2147495483" r:id="rId6445"/>
    <p:sldLayoutId id="2147495470" r:id="rId6446"/>
    <p:sldLayoutId id="2147495484" r:id="rId6447"/>
    <p:sldLayoutId id="2147495476" r:id="rId6448"/>
    <p:sldLayoutId id="2147495493" r:id="rId6449"/>
    <p:sldLayoutId id="2147495489" r:id="rId6450"/>
    <p:sldLayoutId id="2147495494" r:id="rId6451"/>
    <p:sldLayoutId id="2147495451" r:id="rId6452"/>
    <p:sldLayoutId id="2147495453" r:id="rId6453"/>
    <p:sldLayoutId id="2147495455" r:id="rId6454"/>
    <p:sldLayoutId id="2147495460" r:id="rId6455"/>
    <p:sldLayoutId id="2147495457" r:id="rId6456"/>
    <p:sldLayoutId id="2147495680" r:id="rId6457"/>
    <p:sldLayoutId id="2147496234" r:id="rId6458"/>
    <p:sldLayoutId id="2147496250" r:id="rId6459"/>
    <p:sldLayoutId id="2147495764" r:id="rId6460"/>
    <p:sldLayoutId id="2147495760" r:id="rId6461"/>
    <p:sldLayoutId id="2147496017" r:id="rId6462"/>
    <p:sldLayoutId id="2147496236" r:id="rId6463"/>
    <p:sldLayoutId id="2147496240" r:id="rId6464"/>
    <p:sldLayoutId id="2147496238" r:id="rId6465"/>
    <p:sldLayoutId id="2147495718" r:id="rId6466"/>
    <p:sldLayoutId id="2147495712" r:id="rId6467"/>
    <p:sldLayoutId id="2147495722" r:id="rId6468"/>
    <p:sldLayoutId id="2147495726" r:id="rId6469"/>
    <p:sldLayoutId id="2147495732" r:id="rId6470"/>
    <p:sldLayoutId id="2147495740" r:id="rId6471"/>
    <p:sldLayoutId id="2147495754" r:id="rId6472"/>
    <p:sldLayoutId id="2147495746" r:id="rId6473"/>
    <p:sldLayoutId id="2147496018" r:id="rId6474"/>
    <p:sldLayoutId id="2147496019" r:id="rId6475"/>
    <p:sldLayoutId id="2147496031" r:id="rId6476"/>
    <p:sldLayoutId id="2147496032" r:id="rId6477"/>
    <p:sldLayoutId id="2147495552" r:id="rId6478"/>
    <p:sldLayoutId id="2147496036" r:id="rId6479"/>
    <p:sldLayoutId id="2147496035" r:id="rId6480"/>
    <p:sldLayoutId id="2147495555" r:id="rId6481"/>
    <p:sldLayoutId id="2147496034" r:id="rId6482"/>
    <p:sldLayoutId id="2147495559" r:id="rId6483"/>
    <p:sldLayoutId id="2147496038" r:id="rId6484"/>
    <p:sldLayoutId id="2147496044" r:id="rId6485"/>
    <p:sldLayoutId id="2147496042" r:id="rId6486"/>
    <p:sldLayoutId id="2147496045" r:id="rId6487"/>
    <p:sldLayoutId id="2147496020" r:id="rId6488"/>
    <p:sldLayoutId id="2147496022" r:id="rId6489"/>
    <p:sldLayoutId id="2147496024" r:id="rId6490"/>
    <p:sldLayoutId id="2147496028" r:id="rId6491"/>
    <p:sldLayoutId id="2147496026" r:id="rId6492"/>
    <p:sldLayoutId id="2147496112" r:id="rId6493"/>
    <p:sldLayoutId id="2147496128" r:id="rId6494"/>
    <p:sldLayoutId id="2147496052" r:id="rId6495"/>
    <p:sldLayoutId id="2147496047" r:id="rId6496"/>
    <p:sldLayoutId id="2147496046" r:id="rId6497"/>
    <p:sldLayoutId id="2147496056" r:id="rId6498"/>
    <p:sldLayoutId id="2147496154" r:id="rId6499"/>
    <p:sldLayoutId id="2147495624" r:id="rId6500"/>
    <p:sldLayoutId id="2147495620" r:id="rId6501"/>
    <p:sldLayoutId id="2147495640" r:id="rId6502"/>
    <p:sldLayoutId id="2147495636" r:id="rId6503"/>
    <p:sldLayoutId id="2147495642" r:id="rId6504"/>
    <p:sldLayoutId id="2147496226" r:id="rId6505"/>
    <p:sldLayoutId id="2147495646" r:id="rId6506"/>
    <p:sldLayoutId id="2147496228" r:id="rId6507"/>
    <p:sldLayoutId id="2147496230" r:id="rId6508"/>
    <p:sldLayoutId id="2147495656" r:id="rId6509"/>
    <p:sldLayoutId id="2147496059" r:id="rId6510"/>
    <p:sldLayoutId id="2147496064" r:id="rId6511"/>
    <p:sldLayoutId id="2147496124" r:id="rId6512"/>
    <p:sldLayoutId id="2147496132" r:id="rId6513"/>
    <p:sldLayoutId id="2147496184" r:id="rId6514"/>
    <p:sldLayoutId id="2147496160" r:id="rId6515"/>
    <p:sldLayoutId id="2147496144" r:id="rId6516"/>
    <p:sldLayoutId id="2147496188" r:id="rId6517"/>
    <p:sldLayoutId id="2147496140" r:id="rId6518"/>
    <p:sldLayoutId id="2147495626" r:id="rId6519"/>
    <p:sldLayoutId id="2147496174" r:id="rId6520"/>
    <p:sldLayoutId id="2147495670" r:id="rId6521"/>
    <p:sldLayoutId id="2147496210" r:id="rId6522"/>
    <p:sldLayoutId id="2147495674" r:id="rId6523"/>
    <p:sldLayoutId id="2147496068" r:id="rId6524"/>
    <p:sldLayoutId id="2147496076" r:id="rId6525"/>
    <p:sldLayoutId id="2147496083" r:id="rId6526"/>
    <p:sldLayoutId id="2147496100" r:id="rId6527"/>
    <p:sldLayoutId id="2147496094" r:id="rId6528"/>
    <p:sldLayoutId id="2147496192" r:id="rId6529"/>
    <p:sldLayoutId id="2147495628" r:id="rId6530"/>
    <p:sldLayoutId id="2147501325" r:id="rId6531"/>
    <p:sldLayoutId id="2147501324" r:id="rId6532"/>
    <p:sldLayoutId id="2147503178" r:id="rId6533"/>
    <p:sldLayoutId id="2147501327" r:id="rId6534"/>
    <p:sldLayoutId id="2147501353" r:id="rId6535"/>
    <p:sldLayoutId id="2147501351" r:id="rId6536"/>
    <p:sldLayoutId id="2147501350" r:id="rId6537"/>
    <p:sldLayoutId id="2147501354" r:id="rId6538"/>
    <p:sldLayoutId id="2147501329" r:id="rId6539"/>
    <p:sldLayoutId id="2147501333" r:id="rId6540"/>
    <p:sldLayoutId id="2147501331" r:id="rId6541"/>
    <p:sldLayoutId id="2147501338" r:id="rId6542"/>
    <p:sldLayoutId id="2147501336" r:id="rId6543"/>
    <p:sldLayoutId id="2147501339" r:id="rId6544"/>
    <p:sldLayoutId id="2147501340" r:id="rId6545"/>
    <p:sldLayoutId id="2147501342" r:id="rId6546"/>
    <p:sldLayoutId id="2147501344" r:id="rId6547"/>
    <p:sldLayoutId id="2147501348" r:id="rId6548"/>
    <p:sldLayoutId id="2147501346" r:id="rId6549"/>
    <p:sldLayoutId id="2147501355" r:id="rId6550"/>
    <p:sldLayoutId id="2147501356" r:id="rId6551"/>
    <p:sldLayoutId id="2147501368" r:id="rId6552"/>
    <p:sldLayoutId id="2147501369" r:id="rId6553"/>
    <p:sldLayoutId id="2147501378" r:id="rId6554"/>
    <p:sldLayoutId id="2147501373" r:id="rId6555"/>
    <p:sldLayoutId id="2147501372" r:id="rId6556"/>
    <p:sldLayoutId id="2147501379" r:id="rId6557"/>
    <p:sldLayoutId id="2147501371" r:id="rId6558"/>
    <p:sldLayoutId id="2147501380" r:id="rId6559"/>
    <p:sldLayoutId id="2147501375" r:id="rId6560"/>
    <p:sldLayoutId id="2147501385" r:id="rId6561"/>
    <p:sldLayoutId id="2147501383" r:id="rId6562"/>
    <p:sldLayoutId id="2147501386" r:id="rId6563"/>
    <p:sldLayoutId id="2147501357" r:id="rId6564"/>
    <p:sldLayoutId id="2147501359" r:id="rId6565"/>
    <p:sldLayoutId id="2147501361" r:id="rId6566"/>
    <p:sldLayoutId id="2147501365" r:id="rId6567"/>
    <p:sldLayoutId id="2147501363" r:id="rId6568"/>
    <p:sldLayoutId id="2147501405" r:id="rId6569"/>
    <p:sldLayoutId id="2147501408" r:id="rId6570"/>
    <p:sldLayoutId id="2147501390" r:id="rId6571"/>
    <p:sldLayoutId id="2147501388" r:id="rId6572"/>
    <p:sldLayoutId id="2147501387" r:id="rId6573"/>
    <p:sldLayoutId id="2147501391" r:id="rId6574"/>
    <p:sldLayoutId id="2147501414" r:id="rId6575"/>
    <p:sldLayoutId id="2147501424" r:id="rId6576"/>
    <p:sldLayoutId id="2147501420" r:id="rId6577"/>
    <p:sldLayoutId id="2147501437" r:id="rId6578"/>
    <p:sldLayoutId id="2147501434" r:id="rId6579"/>
    <p:sldLayoutId id="2147501438" r:id="rId6580"/>
    <p:sldLayoutId id="2147501439" r:id="rId6581"/>
    <p:sldLayoutId id="2147501441" r:id="rId6582"/>
    <p:sldLayoutId id="2147501443" r:id="rId6583"/>
    <p:sldLayoutId id="2147501447" r:id="rId6584"/>
    <p:sldLayoutId id="2147501445" r:id="rId6585"/>
    <p:sldLayoutId id="2147501392" r:id="rId6586"/>
    <p:sldLayoutId id="2147501393" r:id="rId6587"/>
    <p:sldLayoutId id="2147501407" r:id="rId6588"/>
    <p:sldLayoutId id="2147501409" r:id="rId6589"/>
    <p:sldLayoutId id="2147501423" r:id="rId6590"/>
    <p:sldLayoutId id="2147501415" r:id="rId6591"/>
    <p:sldLayoutId id="2147501412" r:id="rId6592"/>
    <p:sldLayoutId id="2147501425" r:id="rId6593"/>
    <p:sldLayoutId id="2147501411" r:id="rId6594"/>
    <p:sldLayoutId id="2147501426" r:id="rId6595"/>
    <p:sldLayoutId id="2147501417" r:id="rId6596"/>
    <p:sldLayoutId id="2147501449" r:id="rId6597"/>
    <p:sldLayoutId id="2147501433" r:id="rId6598"/>
    <p:sldLayoutId id="2147501450" r:id="rId6599"/>
    <p:sldLayoutId id="2147501394" r:id="rId6600"/>
    <p:sldLayoutId id="2147501396" r:id="rId6601"/>
    <p:sldLayoutId id="2147501398" r:id="rId6602"/>
    <p:sldLayoutId id="2147501403" r:id="rId6603"/>
    <p:sldLayoutId id="2147501401" r:id="rId6604"/>
    <p:sldLayoutId id="2147501427" r:id="rId6605"/>
    <p:sldLayoutId id="2147501428" r:id="rId6606"/>
    <p:sldLayoutId id="2147501452" r:id="rId6607"/>
    <p:sldLayoutId id="2147501453" r:id="rId6608"/>
    <p:sldLayoutId id="2147501479" r:id="rId6609"/>
    <p:sldLayoutId id="2147501477" r:id="rId6610"/>
    <p:sldLayoutId id="2147501476" r:id="rId6611"/>
    <p:sldLayoutId id="2147501480" r:id="rId6612"/>
    <p:sldLayoutId id="2147501455" r:id="rId6613"/>
    <p:sldLayoutId id="2147501459" r:id="rId6614"/>
    <p:sldLayoutId id="2147501457" r:id="rId6615"/>
    <p:sldLayoutId id="2147501464" r:id="rId6616"/>
    <p:sldLayoutId id="2147501462" r:id="rId6617"/>
    <p:sldLayoutId id="2147501465" r:id="rId6618"/>
    <p:sldLayoutId id="2147501466" r:id="rId6619"/>
    <p:sldLayoutId id="2147501468" r:id="rId6620"/>
    <p:sldLayoutId id="2147501470" r:id="rId6621"/>
    <p:sldLayoutId id="2147501474" r:id="rId6622"/>
    <p:sldLayoutId id="2147501472" r:id="rId6623"/>
    <p:sldLayoutId id="2147501481" r:id="rId6624"/>
    <p:sldLayoutId id="2147501482" r:id="rId6625"/>
    <p:sldLayoutId id="2147501494" r:id="rId6626"/>
    <p:sldLayoutId id="2147501495" r:id="rId6627"/>
    <p:sldLayoutId id="2147501504" r:id="rId6628"/>
    <p:sldLayoutId id="2147501499" r:id="rId6629"/>
    <p:sldLayoutId id="2147501498" r:id="rId6630"/>
    <p:sldLayoutId id="2147501505" r:id="rId6631"/>
    <p:sldLayoutId id="2147501497" r:id="rId6632"/>
    <p:sldLayoutId id="2147501506" r:id="rId6633"/>
    <p:sldLayoutId id="2147501501" r:id="rId6634"/>
    <p:sldLayoutId id="2147501511" r:id="rId6635"/>
    <p:sldLayoutId id="2147501509" r:id="rId6636"/>
    <p:sldLayoutId id="2147501512" r:id="rId6637"/>
    <p:sldLayoutId id="2147501483" r:id="rId6638"/>
    <p:sldLayoutId id="2147501485" r:id="rId6639"/>
    <p:sldLayoutId id="2147501487" r:id="rId6640"/>
    <p:sldLayoutId id="2147501491" r:id="rId6641"/>
    <p:sldLayoutId id="2147501489" r:id="rId6642"/>
    <p:sldLayoutId id="2147501628" r:id="rId6643"/>
    <p:sldLayoutId id="2147501629" r:id="rId6644"/>
    <p:sldLayoutId id="2147501684" r:id="rId6645"/>
    <p:sldLayoutId id="2147501679" r:id="rId6646"/>
    <p:sldLayoutId id="2147501676" r:id="rId6647"/>
    <p:sldLayoutId id="2147501518" r:id="rId6648"/>
    <p:sldLayoutId id="2147501631" r:id="rId6649"/>
    <p:sldLayoutId id="2147501635" r:id="rId6650"/>
    <p:sldLayoutId id="2147501633" r:id="rId6651"/>
    <p:sldLayoutId id="2147501640" r:id="rId6652"/>
    <p:sldLayoutId id="2147501638" r:id="rId6653"/>
    <p:sldLayoutId id="2147501641" r:id="rId6654"/>
    <p:sldLayoutId id="2147501646" r:id="rId6655"/>
    <p:sldLayoutId id="2147501650" r:id="rId6656"/>
    <p:sldLayoutId id="2147501653" r:id="rId6657"/>
    <p:sldLayoutId id="2147501662" r:id="rId6658"/>
    <p:sldLayoutId id="2147501657" r:id="rId6659"/>
    <p:sldLayoutId id="2147501520" r:id="rId6660"/>
    <p:sldLayoutId id="2147501521" r:id="rId6661"/>
    <p:sldLayoutId id="2147501539" r:id="rId6662"/>
    <p:sldLayoutId id="2147501540" r:id="rId6663"/>
    <p:sldLayoutId id="2147501552" r:id="rId6664"/>
    <p:sldLayoutId id="2147501544" r:id="rId6665"/>
    <p:sldLayoutId id="2147501543" r:id="rId6666"/>
    <p:sldLayoutId id="2147501553" r:id="rId6667"/>
    <p:sldLayoutId id="2147501542" r:id="rId6668"/>
    <p:sldLayoutId id="2147501555" r:id="rId6669"/>
    <p:sldLayoutId id="2147501547" r:id="rId6670"/>
    <p:sldLayoutId id="2147501561" r:id="rId6671"/>
    <p:sldLayoutId id="2147501559" r:id="rId6672"/>
    <p:sldLayoutId id="2147501562" r:id="rId6673"/>
    <p:sldLayoutId id="2147501523" r:id="rId6674"/>
    <p:sldLayoutId id="2147501526" r:id="rId6675"/>
    <p:sldLayoutId id="2147501528" r:id="rId6676"/>
    <p:sldLayoutId id="2147501534" r:id="rId6677"/>
    <p:sldLayoutId id="2147501531" r:id="rId6678"/>
    <p:sldLayoutId id="2147501581" r:id="rId6679"/>
    <p:sldLayoutId id="2147501584" r:id="rId6680"/>
    <p:sldLayoutId id="2147501566" r:id="rId6681"/>
    <p:sldLayoutId id="2147501564" r:id="rId6682"/>
    <p:sldLayoutId id="2147501563" r:id="rId6683"/>
    <p:sldLayoutId id="2147501567" r:id="rId6684"/>
    <p:sldLayoutId id="2147501590" r:id="rId6685"/>
    <p:sldLayoutId id="2147501600" r:id="rId6686"/>
    <p:sldLayoutId id="2147501596" r:id="rId6687"/>
    <p:sldLayoutId id="2147501613" r:id="rId6688"/>
    <p:sldLayoutId id="2147501610" r:id="rId6689"/>
    <p:sldLayoutId id="2147501614" r:id="rId6690"/>
    <p:sldLayoutId id="2147501615" r:id="rId6691"/>
    <p:sldLayoutId id="2147501617" r:id="rId6692"/>
    <p:sldLayoutId id="2147501619" r:id="rId6693"/>
    <p:sldLayoutId id="2147501623" r:id="rId6694"/>
    <p:sldLayoutId id="2147501621" r:id="rId6695"/>
    <p:sldLayoutId id="2147501568" r:id="rId6696"/>
    <p:sldLayoutId id="2147501569" r:id="rId6697"/>
    <p:sldLayoutId id="2147501583" r:id="rId6698"/>
    <p:sldLayoutId id="2147501585" r:id="rId6699"/>
    <p:sldLayoutId id="2147501599" r:id="rId6700"/>
    <p:sldLayoutId id="2147501591" r:id="rId6701"/>
    <p:sldLayoutId id="2147501588" r:id="rId6702"/>
    <p:sldLayoutId id="2147501601" r:id="rId6703"/>
    <p:sldLayoutId id="2147501587" r:id="rId6704"/>
    <p:sldLayoutId id="2147501602" r:id="rId6705"/>
    <p:sldLayoutId id="2147501593" r:id="rId6706"/>
    <p:sldLayoutId id="2147501625" r:id="rId6707"/>
    <p:sldLayoutId id="2147501609" r:id="rId6708"/>
    <p:sldLayoutId id="2147501626" r:id="rId6709"/>
    <p:sldLayoutId id="2147501570" r:id="rId6710"/>
    <p:sldLayoutId id="2147501572" r:id="rId6711"/>
    <p:sldLayoutId id="2147501574" r:id="rId6712"/>
    <p:sldLayoutId id="2147501579" r:id="rId6713"/>
    <p:sldLayoutId id="2147501577" r:id="rId6714"/>
    <p:sldLayoutId id="2147501603" r:id="rId6715"/>
    <p:sldLayoutId id="2147501604" r:id="rId6716"/>
    <p:sldLayoutId id="2147501680" r:id="rId6717"/>
    <p:sldLayoutId id="2147501517" r:id="rId6718"/>
    <p:sldLayoutId id="2147501699" r:id="rId6719"/>
    <p:sldLayoutId id="2147501697" r:id="rId6720"/>
    <p:sldLayoutId id="2147501696" r:id="rId6721"/>
    <p:sldLayoutId id="2147501700" r:id="rId6722"/>
    <p:sldLayoutId id="2147501524" r:id="rId6723"/>
    <p:sldLayoutId id="2147501538" r:id="rId6724"/>
    <p:sldLayoutId id="2147501532" r:id="rId6725"/>
    <p:sldLayoutId id="2147501557" r:id="rId6726"/>
    <p:sldLayoutId id="2147501551" r:id="rId6727"/>
    <p:sldLayoutId id="2147501685" r:id="rId6728"/>
    <p:sldLayoutId id="2147501686" r:id="rId6729"/>
    <p:sldLayoutId id="2147501688" r:id="rId6730"/>
    <p:sldLayoutId id="2147501690" r:id="rId6731"/>
    <p:sldLayoutId id="2147501694" r:id="rId6732"/>
    <p:sldLayoutId id="2147501692" r:id="rId6733"/>
    <p:sldLayoutId id="2147501701" r:id="rId6734"/>
    <p:sldLayoutId id="2147501702" r:id="rId6735"/>
    <p:sldLayoutId id="2147501714" r:id="rId6736"/>
    <p:sldLayoutId id="2147501715" r:id="rId6737"/>
    <p:sldLayoutId id="2147501724" r:id="rId6738"/>
    <p:sldLayoutId id="2147501719" r:id="rId6739"/>
    <p:sldLayoutId id="2147501718" r:id="rId6740"/>
    <p:sldLayoutId id="2147501725" r:id="rId6741"/>
    <p:sldLayoutId id="2147501717" r:id="rId6742"/>
    <p:sldLayoutId id="2147501726" r:id="rId6743"/>
    <p:sldLayoutId id="2147501721" r:id="rId6744"/>
    <p:sldLayoutId id="2147501731" r:id="rId6745"/>
    <p:sldLayoutId id="2147501729" r:id="rId6746"/>
    <p:sldLayoutId id="2147501732" r:id="rId6747"/>
    <p:sldLayoutId id="2147501703" r:id="rId6748"/>
    <p:sldLayoutId id="2147501705" r:id="rId6749"/>
    <p:sldLayoutId id="2147501707" r:id="rId6750"/>
    <p:sldLayoutId id="2147501711" r:id="rId6751"/>
    <p:sldLayoutId id="2147501709" r:id="rId6752"/>
    <p:sldLayoutId id="2147501647" r:id="rId6753"/>
    <p:sldLayoutId id="2147501649" r:id="rId6754"/>
    <p:sldLayoutId id="2147501516" r:id="rId6755"/>
    <p:sldLayoutId id="2147501514" r:id="rId6756"/>
    <p:sldLayoutId id="2147501513" r:id="rId6757"/>
    <p:sldLayoutId id="2147501642" r:id="rId6758"/>
    <p:sldLayoutId id="2147501654" r:id="rId6759"/>
    <p:sldLayoutId id="2147501661" r:id="rId6760"/>
    <p:sldLayoutId id="2147501658" r:id="rId6761"/>
    <p:sldLayoutId id="2147501668" r:id="rId6762"/>
    <p:sldLayoutId id="2147501666" r:id="rId6763"/>
    <p:sldLayoutId id="2147501669" r:id="rId6764"/>
    <p:sldLayoutId id="2147501670" r:id="rId6765"/>
    <p:sldLayoutId id="2147501672" r:id="rId6766"/>
    <p:sldLayoutId id="2147501675" r:id="rId6767"/>
    <p:sldLayoutId id="2147501683" r:id="rId6768"/>
    <p:sldLayoutId id="2147501678" r:id="rId6769"/>
    <p:sldLayoutId id="2147501643" r:id="rId6770"/>
    <p:sldLayoutId id="2147501644" r:id="rId6771"/>
    <p:sldLayoutId id="2147501774" r:id="rId6772"/>
    <p:sldLayoutId id="2147501775" r:id="rId6773"/>
    <p:sldLayoutId id="2147501801" r:id="rId6774"/>
    <p:sldLayoutId id="2147501799" r:id="rId6775"/>
    <p:sldLayoutId id="2147501798" r:id="rId6776"/>
    <p:sldLayoutId id="2147501802" r:id="rId6777"/>
    <p:sldLayoutId id="2147501777" r:id="rId6778"/>
    <p:sldLayoutId id="2147501781" r:id="rId6779"/>
    <p:sldLayoutId id="2147501779" r:id="rId6780"/>
    <p:sldLayoutId id="2147501786" r:id="rId6781"/>
    <p:sldLayoutId id="2147501784" r:id="rId6782"/>
    <p:sldLayoutId id="2147501787" r:id="rId6783"/>
    <p:sldLayoutId id="2147501788" r:id="rId6784"/>
    <p:sldLayoutId id="2147501790" r:id="rId6785"/>
    <p:sldLayoutId id="2147501792" r:id="rId6786"/>
    <p:sldLayoutId id="2147501796" r:id="rId6787"/>
    <p:sldLayoutId id="2147501794" r:id="rId6788"/>
    <p:sldLayoutId id="2147501803" r:id="rId6789"/>
    <p:sldLayoutId id="2147501804" r:id="rId6790"/>
    <p:sldLayoutId id="2147501820" r:id="rId6791"/>
    <p:sldLayoutId id="2147501821" r:id="rId6792"/>
    <p:sldLayoutId id="2147501830" r:id="rId6793"/>
    <p:sldLayoutId id="2147501825" r:id="rId6794"/>
    <p:sldLayoutId id="2147501824" r:id="rId6795"/>
    <p:sldLayoutId id="2147501831" r:id="rId6796"/>
    <p:sldLayoutId id="2147501823" r:id="rId6797"/>
    <p:sldLayoutId id="2147501832" r:id="rId6798"/>
    <p:sldLayoutId id="2147501827" r:id="rId6799"/>
    <p:sldLayoutId id="2147501837" r:id="rId6800"/>
    <p:sldLayoutId id="2147501835" r:id="rId6801"/>
    <p:sldLayoutId id="2147501838" r:id="rId6802"/>
    <p:sldLayoutId id="2147501807" r:id="rId6803"/>
    <p:sldLayoutId id="2147501811" r:id="rId6804"/>
    <p:sldLayoutId id="2147501813" r:id="rId6805"/>
    <p:sldLayoutId id="2147501817" r:id="rId6806"/>
    <p:sldLayoutId id="2147501815" r:id="rId6807"/>
    <p:sldLayoutId id="2147501886" r:id="rId6808"/>
    <p:sldLayoutId id="2147501891" r:id="rId6809"/>
    <p:sldLayoutId id="2147501862" r:id="rId6810"/>
    <p:sldLayoutId id="2147501858" r:id="rId6811"/>
    <p:sldLayoutId id="2147501856" r:id="rId6812"/>
    <p:sldLayoutId id="2147501863" r:id="rId6813"/>
    <p:sldLayoutId id="2147501902" r:id="rId6814"/>
    <p:sldLayoutId id="2147501918" r:id="rId6815"/>
    <p:sldLayoutId id="2147501912" r:id="rId6816"/>
    <p:sldLayoutId id="2147501931" r:id="rId6817"/>
    <p:sldLayoutId id="2147501928" r:id="rId6818"/>
    <p:sldLayoutId id="2147501932" r:id="rId6819"/>
    <p:sldLayoutId id="2147501933" r:id="rId6820"/>
    <p:sldLayoutId id="2147501935" r:id="rId6821"/>
    <p:sldLayoutId id="2147501937" r:id="rId6822"/>
    <p:sldLayoutId id="2147501941" r:id="rId6823"/>
    <p:sldLayoutId id="2147501939" r:id="rId6824"/>
    <p:sldLayoutId id="2147501865" r:id="rId6825"/>
    <p:sldLayoutId id="2147501867" r:id="rId6826"/>
    <p:sldLayoutId id="2147501889" r:id="rId6827"/>
    <p:sldLayoutId id="2147501893" r:id="rId6828"/>
    <p:sldLayoutId id="2147501917" r:id="rId6829"/>
    <p:sldLayoutId id="2147501903" r:id="rId6830"/>
    <p:sldLayoutId id="2147501898" r:id="rId6831"/>
    <p:sldLayoutId id="2147501919" r:id="rId6832"/>
    <p:sldLayoutId id="2147501896" r:id="rId6833"/>
    <p:sldLayoutId id="2147501920" r:id="rId6834"/>
    <p:sldLayoutId id="2147501907" r:id="rId6835"/>
    <p:sldLayoutId id="2147501943" r:id="rId6836"/>
    <p:sldLayoutId id="2147501927" r:id="rId6837"/>
    <p:sldLayoutId id="2147501944" r:id="rId6838"/>
    <p:sldLayoutId id="2147501869" r:id="rId6839"/>
    <p:sldLayoutId id="2147501872" r:id="rId6840"/>
    <p:sldLayoutId id="2147501875" r:id="rId6841"/>
    <p:sldLayoutId id="2147501882" r:id="rId6842"/>
    <p:sldLayoutId id="2147501879" r:id="rId6843"/>
    <p:sldLayoutId id="2147501921" r:id="rId6844"/>
    <p:sldLayoutId id="2147501922" r:id="rId6845"/>
    <p:sldLayoutId id="2147501946" r:id="rId6846"/>
    <p:sldLayoutId id="2147501947" r:id="rId6847"/>
    <p:sldLayoutId id="2147501739" r:id="rId6848"/>
    <p:sldLayoutId id="2147501737" r:id="rId6849"/>
    <p:sldLayoutId id="2147501736" r:id="rId6850"/>
    <p:sldLayoutId id="2147501740" r:id="rId6851"/>
    <p:sldLayoutId id="2147501949" r:id="rId6852"/>
    <p:sldLayoutId id="2147501953" r:id="rId6853"/>
    <p:sldLayoutId id="2147501951" r:id="rId6854"/>
    <p:sldLayoutId id="2147501958" r:id="rId6855"/>
    <p:sldLayoutId id="2147501956" r:id="rId6856"/>
    <p:sldLayoutId id="2147501959" r:id="rId6857"/>
    <p:sldLayoutId id="2147501960" r:id="rId6858"/>
    <p:sldLayoutId id="2147501962" r:id="rId6859"/>
    <p:sldLayoutId id="2147501964" r:id="rId6860"/>
    <p:sldLayoutId id="2147501734" r:id="rId6861"/>
    <p:sldLayoutId id="2147501966" r:id="rId6862"/>
    <p:sldLayoutId id="2147501741" r:id="rId6863"/>
    <p:sldLayoutId id="2147501742" r:id="rId6864"/>
    <p:sldLayoutId id="2147501754" r:id="rId6865"/>
    <p:sldLayoutId id="2147501755" r:id="rId6866"/>
    <p:sldLayoutId id="2147501764" r:id="rId6867"/>
    <p:sldLayoutId id="2147501759" r:id="rId6868"/>
    <p:sldLayoutId id="2147501758" r:id="rId6869"/>
    <p:sldLayoutId id="2147501765" r:id="rId6870"/>
    <p:sldLayoutId id="2147501757" r:id="rId6871"/>
    <p:sldLayoutId id="2147501766" r:id="rId6872"/>
    <p:sldLayoutId id="2147501761" r:id="rId6873"/>
    <p:sldLayoutId id="2147501771" r:id="rId6874"/>
    <p:sldLayoutId id="2147501769" r:id="rId6875"/>
    <p:sldLayoutId id="2147501772" r:id="rId6876"/>
    <p:sldLayoutId id="2147501743" r:id="rId6877"/>
    <p:sldLayoutId id="2147501745" r:id="rId6878"/>
    <p:sldLayoutId id="2147501747" r:id="rId6879"/>
    <p:sldLayoutId id="2147501751" r:id="rId6880"/>
    <p:sldLayoutId id="2147501749" r:id="rId6881"/>
    <p:sldLayoutId id="2147501871" r:id="rId6882"/>
    <p:sldLayoutId id="2147502038" r:id="rId6883"/>
    <p:sldLayoutId id="2147502046" r:id="rId6884"/>
    <p:sldLayoutId id="2147501913" r:id="rId6885"/>
    <p:sldLayoutId id="2147501911" r:id="rId6886"/>
    <p:sldLayoutId id="2147501967" r:id="rId6887"/>
    <p:sldLayoutId id="2147502039" r:id="rId6888"/>
    <p:sldLayoutId id="2147502041" r:id="rId6889"/>
    <p:sldLayoutId id="2147502040" r:id="rId6890"/>
    <p:sldLayoutId id="2147501890" r:id="rId6891"/>
    <p:sldLayoutId id="2147501887" r:id="rId6892"/>
    <p:sldLayoutId id="2147501892" r:id="rId6893"/>
    <p:sldLayoutId id="2147501894" r:id="rId6894"/>
    <p:sldLayoutId id="2147501897" r:id="rId6895"/>
    <p:sldLayoutId id="2147501901" r:id="rId6896"/>
    <p:sldLayoutId id="2147501908" r:id="rId6897"/>
    <p:sldLayoutId id="2147501904" r:id="rId6898"/>
    <p:sldLayoutId id="2147501968" r:id="rId6899"/>
    <p:sldLayoutId id="2147501969" r:id="rId6900"/>
    <p:sldLayoutId id="2147501981" r:id="rId6901"/>
    <p:sldLayoutId id="2147501982" r:id="rId6902"/>
    <p:sldLayoutId id="2147501806" r:id="rId6903"/>
    <p:sldLayoutId id="2147501986" r:id="rId6904"/>
    <p:sldLayoutId id="2147501985" r:id="rId6905"/>
    <p:sldLayoutId id="2147501808" r:id="rId6906"/>
    <p:sldLayoutId id="2147501984" r:id="rId6907"/>
    <p:sldLayoutId id="2147501810" r:id="rId6908"/>
    <p:sldLayoutId id="2147501988" r:id="rId6909"/>
    <p:sldLayoutId id="2147501994" r:id="rId6910"/>
    <p:sldLayoutId id="2147501992" r:id="rId6911"/>
    <p:sldLayoutId id="2147501995" r:id="rId6912"/>
    <p:sldLayoutId id="2147501970" r:id="rId6913"/>
    <p:sldLayoutId id="2147501972" r:id="rId6914"/>
    <p:sldLayoutId id="2147501974" r:id="rId6915"/>
    <p:sldLayoutId id="2147501978" r:id="rId6916"/>
    <p:sldLayoutId id="2147501976" r:id="rId6917"/>
    <p:sldLayoutId id="2147502014" r:id="rId6918"/>
    <p:sldLayoutId id="2147502017" r:id="rId6919"/>
    <p:sldLayoutId id="2147501999" r:id="rId6920"/>
    <p:sldLayoutId id="2147501997" r:id="rId6921"/>
    <p:sldLayoutId id="2147501996" r:id="rId6922"/>
    <p:sldLayoutId id="2147502000" r:id="rId6923"/>
    <p:sldLayoutId id="2147502023" r:id="rId6924"/>
    <p:sldLayoutId id="2147501843" r:id="rId6925"/>
    <p:sldLayoutId id="2147501841" r:id="rId6926"/>
    <p:sldLayoutId id="2147501851" r:id="rId6927"/>
    <p:sldLayoutId id="2147501849" r:id="rId6928"/>
    <p:sldLayoutId id="2147501852" r:id="rId6929"/>
    <p:sldLayoutId id="2147502034" r:id="rId6930"/>
    <p:sldLayoutId id="2147501854" r:id="rId6931"/>
    <p:sldLayoutId id="2147502035" r:id="rId6932"/>
    <p:sldLayoutId id="2147502036" r:id="rId6933"/>
    <p:sldLayoutId id="2147501859" r:id="rId6934"/>
    <p:sldLayoutId id="2147502001" r:id="rId6935"/>
    <p:sldLayoutId id="2147502002" r:id="rId6936"/>
    <p:sldLayoutId id="2147502016" r:id="rId6937"/>
    <p:sldLayoutId id="2147502018" r:id="rId6938"/>
    <p:sldLayoutId id="2147502028" r:id="rId6939"/>
    <p:sldLayoutId id="2147502024" r:id="rId6940"/>
    <p:sldLayoutId id="2147502021" r:id="rId6941"/>
    <p:sldLayoutId id="2147502029" r:id="rId6942"/>
    <p:sldLayoutId id="2147502020" r:id="rId6943"/>
    <p:sldLayoutId id="2147501844" r:id="rId6944"/>
    <p:sldLayoutId id="2147502026" r:id="rId6945"/>
    <p:sldLayoutId id="2147501866" r:id="rId6946"/>
    <p:sldLayoutId id="2147502032" r:id="rId6947"/>
    <p:sldLayoutId id="2147501868" r:id="rId6948"/>
    <p:sldLayoutId id="2147502003" r:id="rId6949"/>
    <p:sldLayoutId id="2147502005" r:id="rId6950"/>
    <p:sldLayoutId id="2147502007" r:id="rId6951"/>
    <p:sldLayoutId id="2147502012" r:id="rId6952"/>
    <p:sldLayoutId id="2147502010" r:id="rId6953"/>
    <p:sldLayoutId id="2147502030" r:id="rId6954"/>
    <p:sldLayoutId id="2147501845" r:id="rId6955"/>
    <p:sldLayoutId id="2147502268" r:id="rId6956"/>
    <p:sldLayoutId id="2147502269" r:id="rId6957"/>
    <p:sldLayoutId id="2147502295" r:id="rId6958"/>
    <p:sldLayoutId id="2147502293" r:id="rId6959"/>
    <p:sldLayoutId id="2147502292" r:id="rId6960"/>
    <p:sldLayoutId id="2147502296" r:id="rId6961"/>
    <p:sldLayoutId id="2147502271" r:id="rId6962"/>
    <p:sldLayoutId id="2147502275" r:id="rId6963"/>
    <p:sldLayoutId id="2147502273" r:id="rId6964"/>
    <p:sldLayoutId id="2147502280" r:id="rId6965"/>
    <p:sldLayoutId id="2147502278" r:id="rId6966"/>
    <p:sldLayoutId id="2147502281" r:id="rId6967"/>
    <p:sldLayoutId id="2147502282" r:id="rId6968"/>
    <p:sldLayoutId id="2147502284" r:id="rId6969"/>
    <p:sldLayoutId id="2147502286" r:id="rId6970"/>
    <p:sldLayoutId id="2147502290" r:id="rId6971"/>
    <p:sldLayoutId id="2147502288" r:id="rId6972"/>
    <p:sldLayoutId id="2147502297" r:id="rId6973"/>
    <p:sldLayoutId id="2147502298" r:id="rId6974"/>
    <p:sldLayoutId id="2147502310" r:id="rId6975"/>
    <p:sldLayoutId id="2147502311" r:id="rId6976"/>
    <p:sldLayoutId id="2147502320" r:id="rId6977"/>
    <p:sldLayoutId id="2147502315" r:id="rId6978"/>
    <p:sldLayoutId id="2147502314" r:id="rId6979"/>
    <p:sldLayoutId id="2147502321" r:id="rId6980"/>
    <p:sldLayoutId id="2147502313" r:id="rId6981"/>
    <p:sldLayoutId id="2147502322" r:id="rId6982"/>
    <p:sldLayoutId id="2147502317" r:id="rId6983"/>
    <p:sldLayoutId id="2147502327" r:id="rId6984"/>
    <p:sldLayoutId id="2147502325" r:id="rId6985"/>
    <p:sldLayoutId id="2147502328" r:id="rId6986"/>
    <p:sldLayoutId id="2147502299" r:id="rId6987"/>
    <p:sldLayoutId id="2147502301" r:id="rId6988"/>
    <p:sldLayoutId id="2147502303" r:id="rId6989"/>
    <p:sldLayoutId id="2147502307" r:id="rId6990"/>
    <p:sldLayoutId id="2147502305" r:id="rId6991"/>
    <p:sldLayoutId id="2147502347" r:id="rId6992"/>
    <p:sldLayoutId id="2147502350" r:id="rId6993"/>
    <p:sldLayoutId id="2147502332" r:id="rId6994"/>
    <p:sldLayoutId id="2147502330" r:id="rId6995"/>
    <p:sldLayoutId id="2147502329" r:id="rId6996"/>
    <p:sldLayoutId id="2147502333" r:id="rId6997"/>
    <p:sldLayoutId id="2147502356" r:id="rId6998"/>
    <p:sldLayoutId id="2147502366" r:id="rId6999"/>
    <p:sldLayoutId id="2147502362" r:id="rId7000"/>
    <p:sldLayoutId id="2147502379" r:id="rId7001"/>
    <p:sldLayoutId id="2147502376" r:id="rId7002"/>
    <p:sldLayoutId id="2147502380" r:id="rId7003"/>
    <p:sldLayoutId id="2147502381" r:id="rId7004"/>
    <p:sldLayoutId id="2147502383" r:id="rId7005"/>
    <p:sldLayoutId id="2147502385" r:id="rId7006"/>
    <p:sldLayoutId id="2147502389" r:id="rId7007"/>
    <p:sldLayoutId id="2147502387" r:id="rId7008"/>
    <p:sldLayoutId id="2147502334" r:id="rId7009"/>
    <p:sldLayoutId id="2147502335" r:id="rId7010"/>
    <p:sldLayoutId id="2147502349" r:id="rId7011"/>
    <p:sldLayoutId id="2147502351" r:id="rId7012"/>
    <p:sldLayoutId id="2147502365" r:id="rId7013"/>
    <p:sldLayoutId id="2147502357" r:id="rId7014"/>
    <p:sldLayoutId id="2147502354" r:id="rId7015"/>
    <p:sldLayoutId id="2147502367" r:id="rId7016"/>
    <p:sldLayoutId id="2147502353" r:id="rId7017"/>
    <p:sldLayoutId id="2147502368" r:id="rId7018"/>
    <p:sldLayoutId id="2147502359" r:id="rId7019"/>
    <p:sldLayoutId id="2147502391" r:id="rId7020"/>
    <p:sldLayoutId id="2147502375" r:id="rId7021"/>
    <p:sldLayoutId id="2147502392" r:id="rId7022"/>
    <p:sldLayoutId id="2147502336" r:id="rId7023"/>
    <p:sldLayoutId id="2147502338" r:id="rId7024"/>
    <p:sldLayoutId id="2147502340" r:id="rId7025"/>
    <p:sldLayoutId id="2147502345" r:id="rId7026"/>
    <p:sldLayoutId id="2147502343" r:id="rId7027"/>
    <p:sldLayoutId id="2147502369" r:id="rId7028"/>
    <p:sldLayoutId id="2147502370" r:id="rId7029"/>
    <p:sldLayoutId id="2147502394" r:id="rId7030"/>
    <p:sldLayoutId id="2147502395" r:id="rId7031"/>
    <p:sldLayoutId id="2147502421" r:id="rId7032"/>
    <p:sldLayoutId id="2147502419" r:id="rId7033"/>
    <p:sldLayoutId id="2147502418" r:id="rId7034"/>
    <p:sldLayoutId id="2147502422" r:id="rId7035"/>
    <p:sldLayoutId id="2147502397" r:id="rId7036"/>
    <p:sldLayoutId id="2147502401" r:id="rId7037"/>
    <p:sldLayoutId id="2147502399" r:id="rId7038"/>
    <p:sldLayoutId id="2147502406" r:id="rId7039"/>
    <p:sldLayoutId id="2147502404" r:id="rId7040"/>
    <p:sldLayoutId id="2147502407" r:id="rId7041"/>
    <p:sldLayoutId id="2147502408" r:id="rId7042"/>
    <p:sldLayoutId id="2147502410" r:id="rId7043"/>
    <p:sldLayoutId id="2147502412" r:id="rId7044"/>
    <p:sldLayoutId id="2147502416" r:id="rId7045"/>
    <p:sldLayoutId id="2147502414" r:id="rId7046"/>
    <p:sldLayoutId id="2147502423" r:id="rId7047"/>
    <p:sldLayoutId id="2147502424" r:id="rId7048"/>
    <p:sldLayoutId id="2147502436" r:id="rId7049"/>
    <p:sldLayoutId id="2147502437" r:id="rId7050"/>
    <p:sldLayoutId id="2147502446" r:id="rId7051"/>
    <p:sldLayoutId id="2147502441" r:id="rId7052"/>
    <p:sldLayoutId id="2147502440" r:id="rId7053"/>
    <p:sldLayoutId id="2147502447" r:id="rId7054"/>
    <p:sldLayoutId id="2147502439" r:id="rId7055"/>
    <p:sldLayoutId id="2147502448" r:id="rId7056"/>
    <p:sldLayoutId id="2147502443" r:id="rId7057"/>
    <p:sldLayoutId id="2147502453" r:id="rId7058"/>
    <p:sldLayoutId id="2147502451" r:id="rId7059"/>
    <p:sldLayoutId id="2147502454" r:id="rId7060"/>
    <p:sldLayoutId id="2147502425" r:id="rId7061"/>
    <p:sldLayoutId id="2147502427" r:id="rId7062"/>
    <p:sldLayoutId id="2147502429" r:id="rId7063"/>
    <p:sldLayoutId id="2147502433" r:id="rId7064"/>
    <p:sldLayoutId id="2147502431" r:id="rId7065"/>
    <p:sldLayoutId id="2147502162" r:id="rId7066"/>
    <p:sldLayoutId id="2147502163" r:id="rId7067"/>
    <p:sldLayoutId id="2147502218" r:id="rId7068"/>
    <p:sldLayoutId id="2147502213" r:id="rId7069"/>
    <p:sldLayoutId id="2147502210" r:id="rId7070"/>
    <p:sldLayoutId id="2147502052" r:id="rId7071"/>
    <p:sldLayoutId id="2147502165" r:id="rId7072"/>
    <p:sldLayoutId id="2147502169" r:id="rId7073"/>
    <p:sldLayoutId id="2147502167" r:id="rId7074"/>
    <p:sldLayoutId id="2147502174" r:id="rId7075"/>
    <p:sldLayoutId id="2147502172" r:id="rId7076"/>
    <p:sldLayoutId id="2147502175" r:id="rId7077"/>
    <p:sldLayoutId id="2147502180" r:id="rId7078"/>
    <p:sldLayoutId id="2147502184" r:id="rId7079"/>
    <p:sldLayoutId id="2147502187" r:id="rId7080"/>
    <p:sldLayoutId id="2147502196" r:id="rId7081"/>
    <p:sldLayoutId id="2147502191" r:id="rId7082"/>
    <p:sldLayoutId id="2147502054" r:id="rId7083"/>
    <p:sldLayoutId id="2147502055" r:id="rId7084"/>
    <p:sldLayoutId id="2147502073" r:id="rId7085"/>
    <p:sldLayoutId id="2147502074" r:id="rId7086"/>
    <p:sldLayoutId id="2147502086" r:id="rId7087"/>
    <p:sldLayoutId id="2147502078" r:id="rId7088"/>
    <p:sldLayoutId id="2147502077" r:id="rId7089"/>
    <p:sldLayoutId id="2147502087" r:id="rId7090"/>
    <p:sldLayoutId id="2147502076" r:id="rId7091"/>
    <p:sldLayoutId id="2147502089" r:id="rId7092"/>
    <p:sldLayoutId id="2147502081" r:id="rId7093"/>
    <p:sldLayoutId id="2147502095" r:id="rId7094"/>
    <p:sldLayoutId id="2147502093" r:id="rId7095"/>
    <p:sldLayoutId id="2147502096" r:id="rId7096"/>
    <p:sldLayoutId id="2147502057" r:id="rId7097"/>
    <p:sldLayoutId id="2147502060" r:id="rId7098"/>
    <p:sldLayoutId id="2147502062" r:id="rId7099"/>
    <p:sldLayoutId id="2147502068" r:id="rId7100"/>
    <p:sldLayoutId id="2147502065" r:id="rId7101"/>
    <p:sldLayoutId id="2147502115" r:id="rId7102"/>
    <p:sldLayoutId id="2147502118" r:id="rId7103"/>
    <p:sldLayoutId id="2147502100" r:id="rId7104"/>
    <p:sldLayoutId id="2147502098" r:id="rId7105"/>
    <p:sldLayoutId id="2147502097" r:id="rId7106"/>
    <p:sldLayoutId id="2147502101" r:id="rId7107"/>
    <p:sldLayoutId id="2147502124" r:id="rId7108"/>
    <p:sldLayoutId id="2147502134" r:id="rId7109"/>
    <p:sldLayoutId id="2147502130" r:id="rId7110"/>
    <p:sldLayoutId id="2147502147" r:id="rId7111"/>
    <p:sldLayoutId id="2147502144" r:id="rId7112"/>
    <p:sldLayoutId id="2147502148" r:id="rId7113"/>
    <p:sldLayoutId id="2147502149" r:id="rId7114"/>
    <p:sldLayoutId id="2147502151" r:id="rId7115"/>
    <p:sldLayoutId id="2147502153" r:id="rId7116"/>
    <p:sldLayoutId id="2147502157" r:id="rId7117"/>
    <p:sldLayoutId id="2147502155" r:id="rId7118"/>
    <p:sldLayoutId id="2147502102" r:id="rId7119"/>
    <p:sldLayoutId id="2147502103" r:id="rId7120"/>
    <p:sldLayoutId id="2147502117" r:id="rId7121"/>
    <p:sldLayoutId id="2147502119" r:id="rId7122"/>
    <p:sldLayoutId id="2147502133" r:id="rId7123"/>
    <p:sldLayoutId id="2147502125" r:id="rId7124"/>
    <p:sldLayoutId id="2147502122" r:id="rId7125"/>
    <p:sldLayoutId id="2147502135" r:id="rId7126"/>
    <p:sldLayoutId id="2147502121" r:id="rId7127"/>
    <p:sldLayoutId id="2147502136" r:id="rId7128"/>
    <p:sldLayoutId id="2147502127" r:id="rId7129"/>
    <p:sldLayoutId id="2147502159" r:id="rId7130"/>
    <p:sldLayoutId id="2147502143" r:id="rId7131"/>
    <p:sldLayoutId id="2147502160" r:id="rId7132"/>
    <p:sldLayoutId id="2147502104" r:id="rId7133"/>
    <p:sldLayoutId id="2147502106" r:id="rId7134"/>
    <p:sldLayoutId id="2147502108" r:id="rId7135"/>
    <p:sldLayoutId id="2147502113" r:id="rId7136"/>
    <p:sldLayoutId id="2147502111" r:id="rId7137"/>
    <p:sldLayoutId id="2147502137" r:id="rId7138"/>
    <p:sldLayoutId id="2147502138" r:id="rId7139"/>
    <p:sldLayoutId id="2147502214" r:id="rId7140"/>
    <p:sldLayoutId id="2147502051" r:id="rId7141"/>
    <p:sldLayoutId id="2147502233" r:id="rId7142"/>
    <p:sldLayoutId id="2147502231" r:id="rId7143"/>
    <p:sldLayoutId id="2147502230" r:id="rId7144"/>
    <p:sldLayoutId id="2147502234" r:id="rId7145"/>
    <p:sldLayoutId id="2147502058" r:id="rId7146"/>
    <p:sldLayoutId id="2147502072" r:id="rId7147"/>
    <p:sldLayoutId id="2147502066" r:id="rId7148"/>
    <p:sldLayoutId id="2147502091" r:id="rId7149"/>
    <p:sldLayoutId id="2147502085" r:id="rId7150"/>
    <p:sldLayoutId id="2147502219" r:id="rId7151"/>
    <p:sldLayoutId id="2147502220" r:id="rId7152"/>
    <p:sldLayoutId id="2147502222" r:id="rId7153"/>
    <p:sldLayoutId id="2147502224" r:id="rId7154"/>
    <p:sldLayoutId id="2147502228" r:id="rId7155"/>
    <p:sldLayoutId id="2147502226" r:id="rId7156"/>
    <p:sldLayoutId id="2147502235" r:id="rId7157"/>
    <p:sldLayoutId id="2147502236" r:id="rId7158"/>
    <p:sldLayoutId id="2147502248" r:id="rId7159"/>
    <p:sldLayoutId id="2147502249" r:id="rId7160"/>
    <p:sldLayoutId id="2147502258" r:id="rId7161"/>
    <p:sldLayoutId id="2147502253" r:id="rId7162"/>
    <p:sldLayoutId id="2147502252" r:id="rId7163"/>
    <p:sldLayoutId id="2147502259" r:id="rId7164"/>
    <p:sldLayoutId id="2147502251" r:id="rId7165"/>
    <p:sldLayoutId id="2147502260" r:id="rId7166"/>
    <p:sldLayoutId id="2147502255" r:id="rId7167"/>
    <p:sldLayoutId id="2147502265" r:id="rId7168"/>
    <p:sldLayoutId id="2147502263" r:id="rId7169"/>
    <p:sldLayoutId id="2147502266" r:id="rId7170"/>
    <p:sldLayoutId id="2147502237" r:id="rId7171"/>
    <p:sldLayoutId id="2147502239" r:id="rId7172"/>
    <p:sldLayoutId id="2147502241" r:id="rId7173"/>
    <p:sldLayoutId id="2147502245" r:id="rId7174"/>
    <p:sldLayoutId id="2147502243" r:id="rId7175"/>
    <p:sldLayoutId id="2147502181" r:id="rId7176"/>
    <p:sldLayoutId id="2147502183" r:id="rId7177"/>
    <p:sldLayoutId id="2147502050" r:id="rId7178"/>
    <p:sldLayoutId id="2147502048" r:id="rId7179"/>
    <p:sldLayoutId id="2147502047" r:id="rId7180"/>
    <p:sldLayoutId id="2147502176" r:id="rId7181"/>
    <p:sldLayoutId id="2147502188" r:id="rId7182"/>
    <p:sldLayoutId id="2147502195" r:id="rId7183"/>
    <p:sldLayoutId id="2147502192" r:id="rId7184"/>
    <p:sldLayoutId id="2147502202" r:id="rId7185"/>
    <p:sldLayoutId id="2147502200" r:id="rId7186"/>
    <p:sldLayoutId id="2147502203" r:id="rId7187"/>
    <p:sldLayoutId id="2147502204" r:id="rId7188"/>
    <p:sldLayoutId id="2147502206" r:id="rId7189"/>
    <p:sldLayoutId id="2147502209" r:id="rId7190"/>
    <p:sldLayoutId id="2147502217" r:id="rId7191"/>
    <p:sldLayoutId id="2147502212" r:id="rId7192"/>
    <p:sldLayoutId id="2147502177" r:id="rId7193"/>
    <p:sldLayoutId id="2147502178" r:id="rId7194"/>
    <p:sldLayoutId id="2147502648" r:id="rId7195"/>
    <p:sldLayoutId id="2147502650" r:id="rId7196"/>
    <p:sldLayoutId id="2147502699" r:id="rId7197"/>
    <p:sldLayoutId id="2147502697" r:id="rId7198"/>
    <p:sldLayoutId id="2147502696" r:id="rId7199"/>
    <p:sldLayoutId id="2147502700" r:id="rId7200"/>
    <p:sldLayoutId id="2147502655" r:id="rId7201"/>
    <p:sldLayoutId id="2147502662" r:id="rId7202"/>
    <p:sldLayoutId id="2147502659" r:id="rId7203"/>
    <p:sldLayoutId id="2147502671" r:id="rId7204"/>
    <p:sldLayoutId id="2147502668" r:id="rId7205"/>
    <p:sldLayoutId id="2147502673" r:id="rId7206"/>
    <p:sldLayoutId id="2147502677" r:id="rId7207"/>
    <p:sldLayoutId id="2147502680" r:id="rId7208"/>
    <p:sldLayoutId id="2147502683" r:id="rId7209"/>
    <p:sldLayoutId id="2147502689" r:id="rId7210"/>
    <p:sldLayoutId id="2147502686" r:id="rId7211"/>
    <p:sldLayoutId id="2147502701" r:id="rId7212"/>
    <p:sldLayoutId id="2147502702" r:id="rId7213"/>
    <p:sldLayoutId id="2147502716" r:id="rId7214"/>
    <p:sldLayoutId id="2147502717" r:id="rId7215"/>
    <p:sldLayoutId id="2147502726" r:id="rId7216"/>
    <p:sldLayoutId id="2147502721" r:id="rId7217"/>
    <p:sldLayoutId id="2147502720" r:id="rId7218"/>
    <p:sldLayoutId id="2147502727" r:id="rId7219"/>
    <p:sldLayoutId id="2147502719" r:id="rId7220"/>
    <p:sldLayoutId id="2147502728" r:id="rId7221"/>
    <p:sldLayoutId id="2147502723" r:id="rId7222"/>
    <p:sldLayoutId id="2147502733" r:id="rId7223"/>
    <p:sldLayoutId id="2147502731" r:id="rId7224"/>
    <p:sldLayoutId id="2147502734" r:id="rId7225"/>
    <p:sldLayoutId id="2147502703" r:id="rId7226"/>
    <p:sldLayoutId id="2147502705" r:id="rId7227"/>
    <p:sldLayoutId id="2147502708" r:id="rId7228"/>
    <p:sldLayoutId id="2147502713" r:id="rId7229"/>
    <p:sldLayoutId id="2147502711" r:id="rId7230"/>
    <p:sldLayoutId id="2147502770" r:id="rId7231"/>
    <p:sldLayoutId id="2147502775" r:id="rId7232"/>
    <p:sldLayoutId id="2147502747" r:id="rId7233"/>
    <p:sldLayoutId id="2147502744" r:id="rId7234"/>
    <p:sldLayoutId id="2147502743" r:id="rId7235"/>
    <p:sldLayoutId id="2147502749" r:id="rId7236"/>
    <p:sldLayoutId id="2147502784" r:id="rId7237"/>
    <p:sldLayoutId id="2147502794" r:id="rId7238"/>
    <p:sldLayoutId id="2147502790" r:id="rId7239"/>
    <p:sldLayoutId id="2147502807" r:id="rId7240"/>
    <p:sldLayoutId id="2147502804" r:id="rId7241"/>
    <p:sldLayoutId id="2147502808" r:id="rId7242"/>
    <p:sldLayoutId id="2147502809" r:id="rId7243"/>
    <p:sldLayoutId id="2147502811" r:id="rId7244"/>
    <p:sldLayoutId id="2147502813" r:id="rId7245"/>
    <p:sldLayoutId id="2147502817" r:id="rId7246"/>
    <p:sldLayoutId id="2147502815" r:id="rId7247"/>
    <p:sldLayoutId id="2147502750" r:id="rId7248"/>
    <p:sldLayoutId id="2147502752" r:id="rId7249"/>
    <p:sldLayoutId id="2147502773" r:id="rId7250"/>
    <p:sldLayoutId id="2147502776" r:id="rId7251"/>
    <p:sldLayoutId id="2147502793" r:id="rId7252"/>
    <p:sldLayoutId id="2147502785" r:id="rId7253"/>
    <p:sldLayoutId id="2147502781" r:id="rId7254"/>
    <p:sldLayoutId id="2147502795" r:id="rId7255"/>
    <p:sldLayoutId id="2147502779" r:id="rId7256"/>
    <p:sldLayoutId id="2147502796" r:id="rId7257"/>
    <p:sldLayoutId id="2147502787" r:id="rId7258"/>
    <p:sldLayoutId id="2147502819" r:id="rId7259"/>
    <p:sldLayoutId id="2147502803" r:id="rId7260"/>
    <p:sldLayoutId id="2147502820" r:id="rId7261"/>
    <p:sldLayoutId id="2147502754" r:id="rId7262"/>
    <p:sldLayoutId id="2147502757" r:id="rId7263"/>
    <p:sldLayoutId id="2147502760" r:id="rId7264"/>
    <p:sldLayoutId id="2147502767" r:id="rId7265"/>
    <p:sldLayoutId id="2147502764" r:id="rId7266"/>
    <p:sldLayoutId id="2147502797" r:id="rId7267"/>
    <p:sldLayoutId id="2147502798" r:id="rId7268"/>
    <p:sldLayoutId id="2147502854" r:id="rId7269"/>
    <p:sldLayoutId id="2147502856" r:id="rId7270"/>
    <p:sldLayoutId id="2147502898" r:id="rId7271"/>
    <p:sldLayoutId id="2147502895" r:id="rId7272"/>
    <p:sldLayoutId id="2147502894" r:id="rId7273"/>
    <p:sldLayoutId id="2147502900" r:id="rId7274"/>
    <p:sldLayoutId id="2147502859" r:id="rId7275"/>
    <p:sldLayoutId id="2147502865" r:id="rId7276"/>
    <p:sldLayoutId id="2147502862" r:id="rId7277"/>
    <p:sldLayoutId id="2147502874" r:id="rId7278"/>
    <p:sldLayoutId id="2147502870" r:id="rId7279"/>
    <p:sldLayoutId id="2147502875" r:id="rId7280"/>
    <p:sldLayoutId id="2147502877" r:id="rId7281"/>
    <p:sldLayoutId id="2147502880" r:id="rId7282"/>
    <p:sldLayoutId id="2147502884" r:id="rId7283"/>
    <p:sldLayoutId id="2147502891" r:id="rId7284"/>
    <p:sldLayoutId id="2147502888" r:id="rId7285"/>
    <p:sldLayoutId id="2147502902" r:id="rId7286"/>
    <p:sldLayoutId id="2147502904" r:id="rId7287"/>
    <p:sldLayoutId id="2147502923" r:id="rId7288"/>
    <p:sldLayoutId id="2147502925" r:id="rId7289"/>
    <p:sldLayoutId id="2147502939" r:id="rId7290"/>
    <p:sldLayoutId id="2147502932" r:id="rId7291"/>
    <p:sldLayoutId id="2147502930" r:id="rId7292"/>
    <p:sldLayoutId id="2147502940" r:id="rId7293"/>
    <p:sldLayoutId id="2147502928" r:id="rId7294"/>
    <p:sldLayoutId id="2147502941" r:id="rId7295"/>
    <p:sldLayoutId id="2147502935" r:id="rId7296"/>
    <p:sldLayoutId id="2147502948" r:id="rId7297"/>
    <p:sldLayoutId id="2147502945" r:id="rId7298"/>
    <p:sldLayoutId id="2147502949" r:id="rId7299"/>
    <p:sldLayoutId id="2147502906" r:id="rId7300"/>
    <p:sldLayoutId id="2147502910" r:id="rId7301"/>
    <p:sldLayoutId id="2147502913" r:id="rId7302"/>
    <p:sldLayoutId id="2147502919" r:id="rId7303"/>
    <p:sldLayoutId id="2147502916" r:id="rId7304"/>
    <p:sldLayoutId id="2147503078" r:id="rId7305"/>
    <p:sldLayoutId id="2147503079" r:id="rId7306"/>
    <p:sldLayoutId id="2147503134" r:id="rId7307"/>
    <p:sldLayoutId id="2147503129" r:id="rId7308"/>
    <p:sldLayoutId id="2147503126" r:id="rId7309"/>
    <p:sldLayoutId id="2147502968" r:id="rId7310"/>
    <p:sldLayoutId id="2147503081" r:id="rId7311"/>
    <p:sldLayoutId id="2147503085" r:id="rId7312"/>
    <p:sldLayoutId id="2147503083" r:id="rId7313"/>
    <p:sldLayoutId id="2147503090" r:id="rId7314"/>
    <p:sldLayoutId id="2147503088" r:id="rId7315"/>
    <p:sldLayoutId id="2147503091" r:id="rId7316"/>
    <p:sldLayoutId id="2147503096" r:id="rId7317"/>
    <p:sldLayoutId id="2147503100" r:id="rId7318"/>
    <p:sldLayoutId id="2147503103" r:id="rId7319"/>
    <p:sldLayoutId id="2147503112" r:id="rId7320"/>
    <p:sldLayoutId id="2147503107" r:id="rId7321"/>
    <p:sldLayoutId id="2147502970" r:id="rId7322"/>
    <p:sldLayoutId id="2147502971" r:id="rId7323"/>
    <p:sldLayoutId id="2147502989" r:id="rId7324"/>
    <p:sldLayoutId id="2147502990" r:id="rId7325"/>
    <p:sldLayoutId id="2147503002" r:id="rId7326"/>
    <p:sldLayoutId id="2147502994" r:id="rId7327"/>
    <p:sldLayoutId id="2147502993" r:id="rId7328"/>
    <p:sldLayoutId id="2147503003" r:id="rId7329"/>
    <p:sldLayoutId id="2147502992" r:id="rId7330"/>
    <p:sldLayoutId id="2147503005" r:id="rId7331"/>
    <p:sldLayoutId id="2147502997" r:id="rId7332"/>
    <p:sldLayoutId id="2147503011" r:id="rId7333"/>
    <p:sldLayoutId id="2147503009" r:id="rId7334"/>
    <p:sldLayoutId id="2147503012" r:id="rId7335"/>
    <p:sldLayoutId id="2147502973" r:id="rId7336"/>
    <p:sldLayoutId id="2147502976" r:id="rId7337"/>
    <p:sldLayoutId id="2147502978" r:id="rId7338"/>
    <p:sldLayoutId id="2147502984" r:id="rId7339"/>
    <p:sldLayoutId id="2147502981" r:id="rId7340"/>
    <p:sldLayoutId id="2147503031" r:id="rId7341"/>
    <p:sldLayoutId id="2147503034" r:id="rId7342"/>
    <p:sldLayoutId id="2147503016" r:id="rId7343"/>
    <p:sldLayoutId id="2147503014" r:id="rId7344"/>
    <p:sldLayoutId id="2147503013" r:id="rId7345"/>
    <p:sldLayoutId id="2147503017" r:id="rId7346"/>
    <p:sldLayoutId id="2147503040" r:id="rId7347"/>
    <p:sldLayoutId id="2147503050" r:id="rId7348"/>
    <p:sldLayoutId id="2147503046" r:id="rId7349"/>
    <p:sldLayoutId id="2147503063" r:id="rId7350"/>
    <p:sldLayoutId id="2147503060" r:id="rId7351"/>
    <p:sldLayoutId id="2147503064" r:id="rId7352"/>
    <p:sldLayoutId id="2147503065" r:id="rId7353"/>
    <p:sldLayoutId id="2147503067" r:id="rId7354"/>
    <p:sldLayoutId id="2147503069" r:id="rId7355"/>
    <p:sldLayoutId id="2147503073" r:id="rId7356"/>
    <p:sldLayoutId id="2147503071" r:id="rId7357"/>
    <p:sldLayoutId id="2147503018" r:id="rId7358"/>
    <p:sldLayoutId id="2147503019" r:id="rId7359"/>
    <p:sldLayoutId id="2147503033" r:id="rId7360"/>
    <p:sldLayoutId id="2147503035" r:id="rId7361"/>
    <p:sldLayoutId id="2147503049" r:id="rId7362"/>
    <p:sldLayoutId id="2147503041" r:id="rId7363"/>
    <p:sldLayoutId id="2147503038" r:id="rId7364"/>
    <p:sldLayoutId id="2147503051" r:id="rId7365"/>
    <p:sldLayoutId id="2147503037" r:id="rId7366"/>
    <p:sldLayoutId id="2147503052" r:id="rId7367"/>
    <p:sldLayoutId id="2147503043" r:id="rId7368"/>
    <p:sldLayoutId id="2147503075" r:id="rId7369"/>
    <p:sldLayoutId id="2147503059" r:id="rId7370"/>
    <p:sldLayoutId id="2147503076" r:id="rId7371"/>
    <p:sldLayoutId id="2147503020" r:id="rId7372"/>
    <p:sldLayoutId id="2147503022" r:id="rId7373"/>
    <p:sldLayoutId id="2147503024" r:id="rId7374"/>
    <p:sldLayoutId id="2147503029" r:id="rId7375"/>
    <p:sldLayoutId id="2147503027" r:id="rId7376"/>
    <p:sldLayoutId id="2147503053" r:id="rId7377"/>
    <p:sldLayoutId id="2147503054" r:id="rId7378"/>
    <p:sldLayoutId id="2147503130" r:id="rId7379"/>
    <p:sldLayoutId id="2147502967" r:id="rId7380"/>
    <p:sldLayoutId id="2147503149" r:id="rId7381"/>
    <p:sldLayoutId id="2147503147" r:id="rId7382"/>
    <p:sldLayoutId id="2147503146" r:id="rId7383"/>
    <p:sldLayoutId id="2147503150" r:id="rId7384"/>
    <p:sldLayoutId id="2147502974" r:id="rId7385"/>
    <p:sldLayoutId id="2147502988" r:id="rId7386"/>
    <p:sldLayoutId id="2147502982" r:id="rId7387"/>
    <p:sldLayoutId id="2147503007" r:id="rId7388"/>
    <p:sldLayoutId id="2147503001" r:id="rId7389"/>
    <p:sldLayoutId id="2147503135" r:id="rId7390"/>
    <p:sldLayoutId id="2147503136" r:id="rId7391"/>
    <p:sldLayoutId id="2147503138" r:id="rId7392"/>
    <p:sldLayoutId id="2147503140" r:id="rId7393"/>
    <p:sldLayoutId id="2147503144" r:id="rId7394"/>
    <p:sldLayoutId id="2147503142" r:id="rId7395"/>
    <p:sldLayoutId id="2147503151" r:id="rId7396"/>
    <p:sldLayoutId id="2147503152" r:id="rId7397"/>
    <p:sldLayoutId id="2147503164" r:id="rId7398"/>
    <p:sldLayoutId id="2147503165" r:id="rId7399"/>
    <p:sldLayoutId id="2147503174" r:id="rId7400"/>
    <p:sldLayoutId id="2147503169" r:id="rId7401"/>
    <p:sldLayoutId id="2147503168" r:id="rId7402"/>
    <p:sldLayoutId id="2147503175" r:id="rId7403"/>
    <p:sldLayoutId id="2147503167" r:id="rId7404"/>
    <p:sldLayoutId id="2147503176" r:id="rId7405"/>
    <p:sldLayoutId id="2147503171" r:id="rId7406"/>
    <p:sldLayoutId id="2147502459" r:id="rId7407"/>
    <p:sldLayoutId id="2147502457" r:id="rId7408"/>
    <p:sldLayoutId id="2147502460" r:id="rId7409"/>
    <p:sldLayoutId id="2147503153" r:id="rId7410"/>
    <p:sldLayoutId id="2147503155" r:id="rId7411"/>
    <p:sldLayoutId id="2147503157" r:id="rId7412"/>
    <p:sldLayoutId id="2147503161" r:id="rId7413"/>
    <p:sldLayoutId id="2147503159" r:id="rId7414"/>
    <p:sldLayoutId id="2147503097" r:id="rId7415"/>
    <p:sldLayoutId id="2147503099" r:id="rId7416"/>
    <p:sldLayoutId id="2147502966" r:id="rId7417"/>
    <p:sldLayoutId id="2147502964" r:id="rId7418"/>
    <p:sldLayoutId id="2147502963" r:id="rId7419"/>
    <p:sldLayoutId id="2147503092" r:id="rId7420"/>
    <p:sldLayoutId id="2147503104" r:id="rId7421"/>
    <p:sldLayoutId id="2147503111" r:id="rId7422"/>
    <p:sldLayoutId id="2147503108" r:id="rId7423"/>
    <p:sldLayoutId id="2147503118" r:id="rId7424"/>
    <p:sldLayoutId id="2147503116" r:id="rId7425"/>
    <p:sldLayoutId id="2147503119" r:id="rId7426"/>
    <p:sldLayoutId id="2147503120" r:id="rId7427"/>
    <p:sldLayoutId id="2147503122" r:id="rId7428"/>
    <p:sldLayoutId id="2147503125" r:id="rId7429"/>
    <p:sldLayoutId id="2147503133" r:id="rId7430"/>
    <p:sldLayoutId id="2147503128" r:id="rId7431"/>
    <p:sldLayoutId id="2147503093" r:id="rId7432"/>
    <p:sldLayoutId id="2147503094" r:id="rId7433"/>
    <p:sldLayoutId id="2147502502" r:id="rId7434"/>
    <p:sldLayoutId id="2147502503" r:id="rId7435"/>
    <p:sldLayoutId id="2147502529" r:id="rId7436"/>
    <p:sldLayoutId id="2147502527" r:id="rId7437"/>
    <p:sldLayoutId id="2147502526" r:id="rId7438"/>
    <p:sldLayoutId id="2147502530" r:id="rId7439"/>
    <p:sldLayoutId id="2147502505" r:id="rId7440"/>
    <p:sldLayoutId id="2147502509" r:id="rId7441"/>
    <p:sldLayoutId id="2147502507" r:id="rId7442"/>
    <p:sldLayoutId id="2147502514" r:id="rId7443"/>
    <p:sldLayoutId id="2147502512" r:id="rId7444"/>
    <p:sldLayoutId id="2147502515" r:id="rId7445"/>
    <p:sldLayoutId id="2147502516" r:id="rId7446"/>
    <p:sldLayoutId id="2147502518" r:id="rId7447"/>
    <p:sldLayoutId id="2147502520" r:id="rId7448"/>
    <p:sldLayoutId id="2147502524" r:id="rId7449"/>
    <p:sldLayoutId id="2147502522" r:id="rId7450"/>
    <p:sldLayoutId id="2147502531" r:id="rId7451"/>
    <p:sldLayoutId id="2147502532" r:id="rId7452"/>
    <p:sldLayoutId id="2147502548" r:id="rId7453"/>
    <p:sldLayoutId id="2147502549" r:id="rId7454"/>
    <p:sldLayoutId id="2147502558" r:id="rId7455"/>
    <p:sldLayoutId id="2147502553" r:id="rId7456"/>
    <p:sldLayoutId id="2147502552" r:id="rId7457"/>
    <p:sldLayoutId id="2147502559" r:id="rId7458"/>
    <p:sldLayoutId id="2147502551" r:id="rId7459"/>
    <p:sldLayoutId id="2147502560" r:id="rId7460"/>
    <p:sldLayoutId id="2147502555" r:id="rId7461"/>
    <p:sldLayoutId id="2147502565" r:id="rId7462"/>
    <p:sldLayoutId id="2147502563" r:id="rId7463"/>
    <p:sldLayoutId id="2147502566" r:id="rId7464"/>
    <p:sldLayoutId id="2147502535" r:id="rId7465"/>
    <p:sldLayoutId id="2147502539" r:id="rId7466"/>
    <p:sldLayoutId id="2147502541" r:id="rId7467"/>
    <p:sldLayoutId id="2147502545" r:id="rId7468"/>
    <p:sldLayoutId id="2147502543" r:id="rId7469"/>
    <p:sldLayoutId id="2147502614" r:id="rId7470"/>
    <p:sldLayoutId id="2147502619" r:id="rId7471"/>
    <p:sldLayoutId id="2147502590" r:id="rId7472"/>
    <p:sldLayoutId id="2147502586" r:id="rId7473"/>
    <p:sldLayoutId id="2147502584" r:id="rId7474"/>
    <p:sldLayoutId id="2147502591" r:id="rId7475"/>
    <p:sldLayoutId id="2147502630" r:id="rId7476"/>
    <p:sldLayoutId id="2147502647" r:id="rId7477"/>
    <p:sldLayoutId id="2147502640" r:id="rId7478"/>
    <p:sldLayoutId id="2147502674" r:id="rId7479"/>
    <p:sldLayoutId id="2147502666" r:id="rId7480"/>
    <p:sldLayoutId id="2147502675" r:id="rId7481"/>
    <p:sldLayoutId id="2147502676" r:id="rId7482"/>
    <p:sldLayoutId id="2147502681" r:id="rId7483"/>
    <p:sldLayoutId id="2147502687" r:id="rId7484"/>
    <p:sldLayoutId id="2147502694" r:id="rId7485"/>
    <p:sldLayoutId id="2147502692" r:id="rId7486"/>
    <p:sldLayoutId id="2147502593" r:id="rId7487"/>
    <p:sldLayoutId id="2147502595" r:id="rId7488"/>
    <p:sldLayoutId id="2147502617" r:id="rId7489"/>
    <p:sldLayoutId id="2147502621" r:id="rId7490"/>
    <p:sldLayoutId id="2147502646" r:id="rId7491"/>
    <p:sldLayoutId id="2147502631" r:id="rId7492"/>
    <p:sldLayoutId id="2147502626" r:id="rId7493"/>
    <p:sldLayoutId id="2147502649" r:id="rId7494"/>
    <p:sldLayoutId id="2147502624" r:id="rId7495"/>
    <p:sldLayoutId id="2147502651" r:id="rId7496"/>
    <p:sldLayoutId id="2147502635" r:id="rId7497"/>
    <p:sldLayoutId id="2147502707" r:id="rId7498"/>
    <p:sldLayoutId id="2147502664" r:id="rId7499"/>
    <p:sldLayoutId id="2147502710" r:id="rId7500"/>
    <p:sldLayoutId id="2147502597" r:id="rId7501"/>
    <p:sldLayoutId id="2147502600" r:id="rId7502"/>
    <p:sldLayoutId id="2147502603" r:id="rId7503"/>
    <p:sldLayoutId id="2147502610" r:id="rId7504"/>
    <p:sldLayoutId id="2147502607" r:id="rId7505"/>
    <p:sldLayoutId id="2147502652" r:id="rId7506"/>
    <p:sldLayoutId id="2147502654" r:id="rId7507"/>
    <p:sldLayoutId id="2147502736" r:id="rId7508"/>
    <p:sldLayoutId id="2147502737" r:id="rId7509"/>
    <p:sldLayoutId id="2147502467" r:id="rId7510"/>
    <p:sldLayoutId id="2147502465" r:id="rId7511"/>
    <p:sldLayoutId id="2147502464" r:id="rId7512"/>
    <p:sldLayoutId id="2147502468" r:id="rId7513"/>
    <p:sldLayoutId id="2147502739" r:id="rId7514"/>
    <p:sldLayoutId id="2147502745" r:id="rId7515"/>
    <p:sldLayoutId id="2147502741" r:id="rId7516"/>
    <p:sldLayoutId id="2147502759" r:id="rId7517"/>
    <p:sldLayoutId id="2147502753" r:id="rId7518"/>
    <p:sldLayoutId id="2147502762" r:id="rId7519"/>
    <p:sldLayoutId id="2147502765" r:id="rId7520"/>
    <p:sldLayoutId id="2147502771" r:id="rId7521"/>
    <p:sldLayoutId id="2147502777" r:id="rId7522"/>
    <p:sldLayoutId id="2147502462" r:id="rId7523"/>
    <p:sldLayoutId id="2147502783" r:id="rId7524"/>
    <p:sldLayoutId id="2147502469" r:id="rId7525"/>
    <p:sldLayoutId id="2147502470" r:id="rId7526"/>
    <p:sldLayoutId id="2147502482" r:id="rId7527"/>
    <p:sldLayoutId id="2147502483" r:id="rId7528"/>
    <p:sldLayoutId id="2147502492" r:id="rId7529"/>
    <p:sldLayoutId id="2147502487" r:id="rId7530"/>
    <p:sldLayoutId id="2147502486" r:id="rId7531"/>
    <p:sldLayoutId id="2147502493" r:id="rId7532"/>
    <p:sldLayoutId id="2147502485" r:id="rId7533"/>
    <p:sldLayoutId id="2147502494" r:id="rId7534"/>
    <p:sldLayoutId id="2147502489" r:id="rId7535"/>
    <p:sldLayoutId id="2147502499" r:id="rId7536"/>
    <p:sldLayoutId id="2147502497" r:id="rId7537"/>
    <p:sldLayoutId id="2147502500" r:id="rId7538"/>
    <p:sldLayoutId id="2147502471" r:id="rId7539"/>
    <p:sldLayoutId id="2147502473" r:id="rId7540"/>
    <p:sldLayoutId id="2147502475" r:id="rId7541"/>
    <p:sldLayoutId id="2147502479" r:id="rId7542"/>
    <p:sldLayoutId id="2147502477" r:id="rId7543"/>
    <p:sldLayoutId id="2147502599" r:id="rId7544"/>
    <p:sldLayoutId id="2147502954" r:id="rId7545"/>
    <p:sldLayoutId id="2147502962" r:id="rId7546"/>
    <p:sldLayoutId id="2147502641" r:id="rId7547"/>
    <p:sldLayoutId id="2147502639" r:id="rId7548"/>
    <p:sldLayoutId id="2147502821" r:id="rId7549"/>
    <p:sldLayoutId id="2147502955" r:id="rId7550"/>
    <p:sldLayoutId id="2147502957" r:id="rId7551"/>
    <p:sldLayoutId id="2147502956" r:id="rId7552"/>
    <p:sldLayoutId id="2147502618" r:id="rId7553"/>
    <p:sldLayoutId id="2147502615" r:id="rId7554"/>
    <p:sldLayoutId id="2147502620" r:id="rId7555"/>
    <p:sldLayoutId id="2147502622" r:id="rId7556"/>
    <p:sldLayoutId id="2147502625" r:id="rId7557"/>
    <p:sldLayoutId id="2147502629" r:id="rId7558"/>
    <p:sldLayoutId id="2147502636" r:id="rId7559"/>
    <p:sldLayoutId id="2147502632" r:id="rId7560"/>
    <p:sldLayoutId id="2147502822" r:id="rId7561"/>
    <p:sldLayoutId id="2147502823" r:id="rId7562"/>
    <p:sldLayoutId id="2147502835" r:id="rId7563"/>
    <p:sldLayoutId id="2147502836" r:id="rId7564"/>
    <p:sldLayoutId id="2147502534" r:id="rId7565"/>
    <p:sldLayoutId id="2147502840" r:id="rId7566"/>
    <p:sldLayoutId id="2147502839" r:id="rId7567"/>
    <p:sldLayoutId id="2147502536" r:id="rId7568"/>
    <p:sldLayoutId id="2147502838" r:id="rId7569"/>
    <p:sldLayoutId id="2147502538" r:id="rId7570"/>
    <p:sldLayoutId id="2147502842" r:id="rId7571"/>
    <p:sldLayoutId id="2147502848" r:id="rId7572"/>
    <p:sldLayoutId id="2147502846" r:id="rId7573"/>
    <p:sldLayoutId id="2147502849" r:id="rId7574"/>
    <p:sldLayoutId id="2147502824" r:id="rId7575"/>
    <p:sldLayoutId id="2147502826" r:id="rId7576"/>
    <p:sldLayoutId id="2147502828" r:id="rId7577"/>
    <p:sldLayoutId id="2147502832" r:id="rId7578"/>
    <p:sldLayoutId id="2147502830" r:id="rId7579"/>
    <p:sldLayoutId id="2147502893" r:id="rId7580"/>
    <p:sldLayoutId id="2147502901" r:id="rId7581"/>
    <p:sldLayoutId id="2147502855" r:id="rId7582"/>
    <p:sldLayoutId id="2147502851" r:id="rId7583"/>
    <p:sldLayoutId id="2147502850" r:id="rId7584"/>
    <p:sldLayoutId id="2147502858" r:id="rId7585"/>
    <p:sldLayoutId id="2147502914" r:id="rId7586"/>
    <p:sldLayoutId id="2147502571" r:id="rId7587"/>
    <p:sldLayoutId id="2147502569" r:id="rId7588"/>
    <p:sldLayoutId id="2147502579" r:id="rId7589"/>
    <p:sldLayoutId id="2147502577" r:id="rId7590"/>
    <p:sldLayoutId id="2147502580" r:id="rId7591"/>
    <p:sldLayoutId id="2147502950" r:id="rId7592"/>
    <p:sldLayoutId id="2147502582" r:id="rId7593"/>
    <p:sldLayoutId id="2147502951" r:id="rId7594"/>
    <p:sldLayoutId id="2147502952" r:id="rId7595"/>
    <p:sldLayoutId id="2147502587" r:id="rId7596"/>
    <p:sldLayoutId id="2147502860" r:id="rId7597"/>
    <p:sldLayoutId id="2147502863" r:id="rId7598"/>
    <p:sldLayoutId id="2147502899" r:id="rId7599"/>
    <p:sldLayoutId id="2147502903" r:id="rId7600"/>
    <p:sldLayoutId id="2147502929" r:id="rId7601"/>
    <p:sldLayoutId id="2147502917" r:id="rId7602"/>
    <p:sldLayoutId id="2147502909" r:id="rId7603"/>
    <p:sldLayoutId id="2147502931" r:id="rId7604"/>
    <p:sldLayoutId id="2147502907" r:id="rId7605"/>
    <p:sldLayoutId id="2147502572" r:id="rId7606"/>
    <p:sldLayoutId id="2147502924" r:id="rId7607"/>
    <p:sldLayoutId id="2147502594" r:id="rId7608"/>
    <p:sldLayoutId id="2147502942" r:id="rId7609"/>
    <p:sldLayoutId id="2147502596" r:id="rId7610"/>
    <p:sldLayoutId id="2147502866" r:id="rId7611"/>
    <p:sldLayoutId id="2147502871" r:id="rId7612"/>
    <p:sldLayoutId id="2147502876" r:id="rId7613"/>
    <p:sldLayoutId id="2147502887" r:id="rId7614"/>
    <p:sldLayoutId id="2147502883" r:id="rId7615"/>
    <p:sldLayoutId id="2147502933" r:id="rId7616"/>
    <p:sldLayoutId id="2147502573" r:id="rId7617"/>
    <p:sldLayoutId id="2147503180" r:id="rId7618"/>
    <p:sldLayoutId id="2147503181" r:id="rId7619"/>
    <p:sldLayoutId id="2147501208" r:id="rId7620"/>
    <p:sldLayoutId id="2147500723" r:id="rId7621"/>
    <p:sldLayoutId id="2147501211" r:id="rId7622"/>
    <p:sldLayoutId id="2147501242" r:id="rId7623"/>
    <p:sldLayoutId id="2147501240" r:id="rId7624"/>
    <p:sldLayoutId id="2147501239" r:id="rId7625"/>
    <p:sldLayoutId id="2147501243" r:id="rId7626"/>
    <p:sldLayoutId id="2147501218" r:id="rId7627"/>
    <p:sldLayoutId id="2147501222" r:id="rId7628"/>
    <p:sldLayoutId id="2147501220" r:id="rId7629"/>
    <p:sldLayoutId id="2147501227" r:id="rId7630"/>
    <p:sldLayoutId id="2147501225" r:id="rId7631"/>
    <p:sldLayoutId id="2147501228" r:id="rId7632"/>
    <p:sldLayoutId id="2147501229" r:id="rId7633"/>
    <p:sldLayoutId id="2147501231" r:id="rId7634"/>
    <p:sldLayoutId id="2147501233" r:id="rId7635"/>
    <p:sldLayoutId id="2147501237" r:id="rId7636"/>
    <p:sldLayoutId id="2147501235" r:id="rId7637"/>
    <p:sldLayoutId id="2147501244" r:id="rId7638"/>
    <p:sldLayoutId id="2147501245" r:id="rId7639"/>
    <p:sldLayoutId id="2147501257" r:id="rId7640"/>
    <p:sldLayoutId id="2147501258" r:id="rId7641"/>
    <p:sldLayoutId id="2147501267" r:id="rId7642"/>
    <p:sldLayoutId id="2147501262" r:id="rId7643"/>
    <p:sldLayoutId id="2147501261" r:id="rId7644"/>
    <p:sldLayoutId id="2147501268" r:id="rId7645"/>
    <p:sldLayoutId id="2147501260" r:id="rId7646"/>
    <p:sldLayoutId id="2147501269" r:id="rId7647"/>
    <p:sldLayoutId id="2147501264" r:id="rId7648"/>
    <p:sldLayoutId id="2147501274" r:id="rId7649"/>
    <p:sldLayoutId id="2147501272" r:id="rId7650"/>
    <p:sldLayoutId id="2147501275" r:id="rId7651"/>
    <p:sldLayoutId id="2147501246" r:id="rId7652"/>
    <p:sldLayoutId id="2147501248" r:id="rId7653"/>
    <p:sldLayoutId id="2147501250" r:id="rId7654"/>
    <p:sldLayoutId id="2147501254" r:id="rId7655"/>
    <p:sldLayoutId id="2147501252" r:id="rId7656"/>
    <p:sldLayoutId id="2147501294" r:id="rId7657"/>
    <p:sldLayoutId id="2147501297" r:id="rId7658"/>
    <p:sldLayoutId id="2147501279" r:id="rId7659"/>
    <p:sldLayoutId id="2147501277" r:id="rId7660"/>
    <p:sldLayoutId id="2147501276" r:id="rId7661"/>
    <p:sldLayoutId id="2147501280" r:id="rId7662"/>
    <p:sldLayoutId id="2147501303" r:id="rId7663"/>
    <p:sldLayoutId id="2147501313" r:id="rId7664"/>
    <p:sldLayoutId id="2147501309" r:id="rId7665"/>
    <p:sldLayoutId id="2147499470" r:id="rId7666"/>
    <p:sldLayoutId id="2147499467" r:id="rId7667"/>
    <p:sldLayoutId id="2147499471" r:id="rId7668"/>
    <p:sldLayoutId id="2147499472" r:id="rId7669"/>
    <p:sldLayoutId id="2147499474" r:id="rId7670"/>
    <p:sldLayoutId id="2147499476" r:id="rId7671"/>
    <p:sldLayoutId id="2147499480" r:id="rId7672"/>
    <p:sldLayoutId id="2147499478" r:id="rId7673"/>
    <p:sldLayoutId id="2147501281" r:id="rId7674"/>
    <p:sldLayoutId id="2147501282" r:id="rId7675"/>
    <p:sldLayoutId id="2147501296" r:id="rId7676"/>
    <p:sldLayoutId id="2147501298" r:id="rId7677"/>
    <p:sldLayoutId id="2147501312" r:id="rId7678"/>
    <p:sldLayoutId id="2147501304" r:id="rId7679"/>
    <p:sldLayoutId id="2147501301" r:id="rId7680"/>
    <p:sldLayoutId id="2147501314" r:id="rId7681"/>
    <p:sldLayoutId id="2147501300" r:id="rId7682"/>
    <p:sldLayoutId id="2147501315" r:id="rId7683"/>
    <p:sldLayoutId id="2147501306" r:id="rId7684"/>
    <p:sldLayoutId id="2147499482" r:id="rId7685"/>
    <p:sldLayoutId id="2147501322" r:id="rId7686"/>
    <p:sldLayoutId id="2147499483" r:id="rId7687"/>
    <p:sldLayoutId id="2147501283" r:id="rId7688"/>
    <p:sldLayoutId id="2147501285" r:id="rId7689"/>
    <p:sldLayoutId id="2147501287" r:id="rId7690"/>
    <p:sldLayoutId id="2147501292" r:id="rId7691"/>
    <p:sldLayoutId id="2147501290" r:id="rId7692"/>
    <p:sldLayoutId id="2147501316" r:id="rId7693"/>
    <p:sldLayoutId id="2147501317" r:id="rId7694"/>
    <p:sldLayoutId id="2147499485" r:id="rId7695"/>
    <p:sldLayoutId id="2147499486" r:id="rId7696"/>
    <p:sldLayoutId id="2147499512" r:id="rId7697"/>
    <p:sldLayoutId id="2147499510" r:id="rId7698"/>
    <p:sldLayoutId id="2147499509" r:id="rId7699"/>
    <p:sldLayoutId id="2147499513" r:id="rId7700"/>
    <p:sldLayoutId id="2147499488" r:id="rId7701"/>
    <p:sldLayoutId id="2147499492" r:id="rId7702"/>
    <p:sldLayoutId id="2147499490" r:id="rId7703"/>
    <p:sldLayoutId id="2147499497" r:id="rId7704"/>
    <p:sldLayoutId id="2147499495" r:id="rId7705"/>
    <p:sldLayoutId id="2147499498" r:id="rId7706"/>
    <p:sldLayoutId id="2147499499" r:id="rId7707"/>
    <p:sldLayoutId id="2147499501" r:id="rId7708"/>
    <p:sldLayoutId id="2147499503" r:id="rId7709"/>
    <p:sldLayoutId id="2147499507" r:id="rId7710"/>
    <p:sldLayoutId id="2147499505" r:id="rId7711"/>
    <p:sldLayoutId id="2147499514" r:id="rId7712"/>
    <p:sldLayoutId id="2147499515" r:id="rId7713"/>
    <p:sldLayoutId id="2147499527" r:id="rId7714"/>
    <p:sldLayoutId id="2147499528" r:id="rId7715"/>
    <p:sldLayoutId id="2147499537" r:id="rId7716"/>
    <p:sldLayoutId id="2147499532" r:id="rId7717"/>
    <p:sldLayoutId id="2147499531" r:id="rId7718"/>
    <p:sldLayoutId id="2147499538" r:id="rId7719"/>
    <p:sldLayoutId id="2147499530" r:id="rId7720"/>
    <p:sldLayoutId id="2147499539" r:id="rId7721"/>
    <p:sldLayoutId id="2147499534" r:id="rId7722"/>
    <p:sldLayoutId id="2147499544" r:id="rId7723"/>
    <p:sldLayoutId id="2147499542" r:id="rId7724"/>
    <p:sldLayoutId id="2147499545" r:id="rId7725"/>
    <p:sldLayoutId id="2147499516" r:id="rId7726"/>
    <p:sldLayoutId id="2147499518" r:id="rId7727"/>
    <p:sldLayoutId id="2147499520" r:id="rId7728"/>
    <p:sldLayoutId id="2147499524" r:id="rId7729"/>
    <p:sldLayoutId id="2147499522" r:id="rId7730"/>
    <p:sldLayoutId id="2147499816" r:id="rId7731"/>
    <p:sldLayoutId id="2147499818" r:id="rId7732"/>
    <p:sldLayoutId id="2147499928" r:id="rId7733"/>
    <p:sldLayoutId id="2147499918" r:id="rId7734"/>
    <p:sldLayoutId id="2147499912" r:id="rId7735"/>
    <p:sldLayoutId id="2147499576" r:id="rId7736"/>
    <p:sldLayoutId id="2147499822" r:id="rId7737"/>
    <p:sldLayoutId id="2147499830" r:id="rId7738"/>
    <p:sldLayoutId id="2147499826" r:id="rId7739"/>
    <p:sldLayoutId id="2147499840" r:id="rId7740"/>
    <p:sldLayoutId id="2147499836" r:id="rId7741"/>
    <p:sldLayoutId id="2147499842" r:id="rId7742"/>
    <p:sldLayoutId id="2147499852" r:id="rId7743"/>
    <p:sldLayoutId id="2147499860" r:id="rId7744"/>
    <p:sldLayoutId id="2147499866" r:id="rId7745"/>
    <p:sldLayoutId id="2147499884" r:id="rId7746"/>
    <p:sldLayoutId id="2147499874" r:id="rId7747"/>
    <p:sldLayoutId id="2147499581" r:id="rId7748"/>
    <p:sldLayoutId id="2147499584" r:id="rId7749"/>
    <p:sldLayoutId id="2147499628" r:id="rId7750"/>
    <p:sldLayoutId id="2147499631" r:id="rId7751"/>
    <p:sldLayoutId id="2147499661" r:id="rId7752"/>
    <p:sldLayoutId id="2147499643" r:id="rId7753"/>
    <p:sldLayoutId id="2147499640" r:id="rId7754"/>
    <p:sldLayoutId id="2147499664" r:id="rId7755"/>
    <p:sldLayoutId id="2147499637" r:id="rId7756"/>
    <p:sldLayoutId id="2147499668" r:id="rId7757"/>
    <p:sldLayoutId id="2147499650" r:id="rId7758"/>
    <p:sldLayoutId id="2147499682" r:id="rId7759"/>
    <p:sldLayoutId id="2147499678" r:id="rId7760"/>
    <p:sldLayoutId id="2147499684" r:id="rId7761"/>
    <p:sldLayoutId id="2147499590" r:id="rId7762"/>
    <p:sldLayoutId id="2147499597" r:id="rId7763"/>
    <p:sldLayoutId id="2147499603" r:id="rId7764"/>
    <p:sldLayoutId id="2147499617" r:id="rId7765"/>
    <p:sldLayoutId id="2147499610" r:id="rId7766"/>
    <p:sldLayoutId id="2147499722" r:id="rId7767"/>
    <p:sldLayoutId id="2147499728" r:id="rId7768"/>
    <p:sldLayoutId id="2147499692" r:id="rId7769"/>
    <p:sldLayoutId id="2147499688" r:id="rId7770"/>
    <p:sldLayoutId id="2147499686" r:id="rId7771"/>
    <p:sldLayoutId id="2147499694" r:id="rId7772"/>
    <p:sldLayoutId id="2147499740" r:id="rId7773"/>
    <p:sldLayoutId id="2147499760" r:id="rId7774"/>
    <p:sldLayoutId id="2147499752" r:id="rId7775"/>
    <p:sldLayoutId id="2147499786" r:id="rId7776"/>
    <p:sldLayoutId id="2147499780" r:id="rId7777"/>
    <p:sldLayoutId id="2147499788" r:id="rId7778"/>
    <p:sldLayoutId id="2147499790" r:id="rId7779"/>
    <p:sldLayoutId id="2147499794" r:id="rId7780"/>
    <p:sldLayoutId id="2147499798" r:id="rId7781"/>
    <p:sldLayoutId id="2147499806" r:id="rId7782"/>
    <p:sldLayoutId id="2147499802" r:id="rId7783"/>
    <p:sldLayoutId id="2147499696" r:id="rId7784"/>
    <p:sldLayoutId id="2147499698" r:id="rId7785"/>
    <p:sldLayoutId id="2147499726" r:id="rId7786"/>
    <p:sldLayoutId id="2147499730" r:id="rId7787"/>
    <p:sldLayoutId id="2147499758" r:id="rId7788"/>
    <p:sldLayoutId id="2147499742" r:id="rId7789"/>
    <p:sldLayoutId id="2147499736" r:id="rId7790"/>
    <p:sldLayoutId id="2147499762" r:id="rId7791"/>
    <p:sldLayoutId id="2147499734" r:id="rId7792"/>
    <p:sldLayoutId id="2147499764" r:id="rId7793"/>
    <p:sldLayoutId id="2147499746" r:id="rId7794"/>
    <p:sldLayoutId id="2147499810" r:id="rId7795"/>
    <p:sldLayoutId id="2147499778" r:id="rId7796"/>
    <p:sldLayoutId id="2147499812" r:id="rId7797"/>
    <p:sldLayoutId id="2147499700" r:id="rId7798"/>
    <p:sldLayoutId id="2147499704" r:id="rId7799"/>
    <p:sldLayoutId id="2147499708" r:id="rId7800"/>
    <p:sldLayoutId id="2147499718" r:id="rId7801"/>
    <p:sldLayoutId id="2147499714" r:id="rId7802"/>
    <p:sldLayoutId id="2147499766" r:id="rId7803"/>
    <p:sldLayoutId id="2147499768" r:id="rId7804"/>
    <p:sldLayoutId id="2147499920" r:id="rId7805"/>
    <p:sldLayoutId id="2147499574" r:id="rId7806"/>
    <p:sldLayoutId id="2147499997" r:id="rId7807"/>
    <p:sldLayoutId id="2147499991" r:id="rId7808"/>
    <p:sldLayoutId id="2147499988" r:id="rId7809"/>
    <p:sldLayoutId id="2147500000" r:id="rId7810"/>
    <p:sldLayoutId id="2147499592" r:id="rId7811"/>
    <p:sldLayoutId id="2147499626" r:id="rId7812"/>
    <p:sldLayoutId id="2147499612" r:id="rId7813"/>
    <p:sldLayoutId id="2147499673" r:id="rId7814"/>
    <p:sldLayoutId id="2147499659" r:id="rId7815"/>
    <p:sldLayoutId id="2147499933" r:id="rId7816"/>
    <p:sldLayoutId id="2147499948" r:id="rId7817"/>
    <p:sldLayoutId id="2147499958" r:id="rId7818"/>
    <p:sldLayoutId id="2147499968" r:id="rId7819"/>
    <p:sldLayoutId id="2147499982" r:id="rId7820"/>
    <p:sldLayoutId id="2147499976" r:id="rId7821"/>
    <p:sldLayoutId id="2147500003" r:id="rId7822"/>
    <p:sldLayoutId id="2147500006" r:id="rId7823"/>
    <p:sldLayoutId id="2147500037" r:id="rId7824"/>
    <p:sldLayoutId id="2147500039" r:id="rId7825"/>
    <p:sldLayoutId id="2147500057" r:id="rId7826"/>
    <p:sldLayoutId id="2147500047" r:id="rId7827"/>
    <p:sldLayoutId id="2147500045" r:id="rId7828"/>
    <p:sldLayoutId id="2147500059" r:id="rId7829"/>
    <p:sldLayoutId id="2147500043" r:id="rId7830"/>
    <p:sldLayoutId id="2147500061" r:id="rId7831"/>
    <p:sldLayoutId id="2147500051" r:id="rId7832"/>
    <p:sldLayoutId id="2147500071" r:id="rId7833"/>
    <p:sldLayoutId id="2147500067" r:id="rId7834"/>
    <p:sldLayoutId id="2147500073" r:id="rId7835"/>
    <p:sldLayoutId id="2147500009" r:id="rId7836"/>
    <p:sldLayoutId id="2147500015" r:id="rId7837"/>
    <p:sldLayoutId id="2147500021" r:id="rId7838"/>
    <p:sldLayoutId id="2147500031" r:id="rId7839"/>
    <p:sldLayoutId id="2147500027" r:id="rId7840"/>
    <p:sldLayoutId id="2147499854" r:id="rId7841"/>
    <p:sldLayoutId id="2147499858" r:id="rId7842"/>
    <p:sldLayoutId id="2147499549" r:id="rId7843"/>
    <p:sldLayoutId id="2147499547" r:id="rId7844"/>
    <p:sldLayoutId id="2147499546" r:id="rId7845"/>
    <p:sldLayoutId id="2147499844" r:id="rId7846"/>
    <p:sldLayoutId id="2147499868" r:id="rId7847"/>
    <p:sldLayoutId id="2147499882" r:id="rId7848"/>
    <p:sldLayoutId id="2147499876" r:id="rId7849"/>
    <p:sldLayoutId id="2147499896" r:id="rId7850"/>
    <p:sldLayoutId id="2147499892" r:id="rId7851"/>
    <p:sldLayoutId id="2147499898" r:id="rId7852"/>
    <p:sldLayoutId id="2147499900" r:id="rId7853"/>
    <p:sldLayoutId id="2147499904" r:id="rId7854"/>
    <p:sldLayoutId id="2147499910" r:id="rId7855"/>
    <p:sldLayoutId id="2147499926" r:id="rId7856"/>
    <p:sldLayoutId id="2147499916" r:id="rId7857"/>
    <p:sldLayoutId id="2147499846" r:id="rId7858"/>
    <p:sldLayoutId id="2147499848" r:id="rId7859"/>
    <p:sldLayoutId id="2147500264" r:id="rId7860"/>
    <p:sldLayoutId id="2147500266" r:id="rId7861"/>
    <p:sldLayoutId id="2147500318" r:id="rId7862"/>
    <p:sldLayoutId id="2147500314" r:id="rId7863"/>
    <p:sldLayoutId id="2147500312" r:id="rId7864"/>
    <p:sldLayoutId id="2147500320" r:id="rId7865"/>
    <p:sldLayoutId id="2147500270" r:id="rId7866"/>
    <p:sldLayoutId id="2147500278" r:id="rId7867"/>
    <p:sldLayoutId id="2147500274" r:id="rId7868"/>
    <p:sldLayoutId id="2147500288" r:id="rId7869"/>
    <p:sldLayoutId id="2147500284" r:id="rId7870"/>
    <p:sldLayoutId id="2147500290" r:id="rId7871"/>
    <p:sldLayoutId id="2147500292" r:id="rId7872"/>
    <p:sldLayoutId id="2147500296" r:id="rId7873"/>
    <p:sldLayoutId id="2147500300" r:id="rId7874"/>
    <p:sldLayoutId id="2147500308" r:id="rId7875"/>
    <p:sldLayoutId id="2147500304" r:id="rId7876"/>
    <p:sldLayoutId id="2147500322" r:id="rId7877"/>
    <p:sldLayoutId id="2147500324" r:id="rId7878"/>
    <p:sldLayoutId id="2147500356" r:id="rId7879"/>
    <p:sldLayoutId id="2147500358" r:id="rId7880"/>
    <p:sldLayoutId id="2147500376" r:id="rId7881"/>
    <p:sldLayoutId id="2147500366" r:id="rId7882"/>
    <p:sldLayoutId id="2147500364" r:id="rId7883"/>
    <p:sldLayoutId id="2147500378" r:id="rId7884"/>
    <p:sldLayoutId id="2147500362" r:id="rId7885"/>
    <p:sldLayoutId id="2147500380" r:id="rId7886"/>
    <p:sldLayoutId id="2147500370" r:id="rId7887"/>
    <p:sldLayoutId id="2147500390" r:id="rId7888"/>
    <p:sldLayoutId id="2147500386" r:id="rId7889"/>
    <p:sldLayoutId id="2147500392" r:id="rId7890"/>
    <p:sldLayoutId id="2147500330" r:id="rId7891"/>
    <p:sldLayoutId id="2147500338" r:id="rId7892"/>
    <p:sldLayoutId id="2147500342" r:id="rId7893"/>
    <p:sldLayoutId id="2147500350" r:id="rId7894"/>
    <p:sldLayoutId id="2147500346" r:id="rId7895"/>
    <p:sldLayoutId id="2147500488" r:id="rId7896"/>
    <p:sldLayoutId id="2147500498" r:id="rId7897"/>
    <p:sldLayoutId id="2147500440" r:id="rId7898"/>
    <p:sldLayoutId id="2147500432" r:id="rId7899"/>
    <p:sldLayoutId id="2147500428" r:id="rId7900"/>
    <p:sldLayoutId id="2147500442" r:id="rId7901"/>
    <p:sldLayoutId id="2147500520" r:id="rId7902"/>
    <p:sldLayoutId id="2147500553" r:id="rId7903"/>
    <p:sldLayoutId id="2147500540" r:id="rId7904"/>
    <p:sldLayoutId id="2147500592" r:id="rId7905"/>
    <p:sldLayoutId id="2147500583" r:id="rId7906"/>
    <p:sldLayoutId id="2147500595" r:id="rId7907"/>
    <p:sldLayoutId id="2147500598" r:id="rId7908"/>
    <p:sldLayoutId id="2147500604" r:id="rId7909"/>
    <p:sldLayoutId id="2147500610" r:id="rId7910"/>
    <p:sldLayoutId id="2147500622" r:id="rId7911"/>
    <p:sldLayoutId id="2147500616" r:id="rId7912"/>
    <p:sldLayoutId id="2147500446" r:id="rId7913"/>
    <p:sldLayoutId id="2147500450" r:id="rId7914"/>
    <p:sldLayoutId id="2147500494" r:id="rId7915"/>
    <p:sldLayoutId id="2147500502" r:id="rId7916"/>
    <p:sldLayoutId id="2147500550" r:id="rId7917"/>
    <p:sldLayoutId id="2147500522" r:id="rId7918"/>
    <p:sldLayoutId id="2147500512" r:id="rId7919"/>
    <p:sldLayoutId id="2147500556" r:id="rId7920"/>
    <p:sldLayoutId id="2147500508" r:id="rId7921"/>
    <p:sldLayoutId id="2147500559" r:id="rId7922"/>
    <p:sldLayoutId id="2147500530" r:id="rId7923"/>
    <p:sldLayoutId id="2147500645" r:id="rId7924"/>
    <p:sldLayoutId id="2147500580" r:id="rId7925"/>
    <p:sldLayoutId id="2147500648" r:id="rId7926"/>
    <p:sldLayoutId id="2147500454" r:id="rId7927"/>
    <p:sldLayoutId id="2147500460" r:id="rId7928"/>
    <p:sldLayoutId id="2147500466" r:id="rId7929"/>
    <p:sldLayoutId id="2147500480" r:id="rId7930"/>
    <p:sldLayoutId id="2147500474" r:id="rId7931"/>
    <p:sldLayoutId id="2147500562" r:id="rId7932"/>
    <p:sldLayoutId id="2147500565" r:id="rId7933"/>
    <p:sldLayoutId id="2147500696" r:id="rId7934"/>
    <p:sldLayoutId id="2147500699" r:id="rId7935"/>
    <p:sldLayoutId id="2147500184" r:id="rId7936"/>
    <p:sldLayoutId id="2147500178" r:id="rId7937"/>
    <p:sldLayoutId id="2147500175" r:id="rId7938"/>
    <p:sldLayoutId id="2147500187" r:id="rId7939"/>
    <p:sldLayoutId id="2147500704" r:id="rId7940"/>
    <p:sldLayoutId id="2147500708" r:id="rId7941"/>
    <p:sldLayoutId id="2147500706" r:id="rId7942"/>
    <p:sldLayoutId id="2147500713" r:id="rId7943"/>
    <p:sldLayoutId id="2147500711" r:id="rId7944"/>
    <p:sldLayoutId id="2147500714" r:id="rId7945"/>
    <p:sldLayoutId id="2147500715" r:id="rId7946"/>
    <p:sldLayoutId id="2147500717" r:id="rId7947"/>
    <p:sldLayoutId id="2147500719" r:id="rId7948"/>
    <p:sldLayoutId id="2147500169" r:id="rId7949"/>
    <p:sldLayoutId id="2147500721" r:id="rId7950"/>
    <p:sldLayoutId id="2147500190" r:id="rId7951"/>
    <p:sldLayoutId id="2147500193" r:id="rId7952"/>
    <p:sldLayoutId id="2147500224" r:id="rId7953"/>
    <p:sldLayoutId id="2147500226" r:id="rId7954"/>
    <p:sldLayoutId id="2147500244" r:id="rId7955"/>
    <p:sldLayoutId id="2147500234" r:id="rId7956"/>
    <p:sldLayoutId id="2147500232" r:id="rId7957"/>
    <p:sldLayoutId id="2147500246" r:id="rId7958"/>
    <p:sldLayoutId id="2147500230" r:id="rId7959"/>
    <p:sldLayoutId id="2147500248" r:id="rId7960"/>
    <p:sldLayoutId id="2147500238" r:id="rId7961"/>
    <p:sldLayoutId id="2147500258" r:id="rId7962"/>
    <p:sldLayoutId id="2147500254" r:id="rId7963"/>
    <p:sldLayoutId id="2147500260" r:id="rId7964"/>
    <p:sldLayoutId id="2147500196" r:id="rId7965"/>
    <p:sldLayoutId id="2147500202" r:id="rId7966"/>
    <p:sldLayoutId id="2147500208" r:id="rId7967"/>
    <p:sldLayoutId id="2147500218" r:id="rId7968"/>
    <p:sldLayoutId id="2147500214" r:id="rId7969"/>
    <p:sldLayoutId id="2147500458" r:id="rId7970"/>
    <p:sldLayoutId id="2147500797" r:id="rId7971"/>
    <p:sldLayoutId id="2147500805" r:id="rId7972"/>
    <p:sldLayoutId id="2147500542" r:id="rId7973"/>
    <p:sldLayoutId id="2147500538" r:id="rId7974"/>
    <p:sldLayoutId id="2147500726" r:id="rId7975"/>
    <p:sldLayoutId id="2147500798" r:id="rId7976"/>
    <p:sldLayoutId id="2147500800" r:id="rId7977"/>
    <p:sldLayoutId id="2147500799" r:id="rId7978"/>
    <p:sldLayoutId id="2147500496" r:id="rId7979"/>
    <p:sldLayoutId id="2147500490" r:id="rId7980"/>
    <p:sldLayoutId id="2147500500" r:id="rId7981"/>
    <p:sldLayoutId id="2147500504" r:id="rId7982"/>
    <p:sldLayoutId id="2147500510" r:id="rId7983"/>
    <p:sldLayoutId id="2147500518" r:id="rId7984"/>
    <p:sldLayoutId id="2147500532" r:id="rId7985"/>
    <p:sldLayoutId id="2147500524" r:id="rId7986"/>
    <p:sldLayoutId id="2147500727" r:id="rId7987"/>
    <p:sldLayoutId id="2147500728" r:id="rId7988"/>
    <p:sldLayoutId id="2147500740" r:id="rId7989"/>
    <p:sldLayoutId id="2147500741" r:id="rId7990"/>
    <p:sldLayoutId id="2147500328" r:id="rId7991"/>
    <p:sldLayoutId id="2147500745" r:id="rId7992"/>
    <p:sldLayoutId id="2147500744" r:id="rId7993"/>
    <p:sldLayoutId id="2147500332" r:id="rId7994"/>
    <p:sldLayoutId id="2147500743" r:id="rId7995"/>
    <p:sldLayoutId id="2147500336" r:id="rId7996"/>
    <p:sldLayoutId id="2147500747" r:id="rId7997"/>
    <p:sldLayoutId id="2147500753" r:id="rId7998"/>
    <p:sldLayoutId id="2147500751" r:id="rId7999"/>
    <p:sldLayoutId id="2147500754" r:id="rId8000"/>
    <p:sldLayoutId id="2147500729" r:id="rId8001"/>
    <p:sldLayoutId id="2147500731" r:id="rId8002"/>
    <p:sldLayoutId id="2147500733" r:id="rId8003"/>
    <p:sldLayoutId id="2147500737" r:id="rId8004"/>
    <p:sldLayoutId id="2147500735" r:id="rId8005"/>
    <p:sldLayoutId id="2147500773" r:id="rId8006"/>
    <p:sldLayoutId id="2147500776" r:id="rId8007"/>
    <p:sldLayoutId id="2147500758" r:id="rId8008"/>
    <p:sldLayoutId id="2147500756" r:id="rId8009"/>
    <p:sldLayoutId id="2147500755" r:id="rId8010"/>
    <p:sldLayoutId id="2147500759" r:id="rId8011"/>
    <p:sldLayoutId id="2147500782" r:id="rId8012"/>
    <p:sldLayoutId id="2147500402" r:id="rId8013"/>
    <p:sldLayoutId id="2147500398" r:id="rId8014"/>
    <p:sldLayoutId id="2147500418" r:id="rId8015"/>
    <p:sldLayoutId id="2147500414" r:id="rId8016"/>
    <p:sldLayoutId id="2147500420" r:id="rId8017"/>
    <p:sldLayoutId id="2147500793" r:id="rId8018"/>
    <p:sldLayoutId id="2147500424" r:id="rId8019"/>
    <p:sldLayoutId id="2147500794" r:id="rId8020"/>
    <p:sldLayoutId id="2147500795" r:id="rId8021"/>
    <p:sldLayoutId id="2147500434" r:id="rId8022"/>
    <p:sldLayoutId id="2147500760" r:id="rId8023"/>
    <p:sldLayoutId id="2147500761" r:id="rId8024"/>
    <p:sldLayoutId id="2147500775" r:id="rId8025"/>
    <p:sldLayoutId id="2147500777" r:id="rId8026"/>
    <p:sldLayoutId id="2147500787" r:id="rId8027"/>
    <p:sldLayoutId id="2147500783" r:id="rId8028"/>
    <p:sldLayoutId id="2147500780" r:id="rId8029"/>
    <p:sldLayoutId id="2147500788" r:id="rId8030"/>
    <p:sldLayoutId id="2147500779" r:id="rId8031"/>
    <p:sldLayoutId id="2147500404" r:id="rId8032"/>
    <p:sldLayoutId id="2147500785" r:id="rId8033"/>
    <p:sldLayoutId id="2147500448" r:id="rId8034"/>
    <p:sldLayoutId id="2147500791" r:id="rId8035"/>
    <p:sldLayoutId id="2147500452" r:id="rId8036"/>
    <p:sldLayoutId id="2147500762" r:id="rId8037"/>
    <p:sldLayoutId id="2147500764" r:id="rId8038"/>
    <p:sldLayoutId id="2147500766" r:id="rId8039"/>
    <p:sldLayoutId id="2147500771" r:id="rId8040"/>
    <p:sldLayoutId id="2147500769" r:id="rId8041"/>
    <p:sldLayoutId id="2147500789" r:id="rId8042"/>
    <p:sldLayoutId id="2147500406" r:id="rId8043"/>
    <p:sldLayoutId id="2147501027" r:id="rId8044"/>
    <p:sldLayoutId id="2147501028" r:id="rId8045"/>
    <p:sldLayoutId id="2147501054" r:id="rId8046"/>
    <p:sldLayoutId id="2147501052" r:id="rId8047"/>
    <p:sldLayoutId id="2147501051" r:id="rId8048"/>
    <p:sldLayoutId id="2147501055" r:id="rId8049"/>
    <p:sldLayoutId id="2147501030" r:id="rId8050"/>
    <p:sldLayoutId id="2147501034" r:id="rId8051"/>
    <p:sldLayoutId id="2147501032" r:id="rId8052"/>
    <p:sldLayoutId id="2147501039" r:id="rId8053"/>
    <p:sldLayoutId id="2147501037" r:id="rId8054"/>
    <p:sldLayoutId id="2147501040" r:id="rId8055"/>
    <p:sldLayoutId id="2147501041" r:id="rId8056"/>
    <p:sldLayoutId id="2147501043" r:id="rId8057"/>
    <p:sldLayoutId id="2147501045" r:id="rId8058"/>
    <p:sldLayoutId id="2147501049" r:id="rId8059"/>
    <p:sldLayoutId id="2147501047" r:id="rId8060"/>
    <p:sldLayoutId id="2147501056" r:id="rId8061"/>
    <p:sldLayoutId id="2147501057" r:id="rId8062"/>
    <p:sldLayoutId id="2147501069" r:id="rId8063"/>
    <p:sldLayoutId id="2147501070" r:id="rId8064"/>
    <p:sldLayoutId id="2147501079" r:id="rId8065"/>
    <p:sldLayoutId id="2147501074" r:id="rId8066"/>
    <p:sldLayoutId id="2147501073" r:id="rId8067"/>
    <p:sldLayoutId id="2147501080" r:id="rId8068"/>
    <p:sldLayoutId id="2147501072" r:id="rId8069"/>
    <p:sldLayoutId id="2147501081" r:id="rId8070"/>
    <p:sldLayoutId id="2147501076" r:id="rId8071"/>
    <p:sldLayoutId id="2147501086" r:id="rId8072"/>
    <p:sldLayoutId id="2147501084" r:id="rId8073"/>
    <p:sldLayoutId id="2147501087" r:id="rId8074"/>
    <p:sldLayoutId id="2147501058" r:id="rId8075"/>
    <p:sldLayoutId id="2147501060" r:id="rId8076"/>
    <p:sldLayoutId id="2147501062" r:id="rId8077"/>
    <p:sldLayoutId id="2147501066" r:id="rId8078"/>
    <p:sldLayoutId id="2147501064" r:id="rId8079"/>
    <p:sldLayoutId id="2147501106" r:id="rId8080"/>
    <p:sldLayoutId id="2147501109" r:id="rId8081"/>
    <p:sldLayoutId id="2147501091" r:id="rId8082"/>
    <p:sldLayoutId id="2147501089" r:id="rId8083"/>
    <p:sldLayoutId id="2147501088" r:id="rId8084"/>
    <p:sldLayoutId id="2147501092" r:id="rId8085"/>
    <p:sldLayoutId id="2147501115" r:id="rId8086"/>
    <p:sldLayoutId id="2147501125" r:id="rId8087"/>
    <p:sldLayoutId id="2147501121" r:id="rId8088"/>
    <p:sldLayoutId id="2147501138" r:id="rId8089"/>
    <p:sldLayoutId id="2147501135" r:id="rId8090"/>
    <p:sldLayoutId id="2147501139" r:id="rId8091"/>
    <p:sldLayoutId id="2147501140" r:id="rId8092"/>
    <p:sldLayoutId id="2147501142" r:id="rId8093"/>
    <p:sldLayoutId id="2147501144" r:id="rId8094"/>
    <p:sldLayoutId id="2147501148" r:id="rId8095"/>
    <p:sldLayoutId id="2147501146" r:id="rId8096"/>
    <p:sldLayoutId id="2147501093" r:id="rId8097"/>
    <p:sldLayoutId id="2147501094" r:id="rId8098"/>
    <p:sldLayoutId id="2147501108" r:id="rId8099"/>
    <p:sldLayoutId id="2147501110" r:id="rId8100"/>
    <p:sldLayoutId id="2147501124" r:id="rId8101"/>
    <p:sldLayoutId id="2147501116" r:id="rId8102"/>
    <p:sldLayoutId id="2147501113" r:id="rId8103"/>
    <p:sldLayoutId id="2147501126" r:id="rId8104"/>
    <p:sldLayoutId id="2147501112" r:id="rId8105"/>
    <p:sldLayoutId id="2147501127" r:id="rId8106"/>
    <p:sldLayoutId id="2147501118" r:id="rId8107"/>
    <p:sldLayoutId id="2147501150" r:id="rId8108"/>
    <p:sldLayoutId id="2147501134" r:id="rId8109"/>
    <p:sldLayoutId id="2147501151" r:id="rId8110"/>
    <p:sldLayoutId id="2147501095" r:id="rId8111"/>
    <p:sldLayoutId id="2147501097" r:id="rId8112"/>
    <p:sldLayoutId id="2147501099" r:id="rId8113"/>
    <p:sldLayoutId id="2147501104" r:id="rId8114"/>
    <p:sldLayoutId id="2147501102" r:id="rId8115"/>
    <p:sldLayoutId id="2147501128" r:id="rId8116"/>
    <p:sldLayoutId id="2147501129" r:id="rId8117"/>
    <p:sldLayoutId id="2147501153" r:id="rId8118"/>
    <p:sldLayoutId id="2147501154" r:id="rId8119"/>
    <p:sldLayoutId id="2147501180" r:id="rId8120"/>
    <p:sldLayoutId id="2147501178" r:id="rId8121"/>
    <p:sldLayoutId id="2147501177" r:id="rId8122"/>
    <p:sldLayoutId id="2147501181" r:id="rId8123"/>
    <p:sldLayoutId id="2147501156" r:id="rId8124"/>
    <p:sldLayoutId id="2147501160" r:id="rId8125"/>
    <p:sldLayoutId id="2147501158" r:id="rId8126"/>
    <p:sldLayoutId id="2147501165" r:id="rId8127"/>
    <p:sldLayoutId id="2147501163" r:id="rId8128"/>
    <p:sldLayoutId id="2147501166" r:id="rId8129"/>
    <p:sldLayoutId id="2147501167" r:id="rId8130"/>
    <p:sldLayoutId id="2147501169" r:id="rId8131"/>
    <p:sldLayoutId id="2147501171" r:id="rId8132"/>
    <p:sldLayoutId id="2147501175" r:id="rId8133"/>
    <p:sldLayoutId id="2147501173" r:id="rId8134"/>
    <p:sldLayoutId id="2147501182" r:id="rId8135"/>
    <p:sldLayoutId id="2147501183" r:id="rId8136"/>
    <p:sldLayoutId id="2147501195" r:id="rId8137"/>
    <p:sldLayoutId id="2147501196" r:id="rId8138"/>
    <p:sldLayoutId id="2147501206" r:id="rId8139"/>
    <p:sldLayoutId id="2147501200" r:id="rId8140"/>
    <p:sldLayoutId id="2147501199" r:id="rId8141"/>
    <p:sldLayoutId id="2147501207" r:id="rId8142"/>
    <p:sldLayoutId id="2147501198" r:id="rId8143"/>
    <p:sldLayoutId id="2147501209" r:id="rId8144"/>
    <p:sldLayoutId id="2147501202" r:id="rId8145"/>
    <p:sldLayoutId id="2147501215" r:id="rId8146"/>
    <p:sldLayoutId id="2147501213" r:id="rId8147"/>
    <p:sldLayoutId id="2147501217" r:id="rId8148"/>
    <p:sldLayoutId id="2147501184" r:id="rId8149"/>
    <p:sldLayoutId id="2147501186" r:id="rId8150"/>
    <p:sldLayoutId id="2147501188" r:id="rId8151"/>
    <p:sldLayoutId id="2147501192" r:id="rId8152"/>
    <p:sldLayoutId id="2147501190" r:id="rId8153"/>
    <p:sldLayoutId id="2147500921" r:id="rId8154"/>
    <p:sldLayoutId id="2147500922" r:id="rId8155"/>
    <p:sldLayoutId id="2147500977" r:id="rId8156"/>
    <p:sldLayoutId id="2147500972" r:id="rId8157"/>
    <p:sldLayoutId id="2147500969" r:id="rId8158"/>
    <p:sldLayoutId id="2147500811" r:id="rId8159"/>
    <p:sldLayoutId id="2147500924" r:id="rId8160"/>
    <p:sldLayoutId id="2147500928" r:id="rId8161"/>
    <p:sldLayoutId id="2147500926" r:id="rId8162"/>
    <p:sldLayoutId id="2147500933" r:id="rId8163"/>
    <p:sldLayoutId id="2147500931" r:id="rId8164"/>
    <p:sldLayoutId id="2147500934" r:id="rId8165"/>
    <p:sldLayoutId id="2147500939" r:id="rId8166"/>
    <p:sldLayoutId id="2147500943" r:id="rId8167"/>
    <p:sldLayoutId id="2147500946" r:id="rId8168"/>
    <p:sldLayoutId id="2147500955" r:id="rId8169"/>
    <p:sldLayoutId id="2147500950" r:id="rId8170"/>
    <p:sldLayoutId id="2147500813" r:id="rId8171"/>
    <p:sldLayoutId id="2147500814" r:id="rId8172"/>
    <p:sldLayoutId id="2147500832" r:id="rId8173"/>
    <p:sldLayoutId id="2147500833" r:id="rId8174"/>
    <p:sldLayoutId id="2147500845" r:id="rId8175"/>
    <p:sldLayoutId id="2147500837" r:id="rId8176"/>
    <p:sldLayoutId id="2147500836" r:id="rId8177"/>
    <p:sldLayoutId id="2147500846" r:id="rId8178"/>
    <p:sldLayoutId id="2147500835" r:id="rId8179"/>
    <p:sldLayoutId id="2147500848" r:id="rId8180"/>
    <p:sldLayoutId id="2147500840" r:id="rId8181"/>
    <p:sldLayoutId id="2147500854" r:id="rId8182"/>
    <p:sldLayoutId id="2147500852" r:id="rId8183"/>
    <p:sldLayoutId id="2147500855" r:id="rId8184"/>
    <p:sldLayoutId id="2147500816" r:id="rId8185"/>
    <p:sldLayoutId id="2147500819" r:id="rId8186"/>
    <p:sldLayoutId id="2147500821" r:id="rId8187"/>
    <p:sldLayoutId id="2147500827" r:id="rId8188"/>
    <p:sldLayoutId id="2147500824" r:id="rId8189"/>
    <p:sldLayoutId id="2147500874" r:id="rId8190"/>
    <p:sldLayoutId id="2147500877" r:id="rId8191"/>
    <p:sldLayoutId id="2147500859" r:id="rId8192"/>
    <p:sldLayoutId id="2147500857" r:id="rId8193"/>
    <p:sldLayoutId id="2147500856" r:id="rId8194"/>
    <p:sldLayoutId id="2147500860" r:id="rId8195"/>
    <p:sldLayoutId id="2147500883" r:id="rId8196"/>
    <p:sldLayoutId id="2147500893" r:id="rId8197"/>
    <p:sldLayoutId id="2147500889" r:id="rId8198"/>
    <p:sldLayoutId id="2147500906" r:id="rId8199"/>
    <p:sldLayoutId id="2147500903" r:id="rId8200"/>
    <p:sldLayoutId id="2147500907" r:id="rId8201"/>
    <p:sldLayoutId id="2147500908" r:id="rId8202"/>
    <p:sldLayoutId id="2147500910" r:id="rId8203"/>
    <p:sldLayoutId id="2147500912" r:id="rId8204"/>
    <p:sldLayoutId id="2147500916" r:id="rId8205"/>
    <p:sldLayoutId id="2147500914" r:id="rId8206"/>
    <p:sldLayoutId id="2147500861" r:id="rId8207"/>
    <p:sldLayoutId id="2147500862" r:id="rId8208"/>
    <p:sldLayoutId id="2147500876" r:id="rId8209"/>
    <p:sldLayoutId id="2147500878" r:id="rId8210"/>
    <p:sldLayoutId id="2147500892" r:id="rId8211"/>
    <p:sldLayoutId id="2147500884" r:id="rId8212"/>
    <p:sldLayoutId id="2147500881" r:id="rId8213"/>
    <p:sldLayoutId id="2147500894" r:id="rId8214"/>
    <p:sldLayoutId id="2147500880" r:id="rId8215"/>
    <p:sldLayoutId id="2147500895" r:id="rId8216"/>
    <p:sldLayoutId id="2147500886" r:id="rId8217"/>
    <p:sldLayoutId id="2147500918" r:id="rId8218"/>
    <p:sldLayoutId id="2147500902" r:id="rId8219"/>
    <p:sldLayoutId id="2147500919" r:id="rId8220"/>
    <p:sldLayoutId id="2147500863" r:id="rId8221"/>
    <p:sldLayoutId id="2147500865" r:id="rId8222"/>
    <p:sldLayoutId id="2147500867" r:id="rId8223"/>
    <p:sldLayoutId id="2147500872" r:id="rId8224"/>
    <p:sldLayoutId id="2147500870" r:id="rId8225"/>
    <p:sldLayoutId id="2147500896" r:id="rId8226"/>
    <p:sldLayoutId id="2147500897" r:id="rId8227"/>
    <p:sldLayoutId id="2147500973" r:id="rId8228"/>
    <p:sldLayoutId id="2147500810" r:id="rId8229"/>
    <p:sldLayoutId id="2147500992" r:id="rId8230"/>
    <p:sldLayoutId id="2147500990" r:id="rId8231"/>
    <p:sldLayoutId id="2147500989" r:id="rId8232"/>
    <p:sldLayoutId id="2147500993" r:id="rId8233"/>
    <p:sldLayoutId id="2147500817" r:id="rId8234"/>
    <p:sldLayoutId id="2147500831" r:id="rId8235"/>
    <p:sldLayoutId id="2147500825" r:id="rId8236"/>
    <p:sldLayoutId id="2147500850" r:id="rId8237"/>
    <p:sldLayoutId id="2147500844" r:id="rId8238"/>
    <p:sldLayoutId id="2147500978" r:id="rId8239"/>
    <p:sldLayoutId id="2147500979" r:id="rId8240"/>
    <p:sldLayoutId id="2147500981" r:id="rId8241"/>
    <p:sldLayoutId id="2147500983" r:id="rId8242"/>
    <p:sldLayoutId id="2147500987" r:id="rId8243"/>
    <p:sldLayoutId id="2147500985" r:id="rId8244"/>
    <p:sldLayoutId id="2147500994" r:id="rId8245"/>
    <p:sldLayoutId id="2147500995" r:id="rId8246"/>
    <p:sldLayoutId id="2147501007" r:id="rId8247"/>
    <p:sldLayoutId id="2147501008" r:id="rId8248"/>
    <p:sldLayoutId id="2147501017" r:id="rId8249"/>
    <p:sldLayoutId id="2147501012" r:id="rId8250"/>
    <p:sldLayoutId id="2147501011" r:id="rId8251"/>
    <p:sldLayoutId id="2147501018" r:id="rId8252"/>
    <p:sldLayoutId id="2147501010" r:id="rId8253"/>
    <p:sldLayoutId id="2147501019" r:id="rId8254"/>
    <p:sldLayoutId id="2147501014" r:id="rId8255"/>
    <p:sldLayoutId id="2147501024" r:id="rId8256"/>
    <p:sldLayoutId id="2147501022" r:id="rId8257"/>
    <p:sldLayoutId id="2147501025" r:id="rId8258"/>
    <p:sldLayoutId id="2147500996" r:id="rId8259"/>
    <p:sldLayoutId id="2147500998" r:id="rId8260"/>
    <p:sldLayoutId id="2147501000" r:id="rId8261"/>
    <p:sldLayoutId id="2147501004" r:id="rId8262"/>
    <p:sldLayoutId id="2147501002" r:id="rId8263"/>
    <p:sldLayoutId id="2147500940" r:id="rId8264"/>
    <p:sldLayoutId id="2147500942" r:id="rId8265"/>
    <p:sldLayoutId id="2147500809" r:id="rId8266"/>
    <p:sldLayoutId id="2147500807" r:id="rId8267"/>
    <p:sldLayoutId id="2147500806" r:id="rId8268"/>
    <p:sldLayoutId id="2147500935" r:id="rId8269"/>
    <p:sldLayoutId id="2147500947" r:id="rId8270"/>
    <p:sldLayoutId id="2147500954" r:id="rId8271"/>
    <p:sldLayoutId id="2147500951" r:id="rId8272"/>
    <p:sldLayoutId id="2147500961" r:id="rId8273"/>
    <p:sldLayoutId id="2147500959" r:id="rId8274"/>
    <p:sldLayoutId id="2147500962" r:id="rId8275"/>
    <p:sldLayoutId id="2147500963" r:id="rId8276"/>
    <p:sldLayoutId id="2147500965" r:id="rId8277"/>
    <p:sldLayoutId id="2147500968" r:id="rId8278"/>
    <p:sldLayoutId id="2147500976" r:id="rId8279"/>
    <p:sldLayoutId id="2147500971" r:id="rId8280"/>
    <p:sldLayoutId id="2147500936" r:id="rId8281"/>
    <p:sldLayoutId id="2147500937" r:id="rId8282"/>
    <p:sldLayoutId id="2147499893" r:id="rId8283"/>
    <p:sldLayoutId id="2147499897" r:id="rId8284"/>
    <p:sldLayoutId id="2147499967" r:id="rId8285"/>
    <p:sldLayoutId id="2147499965" r:id="rId8286"/>
    <p:sldLayoutId id="2147499964" r:id="rId8287"/>
    <p:sldLayoutId id="2147499969" r:id="rId8288"/>
    <p:sldLayoutId id="2147499907" r:id="rId8289"/>
    <p:sldLayoutId id="2147499921" r:id="rId8290"/>
    <p:sldLayoutId id="2147499915" r:id="rId8291"/>
    <p:sldLayoutId id="2147499935" r:id="rId8292"/>
    <p:sldLayoutId id="2147499931" r:id="rId8293"/>
    <p:sldLayoutId id="2147499937" r:id="rId8294"/>
    <p:sldLayoutId id="2147499941" r:id="rId8295"/>
    <p:sldLayoutId id="2147499944" r:id="rId8296"/>
    <p:sldLayoutId id="2147499947" r:id="rId8297"/>
    <p:sldLayoutId id="2147499955" r:id="rId8298"/>
    <p:sldLayoutId id="2147499951" r:id="rId8299"/>
    <p:sldLayoutId id="2147499970" r:id="rId8300"/>
    <p:sldLayoutId id="2147499971" r:id="rId8301"/>
    <p:sldLayoutId id="2147499992" r:id="rId8302"/>
    <p:sldLayoutId id="2147499993" r:id="rId8303"/>
    <p:sldLayoutId id="2147500007" r:id="rId8304"/>
    <p:sldLayoutId id="2147499999" r:id="rId8305"/>
    <p:sldLayoutId id="2147499998" r:id="rId8306"/>
    <p:sldLayoutId id="2147500008" r:id="rId8307"/>
    <p:sldLayoutId id="2147499996" r:id="rId8308"/>
    <p:sldLayoutId id="2147500010" r:id="rId8309"/>
    <p:sldLayoutId id="2147500002" r:id="rId8310"/>
    <p:sldLayoutId id="2147500017" r:id="rId8311"/>
    <p:sldLayoutId id="2147500014" r:id="rId8312"/>
    <p:sldLayoutId id="2147500019" r:id="rId8313"/>
    <p:sldLayoutId id="2147499972" r:id="rId8314"/>
    <p:sldLayoutId id="2147499975" r:id="rId8315"/>
    <p:sldLayoutId id="2147499980" r:id="rId8316"/>
    <p:sldLayoutId id="2147499987" r:id="rId8317"/>
    <p:sldLayoutId id="2147499984" r:id="rId8318"/>
    <p:sldLayoutId id="2147500081" r:id="rId8319"/>
    <p:sldLayoutId id="2147500086" r:id="rId8320"/>
    <p:sldLayoutId id="2147500042" r:id="rId8321"/>
    <p:sldLayoutId id="2147500036" r:id="rId8322"/>
    <p:sldLayoutId id="2147500034" r:id="rId8323"/>
    <p:sldLayoutId id="2147500046" r:id="rId8324"/>
    <p:sldLayoutId id="2147500095" r:id="rId8325"/>
    <p:sldLayoutId id="2147500105" r:id="rId8326"/>
    <p:sldLayoutId id="2147500101" r:id="rId8327"/>
    <p:sldLayoutId id="2147500118" r:id="rId8328"/>
    <p:sldLayoutId id="2147500115" r:id="rId8329"/>
    <p:sldLayoutId id="2147500119" r:id="rId8330"/>
    <p:sldLayoutId id="2147500120" r:id="rId8331"/>
    <p:sldLayoutId id="2147500122" r:id="rId8332"/>
    <p:sldLayoutId id="2147500124" r:id="rId8333"/>
    <p:sldLayoutId id="2147500128" r:id="rId8334"/>
    <p:sldLayoutId id="2147500126" r:id="rId8335"/>
    <p:sldLayoutId id="2147500048" r:id="rId8336"/>
    <p:sldLayoutId id="2147500052" r:id="rId8337"/>
    <p:sldLayoutId id="2147500084" r:id="rId8338"/>
    <p:sldLayoutId id="2147500087" r:id="rId8339"/>
    <p:sldLayoutId id="2147500104" r:id="rId8340"/>
    <p:sldLayoutId id="2147500096" r:id="rId8341"/>
    <p:sldLayoutId id="2147500092" r:id="rId8342"/>
    <p:sldLayoutId id="2147500106" r:id="rId8343"/>
    <p:sldLayoutId id="2147500090" r:id="rId8344"/>
    <p:sldLayoutId id="2147500107" r:id="rId8345"/>
    <p:sldLayoutId id="2147500098" r:id="rId8346"/>
    <p:sldLayoutId id="2147500130" r:id="rId8347"/>
    <p:sldLayoutId id="2147500114" r:id="rId8348"/>
    <p:sldLayoutId id="2147500131" r:id="rId8349"/>
    <p:sldLayoutId id="2147500056" r:id="rId8350"/>
    <p:sldLayoutId id="2147500062" r:id="rId8351"/>
    <p:sldLayoutId id="2147500068" r:id="rId8352"/>
    <p:sldLayoutId id="2147500078" r:id="rId8353"/>
    <p:sldLayoutId id="2147500075" r:id="rId8354"/>
    <p:sldLayoutId id="2147500108" r:id="rId8355"/>
    <p:sldLayoutId id="2147500109" r:id="rId8356"/>
    <p:sldLayoutId id="2147500165" r:id="rId8357"/>
    <p:sldLayoutId id="2147500168" r:id="rId8358"/>
    <p:sldLayoutId id="2147500237" r:id="rId8359"/>
    <p:sldLayoutId id="2147500231" r:id="rId8360"/>
    <p:sldLayoutId id="2147500229" r:id="rId8361"/>
    <p:sldLayoutId id="2147500241" r:id="rId8362"/>
    <p:sldLayoutId id="2147500173" r:id="rId8363"/>
    <p:sldLayoutId id="2147500182" r:id="rId8364"/>
    <p:sldLayoutId id="2147500177" r:id="rId8365"/>
    <p:sldLayoutId id="2147500195" r:id="rId8366"/>
    <p:sldLayoutId id="2147500189" r:id="rId8367"/>
    <p:sldLayoutId id="2147500197" r:id="rId8368"/>
    <p:sldLayoutId id="2147500200" r:id="rId8369"/>
    <p:sldLayoutId id="2147500204" r:id="rId8370"/>
    <p:sldLayoutId id="2147500210" r:id="rId8371"/>
    <p:sldLayoutId id="2147500223" r:id="rId8372"/>
    <p:sldLayoutId id="2147500216" r:id="rId8373"/>
    <p:sldLayoutId id="2147500245" r:id="rId8374"/>
    <p:sldLayoutId id="2147500249" r:id="rId8375"/>
    <p:sldLayoutId id="2147500287" r:id="rId8376"/>
    <p:sldLayoutId id="2147500291" r:id="rId8377"/>
    <p:sldLayoutId id="2147500319" r:id="rId8378"/>
    <p:sldLayoutId id="2147500305" r:id="rId8379"/>
    <p:sldLayoutId id="2147500301" r:id="rId8380"/>
    <p:sldLayoutId id="2147500321" r:id="rId8381"/>
    <p:sldLayoutId id="2147500297" r:id="rId8382"/>
    <p:sldLayoutId id="2147500323" r:id="rId8383"/>
    <p:sldLayoutId id="2147500311" r:id="rId8384"/>
    <p:sldLayoutId id="2147500337" r:id="rId8385"/>
    <p:sldLayoutId id="2147500331" r:id="rId8386"/>
    <p:sldLayoutId id="2147500339" r:id="rId8387"/>
    <p:sldLayoutId id="2147500253" r:id="rId8388"/>
    <p:sldLayoutId id="2147500261" r:id="rId8389"/>
    <p:sldLayoutId id="2147500267" r:id="rId8390"/>
    <p:sldLayoutId id="2147500279" r:id="rId8391"/>
    <p:sldLayoutId id="2147500273" r:id="rId8392"/>
    <p:sldLayoutId id="2147500585" r:id="rId8393"/>
    <p:sldLayoutId id="2147500587" r:id="rId8394"/>
    <p:sldLayoutId id="2147500657" r:id="rId8395"/>
    <p:sldLayoutId id="2147500652" r:id="rId8396"/>
    <p:sldLayoutId id="2147500649" r:id="rId8397"/>
    <p:sldLayoutId id="2147500377" r:id="rId8398"/>
    <p:sldLayoutId id="2147500590" r:id="rId8399"/>
    <p:sldLayoutId id="2147500596" r:id="rId8400"/>
    <p:sldLayoutId id="2147500593" r:id="rId8401"/>
    <p:sldLayoutId id="2147500603" r:id="rId8402"/>
    <p:sldLayoutId id="2147500600" r:id="rId8403"/>
    <p:sldLayoutId id="2147500605" r:id="rId8404"/>
    <p:sldLayoutId id="2147500612" r:id="rId8405"/>
    <p:sldLayoutId id="2147500618" r:id="rId8406"/>
    <p:sldLayoutId id="2147500623" r:id="rId8407"/>
    <p:sldLayoutId id="2147500633" r:id="rId8408"/>
    <p:sldLayoutId id="2147500628" r:id="rId8409"/>
    <p:sldLayoutId id="2147500381" r:id="rId8410"/>
    <p:sldLayoutId id="2147500383" r:id="rId8411"/>
    <p:sldLayoutId id="2147500419" r:id="rId8412"/>
    <p:sldLayoutId id="2147500421" r:id="rId8413"/>
    <p:sldLayoutId id="2147500445" r:id="rId8414"/>
    <p:sldLayoutId id="2147500429" r:id="rId8415"/>
    <p:sldLayoutId id="2147500427" r:id="rId8416"/>
    <p:sldLayoutId id="2147500447" r:id="rId8417"/>
    <p:sldLayoutId id="2147500425" r:id="rId8418"/>
    <p:sldLayoutId id="2147500451" r:id="rId8419"/>
    <p:sldLayoutId id="2147500435" r:id="rId8420"/>
    <p:sldLayoutId id="2147500463" r:id="rId8421"/>
    <p:sldLayoutId id="2147500459" r:id="rId8422"/>
    <p:sldLayoutId id="2147500465" r:id="rId8423"/>
    <p:sldLayoutId id="2147500387" r:id="rId8424"/>
    <p:sldLayoutId id="2147500393" r:id="rId8425"/>
    <p:sldLayoutId id="2147500397" r:id="rId8426"/>
    <p:sldLayoutId id="2147500409" r:id="rId8427"/>
    <p:sldLayoutId id="2147500403" r:id="rId8428"/>
    <p:sldLayoutId id="2147500503" r:id="rId8429"/>
    <p:sldLayoutId id="2147500509" r:id="rId8430"/>
    <p:sldLayoutId id="2147500473" r:id="rId8431"/>
    <p:sldLayoutId id="2147500469" r:id="rId8432"/>
    <p:sldLayoutId id="2147500467" r:id="rId8433"/>
    <p:sldLayoutId id="2147500475" r:id="rId8434"/>
    <p:sldLayoutId id="2147500521" r:id="rId8435"/>
    <p:sldLayoutId id="2147500541" r:id="rId8436"/>
    <p:sldLayoutId id="2147500533" r:id="rId8437"/>
    <p:sldLayoutId id="2147500563" r:id="rId8438"/>
    <p:sldLayoutId id="2147500558" r:id="rId8439"/>
    <p:sldLayoutId id="2147500564" r:id="rId8440"/>
    <p:sldLayoutId id="2147500566" r:id="rId8441"/>
    <p:sldLayoutId id="2147500569" r:id="rId8442"/>
    <p:sldLayoutId id="2147500572" r:id="rId8443"/>
    <p:sldLayoutId id="2147500578" r:id="rId8444"/>
    <p:sldLayoutId id="2147500575" r:id="rId8445"/>
    <p:sldLayoutId id="2147500477" r:id="rId8446"/>
    <p:sldLayoutId id="2147500479" r:id="rId8447"/>
    <p:sldLayoutId id="2147500507" r:id="rId8448"/>
    <p:sldLayoutId id="2147500511" r:id="rId8449"/>
    <p:sldLayoutId id="2147500539" r:id="rId8450"/>
    <p:sldLayoutId id="2147500523" r:id="rId8451"/>
    <p:sldLayoutId id="2147500517" r:id="rId8452"/>
    <p:sldLayoutId id="2147500543" r:id="rId8453"/>
    <p:sldLayoutId id="2147500515" r:id="rId8454"/>
    <p:sldLayoutId id="2147500545" r:id="rId8455"/>
    <p:sldLayoutId id="2147500527" r:id="rId8456"/>
    <p:sldLayoutId id="2147500581" r:id="rId8457"/>
    <p:sldLayoutId id="2147500557" r:id="rId8458"/>
    <p:sldLayoutId id="2147500582" r:id="rId8459"/>
    <p:sldLayoutId id="2147500481" r:id="rId8460"/>
    <p:sldLayoutId id="2147500485" r:id="rId8461"/>
    <p:sldLayoutId id="2147500489" r:id="rId8462"/>
    <p:sldLayoutId id="2147500499" r:id="rId8463"/>
    <p:sldLayoutId id="2147500495" r:id="rId8464"/>
    <p:sldLayoutId id="2147500547" r:id="rId8465"/>
    <p:sldLayoutId id="2147500549" r:id="rId8466"/>
    <p:sldLayoutId id="2147500653" r:id="rId8467"/>
    <p:sldLayoutId id="2147500375" r:id="rId8468"/>
    <p:sldLayoutId id="2147500672" r:id="rId8469"/>
    <p:sldLayoutId id="2147500670" r:id="rId8470"/>
    <p:sldLayoutId id="2147500669" r:id="rId8471"/>
    <p:sldLayoutId id="2147500673" r:id="rId8472"/>
    <p:sldLayoutId id="2147500389" r:id="rId8473"/>
    <p:sldLayoutId id="2147500417" r:id="rId8474"/>
    <p:sldLayoutId id="2147500405" r:id="rId8475"/>
    <p:sldLayoutId id="2147500455" r:id="rId8476"/>
    <p:sldLayoutId id="2147500443" r:id="rId8477"/>
    <p:sldLayoutId id="2147500658" r:id="rId8478"/>
    <p:sldLayoutId id="2147500659" r:id="rId8479"/>
    <p:sldLayoutId id="2147500661" r:id="rId8480"/>
    <p:sldLayoutId id="2147500663" r:id="rId8481"/>
    <p:sldLayoutId id="2147500667" r:id="rId8482"/>
    <p:sldLayoutId id="2147500665" r:id="rId8483"/>
    <p:sldLayoutId id="2147500674" r:id="rId8484"/>
    <p:sldLayoutId id="2147500675" r:id="rId8485"/>
    <p:sldLayoutId id="2147500687" r:id="rId8486"/>
    <p:sldLayoutId id="2147500688" r:id="rId8487"/>
    <p:sldLayoutId id="2147500700" r:id="rId8488"/>
    <p:sldLayoutId id="2147500692" r:id="rId8489"/>
    <p:sldLayoutId id="2147500691" r:id="rId8490"/>
    <p:sldLayoutId id="2147500701" r:id="rId8491"/>
    <p:sldLayoutId id="2147500690" r:id="rId8492"/>
    <p:sldLayoutId id="2147500703" r:id="rId8493"/>
    <p:sldLayoutId id="2147500695" r:id="rId8494"/>
    <p:sldLayoutId id="2147499554" r:id="rId8495"/>
    <p:sldLayoutId id="2147499552" r:id="rId8496"/>
    <p:sldLayoutId id="2147499555" r:id="rId8497"/>
    <p:sldLayoutId id="2147500676" r:id="rId8498"/>
    <p:sldLayoutId id="2147500678" r:id="rId8499"/>
    <p:sldLayoutId id="2147500680" r:id="rId8500"/>
    <p:sldLayoutId id="2147500684" r:id="rId8501"/>
    <p:sldLayoutId id="2147500682" r:id="rId8502"/>
    <p:sldLayoutId id="2147500614" r:id="rId8503"/>
    <p:sldLayoutId id="2147500617" r:id="rId8504"/>
    <p:sldLayoutId id="2147500373" r:id="rId8505"/>
    <p:sldLayoutId id="2147500369" r:id="rId8506"/>
    <p:sldLayoutId id="2147500367" r:id="rId8507"/>
    <p:sldLayoutId id="2147500606" r:id="rId8508"/>
    <p:sldLayoutId id="2147500624" r:id="rId8509"/>
    <p:sldLayoutId id="2147500632" r:id="rId8510"/>
    <p:sldLayoutId id="2147500629" r:id="rId8511"/>
    <p:sldLayoutId id="2147500639" r:id="rId8512"/>
    <p:sldLayoutId id="2147500637" r:id="rId8513"/>
    <p:sldLayoutId id="2147500640" r:id="rId8514"/>
    <p:sldLayoutId id="2147500641" r:id="rId8515"/>
    <p:sldLayoutId id="2147500643" r:id="rId8516"/>
    <p:sldLayoutId id="2147500647" r:id="rId8517"/>
    <p:sldLayoutId id="2147500656" r:id="rId8518"/>
    <p:sldLayoutId id="2147500651" r:id="rId8519"/>
    <p:sldLayoutId id="2147500608" r:id="rId8520"/>
    <p:sldLayoutId id="2147500609" r:id="rId8521"/>
    <p:sldLayoutId id="2147499613" r:id="rId8522"/>
    <p:sldLayoutId id="2147499615" r:id="rId8523"/>
    <p:sldLayoutId id="2147499658" r:id="rId8524"/>
    <p:sldLayoutId id="2147499655" r:id="rId8525"/>
    <p:sldLayoutId id="2147499653" r:id="rId8526"/>
    <p:sldLayoutId id="2147499660" r:id="rId8527"/>
    <p:sldLayoutId id="2147499618" r:id="rId8528"/>
    <p:sldLayoutId id="2147499625" r:id="rId8529"/>
    <p:sldLayoutId id="2147499622" r:id="rId8530"/>
    <p:sldLayoutId id="2147499633" r:id="rId8531"/>
    <p:sldLayoutId id="2147499630" r:id="rId8532"/>
    <p:sldLayoutId id="2147499635" r:id="rId8533"/>
    <p:sldLayoutId id="2147499636" r:id="rId8534"/>
    <p:sldLayoutId id="2147499639" r:id="rId8535"/>
    <p:sldLayoutId id="2147499642" r:id="rId8536"/>
    <p:sldLayoutId id="2147499649" r:id="rId8537"/>
    <p:sldLayoutId id="2147499646" r:id="rId8538"/>
    <p:sldLayoutId id="2147499662" r:id="rId8539"/>
    <p:sldLayoutId id="2147499663" r:id="rId8540"/>
    <p:sldLayoutId id="2147499693" r:id="rId8541"/>
    <p:sldLayoutId id="2147499695" r:id="rId8542"/>
    <p:sldLayoutId id="2147499713" r:id="rId8543"/>
    <p:sldLayoutId id="2147499703" r:id="rId8544"/>
    <p:sldLayoutId id="2147499701" r:id="rId8545"/>
    <p:sldLayoutId id="2147499715" r:id="rId8546"/>
    <p:sldLayoutId id="2147499699" r:id="rId8547"/>
    <p:sldLayoutId id="2147499717" r:id="rId8548"/>
    <p:sldLayoutId id="2147499707" r:id="rId8549"/>
    <p:sldLayoutId id="2147499727" r:id="rId8550"/>
    <p:sldLayoutId id="2147499723" r:id="rId8551"/>
    <p:sldLayoutId id="2147499729" r:id="rId8552"/>
    <p:sldLayoutId id="2147499669" r:id="rId8553"/>
    <p:sldLayoutId id="2147499676" r:id="rId8554"/>
    <p:sldLayoutId id="2147499679" r:id="rId8555"/>
    <p:sldLayoutId id="2147499687" r:id="rId8556"/>
    <p:sldLayoutId id="2147499683" r:id="rId8557"/>
    <p:sldLayoutId id="2147499825" r:id="rId8558"/>
    <p:sldLayoutId id="2147499835" r:id="rId8559"/>
    <p:sldLayoutId id="2147499777" r:id="rId8560"/>
    <p:sldLayoutId id="2147499769" r:id="rId8561"/>
    <p:sldLayoutId id="2147499765" r:id="rId8562"/>
    <p:sldLayoutId id="2147499779" r:id="rId8563"/>
    <p:sldLayoutId id="2147499857" r:id="rId8564"/>
    <p:sldLayoutId id="2147499891" r:id="rId8565"/>
    <p:sldLayoutId id="2147499877" r:id="rId8566"/>
    <p:sldLayoutId id="2147499938" r:id="rId8567"/>
    <p:sldLayoutId id="2147499929" r:id="rId8568"/>
    <p:sldLayoutId id="2147499939" r:id="rId8569"/>
    <p:sldLayoutId id="2147499940" r:id="rId8570"/>
    <p:sldLayoutId id="2147499945" r:id="rId8571"/>
    <p:sldLayoutId id="2147499952" r:id="rId8572"/>
    <p:sldLayoutId id="2147499961" r:id="rId8573"/>
    <p:sldLayoutId id="2147499959" r:id="rId8574"/>
    <p:sldLayoutId id="2147499783" r:id="rId8575"/>
    <p:sldLayoutId id="2147499787" r:id="rId8576"/>
    <p:sldLayoutId id="2147499831" r:id="rId8577"/>
    <p:sldLayoutId id="2147499839" r:id="rId8578"/>
    <p:sldLayoutId id="2147499889" r:id="rId8579"/>
    <p:sldLayoutId id="2147499859" r:id="rId8580"/>
    <p:sldLayoutId id="2147499849" r:id="rId8581"/>
    <p:sldLayoutId id="2147499895" r:id="rId8582"/>
    <p:sldLayoutId id="2147499845" r:id="rId8583"/>
    <p:sldLayoutId id="2147499899" r:id="rId8584"/>
    <p:sldLayoutId id="2147499867" r:id="rId8585"/>
    <p:sldLayoutId id="2147499978" r:id="rId8586"/>
    <p:sldLayoutId id="2147499925" r:id="rId8587"/>
    <p:sldLayoutId id="2147499983" r:id="rId8588"/>
    <p:sldLayoutId id="2147499791" r:id="rId8589"/>
    <p:sldLayoutId id="2147499797" r:id="rId8590"/>
    <p:sldLayoutId id="2147499803" r:id="rId8591"/>
    <p:sldLayoutId id="2147499817" r:id="rId8592"/>
    <p:sldLayoutId id="2147499811" r:id="rId8593"/>
    <p:sldLayoutId id="2147499901" r:id="rId8594"/>
    <p:sldLayoutId id="2147499905" r:id="rId8595"/>
    <p:sldLayoutId id="2147500022" r:id="rId8596"/>
    <p:sldLayoutId id="2147500023" r:id="rId8597"/>
    <p:sldLayoutId id="2147499562" r:id="rId8598"/>
    <p:sldLayoutId id="2147499560" r:id="rId8599"/>
    <p:sldLayoutId id="2147499559" r:id="rId8600"/>
    <p:sldLayoutId id="2147499563" r:id="rId8601"/>
    <p:sldLayoutId id="2147500026" r:id="rId8602"/>
    <p:sldLayoutId id="2147500038" r:id="rId8603"/>
    <p:sldLayoutId id="2147500030" r:id="rId8604"/>
    <p:sldLayoutId id="2147500066" r:id="rId8605"/>
    <p:sldLayoutId id="2147500054" r:id="rId8606"/>
    <p:sldLayoutId id="2147500072" r:id="rId8607"/>
    <p:sldLayoutId id="2147500076" r:id="rId8608"/>
    <p:sldLayoutId id="2147500082" r:id="rId8609"/>
    <p:sldLayoutId id="2147500088" r:id="rId8610"/>
    <p:sldLayoutId id="2147499557" r:id="rId8611"/>
    <p:sldLayoutId id="2147500094" r:id="rId8612"/>
    <p:sldLayoutId id="2147499564" r:id="rId8613"/>
    <p:sldLayoutId id="2147499565" r:id="rId8614"/>
    <p:sldLayoutId id="2147499580" r:id="rId8615"/>
    <p:sldLayoutId id="2147499582" r:id="rId8616"/>
    <p:sldLayoutId id="2147499596" r:id="rId8617"/>
    <p:sldLayoutId id="2147499588" r:id="rId8618"/>
    <p:sldLayoutId id="2147499586" r:id="rId8619"/>
    <p:sldLayoutId id="2147499598" r:id="rId8620"/>
    <p:sldLayoutId id="2147499585" r:id="rId8621"/>
    <p:sldLayoutId id="2147499599" r:id="rId8622"/>
    <p:sldLayoutId id="2147499591" r:id="rId8623"/>
    <p:sldLayoutId id="2147499608" r:id="rId8624"/>
    <p:sldLayoutId id="2147499604" r:id="rId8625"/>
    <p:sldLayoutId id="2147499609" r:id="rId8626"/>
    <p:sldLayoutId id="2147499566" r:id="rId8627"/>
    <p:sldLayoutId id="2147499568" r:id="rId8628"/>
    <p:sldLayoutId id="2147499570" r:id="rId8629"/>
    <p:sldLayoutId id="2147499575" r:id="rId8630"/>
    <p:sldLayoutId id="2147499572" r:id="rId8631"/>
    <p:sldLayoutId id="2147499795" r:id="rId8632"/>
    <p:sldLayoutId id="2147500349" r:id="rId8633"/>
    <p:sldLayoutId id="2147500365" r:id="rId8634"/>
    <p:sldLayoutId id="2147499879" r:id="rId8635"/>
    <p:sldLayoutId id="2147499875" r:id="rId8636"/>
    <p:sldLayoutId id="2147500132" r:id="rId8637"/>
    <p:sldLayoutId id="2147500351" r:id="rId8638"/>
    <p:sldLayoutId id="2147500355" r:id="rId8639"/>
    <p:sldLayoutId id="2147500353" r:id="rId8640"/>
    <p:sldLayoutId id="2147499833" r:id="rId8641"/>
    <p:sldLayoutId id="2147499827" r:id="rId8642"/>
    <p:sldLayoutId id="2147499837" r:id="rId8643"/>
    <p:sldLayoutId id="2147499841" r:id="rId8644"/>
    <p:sldLayoutId id="2147499847" r:id="rId8645"/>
    <p:sldLayoutId id="2147499855" r:id="rId8646"/>
    <p:sldLayoutId id="2147499869" r:id="rId8647"/>
    <p:sldLayoutId id="2147499861" r:id="rId8648"/>
    <p:sldLayoutId id="2147500133" r:id="rId8649"/>
    <p:sldLayoutId id="2147500134" r:id="rId8650"/>
    <p:sldLayoutId id="2147500146" r:id="rId8651"/>
    <p:sldLayoutId id="2147500147" r:id="rId8652"/>
    <p:sldLayoutId id="2147499667" r:id="rId8653"/>
    <p:sldLayoutId id="2147500151" r:id="rId8654"/>
    <p:sldLayoutId id="2147500150" r:id="rId8655"/>
    <p:sldLayoutId id="2147499670" r:id="rId8656"/>
    <p:sldLayoutId id="2147500149" r:id="rId8657"/>
    <p:sldLayoutId id="2147499674" r:id="rId8658"/>
    <p:sldLayoutId id="2147500153" r:id="rId8659"/>
    <p:sldLayoutId id="2147500159" r:id="rId8660"/>
    <p:sldLayoutId id="2147500157" r:id="rId8661"/>
    <p:sldLayoutId id="2147500160" r:id="rId8662"/>
    <p:sldLayoutId id="2147500135" r:id="rId8663"/>
    <p:sldLayoutId id="2147500137" r:id="rId8664"/>
    <p:sldLayoutId id="2147500139" r:id="rId8665"/>
    <p:sldLayoutId id="2147500143" r:id="rId8666"/>
    <p:sldLayoutId id="2147500141" r:id="rId8667"/>
    <p:sldLayoutId id="2147500227" r:id="rId8668"/>
    <p:sldLayoutId id="2147500243" r:id="rId8669"/>
    <p:sldLayoutId id="2147500167" r:id="rId8670"/>
    <p:sldLayoutId id="2147500162" r:id="rId8671"/>
    <p:sldLayoutId id="2147500161" r:id="rId8672"/>
    <p:sldLayoutId id="2147500171" r:id="rId8673"/>
    <p:sldLayoutId id="2147500269" r:id="rId8674"/>
    <p:sldLayoutId id="2147499739" r:id="rId8675"/>
    <p:sldLayoutId id="2147499735" r:id="rId8676"/>
    <p:sldLayoutId id="2147499755" r:id="rId8677"/>
    <p:sldLayoutId id="2147499751" r:id="rId8678"/>
    <p:sldLayoutId id="2147499757" r:id="rId8679"/>
    <p:sldLayoutId id="2147500341" r:id="rId8680"/>
    <p:sldLayoutId id="2147499761" r:id="rId8681"/>
    <p:sldLayoutId id="2147500343" r:id="rId8682"/>
    <p:sldLayoutId id="2147500345" r:id="rId8683"/>
    <p:sldLayoutId id="2147499771" r:id="rId8684"/>
    <p:sldLayoutId id="2147500174" r:id="rId8685"/>
    <p:sldLayoutId id="2147500179" r:id="rId8686"/>
    <p:sldLayoutId id="2147500239" r:id="rId8687"/>
    <p:sldLayoutId id="2147500247" r:id="rId8688"/>
    <p:sldLayoutId id="2147500299" r:id="rId8689"/>
    <p:sldLayoutId id="2147500275" r:id="rId8690"/>
    <p:sldLayoutId id="2147500259" r:id="rId8691"/>
    <p:sldLayoutId id="2147500303" r:id="rId8692"/>
    <p:sldLayoutId id="2147500255" r:id="rId8693"/>
    <p:sldLayoutId id="2147499741" r:id="rId8694"/>
    <p:sldLayoutId id="2147500289" r:id="rId8695"/>
    <p:sldLayoutId id="2147499785" r:id="rId8696"/>
    <p:sldLayoutId id="2147500325" r:id="rId8697"/>
    <p:sldLayoutId id="2147499789" r:id="rId8698"/>
    <p:sldLayoutId id="2147500183" r:id="rId8699"/>
    <p:sldLayoutId id="2147500191" r:id="rId8700"/>
    <p:sldLayoutId id="2147500198" r:id="rId8701"/>
    <p:sldLayoutId id="2147500215" r:id="rId8702"/>
    <p:sldLayoutId id="2147500209" r:id="rId8703"/>
    <p:sldLayoutId id="2147500307" r:id="rId8704"/>
    <p:sldLayoutId id="2147499743" r:id="rId8705"/>
    <p:sldLayoutId id="2147500725" r:id="rId8706"/>
    <p:sldLayoutId id="2147499352" r:id="rId8707"/>
    <p:sldLayoutId id="2147498869" r:id="rId8708"/>
    <p:sldLayoutId id="2147499355" r:id="rId8709"/>
    <p:sldLayoutId id="2147499386" r:id="rId8710"/>
    <p:sldLayoutId id="2147499384" r:id="rId8711"/>
    <p:sldLayoutId id="2147499383" r:id="rId8712"/>
    <p:sldLayoutId id="2147499387" r:id="rId8713"/>
    <p:sldLayoutId id="2147499362" r:id="rId8714"/>
    <p:sldLayoutId id="2147499366" r:id="rId8715"/>
    <p:sldLayoutId id="2147499364" r:id="rId8716"/>
    <p:sldLayoutId id="2147499371" r:id="rId8717"/>
    <p:sldLayoutId id="2147499369" r:id="rId8718"/>
    <p:sldLayoutId id="2147499372" r:id="rId8719"/>
    <p:sldLayoutId id="2147499373" r:id="rId8720"/>
    <p:sldLayoutId id="2147499375" r:id="rId8721"/>
    <p:sldLayoutId id="2147499377" r:id="rId8722"/>
    <p:sldLayoutId id="2147499381" r:id="rId8723"/>
    <p:sldLayoutId id="2147499379" r:id="rId8724"/>
    <p:sldLayoutId id="2147499388" r:id="rId8725"/>
    <p:sldLayoutId id="2147499389" r:id="rId8726"/>
    <p:sldLayoutId id="2147499401" r:id="rId8727"/>
    <p:sldLayoutId id="2147499402" r:id="rId8728"/>
    <p:sldLayoutId id="2147499411" r:id="rId8729"/>
    <p:sldLayoutId id="2147499406" r:id="rId8730"/>
    <p:sldLayoutId id="2147499405" r:id="rId8731"/>
    <p:sldLayoutId id="2147499412" r:id="rId8732"/>
    <p:sldLayoutId id="2147499404" r:id="rId8733"/>
    <p:sldLayoutId id="2147499413" r:id="rId8734"/>
    <p:sldLayoutId id="2147499408" r:id="rId8735"/>
    <p:sldLayoutId id="2147499418" r:id="rId8736"/>
    <p:sldLayoutId id="2147499416" r:id="rId8737"/>
    <p:sldLayoutId id="2147499419" r:id="rId8738"/>
    <p:sldLayoutId id="2147499390" r:id="rId8739"/>
    <p:sldLayoutId id="2147499392" r:id="rId8740"/>
    <p:sldLayoutId id="2147499394" r:id="rId8741"/>
    <p:sldLayoutId id="2147499398" r:id="rId8742"/>
    <p:sldLayoutId id="2147499396" r:id="rId8743"/>
    <p:sldLayoutId id="2147499438" r:id="rId8744"/>
    <p:sldLayoutId id="2147499441" r:id="rId8745"/>
    <p:sldLayoutId id="2147499423" r:id="rId8746"/>
    <p:sldLayoutId id="2147499421" r:id="rId8747"/>
    <p:sldLayoutId id="2147499420" r:id="rId8748"/>
    <p:sldLayoutId id="2147499424" r:id="rId8749"/>
    <p:sldLayoutId id="2147499447" r:id="rId8750"/>
    <p:sldLayoutId id="2147499457" r:id="rId8751"/>
    <p:sldLayoutId id="2147499453" r:id="rId8752"/>
    <p:sldLayoutId id="2147503184" r:id="rId8753"/>
    <p:sldLayoutId id="2147501323" r:id="rId8754"/>
    <p:sldLayoutId id="2147503185" r:id="rId8755"/>
    <p:sldLayoutId id="2147503186" r:id="rId8756"/>
    <p:sldLayoutId id="2147503188" r:id="rId8757"/>
    <p:sldLayoutId id="2147503190" r:id="rId8758"/>
    <p:sldLayoutId id="2147503194" r:id="rId8759"/>
    <p:sldLayoutId id="2147503192" r:id="rId8760"/>
    <p:sldLayoutId id="2147499425" r:id="rId8761"/>
    <p:sldLayoutId id="2147499426" r:id="rId8762"/>
    <p:sldLayoutId id="2147499440" r:id="rId8763"/>
    <p:sldLayoutId id="2147499442" r:id="rId8764"/>
    <p:sldLayoutId id="2147499456" r:id="rId8765"/>
    <p:sldLayoutId id="2147499448" r:id="rId8766"/>
    <p:sldLayoutId id="2147499445" r:id="rId8767"/>
    <p:sldLayoutId id="2147499458" r:id="rId8768"/>
    <p:sldLayoutId id="2147499444" r:id="rId8769"/>
    <p:sldLayoutId id="2147499459" r:id="rId8770"/>
    <p:sldLayoutId id="2147499450" r:id="rId8771"/>
    <p:sldLayoutId id="2147503196" r:id="rId8772"/>
    <p:sldLayoutId id="2147499466" r:id="rId8773"/>
    <p:sldLayoutId id="2147503197" r:id="rId8774"/>
    <p:sldLayoutId id="2147499427" r:id="rId8775"/>
    <p:sldLayoutId id="2147499429" r:id="rId8776"/>
    <p:sldLayoutId id="2147499431" r:id="rId8777"/>
    <p:sldLayoutId id="2147499436" r:id="rId8778"/>
    <p:sldLayoutId id="2147499434" r:id="rId8779"/>
    <p:sldLayoutId id="2147499460" r:id="rId8780"/>
    <p:sldLayoutId id="2147499461" r:id="rId8781"/>
    <p:sldLayoutId id="2147503199" r:id="rId8782"/>
    <p:sldLayoutId id="2147503200" r:id="rId8783"/>
    <p:sldLayoutId id="2147503226" r:id="rId8784"/>
    <p:sldLayoutId id="2147503224" r:id="rId8785"/>
    <p:sldLayoutId id="2147503223" r:id="rId8786"/>
    <p:sldLayoutId id="2147503227" r:id="rId8787"/>
    <p:sldLayoutId id="2147503202" r:id="rId8788"/>
    <p:sldLayoutId id="2147503206" r:id="rId8789"/>
    <p:sldLayoutId id="2147503204" r:id="rId8790"/>
    <p:sldLayoutId id="2147503211" r:id="rId8791"/>
    <p:sldLayoutId id="2147503209" r:id="rId8792"/>
    <p:sldLayoutId id="2147503212" r:id="rId8793"/>
    <p:sldLayoutId id="2147503213" r:id="rId8794"/>
    <p:sldLayoutId id="2147503215" r:id="rId8795"/>
    <p:sldLayoutId id="2147503217" r:id="rId8796"/>
    <p:sldLayoutId id="2147503221" r:id="rId8797"/>
    <p:sldLayoutId id="2147503219" r:id="rId8798"/>
    <p:sldLayoutId id="2147503228" r:id="rId8799"/>
    <p:sldLayoutId id="2147503229" r:id="rId8800"/>
    <p:sldLayoutId id="2147503241" r:id="rId8801"/>
    <p:sldLayoutId id="2147503242" r:id="rId8802"/>
    <p:sldLayoutId id="2147503251" r:id="rId8803"/>
    <p:sldLayoutId id="2147503246" r:id="rId8804"/>
    <p:sldLayoutId id="2147503245" r:id="rId8805"/>
    <p:sldLayoutId id="2147503252" r:id="rId8806"/>
    <p:sldLayoutId id="2147503244" r:id="rId8807"/>
    <p:sldLayoutId id="2147503253" r:id="rId8808"/>
    <p:sldLayoutId id="2147503248" r:id="rId8809"/>
    <p:sldLayoutId id="2147503258" r:id="rId8810"/>
    <p:sldLayoutId id="2147503256" r:id="rId8811"/>
    <p:sldLayoutId id="2147503259" r:id="rId8812"/>
    <p:sldLayoutId id="2147503230" r:id="rId8813"/>
    <p:sldLayoutId id="2147503232" r:id="rId8814"/>
    <p:sldLayoutId id="2147503234" r:id="rId8815"/>
    <p:sldLayoutId id="2147503238" r:id="rId8816"/>
    <p:sldLayoutId id="2147503236" r:id="rId8817"/>
    <p:sldLayoutId id="2147497962" r:id="rId8818"/>
    <p:sldLayoutId id="2147497964" r:id="rId8819"/>
    <p:sldLayoutId id="2147498074" r:id="rId8820"/>
    <p:sldLayoutId id="2147498064" r:id="rId8821"/>
    <p:sldLayoutId id="2147498058" r:id="rId8822"/>
    <p:sldLayoutId id="2147503290" r:id="rId8823"/>
    <p:sldLayoutId id="2147497968" r:id="rId8824"/>
    <p:sldLayoutId id="2147497976" r:id="rId8825"/>
    <p:sldLayoutId id="2147497972" r:id="rId8826"/>
    <p:sldLayoutId id="2147497986" r:id="rId8827"/>
    <p:sldLayoutId id="2147497982" r:id="rId8828"/>
    <p:sldLayoutId id="2147497988" r:id="rId8829"/>
    <p:sldLayoutId id="2147497998" r:id="rId8830"/>
    <p:sldLayoutId id="2147498006" r:id="rId8831"/>
    <p:sldLayoutId id="2147498012" r:id="rId8832"/>
    <p:sldLayoutId id="2147498030" r:id="rId8833"/>
    <p:sldLayoutId id="2147498020" r:id="rId8834"/>
    <p:sldLayoutId id="2147503295" r:id="rId8835"/>
    <p:sldLayoutId id="2147503298" r:id="rId8836"/>
    <p:sldLayoutId id="2147503342" r:id="rId8837"/>
    <p:sldLayoutId id="2147503345" r:id="rId8838"/>
    <p:sldLayoutId id="2147503375" r:id="rId8839"/>
    <p:sldLayoutId id="2147503357" r:id="rId8840"/>
    <p:sldLayoutId id="2147503354" r:id="rId8841"/>
    <p:sldLayoutId id="2147503378" r:id="rId8842"/>
    <p:sldLayoutId id="2147503351" r:id="rId8843"/>
    <p:sldLayoutId id="2147503382" r:id="rId8844"/>
    <p:sldLayoutId id="2147503364" r:id="rId8845"/>
    <p:sldLayoutId id="2147503396" r:id="rId8846"/>
    <p:sldLayoutId id="2147503392" r:id="rId8847"/>
    <p:sldLayoutId id="2147503398" r:id="rId8848"/>
    <p:sldLayoutId id="2147503304" r:id="rId8849"/>
    <p:sldLayoutId id="2147503311" r:id="rId8850"/>
    <p:sldLayoutId id="2147503317" r:id="rId8851"/>
    <p:sldLayoutId id="2147503331" r:id="rId8852"/>
    <p:sldLayoutId id="2147503324" r:id="rId8853"/>
    <p:sldLayoutId id="2147503436" r:id="rId8854"/>
    <p:sldLayoutId id="2147503442" r:id="rId8855"/>
    <p:sldLayoutId id="2147503406" r:id="rId8856"/>
    <p:sldLayoutId id="2147503402" r:id="rId8857"/>
    <p:sldLayoutId id="2147503400" r:id="rId8858"/>
    <p:sldLayoutId id="2147503408" r:id="rId8859"/>
    <p:sldLayoutId id="2147503454" r:id="rId8860"/>
    <p:sldLayoutId id="2147497906" r:id="rId8861"/>
    <p:sldLayoutId id="2147497898" r:id="rId8862"/>
    <p:sldLayoutId id="2147497932" r:id="rId8863"/>
    <p:sldLayoutId id="2147497926" r:id="rId8864"/>
    <p:sldLayoutId id="2147497934" r:id="rId8865"/>
    <p:sldLayoutId id="2147497936" r:id="rId8866"/>
    <p:sldLayoutId id="2147497940" r:id="rId8867"/>
    <p:sldLayoutId id="2147497944" r:id="rId8868"/>
    <p:sldLayoutId id="2147497952" r:id="rId8869"/>
    <p:sldLayoutId id="2147497948" r:id="rId8870"/>
    <p:sldLayoutId id="2147503410" r:id="rId8871"/>
    <p:sldLayoutId id="2147503412" r:id="rId8872"/>
    <p:sldLayoutId id="2147503440" r:id="rId8873"/>
    <p:sldLayoutId id="2147503444" r:id="rId8874"/>
    <p:sldLayoutId id="2147497904" r:id="rId8875"/>
    <p:sldLayoutId id="2147503456" r:id="rId8876"/>
    <p:sldLayoutId id="2147503450" r:id="rId8877"/>
    <p:sldLayoutId id="2147497908" r:id="rId8878"/>
    <p:sldLayoutId id="2147503448" r:id="rId8879"/>
    <p:sldLayoutId id="2147497910" r:id="rId8880"/>
    <p:sldLayoutId id="2147503460" r:id="rId8881"/>
    <p:sldLayoutId id="2147497956" r:id="rId8882"/>
    <p:sldLayoutId id="2147497924" r:id="rId8883"/>
    <p:sldLayoutId id="2147497958" r:id="rId8884"/>
    <p:sldLayoutId id="2147503414" r:id="rId8885"/>
    <p:sldLayoutId id="2147503418" r:id="rId8886"/>
    <p:sldLayoutId id="2147503422" r:id="rId8887"/>
    <p:sldLayoutId id="2147503432" r:id="rId8888"/>
    <p:sldLayoutId id="2147503428" r:id="rId8889"/>
    <p:sldLayoutId id="2147497912" r:id="rId8890"/>
    <p:sldLayoutId id="2147497914" r:id="rId8891"/>
    <p:sldLayoutId id="2147498066" r:id="rId8892"/>
    <p:sldLayoutId id="2147503288" r:id="rId8893"/>
    <p:sldLayoutId id="2147498143" r:id="rId8894"/>
    <p:sldLayoutId id="2147498137" r:id="rId8895"/>
    <p:sldLayoutId id="2147498134" r:id="rId8896"/>
    <p:sldLayoutId id="2147498146" r:id="rId8897"/>
    <p:sldLayoutId id="2147503306" r:id="rId8898"/>
    <p:sldLayoutId id="2147503340" r:id="rId8899"/>
    <p:sldLayoutId id="2147503326" r:id="rId8900"/>
    <p:sldLayoutId id="2147503387" r:id="rId8901"/>
    <p:sldLayoutId id="2147503373" r:id="rId8902"/>
    <p:sldLayoutId id="2147498079" r:id="rId8903"/>
    <p:sldLayoutId id="2147498094" r:id="rId8904"/>
    <p:sldLayoutId id="2147498104" r:id="rId8905"/>
    <p:sldLayoutId id="2147498114" r:id="rId8906"/>
    <p:sldLayoutId id="2147498128" r:id="rId8907"/>
    <p:sldLayoutId id="2147498122" r:id="rId8908"/>
    <p:sldLayoutId id="2147498149" r:id="rId8909"/>
    <p:sldLayoutId id="2147498152" r:id="rId8910"/>
    <p:sldLayoutId id="2147498183" r:id="rId8911"/>
    <p:sldLayoutId id="2147498185" r:id="rId8912"/>
    <p:sldLayoutId id="2147498203" r:id="rId8913"/>
    <p:sldLayoutId id="2147498193" r:id="rId8914"/>
    <p:sldLayoutId id="2147498191" r:id="rId8915"/>
    <p:sldLayoutId id="2147498205" r:id="rId8916"/>
    <p:sldLayoutId id="2147498189" r:id="rId8917"/>
    <p:sldLayoutId id="2147498207" r:id="rId8918"/>
    <p:sldLayoutId id="2147498197" r:id="rId8919"/>
    <p:sldLayoutId id="2147498217" r:id="rId8920"/>
    <p:sldLayoutId id="2147498213" r:id="rId8921"/>
    <p:sldLayoutId id="2147498219" r:id="rId8922"/>
    <p:sldLayoutId id="2147498155" r:id="rId8923"/>
    <p:sldLayoutId id="2147498161" r:id="rId8924"/>
    <p:sldLayoutId id="2147498167" r:id="rId8925"/>
    <p:sldLayoutId id="2147498177" r:id="rId8926"/>
    <p:sldLayoutId id="2147498173" r:id="rId8927"/>
    <p:sldLayoutId id="2147498000" r:id="rId8928"/>
    <p:sldLayoutId id="2147498004" r:id="rId8929"/>
    <p:sldLayoutId id="2147503263" r:id="rId8930"/>
    <p:sldLayoutId id="2147503261" r:id="rId8931"/>
    <p:sldLayoutId id="2147503260" r:id="rId8932"/>
    <p:sldLayoutId id="2147497990" r:id="rId8933"/>
    <p:sldLayoutId id="2147498014" r:id="rId8934"/>
    <p:sldLayoutId id="2147498028" r:id="rId8935"/>
    <p:sldLayoutId id="2147498022" r:id="rId8936"/>
    <p:sldLayoutId id="2147498042" r:id="rId8937"/>
    <p:sldLayoutId id="2147498038" r:id="rId8938"/>
    <p:sldLayoutId id="2147498044" r:id="rId8939"/>
    <p:sldLayoutId id="2147498046" r:id="rId8940"/>
    <p:sldLayoutId id="2147498050" r:id="rId8941"/>
    <p:sldLayoutId id="2147498056" r:id="rId8942"/>
    <p:sldLayoutId id="2147498072" r:id="rId8943"/>
    <p:sldLayoutId id="2147498062" r:id="rId8944"/>
    <p:sldLayoutId id="2147497992" r:id="rId8945"/>
    <p:sldLayoutId id="2147497994" r:id="rId8946"/>
    <p:sldLayoutId id="2147498410" r:id="rId8947"/>
    <p:sldLayoutId id="2147498412" r:id="rId8948"/>
    <p:sldLayoutId id="2147498464" r:id="rId8949"/>
    <p:sldLayoutId id="2147498460" r:id="rId8950"/>
    <p:sldLayoutId id="2147498458" r:id="rId8951"/>
    <p:sldLayoutId id="2147498466" r:id="rId8952"/>
    <p:sldLayoutId id="2147498416" r:id="rId8953"/>
    <p:sldLayoutId id="2147498424" r:id="rId8954"/>
    <p:sldLayoutId id="2147498420" r:id="rId8955"/>
    <p:sldLayoutId id="2147498434" r:id="rId8956"/>
    <p:sldLayoutId id="2147498430" r:id="rId8957"/>
    <p:sldLayoutId id="2147498436" r:id="rId8958"/>
    <p:sldLayoutId id="2147498438" r:id="rId8959"/>
    <p:sldLayoutId id="2147498442" r:id="rId8960"/>
    <p:sldLayoutId id="2147498446" r:id="rId8961"/>
    <p:sldLayoutId id="2147498454" r:id="rId8962"/>
    <p:sldLayoutId id="2147498450" r:id="rId8963"/>
    <p:sldLayoutId id="2147498468" r:id="rId8964"/>
    <p:sldLayoutId id="2147498470" r:id="rId8965"/>
    <p:sldLayoutId id="2147498502" r:id="rId8966"/>
    <p:sldLayoutId id="2147498504" r:id="rId8967"/>
    <p:sldLayoutId id="2147498522" r:id="rId8968"/>
    <p:sldLayoutId id="2147498512" r:id="rId8969"/>
    <p:sldLayoutId id="2147498510" r:id="rId8970"/>
    <p:sldLayoutId id="2147498524" r:id="rId8971"/>
    <p:sldLayoutId id="2147498508" r:id="rId8972"/>
    <p:sldLayoutId id="2147498526" r:id="rId8973"/>
    <p:sldLayoutId id="2147498516" r:id="rId8974"/>
    <p:sldLayoutId id="2147498536" r:id="rId8975"/>
    <p:sldLayoutId id="2147498532" r:id="rId8976"/>
    <p:sldLayoutId id="2147498538" r:id="rId8977"/>
    <p:sldLayoutId id="2147498476" r:id="rId8978"/>
    <p:sldLayoutId id="2147498484" r:id="rId8979"/>
    <p:sldLayoutId id="2147498488" r:id="rId8980"/>
    <p:sldLayoutId id="2147498496" r:id="rId8981"/>
    <p:sldLayoutId id="2147498492" r:id="rId8982"/>
    <p:sldLayoutId id="2147498634" r:id="rId8983"/>
    <p:sldLayoutId id="2147498644" r:id="rId8984"/>
    <p:sldLayoutId id="2147498586" r:id="rId8985"/>
    <p:sldLayoutId id="2147498578" r:id="rId8986"/>
    <p:sldLayoutId id="2147498574" r:id="rId8987"/>
    <p:sldLayoutId id="2147498588" r:id="rId8988"/>
    <p:sldLayoutId id="2147498666" r:id="rId8989"/>
    <p:sldLayoutId id="2147498699" r:id="rId8990"/>
    <p:sldLayoutId id="2147498686" r:id="rId8991"/>
    <p:sldLayoutId id="2147498738" r:id="rId8992"/>
    <p:sldLayoutId id="2147498729" r:id="rId8993"/>
    <p:sldLayoutId id="2147498741" r:id="rId8994"/>
    <p:sldLayoutId id="2147498744" r:id="rId8995"/>
    <p:sldLayoutId id="2147498750" r:id="rId8996"/>
    <p:sldLayoutId id="2147498756" r:id="rId8997"/>
    <p:sldLayoutId id="2147498768" r:id="rId8998"/>
    <p:sldLayoutId id="2147498762" r:id="rId8999"/>
    <p:sldLayoutId id="2147498592" r:id="rId9000"/>
    <p:sldLayoutId id="2147498596" r:id="rId9001"/>
    <p:sldLayoutId id="2147498640" r:id="rId9002"/>
    <p:sldLayoutId id="2147498648" r:id="rId9003"/>
    <p:sldLayoutId id="2147498696" r:id="rId9004"/>
    <p:sldLayoutId id="2147498668" r:id="rId9005"/>
    <p:sldLayoutId id="2147498658" r:id="rId9006"/>
    <p:sldLayoutId id="2147498702" r:id="rId9007"/>
    <p:sldLayoutId id="2147498654" r:id="rId9008"/>
    <p:sldLayoutId id="2147498705" r:id="rId9009"/>
    <p:sldLayoutId id="2147498676" r:id="rId9010"/>
    <p:sldLayoutId id="2147498791" r:id="rId9011"/>
    <p:sldLayoutId id="2147498726" r:id="rId9012"/>
    <p:sldLayoutId id="2147498794" r:id="rId9013"/>
    <p:sldLayoutId id="2147498600" r:id="rId9014"/>
    <p:sldLayoutId id="2147498606" r:id="rId9015"/>
    <p:sldLayoutId id="2147498612" r:id="rId9016"/>
    <p:sldLayoutId id="2147498626" r:id="rId9017"/>
    <p:sldLayoutId id="2147498620" r:id="rId9018"/>
    <p:sldLayoutId id="2147498708" r:id="rId9019"/>
    <p:sldLayoutId id="2147498711" r:id="rId9020"/>
    <p:sldLayoutId id="2147498842" r:id="rId9021"/>
    <p:sldLayoutId id="2147498845" r:id="rId9022"/>
    <p:sldLayoutId id="2147498330" r:id="rId9023"/>
    <p:sldLayoutId id="2147498324" r:id="rId9024"/>
    <p:sldLayoutId id="2147498321" r:id="rId9025"/>
    <p:sldLayoutId id="2147498333" r:id="rId9026"/>
    <p:sldLayoutId id="2147498850" r:id="rId9027"/>
    <p:sldLayoutId id="2147498854" r:id="rId9028"/>
    <p:sldLayoutId id="2147498852" r:id="rId9029"/>
    <p:sldLayoutId id="2147498859" r:id="rId9030"/>
    <p:sldLayoutId id="2147498857" r:id="rId9031"/>
    <p:sldLayoutId id="2147498860" r:id="rId9032"/>
    <p:sldLayoutId id="2147498861" r:id="rId9033"/>
    <p:sldLayoutId id="2147498863" r:id="rId9034"/>
    <p:sldLayoutId id="2147498865" r:id="rId9035"/>
    <p:sldLayoutId id="2147498315" r:id="rId9036"/>
    <p:sldLayoutId id="2147498867" r:id="rId9037"/>
    <p:sldLayoutId id="2147498336" r:id="rId9038"/>
    <p:sldLayoutId id="2147498339" r:id="rId9039"/>
    <p:sldLayoutId id="2147498370" r:id="rId9040"/>
    <p:sldLayoutId id="2147498372" r:id="rId9041"/>
    <p:sldLayoutId id="2147498390" r:id="rId9042"/>
    <p:sldLayoutId id="2147498380" r:id="rId9043"/>
    <p:sldLayoutId id="2147498378" r:id="rId9044"/>
    <p:sldLayoutId id="2147498392" r:id="rId9045"/>
    <p:sldLayoutId id="2147498376" r:id="rId9046"/>
    <p:sldLayoutId id="2147498394" r:id="rId9047"/>
    <p:sldLayoutId id="2147498384" r:id="rId9048"/>
    <p:sldLayoutId id="2147498404" r:id="rId9049"/>
    <p:sldLayoutId id="2147498400" r:id="rId9050"/>
    <p:sldLayoutId id="2147498406" r:id="rId9051"/>
    <p:sldLayoutId id="2147498342" r:id="rId9052"/>
    <p:sldLayoutId id="2147498348" r:id="rId9053"/>
    <p:sldLayoutId id="2147498354" r:id="rId9054"/>
    <p:sldLayoutId id="2147498364" r:id="rId9055"/>
    <p:sldLayoutId id="2147498360" r:id="rId9056"/>
    <p:sldLayoutId id="2147498604" r:id="rId9057"/>
    <p:sldLayoutId id="2147498941" r:id="rId9058"/>
    <p:sldLayoutId id="2147498949" r:id="rId9059"/>
    <p:sldLayoutId id="2147498688" r:id="rId9060"/>
    <p:sldLayoutId id="2147498684" r:id="rId9061"/>
    <p:sldLayoutId id="2147498870" r:id="rId9062"/>
    <p:sldLayoutId id="2147498942" r:id="rId9063"/>
    <p:sldLayoutId id="2147498944" r:id="rId9064"/>
    <p:sldLayoutId id="2147498943" r:id="rId9065"/>
    <p:sldLayoutId id="2147498642" r:id="rId9066"/>
    <p:sldLayoutId id="2147498636" r:id="rId9067"/>
    <p:sldLayoutId id="2147498646" r:id="rId9068"/>
    <p:sldLayoutId id="2147498650" r:id="rId9069"/>
    <p:sldLayoutId id="2147498656" r:id="rId9070"/>
    <p:sldLayoutId id="2147498664" r:id="rId9071"/>
    <p:sldLayoutId id="2147498678" r:id="rId9072"/>
    <p:sldLayoutId id="2147498670" r:id="rId9073"/>
    <p:sldLayoutId id="2147498871" r:id="rId9074"/>
    <p:sldLayoutId id="2147498872" r:id="rId9075"/>
    <p:sldLayoutId id="2147498884" r:id="rId9076"/>
    <p:sldLayoutId id="2147498885" r:id="rId9077"/>
    <p:sldLayoutId id="2147498474" r:id="rId9078"/>
    <p:sldLayoutId id="2147498889" r:id="rId9079"/>
    <p:sldLayoutId id="2147498888" r:id="rId9080"/>
    <p:sldLayoutId id="2147498478" r:id="rId9081"/>
    <p:sldLayoutId id="2147498887" r:id="rId9082"/>
    <p:sldLayoutId id="2147498482" r:id="rId9083"/>
    <p:sldLayoutId id="2147498891" r:id="rId9084"/>
    <p:sldLayoutId id="2147498897" r:id="rId9085"/>
    <p:sldLayoutId id="2147498895" r:id="rId9086"/>
    <p:sldLayoutId id="2147498898" r:id="rId9087"/>
    <p:sldLayoutId id="2147498873" r:id="rId9088"/>
    <p:sldLayoutId id="2147498875" r:id="rId9089"/>
    <p:sldLayoutId id="2147498877" r:id="rId9090"/>
    <p:sldLayoutId id="2147498881" r:id="rId9091"/>
    <p:sldLayoutId id="2147498879" r:id="rId9092"/>
    <p:sldLayoutId id="2147498917" r:id="rId9093"/>
    <p:sldLayoutId id="2147498920" r:id="rId9094"/>
    <p:sldLayoutId id="2147498902" r:id="rId9095"/>
    <p:sldLayoutId id="2147498900" r:id="rId9096"/>
    <p:sldLayoutId id="2147498899" r:id="rId9097"/>
    <p:sldLayoutId id="2147498903" r:id="rId9098"/>
    <p:sldLayoutId id="2147498926" r:id="rId9099"/>
    <p:sldLayoutId id="2147498548" r:id="rId9100"/>
    <p:sldLayoutId id="2147498544" r:id="rId9101"/>
    <p:sldLayoutId id="2147498564" r:id="rId9102"/>
    <p:sldLayoutId id="2147498560" r:id="rId9103"/>
    <p:sldLayoutId id="2147498566" r:id="rId9104"/>
    <p:sldLayoutId id="2147498937" r:id="rId9105"/>
    <p:sldLayoutId id="2147498570" r:id="rId9106"/>
    <p:sldLayoutId id="2147498938" r:id="rId9107"/>
    <p:sldLayoutId id="2147498939" r:id="rId9108"/>
    <p:sldLayoutId id="2147498580" r:id="rId9109"/>
    <p:sldLayoutId id="2147498904" r:id="rId9110"/>
    <p:sldLayoutId id="2147498905" r:id="rId9111"/>
    <p:sldLayoutId id="2147498919" r:id="rId9112"/>
    <p:sldLayoutId id="2147498921" r:id="rId9113"/>
    <p:sldLayoutId id="2147498931" r:id="rId9114"/>
    <p:sldLayoutId id="2147498927" r:id="rId9115"/>
    <p:sldLayoutId id="2147498924" r:id="rId9116"/>
    <p:sldLayoutId id="2147498932" r:id="rId9117"/>
    <p:sldLayoutId id="2147498923" r:id="rId9118"/>
    <p:sldLayoutId id="2147498550" r:id="rId9119"/>
    <p:sldLayoutId id="2147498929" r:id="rId9120"/>
    <p:sldLayoutId id="2147498594" r:id="rId9121"/>
    <p:sldLayoutId id="2147498935" r:id="rId9122"/>
    <p:sldLayoutId id="2147498598" r:id="rId9123"/>
    <p:sldLayoutId id="2147498906" r:id="rId9124"/>
    <p:sldLayoutId id="2147498908" r:id="rId9125"/>
    <p:sldLayoutId id="2147498910" r:id="rId9126"/>
    <p:sldLayoutId id="2147498915" r:id="rId9127"/>
    <p:sldLayoutId id="2147498913" r:id="rId9128"/>
    <p:sldLayoutId id="2147498933" r:id="rId9129"/>
    <p:sldLayoutId id="2147498552" r:id="rId9130"/>
    <p:sldLayoutId id="2147499171" r:id="rId9131"/>
    <p:sldLayoutId id="2147499172" r:id="rId9132"/>
    <p:sldLayoutId id="2147499198" r:id="rId9133"/>
    <p:sldLayoutId id="2147499196" r:id="rId9134"/>
    <p:sldLayoutId id="2147499195" r:id="rId9135"/>
    <p:sldLayoutId id="2147499199" r:id="rId9136"/>
    <p:sldLayoutId id="2147499174" r:id="rId9137"/>
    <p:sldLayoutId id="2147499178" r:id="rId9138"/>
    <p:sldLayoutId id="2147499176" r:id="rId9139"/>
    <p:sldLayoutId id="2147499183" r:id="rId9140"/>
    <p:sldLayoutId id="2147499181" r:id="rId9141"/>
    <p:sldLayoutId id="2147499184" r:id="rId9142"/>
    <p:sldLayoutId id="2147499185" r:id="rId9143"/>
    <p:sldLayoutId id="2147499187" r:id="rId9144"/>
    <p:sldLayoutId id="2147499189" r:id="rId9145"/>
    <p:sldLayoutId id="2147499193" r:id="rId9146"/>
    <p:sldLayoutId id="2147499191" r:id="rId9147"/>
    <p:sldLayoutId id="2147499200" r:id="rId9148"/>
    <p:sldLayoutId id="2147499201" r:id="rId9149"/>
    <p:sldLayoutId id="2147499213" r:id="rId9150"/>
    <p:sldLayoutId id="2147499214" r:id="rId9151"/>
    <p:sldLayoutId id="2147499223" r:id="rId9152"/>
    <p:sldLayoutId id="2147499218" r:id="rId9153"/>
    <p:sldLayoutId id="2147499217" r:id="rId9154"/>
    <p:sldLayoutId id="2147499224" r:id="rId9155"/>
    <p:sldLayoutId id="2147499216" r:id="rId9156"/>
    <p:sldLayoutId id="2147499225" r:id="rId9157"/>
    <p:sldLayoutId id="2147499220" r:id="rId9158"/>
    <p:sldLayoutId id="2147499230" r:id="rId9159"/>
    <p:sldLayoutId id="2147499228" r:id="rId9160"/>
    <p:sldLayoutId id="2147499231" r:id="rId9161"/>
    <p:sldLayoutId id="2147499202" r:id="rId9162"/>
    <p:sldLayoutId id="2147499204" r:id="rId9163"/>
    <p:sldLayoutId id="2147499206" r:id="rId9164"/>
    <p:sldLayoutId id="2147499210" r:id="rId9165"/>
    <p:sldLayoutId id="2147499208" r:id="rId9166"/>
    <p:sldLayoutId id="2147499250" r:id="rId9167"/>
    <p:sldLayoutId id="2147499253" r:id="rId9168"/>
    <p:sldLayoutId id="2147499235" r:id="rId9169"/>
    <p:sldLayoutId id="2147499233" r:id="rId9170"/>
    <p:sldLayoutId id="2147499232" r:id="rId9171"/>
    <p:sldLayoutId id="2147499236" r:id="rId9172"/>
    <p:sldLayoutId id="2147499259" r:id="rId9173"/>
    <p:sldLayoutId id="2147499269" r:id="rId9174"/>
    <p:sldLayoutId id="2147499265" r:id="rId9175"/>
    <p:sldLayoutId id="2147499282" r:id="rId9176"/>
    <p:sldLayoutId id="2147499279" r:id="rId9177"/>
    <p:sldLayoutId id="2147499283" r:id="rId9178"/>
    <p:sldLayoutId id="2147499284" r:id="rId9179"/>
    <p:sldLayoutId id="2147499286" r:id="rId9180"/>
    <p:sldLayoutId id="2147499288" r:id="rId9181"/>
    <p:sldLayoutId id="2147499292" r:id="rId9182"/>
    <p:sldLayoutId id="2147499290" r:id="rId9183"/>
    <p:sldLayoutId id="2147499237" r:id="rId9184"/>
    <p:sldLayoutId id="2147499238" r:id="rId9185"/>
    <p:sldLayoutId id="2147499252" r:id="rId9186"/>
    <p:sldLayoutId id="2147499254" r:id="rId9187"/>
    <p:sldLayoutId id="2147499268" r:id="rId9188"/>
    <p:sldLayoutId id="2147499260" r:id="rId9189"/>
    <p:sldLayoutId id="2147499257" r:id="rId9190"/>
    <p:sldLayoutId id="2147499270" r:id="rId9191"/>
    <p:sldLayoutId id="2147499256" r:id="rId9192"/>
    <p:sldLayoutId id="2147499271" r:id="rId9193"/>
    <p:sldLayoutId id="2147499262" r:id="rId9194"/>
    <p:sldLayoutId id="2147499294" r:id="rId9195"/>
    <p:sldLayoutId id="2147499278" r:id="rId9196"/>
    <p:sldLayoutId id="2147499295" r:id="rId9197"/>
    <p:sldLayoutId id="2147499239" r:id="rId9198"/>
    <p:sldLayoutId id="2147499241" r:id="rId9199"/>
    <p:sldLayoutId id="2147499243" r:id="rId9200"/>
    <p:sldLayoutId id="2147499248" r:id="rId9201"/>
    <p:sldLayoutId id="2147499246" r:id="rId9202"/>
    <p:sldLayoutId id="2147499272" r:id="rId9203"/>
    <p:sldLayoutId id="2147499273" r:id="rId9204"/>
    <p:sldLayoutId id="2147499297" r:id="rId9205"/>
    <p:sldLayoutId id="2147499298" r:id="rId9206"/>
    <p:sldLayoutId id="2147499324" r:id="rId9207"/>
    <p:sldLayoutId id="2147499322" r:id="rId9208"/>
    <p:sldLayoutId id="2147499321" r:id="rId9209"/>
    <p:sldLayoutId id="2147499325" r:id="rId9210"/>
    <p:sldLayoutId id="2147499300" r:id="rId9211"/>
    <p:sldLayoutId id="2147499304" r:id="rId9212"/>
    <p:sldLayoutId id="2147499302" r:id="rId9213"/>
    <p:sldLayoutId id="2147499309" r:id="rId9214"/>
    <p:sldLayoutId id="2147499307" r:id="rId9215"/>
    <p:sldLayoutId id="2147499310" r:id="rId9216"/>
    <p:sldLayoutId id="2147499311" r:id="rId9217"/>
    <p:sldLayoutId id="2147499313" r:id="rId9218"/>
    <p:sldLayoutId id="2147499315" r:id="rId9219"/>
    <p:sldLayoutId id="2147499319" r:id="rId9220"/>
    <p:sldLayoutId id="2147499317" r:id="rId9221"/>
    <p:sldLayoutId id="2147499326" r:id="rId9222"/>
    <p:sldLayoutId id="2147499327" r:id="rId9223"/>
    <p:sldLayoutId id="2147499339" r:id="rId9224"/>
    <p:sldLayoutId id="2147499340" r:id="rId9225"/>
    <p:sldLayoutId id="2147499350" r:id="rId9226"/>
    <p:sldLayoutId id="2147499344" r:id="rId9227"/>
    <p:sldLayoutId id="2147499343" r:id="rId9228"/>
    <p:sldLayoutId id="2147499351" r:id="rId9229"/>
    <p:sldLayoutId id="2147499342" r:id="rId9230"/>
    <p:sldLayoutId id="2147499353" r:id="rId9231"/>
    <p:sldLayoutId id="2147499346" r:id="rId9232"/>
    <p:sldLayoutId id="2147499359" r:id="rId9233"/>
    <p:sldLayoutId id="2147499357" r:id="rId9234"/>
    <p:sldLayoutId id="2147499361" r:id="rId9235"/>
    <p:sldLayoutId id="2147499328" r:id="rId9236"/>
    <p:sldLayoutId id="2147499330" r:id="rId9237"/>
    <p:sldLayoutId id="2147499332" r:id="rId9238"/>
    <p:sldLayoutId id="2147499336" r:id="rId9239"/>
    <p:sldLayoutId id="2147499334" r:id="rId9240"/>
    <p:sldLayoutId id="2147499065" r:id="rId9241"/>
    <p:sldLayoutId id="2147499066" r:id="rId9242"/>
    <p:sldLayoutId id="2147499121" r:id="rId9243"/>
    <p:sldLayoutId id="2147499116" r:id="rId9244"/>
    <p:sldLayoutId id="2147499113" r:id="rId9245"/>
    <p:sldLayoutId id="2147498955" r:id="rId9246"/>
    <p:sldLayoutId id="2147499068" r:id="rId9247"/>
    <p:sldLayoutId id="2147499072" r:id="rId9248"/>
    <p:sldLayoutId id="2147499070" r:id="rId9249"/>
    <p:sldLayoutId id="2147499077" r:id="rId9250"/>
    <p:sldLayoutId id="2147499075" r:id="rId9251"/>
    <p:sldLayoutId id="2147499078" r:id="rId9252"/>
    <p:sldLayoutId id="2147499083" r:id="rId9253"/>
    <p:sldLayoutId id="2147499087" r:id="rId9254"/>
    <p:sldLayoutId id="2147499090" r:id="rId9255"/>
    <p:sldLayoutId id="2147499099" r:id="rId9256"/>
    <p:sldLayoutId id="2147499094" r:id="rId9257"/>
    <p:sldLayoutId id="2147498957" r:id="rId9258"/>
    <p:sldLayoutId id="2147498958" r:id="rId9259"/>
    <p:sldLayoutId id="2147498976" r:id="rId9260"/>
    <p:sldLayoutId id="2147498977" r:id="rId9261"/>
    <p:sldLayoutId id="2147498989" r:id="rId9262"/>
    <p:sldLayoutId id="2147498981" r:id="rId9263"/>
    <p:sldLayoutId id="2147498980" r:id="rId9264"/>
    <p:sldLayoutId id="2147498990" r:id="rId9265"/>
    <p:sldLayoutId id="2147498979" r:id="rId9266"/>
    <p:sldLayoutId id="2147498992" r:id="rId9267"/>
    <p:sldLayoutId id="2147498984" r:id="rId9268"/>
    <p:sldLayoutId id="2147498998" r:id="rId9269"/>
    <p:sldLayoutId id="2147498996" r:id="rId9270"/>
    <p:sldLayoutId id="2147498999" r:id="rId9271"/>
    <p:sldLayoutId id="2147498960" r:id="rId9272"/>
    <p:sldLayoutId id="2147498963" r:id="rId9273"/>
    <p:sldLayoutId id="2147498965" r:id="rId9274"/>
    <p:sldLayoutId id="2147498971" r:id="rId9275"/>
    <p:sldLayoutId id="2147498968" r:id="rId9276"/>
    <p:sldLayoutId id="2147499018" r:id="rId9277"/>
    <p:sldLayoutId id="2147499021" r:id="rId9278"/>
    <p:sldLayoutId id="2147499003" r:id="rId9279"/>
    <p:sldLayoutId id="2147499001" r:id="rId9280"/>
    <p:sldLayoutId id="2147499000" r:id="rId9281"/>
    <p:sldLayoutId id="2147499004" r:id="rId9282"/>
    <p:sldLayoutId id="2147499027" r:id="rId9283"/>
    <p:sldLayoutId id="2147499037" r:id="rId9284"/>
    <p:sldLayoutId id="2147499033" r:id="rId9285"/>
    <p:sldLayoutId id="2147499050" r:id="rId9286"/>
    <p:sldLayoutId id="2147499047" r:id="rId9287"/>
    <p:sldLayoutId id="2147499051" r:id="rId9288"/>
    <p:sldLayoutId id="2147499052" r:id="rId9289"/>
    <p:sldLayoutId id="2147499054" r:id="rId9290"/>
    <p:sldLayoutId id="2147499056" r:id="rId9291"/>
    <p:sldLayoutId id="2147499060" r:id="rId9292"/>
    <p:sldLayoutId id="2147499058" r:id="rId9293"/>
    <p:sldLayoutId id="2147499005" r:id="rId9294"/>
    <p:sldLayoutId id="2147499006" r:id="rId9295"/>
    <p:sldLayoutId id="2147499020" r:id="rId9296"/>
    <p:sldLayoutId id="2147499022" r:id="rId9297"/>
    <p:sldLayoutId id="2147499036" r:id="rId9298"/>
    <p:sldLayoutId id="2147499028" r:id="rId9299"/>
    <p:sldLayoutId id="2147499025" r:id="rId9300"/>
    <p:sldLayoutId id="2147499038" r:id="rId9301"/>
    <p:sldLayoutId id="2147499024" r:id="rId9302"/>
    <p:sldLayoutId id="2147499039" r:id="rId9303"/>
    <p:sldLayoutId id="2147499030" r:id="rId9304"/>
    <p:sldLayoutId id="2147499062" r:id="rId9305"/>
    <p:sldLayoutId id="2147499046" r:id="rId9306"/>
    <p:sldLayoutId id="2147499063" r:id="rId9307"/>
    <p:sldLayoutId id="2147499007" r:id="rId9308"/>
    <p:sldLayoutId id="2147499009" r:id="rId9309"/>
    <p:sldLayoutId id="2147499011" r:id="rId9310"/>
    <p:sldLayoutId id="2147499016" r:id="rId9311"/>
    <p:sldLayoutId id="2147499014" r:id="rId9312"/>
    <p:sldLayoutId id="2147499040" r:id="rId9313"/>
    <p:sldLayoutId id="2147499041" r:id="rId9314"/>
    <p:sldLayoutId id="2147499117" r:id="rId9315"/>
    <p:sldLayoutId id="2147498954" r:id="rId9316"/>
    <p:sldLayoutId id="2147499136" r:id="rId9317"/>
    <p:sldLayoutId id="2147499134" r:id="rId9318"/>
    <p:sldLayoutId id="2147499133" r:id="rId9319"/>
    <p:sldLayoutId id="2147499137" r:id="rId9320"/>
    <p:sldLayoutId id="2147498961" r:id="rId9321"/>
    <p:sldLayoutId id="2147498975" r:id="rId9322"/>
    <p:sldLayoutId id="2147498969" r:id="rId9323"/>
    <p:sldLayoutId id="2147498994" r:id="rId9324"/>
    <p:sldLayoutId id="2147498988" r:id="rId9325"/>
    <p:sldLayoutId id="2147499122" r:id="rId9326"/>
    <p:sldLayoutId id="2147499123" r:id="rId9327"/>
    <p:sldLayoutId id="2147499125" r:id="rId9328"/>
    <p:sldLayoutId id="2147499127" r:id="rId9329"/>
    <p:sldLayoutId id="2147499131" r:id="rId9330"/>
    <p:sldLayoutId id="2147499129" r:id="rId9331"/>
    <p:sldLayoutId id="2147499138" r:id="rId9332"/>
    <p:sldLayoutId id="2147499139" r:id="rId9333"/>
    <p:sldLayoutId id="2147499151" r:id="rId9334"/>
    <p:sldLayoutId id="2147499152" r:id="rId9335"/>
    <p:sldLayoutId id="2147499161" r:id="rId9336"/>
    <p:sldLayoutId id="2147499156" r:id="rId9337"/>
    <p:sldLayoutId id="2147499155" r:id="rId9338"/>
    <p:sldLayoutId id="2147499162" r:id="rId9339"/>
    <p:sldLayoutId id="2147499154" r:id="rId9340"/>
    <p:sldLayoutId id="2147499163" r:id="rId9341"/>
    <p:sldLayoutId id="2147499158" r:id="rId9342"/>
    <p:sldLayoutId id="2147499168" r:id="rId9343"/>
    <p:sldLayoutId id="2147499166" r:id="rId9344"/>
    <p:sldLayoutId id="2147499169" r:id="rId9345"/>
    <p:sldLayoutId id="2147499140" r:id="rId9346"/>
    <p:sldLayoutId id="2147499142" r:id="rId9347"/>
    <p:sldLayoutId id="2147499144" r:id="rId9348"/>
    <p:sldLayoutId id="2147499148" r:id="rId9349"/>
    <p:sldLayoutId id="2147499146" r:id="rId9350"/>
    <p:sldLayoutId id="2147499084" r:id="rId9351"/>
    <p:sldLayoutId id="2147499086" r:id="rId9352"/>
    <p:sldLayoutId id="2147498953" r:id="rId9353"/>
    <p:sldLayoutId id="2147498951" r:id="rId9354"/>
    <p:sldLayoutId id="2147498950" r:id="rId9355"/>
    <p:sldLayoutId id="2147499079" r:id="rId9356"/>
    <p:sldLayoutId id="2147499091" r:id="rId9357"/>
    <p:sldLayoutId id="2147499098" r:id="rId9358"/>
    <p:sldLayoutId id="2147499095" r:id="rId9359"/>
    <p:sldLayoutId id="2147499105" r:id="rId9360"/>
    <p:sldLayoutId id="2147499103" r:id="rId9361"/>
    <p:sldLayoutId id="2147499106" r:id="rId9362"/>
    <p:sldLayoutId id="2147499107" r:id="rId9363"/>
    <p:sldLayoutId id="2147499109" r:id="rId9364"/>
    <p:sldLayoutId id="2147499112" r:id="rId9365"/>
    <p:sldLayoutId id="2147499120" r:id="rId9366"/>
    <p:sldLayoutId id="2147499115" r:id="rId9367"/>
    <p:sldLayoutId id="2147499080" r:id="rId9368"/>
    <p:sldLayoutId id="2147499081" r:id="rId9369"/>
    <p:sldLayoutId id="2147498039" r:id="rId9370"/>
    <p:sldLayoutId id="2147498043" r:id="rId9371"/>
    <p:sldLayoutId id="2147498113" r:id="rId9372"/>
    <p:sldLayoutId id="2147498111" r:id="rId9373"/>
    <p:sldLayoutId id="2147498110" r:id="rId9374"/>
    <p:sldLayoutId id="2147498115" r:id="rId9375"/>
    <p:sldLayoutId id="2147498053" r:id="rId9376"/>
    <p:sldLayoutId id="2147498067" r:id="rId9377"/>
    <p:sldLayoutId id="2147498061" r:id="rId9378"/>
    <p:sldLayoutId id="2147498081" r:id="rId9379"/>
    <p:sldLayoutId id="2147498077" r:id="rId9380"/>
    <p:sldLayoutId id="2147498083" r:id="rId9381"/>
    <p:sldLayoutId id="2147498087" r:id="rId9382"/>
    <p:sldLayoutId id="2147498090" r:id="rId9383"/>
    <p:sldLayoutId id="2147498093" r:id="rId9384"/>
    <p:sldLayoutId id="2147498101" r:id="rId9385"/>
    <p:sldLayoutId id="2147498097" r:id="rId9386"/>
    <p:sldLayoutId id="2147498116" r:id="rId9387"/>
    <p:sldLayoutId id="2147498117" r:id="rId9388"/>
    <p:sldLayoutId id="2147498138" r:id="rId9389"/>
    <p:sldLayoutId id="2147498139" r:id="rId9390"/>
    <p:sldLayoutId id="2147498153" r:id="rId9391"/>
    <p:sldLayoutId id="2147498145" r:id="rId9392"/>
    <p:sldLayoutId id="2147498144" r:id="rId9393"/>
    <p:sldLayoutId id="2147498154" r:id="rId9394"/>
    <p:sldLayoutId id="2147498142" r:id="rId9395"/>
    <p:sldLayoutId id="2147498156" r:id="rId9396"/>
    <p:sldLayoutId id="2147498148" r:id="rId9397"/>
    <p:sldLayoutId id="2147498163" r:id="rId9398"/>
    <p:sldLayoutId id="2147498160" r:id="rId9399"/>
    <p:sldLayoutId id="2147498165" r:id="rId9400"/>
    <p:sldLayoutId id="2147498118" r:id="rId9401"/>
    <p:sldLayoutId id="2147498121" r:id="rId9402"/>
    <p:sldLayoutId id="2147498126" r:id="rId9403"/>
    <p:sldLayoutId id="2147498133" r:id="rId9404"/>
    <p:sldLayoutId id="2147498130" r:id="rId9405"/>
    <p:sldLayoutId id="2147498227" r:id="rId9406"/>
    <p:sldLayoutId id="2147498232" r:id="rId9407"/>
    <p:sldLayoutId id="2147498188" r:id="rId9408"/>
    <p:sldLayoutId id="2147498182" r:id="rId9409"/>
    <p:sldLayoutId id="2147498180" r:id="rId9410"/>
    <p:sldLayoutId id="2147498192" r:id="rId9411"/>
    <p:sldLayoutId id="2147498241" r:id="rId9412"/>
    <p:sldLayoutId id="2147498251" r:id="rId9413"/>
    <p:sldLayoutId id="2147498247" r:id="rId9414"/>
    <p:sldLayoutId id="2147498264" r:id="rId9415"/>
    <p:sldLayoutId id="2147498261" r:id="rId9416"/>
    <p:sldLayoutId id="2147498265" r:id="rId9417"/>
    <p:sldLayoutId id="2147498266" r:id="rId9418"/>
    <p:sldLayoutId id="2147498268" r:id="rId9419"/>
    <p:sldLayoutId id="2147498270" r:id="rId9420"/>
    <p:sldLayoutId id="2147498274" r:id="rId9421"/>
    <p:sldLayoutId id="2147498272" r:id="rId9422"/>
    <p:sldLayoutId id="2147498194" r:id="rId9423"/>
    <p:sldLayoutId id="2147498198" r:id="rId9424"/>
    <p:sldLayoutId id="2147498230" r:id="rId9425"/>
    <p:sldLayoutId id="2147498233" r:id="rId9426"/>
    <p:sldLayoutId id="2147498250" r:id="rId9427"/>
    <p:sldLayoutId id="2147498242" r:id="rId9428"/>
    <p:sldLayoutId id="2147498238" r:id="rId9429"/>
    <p:sldLayoutId id="2147498252" r:id="rId9430"/>
    <p:sldLayoutId id="2147498236" r:id="rId9431"/>
    <p:sldLayoutId id="2147498253" r:id="rId9432"/>
    <p:sldLayoutId id="2147498244" r:id="rId9433"/>
    <p:sldLayoutId id="2147498276" r:id="rId9434"/>
    <p:sldLayoutId id="2147498260" r:id="rId9435"/>
    <p:sldLayoutId id="2147498277" r:id="rId9436"/>
    <p:sldLayoutId id="2147498202" r:id="rId9437"/>
    <p:sldLayoutId id="2147498208" r:id="rId9438"/>
    <p:sldLayoutId id="2147498214" r:id="rId9439"/>
    <p:sldLayoutId id="2147498224" r:id="rId9440"/>
    <p:sldLayoutId id="2147498221" r:id="rId9441"/>
    <p:sldLayoutId id="2147498254" r:id="rId9442"/>
    <p:sldLayoutId id="2147498255" r:id="rId9443"/>
    <p:sldLayoutId id="2147498311" r:id="rId9444"/>
    <p:sldLayoutId id="2147498314" r:id="rId9445"/>
    <p:sldLayoutId id="2147498383" r:id="rId9446"/>
    <p:sldLayoutId id="2147498377" r:id="rId9447"/>
    <p:sldLayoutId id="2147498375" r:id="rId9448"/>
    <p:sldLayoutId id="2147498387" r:id="rId9449"/>
    <p:sldLayoutId id="2147498319" r:id="rId9450"/>
    <p:sldLayoutId id="2147498328" r:id="rId9451"/>
    <p:sldLayoutId id="2147498323" r:id="rId9452"/>
    <p:sldLayoutId id="2147498341" r:id="rId9453"/>
    <p:sldLayoutId id="2147498335" r:id="rId9454"/>
    <p:sldLayoutId id="2147498343" r:id="rId9455"/>
    <p:sldLayoutId id="2147498346" r:id="rId9456"/>
    <p:sldLayoutId id="2147498350" r:id="rId9457"/>
    <p:sldLayoutId id="2147498356" r:id="rId9458"/>
    <p:sldLayoutId id="2147498369" r:id="rId9459"/>
    <p:sldLayoutId id="2147498362" r:id="rId9460"/>
    <p:sldLayoutId id="2147498391" r:id="rId9461"/>
    <p:sldLayoutId id="2147498395" r:id="rId9462"/>
    <p:sldLayoutId id="2147498433" r:id="rId9463"/>
    <p:sldLayoutId id="2147498437" r:id="rId9464"/>
    <p:sldLayoutId id="2147498465" r:id="rId9465"/>
    <p:sldLayoutId id="2147498451" r:id="rId9466"/>
    <p:sldLayoutId id="2147498447" r:id="rId9467"/>
    <p:sldLayoutId id="2147498467" r:id="rId9468"/>
    <p:sldLayoutId id="2147498443" r:id="rId9469"/>
    <p:sldLayoutId id="2147498469" r:id="rId9470"/>
    <p:sldLayoutId id="2147498457" r:id="rId9471"/>
    <p:sldLayoutId id="2147498483" r:id="rId9472"/>
    <p:sldLayoutId id="2147498477" r:id="rId9473"/>
    <p:sldLayoutId id="2147498485" r:id="rId9474"/>
    <p:sldLayoutId id="2147498399" r:id="rId9475"/>
    <p:sldLayoutId id="2147498407" r:id="rId9476"/>
    <p:sldLayoutId id="2147498413" r:id="rId9477"/>
    <p:sldLayoutId id="2147498425" r:id="rId9478"/>
    <p:sldLayoutId id="2147498419" r:id="rId9479"/>
    <p:sldLayoutId id="2147498731" r:id="rId9480"/>
    <p:sldLayoutId id="2147498733" r:id="rId9481"/>
    <p:sldLayoutId id="2147498803" r:id="rId9482"/>
    <p:sldLayoutId id="2147498798" r:id="rId9483"/>
    <p:sldLayoutId id="2147498795" r:id="rId9484"/>
    <p:sldLayoutId id="2147498523" r:id="rId9485"/>
    <p:sldLayoutId id="2147498736" r:id="rId9486"/>
    <p:sldLayoutId id="2147498742" r:id="rId9487"/>
    <p:sldLayoutId id="2147498739" r:id="rId9488"/>
    <p:sldLayoutId id="2147498749" r:id="rId9489"/>
    <p:sldLayoutId id="2147498746" r:id="rId9490"/>
    <p:sldLayoutId id="2147498751" r:id="rId9491"/>
    <p:sldLayoutId id="2147498758" r:id="rId9492"/>
    <p:sldLayoutId id="2147498764" r:id="rId9493"/>
    <p:sldLayoutId id="2147498769" r:id="rId9494"/>
    <p:sldLayoutId id="2147498779" r:id="rId9495"/>
    <p:sldLayoutId id="2147498774" r:id="rId9496"/>
    <p:sldLayoutId id="2147498527" r:id="rId9497"/>
    <p:sldLayoutId id="2147498529" r:id="rId9498"/>
    <p:sldLayoutId id="2147498565" r:id="rId9499"/>
    <p:sldLayoutId id="2147498567" r:id="rId9500"/>
    <p:sldLayoutId id="2147498591" r:id="rId9501"/>
    <p:sldLayoutId id="2147498575" r:id="rId9502"/>
    <p:sldLayoutId id="2147498573" r:id="rId9503"/>
    <p:sldLayoutId id="2147498593" r:id="rId9504"/>
    <p:sldLayoutId id="2147498571" r:id="rId9505"/>
    <p:sldLayoutId id="2147498597" r:id="rId9506"/>
    <p:sldLayoutId id="2147498581" r:id="rId9507"/>
    <p:sldLayoutId id="2147498609" r:id="rId9508"/>
    <p:sldLayoutId id="2147498605" r:id="rId9509"/>
    <p:sldLayoutId id="2147498611" r:id="rId9510"/>
    <p:sldLayoutId id="2147498533" r:id="rId9511"/>
    <p:sldLayoutId id="2147498539" r:id="rId9512"/>
    <p:sldLayoutId id="2147498543" r:id="rId9513"/>
    <p:sldLayoutId id="2147498555" r:id="rId9514"/>
    <p:sldLayoutId id="2147498549" r:id="rId9515"/>
    <p:sldLayoutId id="2147498649" r:id="rId9516"/>
    <p:sldLayoutId id="2147498655" r:id="rId9517"/>
    <p:sldLayoutId id="2147498619" r:id="rId9518"/>
    <p:sldLayoutId id="2147498615" r:id="rId9519"/>
    <p:sldLayoutId id="2147498613" r:id="rId9520"/>
    <p:sldLayoutId id="2147498621" r:id="rId9521"/>
    <p:sldLayoutId id="2147498667" r:id="rId9522"/>
    <p:sldLayoutId id="2147498687" r:id="rId9523"/>
    <p:sldLayoutId id="2147498679" r:id="rId9524"/>
    <p:sldLayoutId id="2147498709" r:id="rId9525"/>
    <p:sldLayoutId id="2147498704" r:id="rId9526"/>
    <p:sldLayoutId id="2147498710" r:id="rId9527"/>
    <p:sldLayoutId id="2147498712" r:id="rId9528"/>
    <p:sldLayoutId id="2147498715" r:id="rId9529"/>
    <p:sldLayoutId id="2147498718" r:id="rId9530"/>
    <p:sldLayoutId id="2147498724" r:id="rId9531"/>
    <p:sldLayoutId id="2147498721" r:id="rId9532"/>
    <p:sldLayoutId id="2147498623" r:id="rId9533"/>
    <p:sldLayoutId id="2147498625" r:id="rId9534"/>
    <p:sldLayoutId id="2147498653" r:id="rId9535"/>
    <p:sldLayoutId id="2147498657" r:id="rId9536"/>
    <p:sldLayoutId id="2147498685" r:id="rId9537"/>
    <p:sldLayoutId id="2147498669" r:id="rId9538"/>
    <p:sldLayoutId id="2147498663" r:id="rId9539"/>
    <p:sldLayoutId id="2147498689" r:id="rId9540"/>
    <p:sldLayoutId id="2147498661" r:id="rId9541"/>
    <p:sldLayoutId id="2147498691" r:id="rId9542"/>
    <p:sldLayoutId id="2147498673" r:id="rId9543"/>
    <p:sldLayoutId id="2147498727" r:id="rId9544"/>
    <p:sldLayoutId id="2147498703" r:id="rId9545"/>
    <p:sldLayoutId id="2147498728" r:id="rId9546"/>
    <p:sldLayoutId id="2147498627" r:id="rId9547"/>
    <p:sldLayoutId id="2147498631" r:id="rId9548"/>
    <p:sldLayoutId id="2147498635" r:id="rId9549"/>
    <p:sldLayoutId id="2147498645" r:id="rId9550"/>
    <p:sldLayoutId id="2147498641" r:id="rId9551"/>
    <p:sldLayoutId id="2147498693" r:id="rId9552"/>
    <p:sldLayoutId id="2147498695" r:id="rId9553"/>
    <p:sldLayoutId id="2147498799" r:id="rId9554"/>
    <p:sldLayoutId id="2147498521" r:id="rId9555"/>
    <p:sldLayoutId id="2147498818" r:id="rId9556"/>
    <p:sldLayoutId id="2147498816" r:id="rId9557"/>
    <p:sldLayoutId id="2147498815" r:id="rId9558"/>
    <p:sldLayoutId id="2147498819" r:id="rId9559"/>
    <p:sldLayoutId id="2147498535" r:id="rId9560"/>
    <p:sldLayoutId id="2147498563" r:id="rId9561"/>
    <p:sldLayoutId id="2147498551" r:id="rId9562"/>
    <p:sldLayoutId id="2147498601" r:id="rId9563"/>
    <p:sldLayoutId id="2147498589" r:id="rId9564"/>
    <p:sldLayoutId id="2147498804" r:id="rId9565"/>
    <p:sldLayoutId id="2147498805" r:id="rId9566"/>
    <p:sldLayoutId id="2147498807" r:id="rId9567"/>
    <p:sldLayoutId id="2147498809" r:id="rId9568"/>
    <p:sldLayoutId id="2147498813" r:id="rId9569"/>
    <p:sldLayoutId id="2147498811" r:id="rId9570"/>
    <p:sldLayoutId id="2147498820" r:id="rId9571"/>
    <p:sldLayoutId id="2147498821" r:id="rId9572"/>
    <p:sldLayoutId id="2147498833" r:id="rId9573"/>
    <p:sldLayoutId id="2147498834" r:id="rId9574"/>
    <p:sldLayoutId id="2147498846" r:id="rId9575"/>
    <p:sldLayoutId id="2147498838" r:id="rId9576"/>
    <p:sldLayoutId id="2147498837" r:id="rId9577"/>
    <p:sldLayoutId id="2147498847" r:id="rId9578"/>
    <p:sldLayoutId id="2147498836" r:id="rId9579"/>
    <p:sldLayoutId id="2147498849" r:id="rId9580"/>
    <p:sldLayoutId id="2147498841" r:id="rId9581"/>
    <p:sldLayoutId id="2147503268" r:id="rId9582"/>
    <p:sldLayoutId id="2147503266" r:id="rId9583"/>
    <p:sldLayoutId id="2147503269" r:id="rId9584"/>
    <p:sldLayoutId id="2147498822" r:id="rId9585"/>
    <p:sldLayoutId id="2147498824" r:id="rId9586"/>
    <p:sldLayoutId id="2147498826" r:id="rId9587"/>
    <p:sldLayoutId id="2147498830" r:id="rId9588"/>
    <p:sldLayoutId id="2147498828" r:id="rId9589"/>
    <p:sldLayoutId id="2147498760" r:id="rId9590"/>
    <p:sldLayoutId id="2147498763" r:id="rId9591"/>
    <p:sldLayoutId id="2147498519" r:id="rId9592"/>
    <p:sldLayoutId id="2147498515" r:id="rId9593"/>
    <p:sldLayoutId id="2147498513" r:id="rId9594"/>
    <p:sldLayoutId id="2147498752" r:id="rId9595"/>
    <p:sldLayoutId id="2147498770" r:id="rId9596"/>
    <p:sldLayoutId id="2147498778" r:id="rId9597"/>
    <p:sldLayoutId id="2147498775" r:id="rId9598"/>
    <p:sldLayoutId id="2147498785" r:id="rId9599"/>
    <p:sldLayoutId id="2147498783" r:id="rId9600"/>
    <p:sldLayoutId id="2147498786" r:id="rId9601"/>
    <p:sldLayoutId id="2147498787" r:id="rId9602"/>
    <p:sldLayoutId id="2147498789" r:id="rId9603"/>
    <p:sldLayoutId id="2147498793" r:id="rId9604"/>
    <p:sldLayoutId id="2147498802" r:id="rId9605"/>
    <p:sldLayoutId id="2147498797" r:id="rId9606"/>
    <p:sldLayoutId id="2147498754" r:id="rId9607"/>
    <p:sldLayoutId id="2147498755" r:id="rId9608"/>
    <p:sldLayoutId id="2147503327" r:id="rId9609"/>
    <p:sldLayoutId id="2147503329" r:id="rId9610"/>
    <p:sldLayoutId id="2147503372" r:id="rId9611"/>
    <p:sldLayoutId id="2147503369" r:id="rId9612"/>
    <p:sldLayoutId id="2147503367" r:id="rId9613"/>
    <p:sldLayoutId id="2147503374" r:id="rId9614"/>
    <p:sldLayoutId id="2147503332" r:id="rId9615"/>
    <p:sldLayoutId id="2147503339" r:id="rId9616"/>
    <p:sldLayoutId id="2147503336" r:id="rId9617"/>
    <p:sldLayoutId id="2147503347" r:id="rId9618"/>
    <p:sldLayoutId id="2147503344" r:id="rId9619"/>
    <p:sldLayoutId id="2147503349" r:id="rId9620"/>
    <p:sldLayoutId id="2147503350" r:id="rId9621"/>
    <p:sldLayoutId id="2147503353" r:id="rId9622"/>
    <p:sldLayoutId id="2147503356" r:id="rId9623"/>
    <p:sldLayoutId id="2147503363" r:id="rId9624"/>
    <p:sldLayoutId id="2147503360" r:id="rId9625"/>
    <p:sldLayoutId id="2147503376" r:id="rId9626"/>
    <p:sldLayoutId id="2147503377" r:id="rId9627"/>
    <p:sldLayoutId id="2147503407" r:id="rId9628"/>
    <p:sldLayoutId id="2147503409" r:id="rId9629"/>
    <p:sldLayoutId id="2147503427" r:id="rId9630"/>
    <p:sldLayoutId id="2147503417" r:id="rId9631"/>
    <p:sldLayoutId id="2147503415" r:id="rId9632"/>
    <p:sldLayoutId id="2147503429" r:id="rId9633"/>
    <p:sldLayoutId id="2147503413" r:id="rId9634"/>
    <p:sldLayoutId id="2147503431" r:id="rId9635"/>
    <p:sldLayoutId id="2147503421" r:id="rId9636"/>
    <p:sldLayoutId id="2147503441" r:id="rId9637"/>
    <p:sldLayoutId id="2147503437" r:id="rId9638"/>
    <p:sldLayoutId id="2147503443" r:id="rId9639"/>
    <p:sldLayoutId id="2147503383" r:id="rId9640"/>
    <p:sldLayoutId id="2147503390" r:id="rId9641"/>
    <p:sldLayoutId id="2147503393" r:id="rId9642"/>
    <p:sldLayoutId id="2147503401" r:id="rId9643"/>
    <p:sldLayoutId id="2147503397" r:id="rId9644"/>
    <p:sldLayoutId id="2147497971" r:id="rId9645"/>
    <p:sldLayoutId id="2147497981" r:id="rId9646"/>
    <p:sldLayoutId id="2147497923" r:id="rId9647"/>
    <p:sldLayoutId id="2147497915" r:id="rId9648"/>
    <p:sldLayoutId id="2147497911" r:id="rId9649"/>
    <p:sldLayoutId id="2147497925" r:id="rId9650"/>
    <p:sldLayoutId id="2147498003" r:id="rId9651"/>
    <p:sldLayoutId id="2147498037" r:id="rId9652"/>
    <p:sldLayoutId id="2147498023" r:id="rId9653"/>
    <p:sldLayoutId id="2147498084" r:id="rId9654"/>
    <p:sldLayoutId id="2147498075" r:id="rId9655"/>
    <p:sldLayoutId id="2147498085" r:id="rId9656"/>
    <p:sldLayoutId id="2147498086" r:id="rId9657"/>
    <p:sldLayoutId id="2147498091" r:id="rId9658"/>
    <p:sldLayoutId id="2147498098" r:id="rId9659"/>
    <p:sldLayoutId id="2147498107" r:id="rId9660"/>
    <p:sldLayoutId id="2147498105" r:id="rId9661"/>
    <p:sldLayoutId id="2147497929" r:id="rId9662"/>
    <p:sldLayoutId id="2147497933" r:id="rId9663"/>
    <p:sldLayoutId id="2147497977" r:id="rId9664"/>
    <p:sldLayoutId id="2147497985" r:id="rId9665"/>
    <p:sldLayoutId id="2147498035" r:id="rId9666"/>
    <p:sldLayoutId id="2147498005" r:id="rId9667"/>
    <p:sldLayoutId id="2147497995" r:id="rId9668"/>
    <p:sldLayoutId id="2147498041" r:id="rId9669"/>
    <p:sldLayoutId id="2147497991" r:id="rId9670"/>
    <p:sldLayoutId id="2147498045" r:id="rId9671"/>
    <p:sldLayoutId id="2147498013" r:id="rId9672"/>
    <p:sldLayoutId id="2147498124" r:id="rId9673"/>
    <p:sldLayoutId id="2147498071" r:id="rId9674"/>
    <p:sldLayoutId id="2147498129" r:id="rId9675"/>
    <p:sldLayoutId id="2147497937" r:id="rId9676"/>
    <p:sldLayoutId id="2147497943" r:id="rId9677"/>
    <p:sldLayoutId id="2147497949" r:id="rId9678"/>
    <p:sldLayoutId id="2147497963" r:id="rId9679"/>
    <p:sldLayoutId id="2147497957" r:id="rId9680"/>
    <p:sldLayoutId id="2147498047" r:id="rId9681"/>
    <p:sldLayoutId id="2147498051" r:id="rId9682"/>
    <p:sldLayoutId id="2147498168" r:id="rId9683"/>
    <p:sldLayoutId id="2147498169" r:id="rId9684"/>
    <p:sldLayoutId id="2147503276" r:id="rId9685"/>
    <p:sldLayoutId id="2147503274" r:id="rId9686"/>
    <p:sldLayoutId id="2147503273" r:id="rId9687"/>
    <p:sldLayoutId id="2147503277" r:id="rId9688"/>
    <p:sldLayoutId id="2147498172" r:id="rId9689"/>
    <p:sldLayoutId id="2147498184" r:id="rId9690"/>
    <p:sldLayoutId id="2147498176" r:id="rId9691"/>
    <p:sldLayoutId id="2147498212" r:id="rId9692"/>
    <p:sldLayoutId id="2147498200" r:id="rId9693"/>
    <p:sldLayoutId id="2147498218" r:id="rId9694"/>
    <p:sldLayoutId id="2147498222" r:id="rId9695"/>
    <p:sldLayoutId id="2147498228" r:id="rId9696"/>
    <p:sldLayoutId id="2147498234" r:id="rId9697"/>
    <p:sldLayoutId id="2147503271" r:id="rId9698"/>
    <p:sldLayoutId id="2147498240" r:id="rId9699"/>
    <p:sldLayoutId id="2147503278" r:id="rId9700"/>
    <p:sldLayoutId id="2147503279" r:id="rId9701"/>
    <p:sldLayoutId id="2147503294" r:id="rId9702"/>
    <p:sldLayoutId id="2147503296" r:id="rId9703"/>
    <p:sldLayoutId id="2147503310" r:id="rId9704"/>
    <p:sldLayoutId id="2147503302" r:id="rId9705"/>
    <p:sldLayoutId id="2147503300" r:id="rId9706"/>
    <p:sldLayoutId id="2147503312" r:id="rId9707"/>
    <p:sldLayoutId id="2147503299" r:id="rId9708"/>
    <p:sldLayoutId id="2147503313" r:id="rId9709"/>
    <p:sldLayoutId id="2147503305" r:id="rId9710"/>
    <p:sldLayoutId id="2147503322" r:id="rId9711"/>
    <p:sldLayoutId id="2147503318" r:id="rId9712"/>
    <p:sldLayoutId id="2147503323" r:id="rId9713"/>
    <p:sldLayoutId id="2147503280" r:id="rId9714"/>
    <p:sldLayoutId id="2147503282" r:id="rId9715"/>
    <p:sldLayoutId id="2147503284" r:id="rId9716"/>
    <p:sldLayoutId id="2147503289" r:id="rId9717"/>
    <p:sldLayoutId id="2147503286" r:id="rId9718"/>
    <p:sldLayoutId id="2147497941" r:id="rId9719"/>
    <p:sldLayoutId id="2147498495" r:id="rId9720"/>
    <p:sldLayoutId id="2147498511" r:id="rId9721"/>
    <p:sldLayoutId id="2147498025" r:id="rId9722"/>
    <p:sldLayoutId id="2147498021" r:id="rId9723"/>
    <p:sldLayoutId id="2147498278" r:id="rId9724"/>
    <p:sldLayoutId id="2147498497" r:id="rId9725"/>
    <p:sldLayoutId id="2147498501" r:id="rId9726"/>
    <p:sldLayoutId id="2147498499" r:id="rId9727"/>
    <p:sldLayoutId id="2147497979" r:id="rId9728"/>
    <p:sldLayoutId id="2147497973" r:id="rId9729"/>
    <p:sldLayoutId id="2147497983" r:id="rId9730"/>
    <p:sldLayoutId id="2147497987" r:id="rId9731"/>
    <p:sldLayoutId id="2147497993" r:id="rId9732"/>
    <p:sldLayoutId id="2147498001" r:id="rId9733"/>
    <p:sldLayoutId id="2147498015" r:id="rId9734"/>
    <p:sldLayoutId id="2147498007" r:id="rId9735"/>
    <p:sldLayoutId id="2147498279" r:id="rId9736"/>
    <p:sldLayoutId id="2147498280" r:id="rId9737"/>
    <p:sldLayoutId id="2147498292" r:id="rId9738"/>
    <p:sldLayoutId id="2147498293" r:id="rId9739"/>
    <p:sldLayoutId id="2147503381" r:id="rId9740"/>
    <p:sldLayoutId id="2147498297" r:id="rId9741"/>
    <p:sldLayoutId id="2147498296" r:id="rId9742"/>
    <p:sldLayoutId id="2147503384" r:id="rId9743"/>
    <p:sldLayoutId id="2147498295" r:id="rId9744"/>
    <p:sldLayoutId id="2147503388" r:id="rId9745"/>
    <p:sldLayoutId id="2147498299" r:id="rId9746"/>
    <p:sldLayoutId id="2147498305" r:id="rId9747"/>
    <p:sldLayoutId id="2147498303" r:id="rId9748"/>
    <p:sldLayoutId id="2147498306" r:id="rId9749"/>
    <p:sldLayoutId id="2147498281" r:id="rId9750"/>
    <p:sldLayoutId id="2147498283" r:id="rId9751"/>
    <p:sldLayoutId id="2147498285" r:id="rId9752"/>
    <p:sldLayoutId id="2147498289" r:id="rId9753"/>
    <p:sldLayoutId id="2147498287" r:id="rId9754"/>
    <p:sldLayoutId id="2147498373" r:id="rId9755"/>
    <p:sldLayoutId id="2147498389" r:id="rId9756"/>
    <p:sldLayoutId id="2147498313" r:id="rId9757"/>
    <p:sldLayoutId id="2147498308" r:id="rId9758"/>
    <p:sldLayoutId id="2147498307" r:id="rId9759"/>
    <p:sldLayoutId id="2147498317" r:id="rId9760"/>
    <p:sldLayoutId id="2147498415" r:id="rId9761"/>
    <p:sldLayoutId id="2147503453" r:id="rId9762"/>
    <p:sldLayoutId id="2147503449" r:id="rId9763"/>
    <p:sldLayoutId id="2147497901" r:id="rId9764"/>
    <p:sldLayoutId id="2147497897" r:id="rId9765"/>
    <p:sldLayoutId id="2147497903" r:id="rId9766"/>
    <p:sldLayoutId id="2147498487" r:id="rId9767"/>
    <p:sldLayoutId id="2147497907" r:id="rId9768"/>
    <p:sldLayoutId id="2147498489" r:id="rId9769"/>
    <p:sldLayoutId id="2147498491" r:id="rId9770"/>
    <p:sldLayoutId id="2147497917" r:id="rId9771"/>
    <p:sldLayoutId id="2147498320" r:id="rId9772"/>
    <p:sldLayoutId id="2147498325" r:id="rId9773"/>
    <p:sldLayoutId id="2147498385" r:id="rId9774"/>
    <p:sldLayoutId id="2147498393" r:id="rId9775"/>
    <p:sldLayoutId id="2147498445" r:id="rId9776"/>
    <p:sldLayoutId id="2147498421" r:id="rId9777"/>
    <p:sldLayoutId id="2147498405" r:id="rId9778"/>
    <p:sldLayoutId id="2147498449" r:id="rId9779"/>
    <p:sldLayoutId id="2147498401" r:id="rId9780"/>
    <p:sldLayoutId id="2147503455" r:id="rId9781"/>
    <p:sldLayoutId id="2147498435" r:id="rId9782"/>
    <p:sldLayoutId id="2147497931" r:id="rId9783"/>
    <p:sldLayoutId id="2147498471" r:id="rId9784"/>
    <p:sldLayoutId id="2147497935" r:id="rId9785"/>
    <p:sldLayoutId id="2147498329" r:id="rId9786"/>
    <p:sldLayoutId id="2147498337" r:id="rId9787"/>
    <p:sldLayoutId id="2147498344" r:id="rId9788"/>
    <p:sldLayoutId id="2147498361" r:id="rId9789"/>
    <p:sldLayoutId id="2147498355" r:id="rId9790"/>
    <p:sldLayoutId id="2147498453" r:id="rId9791"/>
    <p:sldLayoutId id="2147503457" r:id="rId9792"/>
    <p:sldLayoutId id="2147483656" r:id="rId9793"/>
    <p:sldLayoutId id="2147483657" r:id="rId9794"/>
    <p:sldLayoutId id="2147488608" r:id="rId9795"/>
    <p:sldLayoutId id="2147483696" r:id="rId9796"/>
    <p:sldLayoutId id="2147483754" r:id="rId9797"/>
    <p:sldLayoutId id="2147483706" r:id="rId9798"/>
    <p:sldLayoutId id="2147483712" r:id="rId9799"/>
    <p:sldLayoutId id="2147483710" r:id="rId9800"/>
    <p:sldLayoutId id="2147483719" r:id="rId9801"/>
    <p:sldLayoutId id="2147483718" r:id="rId9802"/>
    <p:sldLayoutId id="2147483721" r:id="rId9803"/>
    <p:sldLayoutId id="2147483739" r:id="rId9804"/>
    <p:sldLayoutId id="2147483731" r:id="rId9805"/>
    <p:sldLayoutId id="2147483733" r:id="rId9806"/>
    <p:sldLayoutId id="2147483737" r:id="rId9807"/>
    <p:sldLayoutId id="2147483735" r:id="rId9808"/>
    <p:sldLayoutId id="2147483771" r:id="rId9809"/>
    <p:sldLayoutId id="2147483781" r:id="rId9810"/>
    <p:sldLayoutId id="2147483775" r:id="rId9811"/>
    <p:sldLayoutId id="2147483782" r:id="rId9812"/>
    <p:sldLayoutId id="2147483779" r:id="rId9813"/>
    <p:sldLayoutId id="2147483787" r:id="rId9814"/>
    <p:sldLayoutId id="2147483786" r:id="rId9815"/>
    <p:sldLayoutId id="2147483789" r:id="rId9816"/>
    <p:sldLayoutId id="2147483772" r:id="rId9817"/>
    <p:sldLayoutId id="2147483763" r:id="rId9818"/>
    <p:sldLayoutId id="2147483765" r:id="rId9819"/>
    <p:sldLayoutId id="2147483769" r:id="rId9820"/>
    <p:sldLayoutId id="2147483767" r:id="rId9821"/>
    <p:sldLayoutId id="2147483838" r:id="rId9822"/>
    <p:sldLayoutId id="2147483828" r:id="rId9823"/>
    <p:sldLayoutId id="2147483852" r:id="rId9824"/>
    <p:sldLayoutId id="2147483861" r:id="rId9825"/>
    <p:sldLayoutId id="2147483857" r:id="rId9826"/>
    <p:sldLayoutId id="2147483871" r:id="rId9827"/>
    <p:sldLayoutId id="2147483869" r:id="rId9828"/>
    <p:sldLayoutId id="2147483875" r:id="rId9829"/>
    <p:sldLayoutId id="2147483887" r:id="rId9830"/>
    <p:sldLayoutId id="2147483879" r:id="rId9831"/>
    <p:sldLayoutId id="2147483881" r:id="rId9832"/>
    <p:sldLayoutId id="2147483885" r:id="rId9833"/>
    <p:sldLayoutId id="2147483883" r:id="rId9834"/>
    <p:sldLayoutId id="2147483843" r:id="rId9835"/>
    <p:sldLayoutId id="2147483858" r:id="rId9836"/>
    <p:sldLayoutId id="2147483849" r:id="rId9837"/>
    <p:sldLayoutId id="2147483860" r:id="rId9838"/>
    <p:sldLayoutId id="2147483855" r:id="rId9839"/>
    <p:sldLayoutId id="2147483870" r:id="rId9840"/>
    <p:sldLayoutId id="2147483868" r:id="rId9841"/>
    <p:sldLayoutId id="2147483874" r:id="rId9842"/>
    <p:sldLayoutId id="2147483845" r:id="rId9843"/>
    <p:sldLayoutId id="2147483834" r:id="rId9844"/>
    <p:sldLayoutId id="2147483836" r:id="rId9845"/>
    <p:sldLayoutId id="2147483841" r:id="rId9846"/>
    <p:sldLayoutId id="2147483839" r:id="rId9847"/>
    <p:sldLayoutId id="2147483950" r:id="rId9848"/>
    <p:sldLayoutId id="2147483977" r:id="rId9849"/>
    <p:sldLayoutId id="2147483953" r:id="rId9850"/>
    <p:sldLayoutId id="2147483957" r:id="rId9851"/>
    <p:sldLayoutId id="2147483955" r:id="rId9852"/>
    <p:sldLayoutId id="2147483960" r:id="rId9853"/>
    <p:sldLayoutId id="2147483959" r:id="rId9854"/>
    <p:sldLayoutId id="2147483962" r:id="rId9855"/>
    <p:sldLayoutId id="2147483974" r:id="rId9856"/>
    <p:sldLayoutId id="2147483966" r:id="rId9857"/>
    <p:sldLayoutId id="2147483968" r:id="rId9858"/>
    <p:sldLayoutId id="2147483972" r:id="rId9859"/>
    <p:sldLayoutId id="2147483970" r:id="rId9860"/>
    <p:sldLayoutId id="2147483991" r:id="rId9861"/>
    <p:sldLayoutId id="2147484001" r:id="rId9862"/>
    <p:sldLayoutId id="2147483995" r:id="rId9863"/>
    <p:sldLayoutId id="2147484002" r:id="rId9864"/>
    <p:sldLayoutId id="2147483999" r:id="rId9865"/>
    <p:sldLayoutId id="2147484007" r:id="rId9866"/>
    <p:sldLayoutId id="2147484006" r:id="rId9867"/>
    <p:sldLayoutId id="2147484009" r:id="rId9868"/>
    <p:sldLayoutId id="2147483992" r:id="rId9869"/>
    <p:sldLayoutId id="2147483983" r:id="rId9870"/>
    <p:sldLayoutId id="2147483985" r:id="rId9871"/>
    <p:sldLayoutId id="2147483989" r:id="rId9872"/>
    <p:sldLayoutId id="2147483987" r:id="rId9873"/>
    <p:sldLayoutId id="2147484268" r:id="rId9874"/>
    <p:sldLayoutId id="2147484323" r:id="rId9875"/>
    <p:sldLayoutId id="2147484271" r:id="rId9876"/>
    <p:sldLayoutId id="2147484275" r:id="rId9877"/>
    <p:sldLayoutId id="2147484273" r:id="rId9878"/>
    <p:sldLayoutId id="2147484278" r:id="rId9879"/>
    <p:sldLayoutId id="2147484277" r:id="rId9880"/>
    <p:sldLayoutId id="2147484280" r:id="rId9881"/>
    <p:sldLayoutId id="2147484304" r:id="rId9882"/>
    <p:sldLayoutId id="2147484289" r:id="rId9883"/>
    <p:sldLayoutId id="2147484293" r:id="rId9884"/>
    <p:sldLayoutId id="2147484300" r:id="rId9885"/>
    <p:sldLayoutId id="2147484297" r:id="rId9886"/>
    <p:sldLayoutId id="2147484166" r:id="rId9887"/>
    <p:sldLayoutId id="2147484186" r:id="rId9888"/>
    <p:sldLayoutId id="2147484174" r:id="rId9889"/>
    <p:sldLayoutId id="2147484188" r:id="rId9890"/>
    <p:sldLayoutId id="2147484182" r:id="rId9891"/>
    <p:sldLayoutId id="2147484198" r:id="rId9892"/>
    <p:sldLayoutId id="2147484196" r:id="rId9893"/>
    <p:sldLayoutId id="2147484201" r:id="rId9894"/>
    <p:sldLayoutId id="2147484168" r:id="rId9895"/>
    <p:sldLayoutId id="2147484150" r:id="rId9896"/>
    <p:sldLayoutId id="2147484154" r:id="rId9897"/>
    <p:sldLayoutId id="2147484162" r:id="rId9898"/>
    <p:sldLayoutId id="2147484158" r:id="rId9899"/>
    <p:sldLayoutId id="2147484216" r:id="rId9900"/>
    <p:sldLayoutId id="2147484206" r:id="rId9901"/>
    <p:sldLayoutId id="2147484230" r:id="rId9902"/>
    <p:sldLayoutId id="2147484239" r:id="rId9903"/>
    <p:sldLayoutId id="2147484235" r:id="rId9904"/>
    <p:sldLayoutId id="2147484249" r:id="rId9905"/>
    <p:sldLayoutId id="2147484247" r:id="rId9906"/>
    <p:sldLayoutId id="2147484253" r:id="rId9907"/>
    <p:sldLayoutId id="2147484265" r:id="rId9908"/>
    <p:sldLayoutId id="2147484257" r:id="rId9909"/>
    <p:sldLayoutId id="2147484259" r:id="rId9910"/>
    <p:sldLayoutId id="2147484263" r:id="rId9911"/>
    <p:sldLayoutId id="2147484261" r:id="rId9912"/>
    <p:sldLayoutId id="2147484221" r:id="rId9913"/>
    <p:sldLayoutId id="2147484236" r:id="rId9914"/>
    <p:sldLayoutId id="2147484227" r:id="rId9915"/>
    <p:sldLayoutId id="2147484238" r:id="rId9916"/>
    <p:sldLayoutId id="2147484233" r:id="rId9917"/>
    <p:sldLayoutId id="2147484248" r:id="rId9918"/>
    <p:sldLayoutId id="2147484246" r:id="rId9919"/>
    <p:sldLayoutId id="2147484252" r:id="rId9920"/>
    <p:sldLayoutId id="2147484223" r:id="rId9921"/>
    <p:sldLayoutId id="2147484212" r:id="rId9922"/>
    <p:sldLayoutId id="2147484214" r:id="rId9923"/>
    <p:sldLayoutId id="2147484219" r:id="rId9924"/>
    <p:sldLayoutId id="2147484217" r:id="rId9925"/>
    <p:sldLayoutId id="2147484314" r:id="rId9926"/>
    <p:sldLayoutId id="2147484377" r:id="rId9927"/>
    <p:sldLayoutId id="2147484146" r:id="rId9928"/>
    <p:sldLayoutId id="2147484165" r:id="rId9929"/>
    <p:sldLayoutId id="2147484157" r:id="rId9930"/>
    <p:sldLayoutId id="2147484185" r:id="rId9931"/>
    <p:sldLayoutId id="2147484181" r:id="rId9932"/>
    <p:sldLayoutId id="2147484193" r:id="rId9933"/>
    <p:sldLayoutId id="2147484371" r:id="rId9934"/>
    <p:sldLayoutId id="2147484347" r:id="rId9935"/>
    <p:sldLayoutId id="2147484355" r:id="rId9936"/>
    <p:sldLayoutId id="2147484367" r:id="rId9937"/>
    <p:sldLayoutId id="2147484363" r:id="rId9938"/>
    <p:sldLayoutId id="2147484402" r:id="rId9939"/>
    <p:sldLayoutId id="2147484412" r:id="rId9940"/>
    <p:sldLayoutId id="2147484406" r:id="rId9941"/>
    <p:sldLayoutId id="2147484413" r:id="rId9942"/>
    <p:sldLayoutId id="2147484410" r:id="rId9943"/>
    <p:sldLayoutId id="2147484418" r:id="rId9944"/>
    <p:sldLayoutId id="2147484417" r:id="rId9945"/>
    <p:sldLayoutId id="2147484420" r:id="rId9946"/>
    <p:sldLayoutId id="2147484403" r:id="rId9947"/>
    <p:sldLayoutId id="2147484389" r:id="rId9948"/>
    <p:sldLayoutId id="2147484393" r:id="rId9949"/>
    <p:sldLayoutId id="2147484400" r:id="rId9950"/>
    <p:sldLayoutId id="2147484397" r:id="rId9951"/>
    <p:sldLayoutId id="2147484286" r:id="rId9952"/>
    <p:sldLayoutId id="2147484099" r:id="rId9953"/>
    <p:sldLayoutId id="2147484292" r:id="rId9954"/>
    <p:sldLayoutId id="2147484301" r:id="rId9955"/>
    <p:sldLayoutId id="2147484296" r:id="rId9956"/>
    <p:sldLayoutId id="2147484306" r:id="rId9957"/>
    <p:sldLayoutId id="2147484305" r:id="rId9958"/>
    <p:sldLayoutId id="2147484308" r:id="rId9959"/>
    <p:sldLayoutId id="2147484140" r:id="rId9960"/>
    <p:sldLayoutId id="2147484312" r:id="rId9961"/>
    <p:sldLayoutId id="2147484315" r:id="rId9962"/>
    <p:sldLayoutId id="2147484322" r:id="rId9963"/>
    <p:sldLayoutId id="2147484318" r:id="rId9964"/>
    <p:sldLayoutId id="2147484571" r:id="rId9965"/>
    <p:sldLayoutId id="2147484598" r:id="rId9966"/>
    <p:sldLayoutId id="2147484574" r:id="rId9967"/>
    <p:sldLayoutId id="2147484578" r:id="rId9968"/>
    <p:sldLayoutId id="2147484576" r:id="rId9969"/>
    <p:sldLayoutId id="2147484581" r:id="rId9970"/>
    <p:sldLayoutId id="2147484580" r:id="rId9971"/>
    <p:sldLayoutId id="2147484583" r:id="rId9972"/>
    <p:sldLayoutId id="2147484595" r:id="rId9973"/>
    <p:sldLayoutId id="2147484587" r:id="rId9974"/>
    <p:sldLayoutId id="2147484589" r:id="rId9975"/>
    <p:sldLayoutId id="2147484593" r:id="rId9976"/>
    <p:sldLayoutId id="2147484591" r:id="rId9977"/>
    <p:sldLayoutId id="2147484616" r:id="rId9978"/>
    <p:sldLayoutId id="2147484626" r:id="rId9979"/>
    <p:sldLayoutId id="2147484620" r:id="rId9980"/>
    <p:sldLayoutId id="2147484627" r:id="rId9981"/>
    <p:sldLayoutId id="2147484624" r:id="rId9982"/>
    <p:sldLayoutId id="2147484632" r:id="rId9983"/>
    <p:sldLayoutId id="2147484631" r:id="rId9984"/>
    <p:sldLayoutId id="2147484634" r:id="rId9985"/>
    <p:sldLayoutId id="2147484617" r:id="rId9986"/>
    <p:sldLayoutId id="2147484607" r:id="rId9987"/>
    <p:sldLayoutId id="2147484610" r:id="rId9988"/>
    <p:sldLayoutId id="2147484614" r:id="rId9989"/>
    <p:sldLayoutId id="2147484612" r:id="rId9990"/>
    <p:sldLayoutId id="2147484674" r:id="rId9991"/>
    <p:sldLayoutId id="2147484658" r:id="rId9992"/>
    <p:sldLayoutId id="2147484698" r:id="rId9993"/>
    <p:sldLayoutId id="2147484714" r:id="rId9994"/>
    <p:sldLayoutId id="2147484707" r:id="rId9995"/>
    <p:sldLayoutId id="2147484733" r:id="rId9996"/>
    <p:sldLayoutId id="2147484729" r:id="rId9997"/>
    <p:sldLayoutId id="2147484741" r:id="rId9998"/>
    <p:sldLayoutId id="2147484765" r:id="rId9999"/>
    <p:sldLayoutId id="2147484749" r:id="rId10000"/>
    <p:sldLayoutId id="2147484753" r:id="rId10001"/>
    <p:sldLayoutId id="2147484761" r:id="rId10002"/>
    <p:sldLayoutId id="2147484757" r:id="rId10003"/>
    <p:sldLayoutId id="2147484682" r:id="rId10004"/>
    <p:sldLayoutId id="2147484708" r:id="rId10005"/>
    <p:sldLayoutId id="2147484693" r:id="rId10006"/>
    <p:sldLayoutId id="2147484712" r:id="rId10007"/>
    <p:sldLayoutId id="2147484703" r:id="rId10008"/>
    <p:sldLayoutId id="2147484731" r:id="rId10009"/>
    <p:sldLayoutId id="2147484727" r:id="rId10010"/>
    <p:sldLayoutId id="2147484739" r:id="rId10011"/>
    <p:sldLayoutId id="2147484686" r:id="rId10012"/>
    <p:sldLayoutId id="2147484668" r:id="rId10013"/>
    <p:sldLayoutId id="2147484671" r:id="rId10014"/>
    <p:sldLayoutId id="2147484679" r:id="rId10015"/>
    <p:sldLayoutId id="2147484676" r:id="rId10016"/>
    <p:sldLayoutId id="2147484830" r:id="rId10017"/>
    <p:sldLayoutId id="2147484524" r:id="rId10018"/>
    <p:sldLayoutId id="2147484836" r:id="rId10019"/>
    <p:sldLayoutId id="2147484844" r:id="rId10020"/>
    <p:sldLayoutId id="2147484840" r:id="rId10021"/>
    <p:sldLayoutId id="2147484850" r:id="rId10022"/>
    <p:sldLayoutId id="2147484848" r:id="rId10023"/>
    <p:sldLayoutId id="2147484854" r:id="rId10024"/>
    <p:sldLayoutId id="2147484518" r:id="rId10025"/>
    <p:sldLayoutId id="2147484862" r:id="rId10026"/>
    <p:sldLayoutId id="2147484866" r:id="rId10027"/>
    <p:sldLayoutId id="2147484514" r:id="rId10028"/>
    <p:sldLayoutId id="2147484870" r:id="rId10029"/>
    <p:sldLayoutId id="2147484550" r:id="rId10030"/>
    <p:sldLayoutId id="2147484560" r:id="rId10031"/>
    <p:sldLayoutId id="2147484554" r:id="rId10032"/>
    <p:sldLayoutId id="2147484561" r:id="rId10033"/>
    <p:sldLayoutId id="2147484558" r:id="rId10034"/>
    <p:sldLayoutId id="2147484566" r:id="rId10035"/>
    <p:sldLayoutId id="2147484565" r:id="rId10036"/>
    <p:sldLayoutId id="2147484568" r:id="rId10037"/>
    <p:sldLayoutId id="2147484551" r:id="rId10038"/>
    <p:sldLayoutId id="2147484536" r:id="rId10039"/>
    <p:sldLayoutId id="2147484540" r:id="rId10040"/>
    <p:sldLayoutId id="2147484548" r:id="rId10041"/>
    <p:sldLayoutId id="2147484544" r:id="rId10042"/>
    <p:sldLayoutId id="2147485040" r:id="rId10043"/>
    <p:sldLayoutId id="2147484713" r:id="rId10044"/>
    <p:sldLayoutId id="2147484672" r:id="rId10045"/>
    <p:sldLayoutId id="2147484678" r:id="rId10046"/>
    <p:sldLayoutId id="2147484675" r:id="rId10047"/>
    <p:sldLayoutId id="2147484683" r:id="rId10048"/>
    <p:sldLayoutId id="2147484681" r:id="rId10049"/>
    <p:sldLayoutId id="2147485045" r:id="rId10050"/>
    <p:sldLayoutId id="2147485048" r:id="rId10051"/>
    <p:sldLayoutId id="2147485046" r:id="rId10052"/>
    <p:sldLayoutId id="2147484697" r:id="rId10053"/>
    <p:sldLayoutId id="2147484704" r:id="rId10054"/>
    <p:sldLayoutId id="2147485047" r:id="rId10055"/>
    <p:sldLayoutId id="2147484950" r:id="rId10056"/>
    <p:sldLayoutId id="2147484960" r:id="rId10057"/>
    <p:sldLayoutId id="2147484954" r:id="rId10058"/>
    <p:sldLayoutId id="2147484603" r:id="rId10059"/>
    <p:sldLayoutId id="2147484958" r:id="rId10060"/>
    <p:sldLayoutId id="2147484962" r:id="rId10061"/>
    <p:sldLayoutId id="2147484961" r:id="rId10062"/>
    <p:sldLayoutId id="2147484964" r:id="rId10063"/>
    <p:sldLayoutId id="2147484951" r:id="rId10064"/>
    <p:sldLayoutId id="2147484942" r:id="rId10065"/>
    <p:sldLayoutId id="2147484944" r:id="rId10066"/>
    <p:sldLayoutId id="2147484948" r:id="rId10067"/>
    <p:sldLayoutId id="2147484946" r:id="rId10068"/>
    <p:sldLayoutId id="2147484986" r:id="rId10069"/>
    <p:sldLayoutId id="2147484970" r:id="rId10070"/>
    <p:sldLayoutId id="2147485004" r:id="rId10071"/>
    <p:sldLayoutId id="2147484640" r:id="rId10072"/>
    <p:sldLayoutId id="2147484637" r:id="rId10073"/>
    <p:sldLayoutId id="2147484646" r:id="rId10074"/>
    <p:sldLayoutId id="2147484645" r:id="rId10075"/>
    <p:sldLayoutId id="2147484648" r:id="rId10076"/>
    <p:sldLayoutId id="2147484662" r:id="rId10077"/>
    <p:sldLayoutId id="2147484651" r:id="rId10078"/>
    <p:sldLayoutId id="2147484653" r:id="rId10079"/>
    <p:sldLayoutId id="2147484659" r:id="rId10080"/>
    <p:sldLayoutId id="2147484655" r:id="rId10081"/>
    <p:sldLayoutId id="2147484992" r:id="rId10082"/>
    <p:sldLayoutId id="2147484638" r:id="rId10083"/>
    <p:sldLayoutId id="2147485001" r:id="rId10084"/>
    <p:sldLayoutId id="2147485015" r:id="rId10085"/>
    <p:sldLayoutId id="2147485011" r:id="rId10086"/>
    <p:sldLayoutId id="2147485022" r:id="rId10087"/>
    <p:sldLayoutId id="2147484644" r:id="rId10088"/>
    <p:sldLayoutId id="2147485028" r:id="rId10089"/>
    <p:sldLayoutId id="2147484996" r:id="rId10090"/>
    <p:sldLayoutId id="2147484980" r:id="rId10091"/>
    <p:sldLayoutId id="2147484982" r:id="rId10092"/>
    <p:sldLayoutId id="2147484989" r:id="rId10093"/>
    <p:sldLayoutId id="2147484987" r:id="rId10094"/>
    <p:sldLayoutId id="2147485362" r:id="rId10095"/>
    <p:sldLayoutId id="2147485389" r:id="rId10096"/>
    <p:sldLayoutId id="2147485365" r:id="rId10097"/>
    <p:sldLayoutId id="2147485369" r:id="rId10098"/>
    <p:sldLayoutId id="2147485367" r:id="rId10099"/>
    <p:sldLayoutId id="2147485372" r:id="rId10100"/>
    <p:sldLayoutId id="2147485371" r:id="rId10101"/>
    <p:sldLayoutId id="2147485374" r:id="rId10102"/>
    <p:sldLayoutId id="2147485386" r:id="rId10103"/>
    <p:sldLayoutId id="2147485378" r:id="rId10104"/>
    <p:sldLayoutId id="2147485380" r:id="rId10105"/>
    <p:sldLayoutId id="2147485384" r:id="rId10106"/>
    <p:sldLayoutId id="2147485382" r:id="rId10107"/>
    <p:sldLayoutId id="2147485403" r:id="rId10108"/>
    <p:sldLayoutId id="2147485413" r:id="rId10109"/>
    <p:sldLayoutId id="2147485407" r:id="rId10110"/>
    <p:sldLayoutId id="2147485414" r:id="rId10111"/>
    <p:sldLayoutId id="2147485411" r:id="rId10112"/>
    <p:sldLayoutId id="2147485419" r:id="rId10113"/>
    <p:sldLayoutId id="2147485418" r:id="rId10114"/>
    <p:sldLayoutId id="2147485421" r:id="rId10115"/>
    <p:sldLayoutId id="2147485404" r:id="rId10116"/>
    <p:sldLayoutId id="2147485395" r:id="rId10117"/>
    <p:sldLayoutId id="2147485397" r:id="rId10118"/>
    <p:sldLayoutId id="2147485401" r:id="rId10119"/>
    <p:sldLayoutId id="2147485399" r:id="rId10120"/>
    <p:sldLayoutId id="2147485436" r:id="rId10121"/>
    <p:sldLayoutId id="2147485426" r:id="rId10122"/>
    <p:sldLayoutId id="2147485450" r:id="rId10123"/>
    <p:sldLayoutId id="2147485459" r:id="rId10124"/>
    <p:sldLayoutId id="2147485455" r:id="rId10125"/>
    <p:sldLayoutId id="2147485469" r:id="rId10126"/>
    <p:sldLayoutId id="2147485467" r:id="rId10127"/>
    <p:sldLayoutId id="2147485473" r:id="rId10128"/>
    <p:sldLayoutId id="2147485485" r:id="rId10129"/>
    <p:sldLayoutId id="2147485477" r:id="rId10130"/>
    <p:sldLayoutId id="2147485479" r:id="rId10131"/>
    <p:sldLayoutId id="2147485483" r:id="rId10132"/>
    <p:sldLayoutId id="2147485481" r:id="rId10133"/>
    <p:sldLayoutId id="2147485441" r:id="rId10134"/>
    <p:sldLayoutId id="2147485456" r:id="rId10135"/>
    <p:sldLayoutId id="2147485447" r:id="rId10136"/>
    <p:sldLayoutId id="2147485458" r:id="rId10137"/>
    <p:sldLayoutId id="2147485453" r:id="rId10138"/>
    <p:sldLayoutId id="2147485468" r:id="rId10139"/>
    <p:sldLayoutId id="2147485466" r:id="rId10140"/>
    <p:sldLayoutId id="2147485472" r:id="rId10141"/>
    <p:sldLayoutId id="2147485443" r:id="rId10142"/>
    <p:sldLayoutId id="2147485432" r:id="rId10143"/>
    <p:sldLayoutId id="2147485434" r:id="rId10144"/>
    <p:sldLayoutId id="2147485439" r:id="rId10145"/>
    <p:sldLayoutId id="2147485437" r:id="rId10146"/>
    <p:sldLayoutId id="2147485488" r:id="rId10147"/>
    <p:sldLayoutId id="2147485515" r:id="rId10148"/>
    <p:sldLayoutId id="2147485491" r:id="rId10149"/>
    <p:sldLayoutId id="2147485495" r:id="rId10150"/>
    <p:sldLayoutId id="2147485493" r:id="rId10151"/>
    <p:sldLayoutId id="2147485498" r:id="rId10152"/>
    <p:sldLayoutId id="2147485497" r:id="rId10153"/>
    <p:sldLayoutId id="2147485500" r:id="rId10154"/>
    <p:sldLayoutId id="2147485512" r:id="rId10155"/>
    <p:sldLayoutId id="2147485504" r:id="rId10156"/>
    <p:sldLayoutId id="2147485506" r:id="rId10157"/>
    <p:sldLayoutId id="2147485510" r:id="rId10158"/>
    <p:sldLayoutId id="2147485508" r:id="rId10159"/>
    <p:sldLayoutId id="2147485529" r:id="rId10160"/>
    <p:sldLayoutId id="2147485539" r:id="rId10161"/>
    <p:sldLayoutId id="2147485533" r:id="rId10162"/>
    <p:sldLayoutId id="2147485540" r:id="rId10163"/>
    <p:sldLayoutId id="2147485537" r:id="rId10164"/>
    <p:sldLayoutId id="2147485545" r:id="rId10165"/>
    <p:sldLayoutId id="2147485544" r:id="rId10166"/>
    <p:sldLayoutId id="2147485547" r:id="rId10167"/>
    <p:sldLayoutId id="2147485530" r:id="rId10168"/>
    <p:sldLayoutId id="2147485521" r:id="rId10169"/>
    <p:sldLayoutId id="2147485523" r:id="rId10170"/>
    <p:sldLayoutId id="2147485527" r:id="rId10171"/>
    <p:sldLayoutId id="2147485525" r:id="rId10172"/>
    <p:sldLayoutId id="2147485256" r:id="rId10173"/>
    <p:sldLayoutId id="2147485311" r:id="rId10174"/>
    <p:sldLayoutId id="2147485259" r:id="rId10175"/>
    <p:sldLayoutId id="2147485263" r:id="rId10176"/>
    <p:sldLayoutId id="2147485261" r:id="rId10177"/>
    <p:sldLayoutId id="2147485266" r:id="rId10178"/>
    <p:sldLayoutId id="2147485265" r:id="rId10179"/>
    <p:sldLayoutId id="2147485268" r:id="rId10180"/>
    <p:sldLayoutId id="2147485292" r:id="rId10181"/>
    <p:sldLayoutId id="2147485277" r:id="rId10182"/>
    <p:sldLayoutId id="2147485281" r:id="rId10183"/>
    <p:sldLayoutId id="2147485288" r:id="rId10184"/>
    <p:sldLayoutId id="2147485285" r:id="rId10185"/>
    <p:sldLayoutId id="2147485165" r:id="rId10186"/>
    <p:sldLayoutId id="2147485178" r:id="rId10187"/>
    <p:sldLayoutId id="2147485170" r:id="rId10188"/>
    <p:sldLayoutId id="2147485179" r:id="rId10189"/>
    <p:sldLayoutId id="2147485175" r:id="rId10190"/>
    <p:sldLayoutId id="2147485187" r:id="rId10191"/>
    <p:sldLayoutId id="2147485185" r:id="rId10192"/>
    <p:sldLayoutId id="2147485189" r:id="rId10193"/>
    <p:sldLayoutId id="2147485166" r:id="rId10194"/>
    <p:sldLayoutId id="2147485154" r:id="rId10195"/>
    <p:sldLayoutId id="2147485156" r:id="rId10196"/>
    <p:sldLayoutId id="2147485162" r:id="rId10197"/>
    <p:sldLayoutId id="2147485159" r:id="rId10198"/>
    <p:sldLayoutId id="2147485204" r:id="rId10199"/>
    <p:sldLayoutId id="2147485194" r:id="rId10200"/>
    <p:sldLayoutId id="2147485218" r:id="rId10201"/>
    <p:sldLayoutId id="2147485227" r:id="rId10202"/>
    <p:sldLayoutId id="2147485223" r:id="rId10203"/>
    <p:sldLayoutId id="2147485237" r:id="rId10204"/>
    <p:sldLayoutId id="2147485235" r:id="rId10205"/>
    <p:sldLayoutId id="2147485241" r:id="rId10206"/>
    <p:sldLayoutId id="2147485253" r:id="rId10207"/>
    <p:sldLayoutId id="2147485245" r:id="rId10208"/>
    <p:sldLayoutId id="2147485247" r:id="rId10209"/>
    <p:sldLayoutId id="2147485251" r:id="rId10210"/>
    <p:sldLayoutId id="2147485249" r:id="rId10211"/>
    <p:sldLayoutId id="2147485209" r:id="rId10212"/>
    <p:sldLayoutId id="2147485224" r:id="rId10213"/>
    <p:sldLayoutId id="2147485215" r:id="rId10214"/>
    <p:sldLayoutId id="2147485226" r:id="rId10215"/>
    <p:sldLayoutId id="2147485221" r:id="rId10216"/>
    <p:sldLayoutId id="2147485236" r:id="rId10217"/>
    <p:sldLayoutId id="2147485234" r:id="rId10218"/>
    <p:sldLayoutId id="2147485240" r:id="rId10219"/>
    <p:sldLayoutId id="2147485211" r:id="rId10220"/>
    <p:sldLayoutId id="2147485200" r:id="rId10221"/>
    <p:sldLayoutId id="2147485202" r:id="rId10222"/>
    <p:sldLayoutId id="2147485207" r:id="rId10223"/>
    <p:sldLayoutId id="2147485205" r:id="rId10224"/>
    <p:sldLayoutId id="2147485302" r:id="rId10225"/>
    <p:sldLayoutId id="2147485327" r:id="rId10226"/>
    <p:sldLayoutId id="2147485151" r:id="rId10227"/>
    <p:sldLayoutId id="2147485164" r:id="rId10228"/>
    <p:sldLayoutId id="2147485158" r:id="rId10229"/>
    <p:sldLayoutId id="2147485177" r:id="rId10230"/>
    <p:sldLayoutId id="2147485174" r:id="rId10231"/>
    <p:sldLayoutId id="2147485183" r:id="rId10232"/>
    <p:sldLayoutId id="2147485324" r:id="rId10233"/>
    <p:sldLayoutId id="2147485316" r:id="rId10234"/>
    <p:sldLayoutId id="2147485318" r:id="rId10235"/>
    <p:sldLayoutId id="2147485322" r:id="rId10236"/>
    <p:sldLayoutId id="2147485320" r:id="rId10237"/>
    <p:sldLayoutId id="2147485341" r:id="rId10238"/>
    <p:sldLayoutId id="2147485351" r:id="rId10239"/>
    <p:sldLayoutId id="2147485345" r:id="rId10240"/>
    <p:sldLayoutId id="2147485352" r:id="rId10241"/>
    <p:sldLayoutId id="2147485349" r:id="rId10242"/>
    <p:sldLayoutId id="2147485357" r:id="rId10243"/>
    <p:sldLayoutId id="2147485356" r:id="rId10244"/>
    <p:sldLayoutId id="2147485359" r:id="rId10245"/>
    <p:sldLayoutId id="2147485342" r:id="rId10246"/>
    <p:sldLayoutId id="2147485333" r:id="rId10247"/>
    <p:sldLayoutId id="2147485335" r:id="rId10248"/>
    <p:sldLayoutId id="2147485339" r:id="rId10249"/>
    <p:sldLayoutId id="2147485337" r:id="rId10250"/>
    <p:sldLayoutId id="2147485274" r:id="rId10251"/>
    <p:sldLayoutId id="2147485144" r:id="rId10252"/>
    <p:sldLayoutId id="2147485280" r:id="rId10253"/>
    <p:sldLayoutId id="2147485289" r:id="rId10254"/>
    <p:sldLayoutId id="2147485284" r:id="rId10255"/>
    <p:sldLayoutId id="2147485294" r:id="rId10256"/>
    <p:sldLayoutId id="2147485293" r:id="rId10257"/>
    <p:sldLayoutId id="2147485296" r:id="rId10258"/>
    <p:sldLayoutId id="2147485148" r:id="rId10259"/>
    <p:sldLayoutId id="2147485300" r:id="rId10260"/>
    <p:sldLayoutId id="2147485303" r:id="rId10261"/>
    <p:sldLayoutId id="2147485310" r:id="rId10262"/>
    <p:sldLayoutId id="2147485306" r:id="rId10263"/>
    <p:sldLayoutId id="2147486148" r:id="rId10264"/>
    <p:sldLayoutId id="2147486201" r:id="rId10265"/>
    <p:sldLayoutId id="2147486156" r:id="rId10266"/>
    <p:sldLayoutId id="2147486163" r:id="rId10267"/>
    <p:sldLayoutId id="2147486160" r:id="rId10268"/>
    <p:sldLayoutId id="2147486170" r:id="rId10269"/>
    <p:sldLayoutId id="2147486168" r:id="rId10270"/>
    <p:sldLayoutId id="2147486173" r:id="rId10271"/>
    <p:sldLayoutId id="2147486194" r:id="rId10272"/>
    <p:sldLayoutId id="2147486182" r:id="rId10273"/>
    <p:sldLayoutId id="2147486185" r:id="rId10274"/>
    <p:sldLayoutId id="2147486191" r:id="rId10275"/>
    <p:sldLayoutId id="2147486188" r:id="rId10276"/>
    <p:sldLayoutId id="2147486217" r:id="rId10277"/>
    <p:sldLayoutId id="2147486227" r:id="rId10278"/>
    <p:sldLayoutId id="2147486221" r:id="rId10279"/>
    <p:sldLayoutId id="2147486228" r:id="rId10280"/>
    <p:sldLayoutId id="2147486225" r:id="rId10281"/>
    <p:sldLayoutId id="2147486233" r:id="rId10282"/>
    <p:sldLayoutId id="2147486232" r:id="rId10283"/>
    <p:sldLayoutId id="2147486235" r:id="rId10284"/>
    <p:sldLayoutId id="2147486218" r:id="rId10285"/>
    <p:sldLayoutId id="2147486207" r:id="rId10286"/>
    <p:sldLayoutId id="2147486209" r:id="rId10287"/>
    <p:sldLayoutId id="2147486215" r:id="rId10288"/>
    <p:sldLayoutId id="2147486212" r:id="rId10289"/>
    <p:sldLayoutId id="2147486264" r:id="rId10290"/>
    <p:sldLayoutId id="2147486249" r:id="rId10291"/>
    <p:sldLayoutId id="2147486285" r:id="rId10292"/>
    <p:sldLayoutId id="2147486295" r:id="rId10293"/>
    <p:sldLayoutId id="2147486291" r:id="rId10294"/>
    <p:sldLayoutId id="2147486305" r:id="rId10295"/>
    <p:sldLayoutId id="2147486303" r:id="rId10296"/>
    <p:sldLayoutId id="2147486309" r:id="rId10297"/>
    <p:sldLayoutId id="2147486321" r:id="rId10298"/>
    <p:sldLayoutId id="2147486313" r:id="rId10299"/>
    <p:sldLayoutId id="2147486315" r:id="rId10300"/>
    <p:sldLayoutId id="2147486319" r:id="rId10301"/>
    <p:sldLayoutId id="2147486317" r:id="rId10302"/>
    <p:sldLayoutId id="2147486272" r:id="rId10303"/>
    <p:sldLayoutId id="2147486292" r:id="rId10304"/>
    <p:sldLayoutId id="2147486281" r:id="rId10305"/>
    <p:sldLayoutId id="2147486294" r:id="rId10306"/>
    <p:sldLayoutId id="2147486289" r:id="rId10307"/>
    <p:sldLayoutId id="2147486304" r:id="rId10308"/>
    <p:sldLayoutId id="2147486302" r:id="rId10309"/>
    <p:sldLayoutId id="2147486308" r:id="rId10310"/>
    <p:sldLayoutId id="2147486275" r:id="rId10311"/>
    <p:sldLayoutId id="2147486258" r:id="rId10312"/>
    <p:sldLayoutId id="2147486261" r:id="rId10313"/>
    <p:sldLayoutId id="2147486269" r:id="rId10314"/>
    <p:sldLayoutId id="2147486266" r:id="rId10315"/>
    <p:sldLayoutId id="2147486355" r:id="rId10316"/>
    <p:sldLayoutId id="2147486400" r:id="rId10317"/>
    <p:sldLayoutId id="2147486360" r:id="rId10318"/>
    <p:sldLayoutId id="2147486367" r:id="rId10319"/>
    <p:sldLayoutId id="2147486364" r:id="rId10320"/>
    <p:sldLayoutId id="2147486371" r:id="rId10321"/>
    <p:sldLayoutId id="2147486370" r:id="rId10322"/>
    <p:sldLayoutId id="2147486375" r:id="rId10323"/>
    <p:sldLayoutId id="2147486395" r:id="rId10324"/>
    <p:sldLayoutId id="2147486381" r:id="rId10325"/>
    <p:sldLayoutId id="2147486385" r:id="rId10326"/>
    <p:sldLayoutId id="2147486392" r:id="rId10327"/>
    <p:sldLayoutId id="2147486389" r:id="rId10328"/>
    <p:sldLayoutId id="2147486423" r:id="rId10329"/>
    <p:sldLayoutId id="2147486439" r:id="rId10330"/>
    <p:sldLayoutId id="2147486429" r:id="rId10331"/>
    <p:sldLayoutId id="2147486440" r:id="rId10332"/>
    <p:sldLayoutId id="2147486437" r:id="rId10333"/>
    <p:sldLayoutId id="2147486447" r:id="rId10334"/>
    <p:sldLayoutId id="2147486446" r:id="rId10335"/>
    <p:sldLayoutId id="2147486450" r:id="rId10336"/>
    <p:sldLayoutId id="2147486425" r:id="rId10337"/>
    <p:sldLayoutId id="2147486411" r:id="rId10338"/>
    <p:sldLayoutId id="2147486415" r:id="rId10339"/>
    <p:sldLayoutId id="2147486421" r:id="rId10340"/>
    <p:sldLayoutId id="2147486418" r:id="rId10341"/>
    <p:sldLayoutId id="2147486580" r:id="rId10342"/>
    <p:sldLayoutId id="2147486635" r:id="rId10343"/>
    <p:sldLayoutId id="2147486583" r:id="rId10344"/>
    <p:sldLayoutId id="2147486587" r:id="rId10345"/>
    <p:sldLayoutId id="2147486585" r:id="rId10346"/>
    <p:sldLayoutId id="2147486590" r:id="rId10347"/>
    <p:sldLayoutId id="2147486589" r:id="rId10348"/>
    <p:sldLayoutId id="2147486592" r:id="rId10349"/>
    <p:sldLayoutId id="2147486616" r:id="rId10350"/>
    <p:sldLayoutId id="2147486601" r:id="rId10351"/>
    <p:sldLayoutId id="2147486605" r:id="rId10352"/>
    <p:sldLayoutId id="2147486612" r:id="rId10353"/>
    <p:sldLayoutId id="2147486609" r:id="rId10354"/>
    <p:sldLayoutId id="2147486489" r:id="rId10355"/>
    <p:sldLayoutId id="2147486502" r:id="rId10356"/>
    <p:sldLayoutId id="2147486494" r:id="rId10357"/>
    <p:sldLayoutId id="2147486503" r:id="rId10358"/>
    <p:sldLayoutId id="2147486499" r:id="rId10359"/>
    <p:sldLayoutId id="2147486511" r:id="rId10360"/>
    <p:sldLayoutId id="2147486509" r:id="rId10361"/>
    <p:sldLayoutId id="2147486513" r:id="rId10362"/>
    <p:sldLayoutId id="2147486490" r:id="rId10363"/>
    <p:sldLayoutId id="2147486478" r:id="rId10364"/>
    <p:sldLayoutId id="2147486480" r:id="rId10365"/>
    <p:sldLayoutId id="2147486486" r:id="rId10366"/>
    <p:sldLayoutId id="2147486483" r:id="rId10367"/>
    <p:sldLayoutId id="2147486528" r:id="rId10368"/>
    <p:sldLayoutId id="2147486518" r:id="rId10369"/>
    <p:sldLayoutId id="2147486542" r:id="rId10370"/>
    <p:sldLayoutId id="2147486551" r:id="rId10371"/>
    <p:sldLayoutId id="2147486547" r:id="rId10372"/>
    <p:sldLayoutId id="2147486561" r:id="rId10373"/>
    <p:sldLayoutId id="2147486559" r:id="rId10374"/>
    <p:sldLayoutId id="2147486565" r:id="rId10375"/>
    <p:sldLayoutId id="2147486577" r:id="rId10376"/>
    <p:sldLayoutId id="2147486569" r:id="rId10377"/>
    <p:sldLayoutId id="2147486571" r:id="rId10378"/>
    <p:sldLayoutId id="2147486575" r:id="rId10379"/>
    <p:sldLayoutId id="2147486573" r:id="rId10380"/>
    <p:sldLayoutId id="2147486533" r:id="rId10381"/>
    <p:sldLayoutId id="2147486548" r:id="rId10382"/>
    <p:sldLayoutId id="2147486539" r:id="rId10383"/>
    <p:sldLayoutId id="2147486550" r:id="rId10384"/>
    <p:sldLayoutId id="2147486545" r:id="rId10385"/>
    <p:sldLayoutId id="2147486560" r:id="rId10386"/>
    <p:sldLayoutId id="2147486558" r:id="rId10387"/>
    <p:sldLayoutId id="2147486564" r:id="rId10388"/>
    <p:sldLayoutId id="2147486535" r:id="rId10389"/>
    <p:sldLayoutId id="2147486524" r:id="rId10390"/>
    <p:sldLayoutId id="2147486526" r:id="rId10391"/>
    <p:sldLayoutId id="2147486531" r:id="rId10392"/>
    <p:sldLayoutId id="2147486529" r:id="rId10393"/>
    <p:sldLayoutId id="2147486626" r:id="rId10394"/>
    <p:sldLayoutId id="2147486651" r:id="rId10395"/>
    <p:sldLayoutId id="2147486475" r:id="rId10396"/>
    <p:sldLayoutId id="2147486488" r:id="rId10397"/>
    <p:sldLayoutId id="2147486482" r:id="rId10398"/>
    <p:sldLayoutId id="2147486501" r:id="rId10399"/>
    <p:sldLayoutId id="2147486498" r:id="rId10400"/>
    <p:sldLayoutId id="2147486507" r:id="rId10401"/>
    <p:sldLayoutId id="2147486648" r:id="rId10402"/>
    <p:sldLayoutId id="2147486640" r:id="rId10403"/>
    <p:sldLayoutId id="2147486642" r:id="rId10404"/>
    <p:sldLayoutId id="2147486646" r:id="rId10405"/>
    <p:sldLayoutId id="2147486644" r:id="rId10406"/>
    <p:sldLayoutId id="2147486665" r:id="rId10407"/>
    <p:sldLayoutId id="2147486675" r:id="rId10408"/>
    <p:sldLayoutId id="2147486669" r:id="rId10409"/>
    <p:sldLayoutId id="2147486676" r:id="rId10410"/>
    <p:sldLayoutId id="2147486673" r:id="rId10411"/>
    <p:sldLayoutId id="2147485959" r:id="rId10412"/>
    <p:sldLayoutId id="2147485958" r:id="rId10413"/>
    <p:sldLayoutId id="2147485961" r:id="rId10414"/>
    <p:sldLayoutId id="2147486666" r:id="rId10415"/>
    <p:sldLayoutId id="2147486657" r:id="rId10416"/>
    <p:sldLayoutId id="2147486659" r:id="rId10417"/>
    <p:sldLayoutId id="2147486663" r:id="rId10418"/>
    <p:sldLayoutId id="2147486661" r:id="rId10419"/>
    <p:sldLayoutId id="2147486598" r:id="rId10420"/>
    <p:sldLayoutId id="2147486468" r:id="rId10421"/>
    <p:sldLayoutId id="2147486604" r:id="rId10422"/>
    <p:sldLayoutId id="2147486613" r:id="rId10423"/>
    <p:sldLayoutId id="2147486608" r:id="rId10424"/>
    <p:sldLayoutId id="2147486618" r:id="rId10425"/>
    <p:sldLayoutId id="2147486617" r:id="rId10426"/>
    <p:sldLayoutId id="2147486620" r:id="rId10427"/>
    <p:sldLayoutId id="2147486472" r:id="rId10428"/>
    <p:sldLayoutId id="2147486624" r:id="rId10429"/>
    <p:sldLayoutId id="2147486627" r:id="rId10430"/>
    <p:sldLayoutId id="2147486634" r:id="rId10431"/>
    <p:sldLayoutId id="2147486630" r:id="rId10432"/>
    <p:sldLayoutId id="2147486004" r:id="rId10433"/>
    <p:sldLayoutId id="2147486031" r:id="rId10434"/>
    <p:sldLayoutId id="2147486007" r:id="rId10435"/>
    <p:sldLayoutId id="2147486011" r:id="rId10436"/>
    <p:sldLayoutId id="2147486009" r:id="rId10437"/>
    <p:sldLayoutId id="2147486014" r:id="rId10438"/>
    <p:sldLayoutId id="2147486013" r:id="rId10439"/>
    <p:sldLayoutId id="2147486016" r:id="rId10440"/>
    <p:sldLayoutId id="2147486028" r:id="rId10441"/>
    <p:sldLayoutId id="2147486020" r:id="rId10442"/>
    <p:sldLayoutId id="2147486022" r:id="rId10443"/>
    <p:sldLayoutId id="2147486026" r:id="rId10444"/>
    <p:sldLayoutId id="2147486024" r:id="rId10445"/>
    <p:sldLayoutId id="2147486049" r:id="rId10446"/>
    <p:sldLayoutId id="2147486059" r:id="rId10447"/>
    <p:sldLayoutId id="2147486053" r:id="rId10448"/>
    <p:sldLayoutId id="2147486060" r:id="rId10449"/>
    <p:sldLayoutId id="2147486057" r:id="rId10450"/>
    <p:sldLayoutId id="2147486065" r:id="rId10451"/>
    <p:sldLayoutId id="2147486064" r:id="rId10452"/>
    <p:sldLayoutId id="2147486067" r:id="rId10453"/>
    <p:sldLayoutId id="2147486050" r:id="rId10454"/>
    <p:sldLayoutId id="2147486040" r:id="rId10455"/>
    <p:sldLayoutId id="2147486043" r:id="rId10456"/>
    <p:sldLayoutId id="2147486047" r:id="rId10457"/>
    <p:sldLayoutId id="2147486045" r:id="rId10458"/>
    <p:sldLayoutId id="2147486107" r:id="rId10459"/>
    <p:sldLayoutId id="2147486091" r:id="rId10460"/>
    <p:sldLayoutId id="2147486131" r:id="rId10461"/>
    <p:sldLayoutId id="2147486147" r:id="rId10462"/>
    <p:sldLayoutId id="2147486140" r:id="rId10463"/>
    <p:sldLayoutId id="2147486166" r:id="rId10464"/>
    <p:sldLayoutId id="2147486161" r:id="rId10465"/>
    <p:sldLayoutId id="2147486175" r:id="rId10466"/>
    <p:sldLayoutId id="2147486198" r:id="rId10467"/>
    <p:sldLayoutId id="2147486181" r:id="rId10468"/>
    <p:sldLayoutId id="2147486187" r:id="rId10469"/>
    <p:sldLayoutId id="2147486196" r:id="rId10470"/>
    <p:sldLayoutId id="2147486193" r:id="rId10471"/>
    <p:sldLayoutId id="2147486115" r:id="rId10472"/>
    <p:sldLayoutId id="2147486141" r:id="rId10473"/>
    <p:sldLayoutId id="2147486126" r:id="rId10474"/>
    <p:sldLayoutId id="2147486145" r:id="rId10475"/>
    <p:sldLayoutId id="2147486136" r:id="rId10476"/>
    <p:sldLayoutId id="2147486164" r:id="rId10477"/>
    <p:sldLayoutId id="2147486159" r:id="rId10478"/>
    <p:sldLayoutId id="2147486172" r:id="rId10479"/>
    <p:sldLayoutId id="2147486119" r:id="rId10480"/>
    <p:sldLayoutId id="2147486101" r:id="rId10481"/>
    <p:sldLayoutId id="2147486104" r:id="rId10482"/>
    <p:sldLayoutId id="2147486112" r:id="rId10483"/>
    <p:sldLayoutId id="2147486109" r:id="rId10484"/>
    <p:sldLayoutId id="2147486238" r:id="rId10485"/>
    <p:sldLayoutId id="2147485969" r:id="rId10486"/>
    <p:sldLayoutId id="2147486241" r:id="rId10487"/>
    <p:sldLayoutId id="2147486245" r:id="rId10488"/>
    <p:sldLayoutId id="2147486243" r:id="rId10489"/>
    <p:sldLayoutId id="2147486254" r:id="rId10490"/>
    <p:sldLayoutId id="2147486251" r:id="rId10491"/>
    <p:sldLayoutId id="2147486259" r:id="rId10492"/>
    <p:sldLayoutId id="2147485966" r:id="rId10493"/>
    <p:sldLayoutId id="2147486271" r:id="rId10494"/>
    <p:sldLayoutId id="2147486277" r:id="rId10495"/>
    <p:sldLayoutId id="2147485964" r:id="rId10496"/>
    <p:sldLayoutId id="2147486283" r:id="rId10497"/>
    <p:sldLayoutId id="2147485983" r:id="rId10498"/>
    <p:sldLayoutId id="2147485993" r:id="rId10499"/>
    <p:sldLayoutId id="2147485987" r:id="rId10500"/>
    <p:sldLayoutId id="2147485994" r:id="rId10501"/>
    <p:sldLayoutId id="2147485991" r:id="rId10502"/>
    <p:sldLayoutId id="2147485999" r:id="rId10503"/>
    <p:sldLayoutId id="2147485998" r:id="rId10504"/>
    <p:sldLayoutId id="2147486001" r:id="rId10505"/>
    <p:sldLayoutId id="2147485984" r:id="rId10506"/>
    <p:sldLayoutId id="2147485975" r:id="rId10507"/>
    <p:sldLayoutId id="2147485977" r:id="rId10508"/>
    <p:sldLayoutId id="2147485981" r:id="rId10509"/>
    <p:sldLayoutId id="2147485979" r:id="rId10510"/>
    <p:sldLayoutId id="2147486456" r:id="rId10511"/>
    <p:sldLayoutId id="2147486146" r:id="rId10512"/>
    <p:sldLayoutId id="2147486105" r:id="rId10513"/>
    <p:sldLayoutId id="2147486111" r:id="rId10514"/>
    <p:sldLayoutId id="2147486108" r:id="rId10515"/>
    <p:sldLayoutId id="2147486116" r:id="rId10516"/>
    <p:sldLayoutId id="2147486114" r:id="rId10517"/>
    <p:sldLayoutId id="2147486461" r:id="rId10518"/>
    <p:sldLayoutId id="2147486464" r:id="rId10519"/>
    <p:sldLayoutId id="2147486462" r:id="rId10520"/>
    <p:sldLayoutId id="2147486130" r:id="rId10521"/>
    <p:sldLayoutId id="2147486137" r:id="rId10522"/>
    <p:sldLayoutId id="2147486463" r:id="rId10523"/>
    <p:sldLayoutId id="2147486336" r:id="rId10524"/>
    <p:sldLayoutId id="2147486346" r:id="rId10525"/>
    <p:sldLayoutId id="2147486340" r:id="rId10526"/>
    <p:sldLayoutId id="2147486036" r:id="rId10527"/>
    <p:sldLayoutId id="2147486344" r:id="rId10528"/>
    <p:sldLayoutId id="2147486348" r:id="rId10529"/>
    <p:sldLayoutId id="2147486347" r:id="rId10530"/>
    <p:sldLayoutId id="2147486350" r:id="rId10531"/>
    <p:sldLayoutId id="2147486337" r:id="rId10532"/>
    <p:sldLayoutId id="2147486328" r:id="rId10533"/>
    <p:sldLayoutId id="2147486330" r:id="rId10534"/>
    <p:sldLayoutId id="2147486334" r:id="rId10535"/>
    <p:sldLayoutId id="2147486332" r:id="rId10536"/>
    <p:sldLayoutId id="2147486382" r:id="rId10537"/>
    <p:sldLayoutId id="2147486356" r:id="rId10538"/>
    <p:sldLayoutId id="2147486414" r:id="rId10539"/>
    <p:sldLayoutId id="2147486073" r:id="rId10540"/>
    <p:sldLayoutId id="2147486070" r:id="rId10541"/>
    <p:sldLayoutId id="2147486079" r:id="rId10542"/>
    <p:sldLayoutId id="2147486078" r:id="rId10543"/>
    <p:sldLayoutId id="2147486081" r:id="rId10544"/>
    <p:sldLayoutId id="2147486095" r:id="rId10545"/>
    <p:sldLayoutId id="2147486084" r:id="rId10546"/>
    <p:sldLayoutId id="2147486086" r:id="rId10547"/>
    <p:sldLayoutId id="2147486092" r:id="rId10548"/>
    <p:sldLayoutId id="2147486088" r:id="rId10549"/>
    <p:sldLayoutId id="2147486393" r:id="rId10550"/>
    <p:sldLayoutId id="2147486071" r:id="rId10551"/>
    <p:sldLayoutId id="2147486408" r:id="rId10552"/>
    <p:sldLayoutId id="2147486430" r:id="rId10553"/>
    <p:sldLayoutId id="2147486424" r:id="rId10554"/>
    <p:sldLayoutId id="2147486441" r:id="rId10555"/>
    <p:sldLayoutId id="2147486077" r:id="rId10556"/>
    <p:sldLayoutId id="2147486449" r:id="rId10557"/>
    <p:sldLayoutId id="2147486399" r:id="rId10558"/>
    <p:sldLayoutId id="2147486372" r:id="rId10559"/>
    <p:sldLayoutId id="2147486376" r:id="rId10560"/>
    <p:sldLayoutId id="2147486388" r:id="rId10561"/>
    <p:sldLayoutId id="2147486384" r:id="rId10562"/>
    <p:sldLayoutId id="2147488611" r:id="rId10563"/>
    <p:sldLayoutId id="2147491724" r:id="rId10564"/>
    <p:sldLayoutId id="2147492205" r:id="rId10565"/>
    <p:sldLayoutId id="2147492243" r:id="rId10566"/>
    <p:sldLayoutId id="2147492218" r:id="rId10567"/>
    <p:sldLayoutId id="2147492223" r:id="rId10568"/>
    <p:sldLayoutId id="2147492221" r:id="rId10569"/>
    <p:sldLayoutId id="2147492226" r:id="rId10570"/>
    <p:sldLayoutId id="2147492225" r:id="rId10571"/>
    <p:sldLayoutId id="2147492228" r:id="rId10572"/>
    <p:sldLayoutId id="2147492240" r:id="rId10573"/>
    <p:sldLayoutId id="2147492232" r:id="rId10574"/>
    <p:sldLayoutId id="2147492234" r:id="rId10575"/>
    <p:sldLayoutId id="2147492238" r:id="rId10576"/>
    <p:sldLayoutId id="2147492236" r:id="rId10577"/>
    <p:sldLayoutId id="2147492257" r:id="rId10578"/>
    <p:sldLayoutId id="2147492267" r:id="rId10579"/>
    <p:sldLayoutId id="2147492261" r:id="rId10580"/>
    <p:sldLayoutId id="2147492268" r:id="rId10581"/>
    <p:sldLayoutId id="2147492265" r:id="rId10582"/>
    <p:sldLayoutId id="2147492273" r:id="rId10583"/>
    <p:sldLayoutId id="2147492272" r:id="rId10584"/>
    <p:sldLayoutId id="2147492275" r:id="rId10585"/>
    <p:sldLayoutId id="2147492258" r:id="rId10586"/>
    <p:sldLayoutId id="2147492249" r:id="rId10587"/>
    <p:sldLayoutId id="2147492251" r:id="rId10588"/>
    <p:sldLayoutId id="2147492255" r:id="rId10589"/>
    <p:sldLayoutId id="2147492253" r:id="rId10590"/>
    <p:sldLayoutId id="2147492290" r:id="rId10591"/>
    <p:sldLayoutId id="2147492280" r:id="rId10592"/>
    <p:sldLayoutId id="2147492304" r:id="rId10593"/>
    <p:sldLayoutId id="2147492313" r:id="rId10594"/>
    <p:sldLayoutId id="2147492309" r:id="rId10595"/>
    <p:sldLayoutId id="2147492323" r:id="rId10596"/>
    <p:sldLayoutId id="2147492321" r:id="rId10597"/>
    <p:sldLayoutId id="2147490471" r:id="rId10598"/>
    <p:sldLayoutId id="2147490483" r:id="rId10599"/>
    <p:sldLayoutId id="2147490475" r:id="rId10600"/>
    <p:sldLayoutId id="2147490477" r:id="rId10601"/>
    <p:sldLayoutId id="2147490481" r:id="rId10602"/>
    <p:sldLayoutId id="2147490479" r:id="rId10603"/>
    <p:sldLayoutId id="2147492295" r:id="rId10604"/>
    <p:sldLayoutId id="2147492310" r:id="rId10605"/>
    <p:sldLayoutId id="2147492301" r:id="rId10606"/>
    <p:sldLayoutId id="2147492312" r:id="rId10607"/>
    <p:sldLayoutId id="2147492307" r:id="rId10608"/>
    <p:sldLayoutId id="2147492322" r:id="rId10609"/>
    <p:sldLayoutId id="2147492320" r:id="rId10610"/>
    <p:sldLayoutId id="2147490470" r:id="rId10611"/>
    <p:sldLayoutId id="2147492297" r:id="rId10612"/>
    <p:sldLayoutId id="2147492286" r:id="rId10613"/>
    <p:sldLayoutId id="2147492288" r:id="rId10614"/>
    <p:sldLayoutId id="2147492293" r:id="rId10615"/>
    <p:sldLayoutId id="2147492291" r:id="rId10616"/>
    <p:sldLayoutId id="2147490486" r:id="rId10617"/>
    <p:sldLayoutId id="2147490513" r:id="rId10618"/>
    <p:sldLayoutId id="2147490489" r:id="rId10619"/>
    <p:sldLayoutId id="2147490493" r:id="rId10620"/>
    <p:sldLayoutId id="2147490491" r:id="rId10621"/>
    <p:sldLayoutId id="2147490496" r:id="rId10622"/>
    <p:sldLayoutId id="2147490495" r:id="rId10623"/>
    <p:sldLayoutId id="2147490498" r:id="rId10624"/>
    <p:sldLayoutId id="2147490510" r:id="rId10625"/>
    <p:sldLayoutId id="2147490502" r:id="rId10626"/>
    <p:sldLayoutId id="2147490504" r:id="rId10627"/>
    <p:sldLayoutId id="2147490508" r:id="rId10628"/>
    <p:sldLayoutId id="2147490506" r:id="rId10629"/>
    <p:sldLayoutId id="2147490527" r:id="rId10630"/>
    <p:sldLayoutId id="2147490537" r:id="rId10631"/>
    <p:sldLayoutId id="2147490531" r:id="rId10632"/>
    <p:sldLayoutId id="2147490538" r:id="rId10633"/>
    <p:sldLayoutId id="2147490535" r:id="rId10634"/>
    <p:sldLayoutId id="2147490543" r:id="rId10635"/>
    <p:sldLayoutId id="2147490542" r:id="rId10636"/>
    <p:sldLayoutId id="2147490545" r:id="rId10637"/>
    <p:sldLayoutId id="2147490528" r:id="rId10638"/>
    <p:sldLayoutId id="2147490519" r:id="rId10639"/>
    <p:sldLayoutId id="2147490521" r:id="rId10640"/>
    <p:sldLayoutId id="2147490525" r:id="rId10641"/>
    <p:sldLayoutId id="2147490523" r:id="rId10642"/>
    <p:sldLayoutId id="2147490816" r:id="rId10643"/>
    <p:sldLayoutId id="2147490926" r:id="rId10644"/>
    <p:sldLayoutId id="2147490822" r:id="rId10645"/>
    <p:sldLayoutId id="2147490830" r:id="rId10646"/>
    <p:sldLayoutId id="2147490826" r:id="rId10647"/>
    <p:sldLayoutId id="2147490836" r:id="rId10648"/>
    <p:sldLayoutId id="2147490834" r:id="rId10649"/>
    <p:sldLayoutId id="2147490840" r:id="rId10650"/>
    <p:sldLayoutId id="2147490888" r:id="rId10651"/>
    <p:sldLayoutId id="2147490858" r:id="rId10652"/>
    <p:sldLayoutId id="2147490866" r:id="rId10653"/>
    <p:sldLayoutId id="2147490880" r:id="rId10654"/>
    <p:sldLayoutId id="2147490874" r:id="rId10655"/>
    <p:sldLayoutId id="2147490623" r:id="rId10656"/>
    <p:sldLayoutId id="2147490656" r:id="rId10657"/>
    <p:sldLayoutId id="2147490636" r:id="rId10658"/>
    <p:sldLayoutId id="2147490659" r:id="rId10659"/>
    <p:sldLayoutId id="2147490649" r:id="rId10660"/>
    <p:sldLayoutId id="2147490677" r:id="rId10661"/>
    <p:sldLayoutId id="2147490673" r:id="rId10662"/>
    <p:sldLayoutId id="2147490682" r:id="rId10663"/>
    <p:sldLayoutId id="2147490626" r:id="rId10664"/>
    <p:sldLayoutId id="2147490596" r:id="rId10665"/>
    <p:sldLayoutId id="2147490602" r:id="rId10666"/>
    <p:sldLayoutId id="2147490616" r:id="rId10667"/>
    <p:sldLayoutId id="2147490609" r:id="rId10668"/>
    <p:sldLayoutId id="2147490712" r:id="rId10669"/>
    <p:sldLayoutId id="2147490692" r:id="rId10670"/>
    <p:sldLayoutId id="2147490740" r:id="rId10671"/>
    <p:sldLayoutId id="2147490758" r:id="rId10672"/>
    <p:sldLayoutId id="2147490750" r:id="rId10673"/>
    <p:sldLayoutId id="2147490778" r:id="rId10674"/>
    <p:sldLayoutId id="2147490774" r:id="rId10675"/>
    <p:sldLayoutId id="2147490786" r:id="rId10676"/>
    <p:sldLayoutId id="2147490810" r:id="rId10677"/>
    <p:sldLayoutId id="2147490794" r:id="rId10678"/>
    <p:sldLayoutId id="2147490798" r:id="rId10679"/>
    <p:sldLayoutId id="2147490806" r:id="rId10680"/>
    <p:sldLayoutId id="2147490802" r:id="rId10681"/>
    <p:sldLayoutId id="2147490722" r:id="rId10682"/>
    <p:sldLayoutId id="2147490752" r:id="rId10683"/>
    <p:sldLayoutId id="2147490734" r:id="rId10684"/>
    <p:sldLayoutId id="2147490756" r:id="rId10685"/>
    <p:sldLayoutId id="2147490746" r:id="rId10686"/>
    <p:sldLayoutId id="2147490776" r:id="rId10687"/>
    <p:sldLayoutId id="2147490772" r:id="rId10688"/>
    <p:sldLayoutId id="2147490784" r:id="rId10689"/>
    <p:sldLayoutId id="2147490726" r:id="rId10690"/>
    <p:sldLayoutId id="2147490704" r:id="rId10691"/>
    <p:sldLayoutId id="2147490708" r:id="rId10692"/>
    <p:sldLayoutId id="2147490718" r:id="rId10693"/>
    <p:sldLayoutId id="2147490714" r:id="rId10694"/>
    <p:sldLayoutId id="2147490908" r:id="rId10695"/>
    <p:sldLayoutId id="2147490996" r:id="rId10696"/>
    <p:sldLayoutId id="2147490589" r:id="rId10697"/>
    <p:sldLayoutId id="2147490621" r:id="rId10698"/>
    <p:sldLayoutId id="2147490607" r:id="rId10699"/>
    <p:sldLayoutId id="2147490654" r:id="rId10700"/>
    <p:sldLayoutId id="2147490647" r:id="rId10701"/>
    <p:sldLayoutId id="2147490668" r:id="rId10702"/>
    <p:sldLayoutId id="2147490987" r:id="rId10703"/>
    <p:sldLayoutId id="2147490955" r:id="rId10704"/>
    <p:sldLayoutId id="2147490965" r:id="rId10705"/>
    <p:sldLayoutId id="2147490981" r:id="rId10706"/>
    <p:sldLayoutId id="2147490975" r:id="rId10707"/>
    <p:sldLayoutId id="2147491035" r:id="rId10708"/>
    <p:sldLayoutId id="2147491055" r:id="rId10709"/>
    <p:sldLayoutId id="2147491043" r:id="rId10710"/>
    <p:sldLayoutId id="2147491057" r:id="rId10711"/>
    <p:sldLayoutId id="2147491051" r:id="rId10712"/>
    <p:sldLayoutId id="2147491067" r:id="rId10713"/>
    <p:sldLayoutId id="2147491065" r:id="rId10714"/>
    <p:sldLayoutId id="2147491071" r:id="rId10715"/>
    <p:sldLayoutId id="2147491037" r:id="rId10716"/>
    <p:sldLayoutId id="2147491014" r:id="rId10717"/>
    <p:sldLayoutId id="2147491020" r:id="rId10718"/>
    <p:sldLayoutId id="2147491031" r:id="rId10719"/>
    <p:sldLayoutId id="2147491026" r:id="rId10720"/>
    <p:sldLayoutId id="2147490852" r:id="rId10721"/>
    <p:sldLayoutId id="2147490550" r:id="rId10722"/>
    <p:sldLayoutId id="2147490864" r:id="rId10723"/>
    <p:sldLayoutId id="2147490882" r:id="rId10724"/>
    <p:sldLayoutId id="2147490872" r:id="rId10725"/>
    <p:sldLayoutId id="2147490892" r:id="rId10726"/>
    <p:sldLayoutId id="2147490890" r:id="rId10727"/>
    <p:sldLayoutId id="2147490896" r:id="rId10728"/>
    <p:sldLayoutId id="2147490580" r:id="rId10729"/>
    <p:sldLayoutId id="2147490904" r:id="rId10730"/>
    <p:sldLayoutId id="2147490910" r:id="rId10731"/>
    <p:sldLayoutId id="2147490924" r:id="rId10732"/>
    <p:sldLayoutId id="2147490916" r:id="rId10733"/>
    <p:sldLayoutId id="2147491264" r:id="rId10734"/>
    <p:sldLayoutId id="2147491318" r:id="rId10735"/>
    <p:sldLayoutId id="2147491270" r:id="rId10736"/>
    <p:sldLayoutId id="2147491278" r:id="rId10737"/>
    <p:sldLayoutId id="2147491274" r:id="rId10738"/>
    <p:sldLayoutId id="2147491284" r:id="rId10739"/>
    <p:sldLayoutId id="2147491282" r:id="rId10740"/>
    <p:sldLayoutId id="2147491288" r:id="rId10741"/>
    <p:sldLayoutId id="2147491312" r:id="rId10742"/>
    <p:sldLayoutId id="2147491296" r:id="rId10743"/>
    <p:sldLayoutId id="2147491300" r:id="rId10744"/>
    <p:sldLayoutId id="2147491308" r:id="rId10745"/>
    <p:sldLayoutId id="2147491304" r:id="rId10746"/>
    <p:sldLayoutId id="2147491354" r:id="rId10747"/>
    <p:sldLayoutId id="2147491374" r:id="rId10748"/>
    <p:sldLayoutId id="2147491362" r:id="rId10749"/>
    <p:sldLayoutId id="2147491376" r:id="rId10750"/>
    <p:sldLayoutId id="2147491370" r:id="rId10751"/>
    <p:sldLayoutId id="2147491386" r:id="rId10752"/>
    <p:sldLayoutId id="2147491384" r:id="rId10753"/>
    <p:sldLayoutId id="2147491390" r:id="rId10754"/>
    <p:sldLayoutId id="2147491356" r:id="rId10755"/>
    <p:sldLayoutId id="2147491336" r:id="rId10756"/>
    <p:sldLayoutId id="2147491342" r:id="rId10757"/>
    <p:sldLayoutId id="2147491350" r:id="rId10758"/>
    <p:sldLayoutId id="2147491346" r:id="rId10759"/>
    <p:sldLayoutId id="2147491470" r:id="rId10760"/>
    <p:sldLayoutId id="2147491438" r:id="rId10761"/>
    <p:sldLayoutId id="2147491518" r:id="rId10762"/>
    <p:sldLayoutId id="2147491550" r:id="rId10763"/>
    <p:sldLayoutId id="2147491536" r:id="rId10764"/>
    <p:sldLayoutId id="2147491579" r:id="rId10765"/>
    <p:sldLayoutId id="2147491573" r:id="rId10766"/>
    <p:sldLayoutId id="2147491591" r:id="rId10767"/>
    <p:sldLayoutId id="2147491627" r:id="rId10768"/>
    <p:sldLayoutId id="2147491603" r:id="rId10769"/>
    <p:sldLayoutId id="2147491609" r:id="rId10770"/>
    <p:sldLayoutId id="2147491621" r:id="rId10771"/>
    <p:sldLayoutId id="2147491615" r:id="rId10772"/>
    <p:sldLayoutId id="2147491486" r:id="rId10773"/>
    <p:sldLayoutId id="2147491538" r:id="rId10774"/>
    <p:sldLayoutId id="2147491508" r:id="rId10775"/>
    <p:sldLayoutId id="2147491546" r:id="rId10776"/>
    <p:sldLayoutId id="2147491528" r:id="rId10777"/>
    <p:sldLayoutId id="2147491576" r:id="rId10778"/>
    <p:sldLayoutId id="2147491570" r:id="rId10779"/>
    <p:sldLayoutId id="2147491588" r:id="rId10780"/>
    <p:sldLayoutId id="2147491494" r:id="rId10781"/>
    <p:sldLayoutId id="2147491458" r:id="rId10782"/>
    <p:sldLayoutId id="2147491464" r:id="rId10783"/>
    <p:sldLayoutId id="2147491480" r:id="rId10784"/>
    <p:sldLayoutId id="2147491474" r:id="rId10785"/>
    <p:sldLayoutId id="2147491695" r:id="rId10786"/>
    <p:sldLayoutId id="2147491183" r:id="rId10787"/>
    <p:sldLayoutId id="2147491704" r:id="rId10788"/>
    <p:sldLayoutId id="2147491709" r:id="rId10789"/>
    <p:sldLayoutId id="2147491707" r:id="rId10790"/>
    <p:sldLayoutId id="2147491712" r:id="rId10791"/>
    <p:sldLayoutId id="2147491711" r:id="rId10792"/>
    <p:sldLayoutId id="2147491714" r:id="rId10793"/>
    <p:sldLayoutId id="2147491174" r:id="rId10794"/>
    <p:sldLayoutId id="2147491718" r:id="rId10795"/>
    <p:sldLayoutId id="2147491720" r:id="rId10796"/>
    <p:sldLayoutId id="2147491168" r:id="rId10797"/>
    <p:sldLayoutId id="2147491722" r:id="rId10798"/>
    <p:sldLayoutId id="2147491222" r:id="rId10799"/>
    <p:sldLayoutId id="2147491242" r:id="rId10800"/>
    <p:sldLayoutId id="2147491230" r:id="rId10801"/>
    <p:sldLayoutId id="2147491244" r:id="rId10802"/>
    <p:sldLayoutId id="2147491238" r:id="rId10803"/>
    <p:sldLayoutId id="2147491254" r:id="rId10804"/>
    <p:sldLayoutId id="2147491252" r:id="rId10805"/>
    <p:sldLayoutId id="2147491258" r:id="rId10806"/>
    <p:sldLayoutId id="2147491224" r:id="rId10807"/>
    <p:sldLayoutId id="2147491201" r:id="rId10808"/>
    <p:sldLayoutId id="2147491207" r:id="rId10809"/>
    <p:sldLayoutId id="2147491219" r:id="rId10810"/>
    <p:sldLayoutId id="2147491213" r:id="rId10811"/>
    <p:sldLayoutId id="2147491798" r:id="rId10812"/>
    <p:sldLayoutId id="2147491548" r:id="rId10813"/>
    <p:sldLayoutId id="2147491466" r:id="rId10814"/>
    <p:sldLayoutId id="2147491478" r:id="rId10815"/>
    <p:sldLayoutId id="2147491472" r:id="rId10816"/>
    <p:sldLayoutId id="2147491488" r:id="rId10817"/>
    <p:sldLayoutId id="2147491484" r:id="rId10818"/>
    <p:sldLayoutId id="2147491803" r:id="rId10819"/>
    <p:sldLayoutId id="2147491806" r:id="rId10820"/>
    <p:sldLayoutId id="2147491804" r:id="rId10821"/>
    <p:sldLayoutId id="2147491516" r:id="rId10822"/>
    <p:sldLayoutId id="2147491530" r:id="rId10823"/>
    <p:sldLayoutId id="2147491805" r:id="rId10824"/>
    <p:sldLayoutId id="2147491740" r:id="rId10825"/>
    <p:sldLayoutId id="2147491750" r:id="rId10826"/>
    <p:sldLayoutId id="2147491744" r:id="rId10827"/>
    <p:sldLayoutId id="2147491328" r:id="rId10828"/>
    <p:sldLayoutId id="2147491748" r:id="rId10829"/>
    <p:sldLayoutId id="2147491752" r:id="rId10830"/>
    <p:sldLayoutId id="2147491751" r:id="rId10831"/>
    <p:sldLayoutId id="2147491754" r:id="rId10832"/>
    <p:sldLayoutId id="2147491741" r:id="rId10833"/>
    <p:sldLayoutId id="2147491732" r:id="rId10834"/>
    <p:sldLayoutId id="2147491734" r:id="rId10835"/>
    <p:sldLayoutId id="2147491738" r:id="rId10836"/>
    <p:sldLayoutId id="2147491736" r:id="rId10837"/>
    <p:sldLayoutId id="2147491769" r:id="rId10838"/>
    <p:sldLayoutId id="2147491759" r:id="rId10839"/>
    <p:sldLayoutId id="2147491783" r:id="rId10840"/>
    <p:sldLayoutId id="2147491402" r:id="rId10841"/>
    <p:sldLayoutId id="2147491396" r:id="rId10842"/>
    <p:sldLayoutId id="2147491414" r:id="rId10843"/>
    <p:sldLayoutId id="2147491412" r:id="rId10844"/>
    <p:sldLayoutId id="2147491418" r:id="rId10845"/>
    <p:sldLayoutId id="2147491446" r:id="rId10846"/>
    <p:sldLayoutId id="2147491424" r:id="rId10847"/>
    <p:sldLayoutId id="2147491428" r:id="rId10848"/>
    <p:sldLayoutId id="2147491440" r:id="rId10849"/>
    <p:sldLayoutId id="2147491432" r:id="rId10850"/>
    <p:sldLayoutId id="2147491774" r:id="rId10851"/>
    <p:sldLayoutId id="2147491398" r:id="rId10852"/>
    <p:sldLayoutId id="2147491780" r:id="rId10853"/>
    <p:sldLayoutId id="2147491788" r:id="rId10854"/>
    <p:sldLayoutId id="2147491786" r:id="rId10855"/>
    <p:sldLayoutId id="2147491792" r:id="rId10856"/>
    <p:sldLayoutId id="2147491410" r:id="rId10857"/>
    <p:sldLayoutId id="2147491794" r:id="rId10858"/>
    <p:sldLayoutId id="2147491776" r:id="rId10859"/>
    <p:sldLayoutId id="2147491765" r:id="rId10860"/>
    <p:sldLayoutId id="2147491767" r:id="rId10861"/>
    <p:sldLayoutId id="2147491772" r:id="rId10862"/>
    <p:sldLayoutId id="2147491770" r:id="rId10863"/>
    <p:sldLayoutId id="2147492028" r:id="rId10864"/>
    <p:sldLayoutId id="2147492055" r:id="rId10865"/>
    <p:sldLayoutId id="2147492031" r:id="rId10866"/>
    <p:sldLayoutId id="2147492035" r:id="rId10867"/>
    <p:sldLayoutId id="2147492033" r:id="rId10868"/>
    <p:sldLayoutId id="2147492038" r:id="rId10869"/>
    <p:sldLayoutId id="2147492037" r:id="rId10870"/>
    <p:sldLayoutId id="2147492040" r:id="rId10871"/>
    <p:sldLayoutId id="2147492052" r:id="rId10872"/>
    <p:sldLayoutId id="2147492044" r:id="rId10873"/>
    <p:sldLayoutId id="2147492046" r:id="rId10874"/>
    <p:sldLayoutId id="2147492050" r:id="rId10875"/>
    <p:sldLayoutId id="2147492048" r:id="rId10876"/>
    <p:sldLayoutId id="2147492069" r:id="rId10877"/>
    <p:sldLayoutId id="2147492079" r:id="rId10878"/>
    <p:sldLayoutId id="2147492073" r:id="rId10879"/>
    <p:sldLayoutId id="2147492080" r:id="rId10880"/>
    <p:sldLayoutId id="2147492077" r:id="rId10881"/>
    <p:sldLayoutId id="2147492085" r:id="rId10882"/>
    <p:sldLayoutId id="2147492084" r:id="rId10883"/>
    <p:sldLayoutId id="2147492087" r:id="rId10884"/>
    <p:sldLayoutId id="2147492070" r:id="rId10885"/>
    <p:sldLayoutId id="2147492061" r:id="rId10886"/>
    <p:sldLayoutId id="2147492063" r:id="rId10887"/>
    <p:sldLayoutId id="2147492067" r:id="rId10888"/>
    <p:sldLayoutId id="2147492065" r:id="rId10889"/>
    <p:sldLayoutId id="2147492102" r:id="rId10890"/>
    <p:sldLayoutId id="2147492092" r:id="rId10891"/>
    <p:sldLayoutId id="2147492116" r:id="rId10892"/>
    <p:sldLayoutId id="2147492125" r:id="rId10893"/>
    <p:sldLayoutId id="2147492121" r:id="rId10894"/>
    <p:sldLayoutId id="2147492135" r:id="rId10895"/>
    <p:sldLayoutId id="2147492133" r:id="rId10896"/>
    <p:sldLayoutId id="2147492139" r:id="rId10897"/>
    <p:sldLayoutId id="2147492151" r:id="rId10898"/>
    <p:sldLayoutId id="2147492143" r:id="rId10899"/>
    <p:sldLayoutId id="2147492145" r:id="rId10900"/>
    <p:sldLayoutId id="2147492149" r:id="rId10901"/>
    <p:sldLayoutId id="2147492147" r:id="rId10902"/>
    <p:sldLayoutId id="2147492107" r:id="rId10903"/>
    <p:sldLayoutId id="2147492122" r:id="rId10904"/>
    <p:sldLayoutId id="2147492113" r:id="rId10905"/>
    <p:sldLayoutId id="2147492124" r:id="rId10906"/>
    <p:sldLayoutId id="2147492119" r:id="rId10907"/>
    <p:sldLayoutId id="2147492134" r:id="rId10908"/>
    <p:sldLayoutId id="2147492132" r:id="rId10909"/>
    <p:sldLayoutId id="2147492138" r:id="rId10910"/>
    <p:sldLayoutId id="2147492109" r:id="rId10911"/>
    <p:sldLayoutId id="2147492098" r:id="rId10912"/>
    <p:sldLayoutId id="2147492100" r:id="rId10913"/>
    <p:sldLayoutId id="2147492105" r:id="rId10914"/>
    <p:sldLayoutId id="2147492103" r:id="rId10915"/>
    <p:sldLayoutId id="2147492154" r:id="rId10916"/>
    <p:sldLayoutId id="2147492181" r:id="rId10917"/>
    <p:sldLayoutId id="2147492157" r:id="rId10918"/>
    <p:sldLayoutId id="2147492161" r:id="rId10919"/>
    <p:sldLayoutId id="2147492159" r:id="rId10920"/>
    <p:sldLayoutId id="2147492164" r:id="rId10921"/>
    <p:sldLayoutId id="2147492163" r:id="rId10922"/>
    <p:sldLayoutId id="2147492166" r:id="rId10923"/>
    <p:sldLayoutId id="2147492178" r:id="rId10924"/>
    <p:sldLayoutId id="2147492170" r:id="rId10925"/>
    <p:sldLayoutId id="2147492172" r:id="rId10926"/>
    <p:sldLayoutId id="2147492176" r:id="rId10927"/>
    <p:sldLayoutId id="2147492174" r:id="rId10928"/>
    <p:sldLayoutId id="2147492195" r:id="rId10929"/>
    <p:sldLayoutId id="2147492206" r:id="rId10930"/>
    <p:sldLayoutId id="2147492199" r:id="rId10931"/>
    <p:sldLayoutId id="2147492207" r:id="rId10932"/>
    <p:sldLayoutId id="2147492203" r:id="rId10933"/>
    <p:sldLayoutId id="2147492214" r:id="rId10934"/>
    <p:sldLayoutId id="2147492212" r:id="rId10935"/>
    <p:sldLayoutId id="2147492216" r:id="rId10936"/>
    <p:sldLayoutId id="2147492196" r:id="rId10937"/>
    <p:sldLayoutId id="2147492187" r:id="rId10938"/>
    <p:sldLayoutId id="2147492189" r:id="rId10939"/>
    <p:sldLayoutId id="2147492193" r:id="rId10940"/>
    <p:sldLayoutId id="2147492191" r:id="rId10941"/>
    <p:sldLayoutId id="2147491922" r:id="rId10942"/>
    <p:sldLayoutId id="2147491977" r:id="rId10943"/>
    <p:sldLayoutId id="2147491925" r:id="rId10944"/>
    <p:sldLayoutId id="2147491929" r:id="rId10945"/>
    <p:sldLayoutId id="2147491927" r:id="rId10946"/>
    <p:sldLayoutId id="2147491932" r:id="rId10947"/>
    <p:sldLayoutId id="2147491931" r:id="rId10948"/>
    <p:sldLayoutId id="2147491934" r:id="rId10949"/>
    <p:sldLayoutId id="2147491958" r:id="rId10950"/>
    <p:sldLayoutId id="2147491943" r:id="rId10951"/>
    <p:sldLayoutId id="2147491947" r:id="rId10952"/>
    <p:sldLayoutId id="2147491954" r:id="rId10953"/>
    <p:sldLayoutId id="2147491951" r:id="rId10954"/>
    <p:sldLayoutId id="2147491831" r:id="rId10955"/>
    <p:sldLayoutId id="2147491844" r:id="rId10956"/>
    <p:sldLayoutId id="2147491836" r:id="rId10957"/>
    <p:sldLayoutId id="2147491845" r:id="rId10958"/>
    <p:sldLayoutId id="2147491841" r:id="rId10959"/>
    <p:sldLayoutId id="2147491853" r:id="rId10960"/>
    <p:sldLayoutId id="2147491851" r:id="rId10961"/>
    <p:sldLayoutId id="2147491855" r:id="rId10962"/>
    <p:sldLayoutId id="2147491832" r:id="rId10963"/>
    <p:sldLayoutId id="2147491820" r:id="rId10964"/>
    <p:sldLayoutId id="2147491822" r:id="rId10965"/>
    <p:sldLayoutId id="2147491828" r:id="rId10966"/>
    <p:sldLayoutId id="2147491825" r:id="rId10967"/>
    <p:sldLayoutId id="2147491870" r:id="rId10968"/>
    <p:sldLayoutId id="2147491860" r:id="rId10969"/>
    <p:sldLayoutId id="2147491884" r:id="rId10970"/>
    <p:sldLayoutId id="2147491893" r:id="rId10971"/>
    <p:sldLayoutId id="2147491889" r:id="rId10972"/>
    <p:sldLayoutId id="2147491903" r:id="rId10973"/>
    <p:sldLayoutId id="2147491901" r:id="rId10974"/>
    <p:sldLayoutId id="2147491907" r:id="rId10975"/>
    <p:sldLayoutId id="2147491919" r:id="rId10976"/>
    <p:sldLayoutId id="2147491911" r:id="rId10977"/>
    <p:sldLayoutId id="2147491913" r:id="rId10978"/>
    <p:sldLayoutId id="2147491917" r:id="rId10979"/>
    <p:sldLayoutId id="2147491915" r:id="rId10980"/>
    <p:sldLayoutId id="2147491875" r:id="rId10981"/>
    <p:sldLayoutId id="2147491890" r:id="rId10982"/>
    <p:sldLayoutId id="2147491881" r:id="rId10983"/>
    <p:sldLayoutId id="2147491892" r:id="rId10984"/>
    <p:sldLayoutId id="2147491887" r:id="rId10985"/>
    <p:sldLayoutId id="2147491902" r:id="rId10986"/>
    <p:sldLayoutId id="2147491900" r:id="rId10987"/>
    <p:sldLayoutId id="2147491906" r:id="rId10988"/>
    <p:sldLayoutId id="2147491877" r:id="rId10989"/>
    <p:sldLayoutId id="2147491866" r:id="rId10990"/>
    <p:sldLayoutId id="2147491868" r:id="rId10991"/>
    <p:sldLayoutId id="2147491873" r:id="rId10992"/>
    <p:sldLayoutId id="2147491871" r:id="rId10993"/>
    <p:sldLayoutId id="2147491968" r:id="rId10994"/>
    <p:sldLayoutId id="2147491993" r:id="rId10995"/>
    <p:sldLayoutId id="2147491817" r:id="rId10996"/>
    <p:sldLayoutId id="2147491830" r:id="rId10997"/>
    <p:sldLayoutId id="2147491824" r:id="rId10998"/>
    <p:sldLayoutId id="2147491843" r:id="rId10999"/>
    <p:sldLayoutId id="2147491840" r:id="rId11000"/>
    <p:sldLayoutId id="2147491849" r:id="rId11001"/>
    <p:sldLayoutId id="2147491990" r:id="rId11002"/>
    <p:sldLayoutId id="2147491982" r:id="rId11003"/>
    <p:sldLayoutId id="2147491984" r:id="rId11004"/>
    <p:sldLayoutId id="2147491988" r:id="rId11005"/>
    <p:sldLayoutId id="2147491986" r:id="rId11006"/>
    <p:sldLayoutId id="2147492007" r:id="rId11007"/>
    <p:sldLayoutId id="2147492017" r:id="rId11008"/>
    <p:sldLayoutId id="2147492011" r:id="rId11009"/>
    <p:sldLayoutId id="2147492018" r:id="rId11010"/>
    <p:sldLayoutId id="2147492015" r:id="rId11011"/>
    <p:sldLayoutId id="2147492023" r:id="rId11012"/>
    <p:sldLayoutId id="2147492022" r:id="rId11013"/>
    <p:sldLayoutId id="2147492025" r:id="rId11014"/>
    <p:sldLayoutId id="2147492008" r:id="rId11015"/>
    <p:sldLayoutId id="2147491999" r:id="rId11016"/>
    <p:sldLayoutId id="2147492001" r:id="rId11017"/>
    <p:sldLayoutId id="2147492005" r:id="rId11018"/>
    <p:sldLayoutId id="2147492003" r:id="rId11019"/>
    <p:sldLayoutId id="2147491940" r:id="rId11020"/>
    <p:sldLayoutId id="2147491810" r:id="rId11021"/>
    <p:sldLayoutId id="2147491946" r:id="rId11022"/>
    <p:sldLayoutId id="2147491955" r:id="rId11023"/>
    <p:sldLayoutId id="2147491950" r:id="rId11024"/>
    <p:sldLayoutId id="2147491960" r:id="rId11025"/>
    <p:sldLayoutId id="2147491959" r:id="rId11026"/>
    <p:sldLayoutId id="2147491962" r:id="rId11027"/>
    <p:sldLayoutId id="2147491814" r:id="rId11028"/>
    <p:sldLayoutId id="2147491966" r:id="rId11029"/>
    <p:sldLayoutId id="2147491969" r:id="rId11030"/>
    <p:sldLayoutId id="2147491976" r:id="rId11031"/>
    <p:sldLayoutId id="2147491972" r:id="rId11032"/>
    <p:sldLayoutId id="2147490889" r:id="rId11033"/>
    <p:sldLayoutId id="2147490968" r:id="rId11034"/>
    <p:sldLayoutId id="2147490905" r:id="rId11035"/>
    <p:sldLayoutId id="2147490919" r:id="rId11036"/>
    <p:sldLayoutId id="2147490913" r:id="rId11037"/>
    <p:sldLayoutId id="2147490932" r:id="rId11038"/>
    <p:sldLayoutId id="2147490929" r:id="rId11039"/>
    <p:sldLayoutId id="2147490936" r:id="rId11040"/>
    <p:sldLayoutId id="2147490959" r:id="rId11041"/>
    <p:sldLayoutId id="2147490945" r:id="rId11042"/>
    <p:sldLayoutId id="2147490948" r:id="rId11043"/>
    <p:sldLayoutId id="2147490956" r:id="rId11044"/>
    <p:sldLayoutId id="2147490952" r:id="rId11045"/>
    <p:sldLayoutId id="2147490991" r:id="rId11046"/>
    <p:sldLayoutId id="2147491006" r:id="rId11047"/>
    <p:sldLayoutId id="2147490997" r:id="rId11048"/>
    <p:sldLayoutId id="2147491007" r:id="rId11049"/>
    <p:sldLayoutId id="2147491003" r:id="rId11050"/>
    <p:sldLayoutId id="2147491015" r:id="rId11051"/>
    <p:sldLayoutId id="2147491013" r:id="rId11052"/>
    <p:sldLayoutId id="2147491018" r:id="rId11053"/>
    <p:sldLayoutId id="2147490992" r:id="rId11054"/>
    <p:sldLayoutId id="2147490976" r:id="rId11055"/>
    <p:sldLayoutId id="2147490979" r:id="rId11056"/>
    <p:sldLayoutId id="2147490988" r:id="rId11057"/>
    <p:sldLayoutId id="2147490983" r:id="rId11058"/>
    <p:sldLayoutId id="2147491072" r:id="rId11059"/>
    <p:sldLayoutId id="2147491042" r:id="rId11060"/>
    <p:sldLayoutId id="2147491095" r:id="rId11061"/>
    <p:sldLayoutId id="2147491105" r:id="rId11062"/>
    <p:sldLayoutId id="2147491101" r:id="rId11063"/>
    <p:sldLayoutId id="2147491115" r:id="rId11064"/>
    <p:sldLayoutId id="2147491113" r:id="rId11065"/>
    <p:sldLayoutId id="2147491119" r:id="rId11066"/>
    <p:sldLayoutId id="2147491131" r:id="rId11067"/>
    <p:sldLayoutId id="2147491123" r:id="rId11068"/>
    <p:sldLayoutId id="2147491125" r:id="rId11069"/>
    <p:sldLayoutId id="2147491129" r:id="rId11070"/>
    <p:sldLayoutId id="2147491127" r:id="rId11071"/>
    <p:sldLayoutId id="2147491082" r:id="rId11072"/>
    <p:sldLayoutId id="2147491102" r:id="rId11073"/>
    <p:sldLayoutId id="2147491091" r:id="rId11074"/>
    <p:sldLayoutId id="2147491104" r:id="rId11075"/>
    <p:sldLayoutId id="2147491099" r:id="rId11076"/>
    <p:sldLayoutId id="2147491114" r:id="rId11077"/>
    <p:sldLayoutId id="2147491112" r:id="rId11078"/>
    <p:sldLayoutId id="2147491118" r:id="rId11079"/>
    <p:sldLayoutId id="2147491085" r:id="rId11080"/>
    <p:sldLayoutId id="2147491060" r:id="rId11081"/>
    <p:sldLayoutId id="2147491066" r:id="rId11082"/>
    <p:sldLayoutId id="2147491079" r:id="rId11083"/>
    <p:sldLayoutId id="2147491076" r:id="rId11084"/>
    <p:sldLayoutId id="2147491165" r:id="rId11085"/>
    <p:sldLayoutId id="2147491237" r:id="rId11086"/>
    <p:sldLayoutId id="2147491172" r:id="rId11087"/>
    <p:sldLayoutId id="2147491182" r:id="rId11088"/>
    <p:sldLayoutId id="2147491178" r:id="rId11089"/>
    <p:sldLayoutId id="2147491188" r:id="rId11090"/>
    <p:sldLayoutId id="2147491187" r:id="rId11091"/>
    <p:sldLayoutId id="2147491194" r:id="rId11092"/>
    <p:sldLayoutId id="2147491227" r:id="rId11093"/>
    <p:sldLayoutId id="2147491203" r:id="rId11094"/>
    <p:sldLayoutId id="2147491209" r:id="rId11095"/>
    <p:sldLayoutId id="2147491221" r:id="rId11096"/>
    <p:sldLayoutId id="2147491215" r:id="rId11097"/>
    <p:sldLayoutId id="2147491283" r:id="rId11098"/>
    <p:sldLayoutId id="2147491315" r:id="rId11099"/>
    <p:sldLayoutId id="2147491295" r:id="rId11100"/>
    <p:sldLayoutId id="2147491317" r:id="rId11101"/>
    <p:sldLayoutId id="2147491311" r:id="rId11102"/>
    <p:sldLayoutId id="2147491331" r:id="rId11103"/>
    <p:sldLayoutId id="2147491329" r:id="rId11104"/>
    <p:sldLayoutId id="2147491337" r:id="rId11105"/>
    <p:sldLayoutId id="2147491287" r:id="rId11106"/>
    <p:sldLayoutId id="2147491259" r:id="rId11107"/>
    <p:sldLayoutId id="2147491267" r:id="rId11108"/>
    <p:sldLayoutId id="2147491279" r:id="rId11109"/>
    <p:sldLayoutId id="2147491273" r:id="rId11110"/>
    <p:sldLayoutId id="2147491586" r:id="rId11111"/>
    <p:sldLayoutId id="2147491657" r:id="rId11112"/>
    <p:sldLayoutId id="2147491590" r:id="rId11113"/>
    <p:sldLayoutId id="2147491596" r:id="rId11114"/>
    <p:sldLayoutId id="2147491593" r:id="rId11115"/>
    <p:sldLayoutId id="2147491601" r:id="rId11116"/>
    <p:sldLayoutId id="2147491599" r:id="rId11117"/>
    <p:sldLayoutId id="2147491604" r:id="rId11118"/>
    <p:sldLayoutId id="2147491636" r:id="rId11119"/>
    <p:sldLayoutId id="2147491617" r:id="rId11120"/>
    <p:sldLayoutId id="2147491623" r:id="rId11121"/>
    <p:sldLayoutId id="2147491632" r:id="rId11122"/>
    <p:sldLayoutId id="2147491629" r:id="rId11123"/>
    <p:sldLayoutId id="2147491415" r:id="rId11124"/>
    <p:sldLayoutId id="2147491441" r:id="rId11125"/>
    <p:sldLayoutId id="2147491425" r:id="rId11126"/>
    <p:sldLayoutId id="2147491443" r:id="rId11127"/>
    <p:sldLayoutId id="2147491435" r:id="rId11128"/>
    <p:sldLayoutId id="2147491459" r:id="rId11129"/>
    <p:sldLayoutId id="2147491455" r:id="rId11130"/>
    <p:sldLayoutId id="2147491463" r:id="rId11131"/>
    <p:sldLayoutId id="2147491417" r:id="rId11132"/>
    <p:sldLayoutId id="2147491393" r:id="rId11133"/>
    <p:sldLayoutId id="2147491397" r:id="rId11134"/>
    <p:sldLayoutId id="2147491409" r:id="rId11135"/>
    <p:sldLayoutId id="2147491403" r:id="rId11136"/>
    <p:sldLayoutId id="2147491493" r:id="rId11137"/>
    <p:sldLayoutId id="2147491473" r:id="rId11138"/>
    <p:sldLayoutId id="2147491521" r:id="rId11139"/>
    <p:sldLayoutId id="2147491539" r:id="rId11140"/>
    <p:sldLayoutId id="2147491531" r:id="rId11141"/>
    <p:sldLayoutId id="2147491557" r:id="rId11142"/>
    <p:sldLayoutId id="2147491554" r:id="rId11143"/>
    <p:sldLayoutId id="2147491563" r:id="rId11144"/>
    <p:sldLayoutId id="2147491581" r:id="rId11145"/>
    <p:sldLayoutId id="2147491569" r:id="rId11146"/>
    <p:sldLayoutId id="2147491572" r:id="rId11147"/>
    <p:sldLayoutId id="2147491578" r:id="rId11148"/>
    <p:sldLayoutId id="2147491575" r:id="rId11149"/>
    <p:sldLayoutId id="2147491503" r:id="rId11150"/>
    <p:sldLayoutId id="2147491533" r:id="rId11151"/>
    <p:sldLayoutId id="2147491515" r:id="rId11152"/>
    <p:sldLayoutId id="2147491537" r:id="rId11153"/>
    <p:sldLayoutId id="2147491527" r:id="rId11154"/>
    <p:sldLayoutId id="2147491556" r:id="rId11155"/>
    <p:sldLayoutId id="2147491553" r:id="rId11156"/>
    <p:sldLayoutId id="2147491562" r:id="rId11157"/>
    <p:sldLayoutId id="2147491507" r:id="rId11158"/>
    <p:sldLayoutId id="2147491485" r:id="rId11159"/>
    <p:sldLayoutId id="2147491489" r:id="rId11160"/>
    <p:sldLayoutId id="2147491499" r:id="rId11161"/>
    <p:sldLayoutId id="2147491495" r:id="rId11162"/>
    <p:sldLayoutId id="2147491646" r:id="rId11163"/>
    <p:sldLayoutId id="2147491673" r:id="rId11164"/>
    <p:sldLayoutId id="2147491387" r:id="rId11165"/>
    <p:sldLayoutId id="2147491413" r:id="rId11166"/>
    <p:sldLayoutId id="2147491401" r:id="rId11167"/>
    <p:sldLayoutId id="2147491439" r:id="rId11168"/>
    <p:sldLayoutId id="2147491433" r:id="rId11169"/>
    <p:sldLayoutId id="2147491451" r:id="rId11170"/>
    <p:sldLayoutId id="2147491670" r:id="rId11171"/>
    <p:sldLayoutId id="2147491662" r:id="rId11172"/>
    <p:sldLayoutId id="2147491664" r:id="rId11173"/>
    <p:sldLayoutId id="2147491668" r:id="rId11174"/>
    <p:sldLayoutId id="2147491666" r:id="rId11175"/>
    <p:sldLayoutId id="2147491687" r:id="rId11176"/>
    <p:sldLayoutId id="2147491699" r:id="rId11177"/>
    <p:sldLayoutId id="2147491691" r:id="rId11178"/>
    <p:sldLayoutId id="2147491700" r:id="rId11179"/>
    <p:sldLayoutId id="2147491696" r:id="rId11180"/>
    <p:sldLayoutId id="2147490553" r:id="rId11181"/>
    <p:sldLayoutId id="2147490552" r:id="rId11182"/>
    <p:sldLayoutId id="2147490555" r:id="rId11183"/>
    <p:sldLayoutId id="2147491688" r:id="rId11184"/>
    <p:sldLayoutId id="2147491679" r:id="rId11185"/>
    <p:sldLayoutId id="2147491681" r:id="rId11186"/>
    <p:sldLayoutId id="2147491685" r:id="rId11187"/>
    <p:sldLayoutId id="2147491683" r:id="rId11188"/>
    <p:sldLayoutId id="2147491613" r:id="rId11189"/>
    <p:sldLayoutId id="2147491373" r:id="rId11190"/>
    <p:sldLayoutId id="2147491622" r:id="rId11191"/>
    <p:sldLayoutId id="2147491633" r:id="rId11192"/>
    <p:sldLayoutId id="2147491628" r:id="rId11193"/>
    <p:sldLayoutId id="2147491638" r:id="rId11194"/>
    <p:sldLayoutId id="2147491637" r:id="rId11195"/>
    <p:sldLayoutId id="2147491640" r:id="rId11196"/>
    <p:sldLayoutId id="2147491381" r:id="rId11197"/>
    <p:sldLayoutId id="2147491644" r:id="rId11198"/>
    <p:sldLayoutId id="2147491648" r:id="rId11199"/>
    <p:sldLayoutId id="2147491656" r:id="rId11200"/>
    <p:sldLayoutId id="2147491652" r:id="rId11201"/>
    <p:sldLayoutId id="2147490613" r:id="rId11202"/>
    <p:sldLayoutId id="2147490658" r:id="rId11203"/>
    <p:sldLayoutId id="2147490618" r:id="rId11204"/>
    <p:sldLayoutId id="2147490625" r:id="rId11205"/>
    <p:sldLayoutId id="2147490622" r:id="rId11206"/>
    <p:sldLayoutId id="2147490631" r:id="rId11207"/>
    <p:sldLayoutId id="2147490629" r:id="rId11208"/>
    <p:sldLayoutId id="2147490634" r:id="rId11209"/>
    <p:sldLayoutId id="2147490653" r:id="rId11210"/>
    <p:sldLayoutId id="2147490640" r:id="rId11211"/>
    <p:sldLayoutId id="2147490643" r:id="rId11212"/>
    <p:sldLayoutId id="2147490650" r:id="rId11213"/>
    <p:sldLayoutId id="2147490646" r:id="rId11214"/>
    <p:sldLayoutId id="2147490691" r:id="rId11215"/>
    <p:sldLayoutId id="2147490711" r:id="rId11216"/>
    <p:sldLayoutId id="2147490699" r:id="rId11217"/>
    <p:sldLayoutId id="2147490713" r:id="rId11218"/>
    <p:sldLayoutId id="2147490707" r:id="rId11219"/>
    <p:sldLayoutId id="2147490723" r:id="rId11220"/>
    <p:sldLayoutId id="2147490721" r:id="rId11221"/>
    <p:sldLayoutId id="2147490727" r:id="rId11222"/>
    <p:sldLayoutId id="2147490693" r:id="rId11223"/>
    <p:sldLayoutId id="2147490674" r:id="rId11224"/>
    <p:sldLayoutId id="2147490679" r:id="rId11225"/>
    <p:sldLayoutId id="2147490687" r:id="rId11226"/>
    <p:sldLayoutId id="2147490683" r:id="rId11227"/>
    <p:sldLayoutId id="2147490807" r:id="rId11228"/>
    <p:sldLayoutId id="2147490775" r:id="rId11229"/>
    <p:sldLayoutId id="2147490855" r:id="rId11230"/>
    <p:sldLayoutId id="2147490887" r:id="rId11231"/>
    <p:sldLayoutId id="2147490873" r:id="rId11232"/>
    <p:sldLayoutId id="2147490925" r:id="rId11233"/>
    <p:sldLayoutId id="2147490915" r:id="rId11234"/>
    <p:sldLayoutId id="2147490938" r:id="rId11235"/>
    <p:sldLayoutId id="2147490964" r:id="rId11236"/>
    <p:sldLayoutId id="2147490944" r:id="rId11237"/>
    <p:sldLayoutId id="2147490951" r:id="rId11238"/>
    <p:sldLayoutId id="2147490962" r:id="rId11239"/>
    <p:sldLayoutId id="2147490958" r:id="rId11240"/>
    <p:sldLayoutId id="2147490823" r:id="rId11241"/>
    <p:sldLayoutId id="2147490875" r:id="rId11242"/>
    <p:sldLayoutId id="2147490845" r:id="rId11243"/>
    <p:sldLayoutId id="2147490883" r:id="rId11244"/>
    <p:sldLayoutId id="2147490865" r:id="rId11245"/>
    <p:sldLayoutId id="2147490921" r:id="rId11246"/>
    <p:sldLayoutId id="2147490911" r:id="rId11247"/>
    <p:sldLayoutId id="2147490934" r:id="rId11248"/>
    <p:sldLayoutId id="2147490831" r:id="rId11249"/>
    <p:sldLayoutId id="2147490795" r:id="rId11250"/>
    <p:sldLayoutId id="2147490801" r:id="rId11251"/>
    <p:sldLayoutId id="2147490817" r:id="rId11252"/>
    <p:sldLayoutId id="2147490811" r:id="rId11253"/>
    <p:sldLayoutId id="2147491022" r:id="rId11254"/>
    <p:sldLayoutId id="2147490563" r:id="rId11255"/>
    <p:sldLayoutId id="2147491027" r:id="rId11256"/>
    <p:sldLayoutId id="2147491034" r:id="rId11257"/>
    <p:sldLayoutId id="2147491030" r:id="rId11258"/>
    <p:sldLayoutId id="2147491052" r:id="rId11259"/>
    <p:sldLayoutId id="2147491046" r:id="rId11260"/>
    <p:sldLayoutId id="2147491062" r:id="rId11261"/>
    <p:sldLayoutId id="2147490560" r:id="rId11262"/>
    <p:sldLayoutId id="2147491081" r:id="rId11263"/>
    <p:sldLayoutId id="2147491087" r:id="rId11264"/>
    <p:sldLayoutId id="2147490558" r:id="rId11265"/>
    <p:sldLayoutId id="2147491093" r:id="rId11266"/>
    <p:sldLayoutId id="2147490579" r:id="rId11267"/>
    <p:sldLayoutId id="2147490595" r:id="rId11268"/>
    <p:sldLayoutId id="2147490585" r:id="rId11269"/>
    <p:sldLayoutId id="2147490597" r:id="rId11270"/>
    <p:sldLayoutId id="2147490591" r:id="rId11271"/>
    <p:sldLayoutId id="2147490604" r:id="rId11272"/>
    <p:sldLayoutId id="2147490603" r:id="rId11273"/>
    <p:sldLayoutId id="2147490608" r:id="rId11274"/>
    <p:sldLayoutId id="2147490581" r:id="rId11275"/>
    <p:sldLayoutId id="2147490569" r:id="rId11276"/>
    <p:sldLayoutId id="2147490571" r:id="rId11277"/>
    <p:sldLayoutId id="2147490575" r:id="rId11278"/>
    <p:sldLayoutId id="2147490573" r:id="rId11279"/>
    <p:sldLayoutId id="2147491349" r:id="rId11280"/>
    <p:sldLayoutId id="2147490885" r:id="rId11281"/>
    <p:sldLayoutId id="2147490803" r:id="rId11282"/>
    <p:sldLayoutId id="2147490815" r:id="rId11283"/>
    <p:sldLayoutId id="2147490809" r:id="rId11284"/>
    <p:sldLayoutId id="2147490825" r:id="rId11285"/>
    <p:sldLayoutId id="2147490821" r:id="rId11286"/>
    <p:sldLayoutId id="2147491359" r:id="rId11287"/>
    <p:sldLayoutId id="2147491365" r:id="rId11288"/>
    <p:sldLayoutId id="2147491361" r:id="rId11289"/>
    <p:sldLayoutId id="2147490853" r:id="rId11290"/>
    <p:sldLayoutId id="2147490867" r:id="rId11291"/>
    <p:sldLayoutId id="2147491363" r:id="rId11292"/>
    <p:sldLayoutId id="2147491146" r:id="rId11293"/>
    <p:sldLayoutId id="2147491156" r:id="rId11294"/>
    <p:sldLayoutId id="2147491150" r:id="rId11295"/>
    <p:sldLayoutId id="2147490667" r:id="rId11296"/>
    <p:sldLayoutId id="2147491154" r:id="rId11297"/>
    <p:sldLayoutId id="2147491158" r:id="rId11298"/>
    <p:sldLayoutId id="2147491157" r:id="rId11299"/>
    <p:sldLayoutId id="2147491160" r:id="rId11300"/>
    <p:sldLayoutId id="2147491147" r:id="rId11301"/>
    <p:sldLayoutId id="2147491138" r:id="rId11302"/>
    <p:sldLayoutId id="2147491140" r:id="rId11303"/>
    <p:sldLayoutId id="2147491144" r:id="rId11304"/>
    <p:sldLayoutId id="2147491142" r:id="rId11305"/>
    <p:sldLayoutId id="2147491205" r:id="rId11306"/>
    <p:sldLayoutId id="2147491166" r:id="rId11307"/>
    <p:sldLayoutId id="2147491265" r:id="rId11308"/>
    <p:sldLayoutId id="2147490739" r:id="rId11309"/>
    <p:sldLayoutId id="2147490733" r:id="rId11310"/>
    <p:sldLayoutId id="2147490751" r:id="rId11311"/>
    <p:sldLayoutId id="2147490749" r:id="rId11312"/>
    <p:sldLayoutId id="2147490755" r:id="rId11313"/>
    <p:sldLayoutId id="2147490783" r:id="rId11314"/>
    <p:sldLayoutId id="2147490761" r:id="rId11315"/>
    <p:sldLayoutId id="2147490765" r:id="rId11316"/>
    <p:sldLayoutId id="2147490777" r:id="rId11317"/>
    <p:sldLayoutId id="2147490769" r:id="rId11318"/>
    <p:sldLayoutId id="2147491223" r:id="rId11319"/>
    <p:sldLayoutId id="2147490735" r:id="rId11320"/>
    <p:sldLayoutId id="2147491253" r:id="rId11321"/>
    <p:sldLayoutId id="2147491297" r:id="rId11322"/>
    <p:sldLayoutId id="2147491285" r:id="rId11323"/>
    <p:sldLayoutId id="2147491319" r:id="rId11324"/>
    <p:sldLayoutId id="2147490747" r:id="rId11325"/>
    <p:sldLayoutId id="2147491335" r:id="rId11326"/>
    <p:sldLayoutId id="2147491235" r:id="rId11327"/>
    <p:sldLayoutId id="2147491190" r:id="rId11328"/>
    <p:sldLayoutId id="2147491196" r:id="rId11329"/>
    <p:sldLayoutId id="2147491214" r:id="rId11330"/>
    <p:sldLayoutId id="2147491208" r:id="rId11331"/>
    <p:sldLayoutId id="2147491726" r:id="rId11332"/>
    <p:sldLayoutId id="2147489870" r:id="rId11333"/>
    <p:sldLayoutId id="2147490349" r:id="rId11334"/>
    <p:sldLayoutId id="2147490387" r:id="rId11335"/>
    <p:sldLayoutId id="2147490362" r:id="rId11336"/>
    <p:sldLayoutId id="2147490367" r:id="rId11337"/>
    <p:sldLayoutId id="2147490365" r:id="rId11338"/>
    <p:sldLayoutId id="2147490370" r:id="rId11339"/>
    <p:sldLayoutId id="2147490369" r:id="rId11340"/>
    <p:sldLayoutId id="2147490372" r:id="rId11341"/>
    <p:sldLayoutId id="2147490384" r:id="rId11342"/>
    <p:sldLayoutId id="2147490376" r:id="rId11343"/>
    <p:sldLayoutId id="2147490378" r:id="rId11344"/>
    <p:sldLayoutId id="2147490382" r:id="rId11345"/>
    <p:sldLayoutId id="2147490380" r:id="rId11346"/>
    <p:sldLayoutId id="2147490401" r:id="rId11347"/>
    <p:sldLayoutId id="2147490411" r:id="rId11348"/>
    <p:sldLayoutId id="2147490405" r:id="rId11349"/>
    <p:sldLayoutId id="2147490412" r:id="rId11350"/>
    <p:sldLayoutId id="2147490409" r:id="rId11351"/>
    <p:sldLayoutId id="2147490417" r:id="rId11352"/>
    <p:sldLayoutId id="2147490416" r:id="rId11353"/>
    <p:sldLayoutId id="2147490419" r:id="rId11354"/>
    <p:sldLayoutId id="2147490402" r:id="rId11355"/>
    <p:sldLayoutId id="2147490393" r:id="rId11356"/>
    <p:sldLayoutId id="2147490395" r:id="rId11357"/>
    <p:sldLayoutId id="2147490399" r:id="rId11358"/>
    <p:sldLayoutId id="2147490397" r:id="rId11359"/>
    <p:sldLayoutId id="2147490434" r:id="rId11360"/>
    <p:sldLayoutId id="2147490424" r:id="rId11361"/>
    <p:sldLayoutId id="2147490448" r:id="rId11362"/>
    <p:sldLayoutId id="2147490457" r:id="rId11363"/>
    <p:sldLayoutId id="2147490453" r:id="rId11364"/>
    <p:sldLayoutId id="2147490467" r:id="rId11365"/>
    <p:sldLayoutId id="2147490465" r:id="rId11366"/>
    <p:sldLayoutId id="2147488617" r:id="rId11367"/>
    <p:sldLayoutId id="2147488629" r:id="rId11368"/>
    <p:sldLayoutId id="2147488621" r:id="rId11369"/>
    <p:sldLayoutId id="2147488623" r:id="rId11370"/>
    <p:sldLayoutId id="2147488627" r:id="rId11371"/>
    <p:sldLayoutId id="2147488625" r:id="rId11372"/>
    <p:sldLayoutId id="2147490439" r:id="rId11373"/>
    <p:sldLayoutId id="2147490454" r:id="rId11374"/>
    <p:sldLayoutId id="2147490445" r:id="rId11375"/>
    <p:sldLayoutId id="2147490456" r:id="rId11376"/>
    <p:sldLayoutId id="2147490451" r:id="rId11377"/>
    <p:sldLayoutId id="2147490466" r:id="rId11378"/>
    <p:sldLayoutId id="2147490464" r:id="rId11379"/>
    <p:sldLayoutId id="2147488616" r:id="rId11380"/>
    <p:sldLayoutId id="2147490441" r:id="rId11381"/>
    <p:sldLayoutId id="2147490430" r:id="rId11382"/>
    <p:sldLayoutId id="2147490432" r:id="rId11383"/>
    <p:sldLayoutId id="2147490437" r:id="rId11384"/>
    <p:sldLayoutId id="2147490435" r:id="rId11385"/>
    <p:sldLayoutId id="2147488632" r:id="rId11386"/>
    <p:sldLayoutId id="2147488659" r:id="rId11387"/>
    <p:sldLayoutId id="2147488635" r:id="rId11388"/>
    <p:sldLayoutId id="2147488639" r:id="rId11389"/>
    <p:sldLayoutId id="2147488637" r:id="rId11390"/>
    <p:sldLayoutId id="2147488642" r:id="rId11391"/>
    <p:sldLayoutId id="2147488641" r:id="rId11392"/>
    <p:sldLayoutId id="2147488644" r:id="rId11393"/>
    <p:sldLayoutId id="2147488656" r:id="rId11394"/>
    <p:sldLayoutId id="2147488648" r:id="rId11395"/>
    <p:sldLayoutId id="2147488650" r:id="rId11396"/>
    <p:sldLayoutId id="2147488654" r:id="rId11397"/>
    <p:sldLayoutId id="2147488652" r:id="rId11398"/>
    <p:sldLayoutId id="2147488673" r:id="rId11399"/>
    <p:sldLayoutId id="2147488683" r:id="rId11400"/>
    <p:sldLayoutId id="2147488677" r:id="rId11401"/>
    <p:sldLayoutId id="2147488684" r:id="rId11402"/>
    <p:sldLayoutId id="2147488681" r:id="rId11403"/>
    <p:sldLayoutId id="2147488689" r:id="rId11404"/>
    <p:sldLayoutId id="2147488688" r:id="rId11405"/>
    <p:sldLayoutId id="2147488691" r:id="rId11406"/>
    <p:sldLayoutId id="2147488674" r:id="rId11407"/>
    <p:sldLayoutId id="2147488665" r:id="rId11408"/>
    <p:sldLayoutId id="2147488667" r:id="rId11409"/>
    <p:sldLayoutId id="2147488671" r:id="rId11410"/>
    <p:sldLayoutId id="2147488669" r:id="rId11411"/>
    <p:sldLayoutId id="2147488962" r:id="rId11412"/>
    <p:sldLayoutId id="2147489072" r:id="rId11413"/>
    <p:sldLayoutId id="2147488968" r:id="rId11414"/>
    <p:sldLayoutId id="2147488976" r:id="rId11415"/>
    <p:sldLayoutId id="2147488972" r:id="rId11416"/>
    <p:sldLayoutId id="2147488982" r:id="rId11417"/>
    <p:sldLayoutId id="2147488980" r:id="rId11418"/>
    <p:sldLayoutId id="2147488986" r:id="rId11419"/>
    <p:sldLayoutId id="2147489034" r:id="rId11420"/>
    <p:sldLayoutId id="2147489004" r:id="rId11421"/>
    <p:sldLayoutId id="2147489012" r:id="rId11422"/>
    <p:sldLayoutId id="2147489026" r:id="rId11423"/>
    <p:sldLayoutId id="2147489020" r:id="rId11424"/>
    <p:sldLayoutId id="2147488769" r:id="rId11425"/>
    <p:sldLayoutId id="2147488802" r:id="rId11426"/>
    <p:sldLayoutId id="2147488782" r:id="rId11427"/>
    <p:sldLayoutId id="2147488805" r:id="rId11428"/>
    <p:sldLayoutId id="2147488795" r:id="rId11429"/>
    <p:sldLayoutId id="2147488823" r:id="rId11430"/>
    <p:sldLayoutId id="2147488819" r:id="rId11431"/>
    <p:sldLayoutId id="2147488828" r:id="rId11432"/>
    <p:sldLayoutId id="2147488772" r:id="rId11433"/>
    <p:sldLayoutId id="2147488742" r:id="rId11434"/>
    <p:sldLayoutId id="2147488748" r:id="rId11435"/>
    <p:sldLayoutId id="2147488762" r:id="rId11436"/>
    <p:sldLayoutId id="2147488755" r:id="rId11437"/>
    <p:sldLayoutId id="2147488858" r:id="rId11438"/>
    <p:sldLayoutId id="2147488838" r:id="rId11439"/>
    <p:sldLayoutId id="2147488886" r:id="rId11440"/>
    <p:sldLayoutId id="2147488904" r:id="rId11441"/>
    <p:sldLayoutId id="2147488896" r:id="rId11442"/>
    <p:sldLayoutId id="2147488924" r:id="rId11443"/>
    <p:sldLayoutId id="2147488920" r:id="rId11444"/>
    <p:sldLayoutId id="2147488932" r:id="rId11445"/>
    <p:sldLayoutId id="2147488956" r:id="rId11446"/>
    <p:sldLayoutId id="2147488940" r:id="rId11447"/>
    <p:sldLayoutId id="2147488944" r:id="rId11448"/>
    <p:sldLayoutId id="2147488952" r:id="rId11449"/>
    <p:sldLayoutId id="2147488948" r:id="rId11450"/>
    <p:sldLayoutId id="2147488868" r:id="rId11451"/>
    <p:sldLayoutId id="2147488898" r:id="rId11452"/>
    <p:sldLayoutId id="2147488880" r:id="rId11453"/>
    <p:sldLayoutId id="2147488902" r:id="rId11454"/>
    <p:sldLayoutId id="2147488892" r:id="rId11455"/>
    <p:sldLayoutId id="2147488922" r:id="rId11456"/>
    <p:sldLayoutId id="2147488918" r:id="rId11457"/>
    <p:sldLayoutId id="2147488930" r:id="rId11458"/>
    <p:sldLayoutId id="2147488872" r:id="rId11459"/>
    <p:sldLayoutId id="2147488850" r:id="rId11460"/>
    <p:sldLayoutId id="2147488854" r:id="rId11461"/>
    <p:sldLayoutId id="2147488864" r:id="rId11462"/>
    <p:sldLayoutId id="2147488860" r:id="rId11463"/>
    <p:sldLayoutId id="2147489054" r:id="rId11464"/>
    <p:sldLayoutId id="2147489142" r:id="rId11465"/>
    <p:sldLayoutId id="2147488735" r:id="rId11466"/>
    <p:sldLayoutId id="2147488767" r:id="rId11467"/>
    <p:sldLayoutId id="2147488753" r:id="rId11468"/>
    <p:sldLayoutId id="2147488800" r:id="rId11469"/>
    <p:sldLayoutId id="2147488793" r:id="rId11470"/>
    <p:sldLayoutId id="2147488814" r:id="rId11471"/>
    <p:sldLayoutId id="2147489133" r:id="rId11472"/>
    <p:sldLayoutId id="2147489101" r:id="rId11473"/>
    <p:sldLayoutId id="2147489111" r:id="rId11474"/>
    <p:sldLayoutId id="2147489127" r:id="rId11475"/>
    <p:sldLayoutId id="2147489121" r:id="rId11476"/>
    <p:sldLayoutId id="2147489181" r:id="rId11477"/>
    <p:sldLayoutId id="2147489201" r:id="rId11478"/>
    <p:sldLayoutId id="2147489189" r:id="rId11479"/>
    <p:sldLayoutId id="2147489203" r:id="rId11480"/>
    <p:sldLayoutId id="2147489197" r:id="rId11481"/>
    <p:sldLayoutId id="2147489213" r:id="rId11482"/>
    <p:sldLayoutId id="2147489211" r:id="rId11483"/>
    <p:sldLayoutId id="2147489217" r:id="rId11484"/>
    <p:sldLayoutId id="2147489183" r:id="rId11485"/>
    <p:sldLayoutId id="2147489160" r:id="rId11486"/>
    <p:sldLayoutId id="2147489166" r:id="rId11487"/>
    <p:sldLayoutId id="2147489177" r:id="rId11488"/>
    <p:sldLayoutId id="2147489172" r:id="rId11489"/>
    <p:sldLayoutId id="2147488998" r:id="rId11490"/>
    <p:sldLayoutId id="2147488696" r:id="rId11491"/>
    <p:sldLayoutId id="2147489010" r:id="rId11492"/>
    <p:sldLayoutId id="2147489028" r:id="rId11493"/>
    <p:sldLayoutId id="2147489018" r:id="rId11494"/>
    <p:sldLayoutId id="2147489038" r:id="rId11495"/>
    <p:sldLayoutId id="2147489036" r:id="rId11496"/>
    <p:sldLayoutId id="2147489042" r:id="rId11497"/>
    <p:sldLayoutId id="2147488726" r:id="rId11498"/>
    <p:sldLayoutId id="2147489050" r:id="rId11499"/>
    <p:sldLayoutId id="2147489056" r:id="rId11500"/>
    <p:sldLayoutId id="2147489070" r:id="rId11501"/>
    <p:sldLayoutId id="2147489062" r:id="rId11502"/>
    <p:sldLayoutId id="2147489410" r:id="rId11503"/>
    <p:sldLayoutId id="2147489464" r:id="rId11504"/>
    <p:sldLayoutId id="2147489416" r:id="rId11505"/>
    <p:sldLayoutId id="2147489424" r:id="rId11506"/>
    <p:sldLayoutId id="2147489420" r:id="rId11507"/>
    <p:sldLayoutId id="2147489430" r:id="rId11508"/>
    <p:sldLayoutId id="2147489428" r:id="rId11509"/>
    <p:sldLayoutId id="2147489434" r:id="rId11510"/>
    <p:sldLayoutId id="2147489458" r:id="rId11511"/>
    <p:sldLayoutId id="2147489442" r:id="rId11512"/>
    <p:sldLayoutId id="2147489446" r:id="rId11513"/>
    <p:sldLayoutId id="2147489454" r:id="rId11514"/>
    <p:sldLayoutId id="2147489450" r:id="rId11515"/>
    <p:sldLayoutId id="2147489500" r:id="rId11516"/>
    <p:sldLayoutId id="2147489520" r:id="rId11517"/>
    <p:sldLayoutId id="2147489508" r:id="rId11518"/>
    <p:sldLayoutId id="2147489522" r:id="rId11519"/>
    <p:sldLayoutId id="2147489516" r:id="rId11520"/>
    <p:sldLayoutId id="2147489532" r:id="rId11521"/>
    <p:sldLayoutId id="2147489530" r:id="rId11522"/>
    <p:sldLayoutId id="2147489536" r:id="rId11523"/>
    <p:sldLayoutId id="2147489502" r:id="rId11524"/>
    <p:sldLayoutId id="2147489482" r:id="rId11525"/>
    <p:sldLayoutId id="2147489488" r:id="rId11526"/>
    <p:sldLayoutId id="2147489496" r:id="rId11527"/>
    <p:sldLayoutId id="2147489492" r:id="rId11528"/>
    <p:sldLayoutId id="2147489616" r:id="rId11529"/>
    <p:sldLayoutId id="2147489584" r:id="rId11530"/>
    <p:sldLayoutId id="2147489664" r:id="rId11531"/>
    <p:sldLayoutId id="2147489696" r:id="rId11532"/>
    <p:sldLayoutId id="2147489682" r:id="rId11533"/>
    <p:sldLayoutId id="2147489725" r:id="rId11534"/>
    <p:sldLayoutId id="2147489719" r:id="rId11535"/>
    <p:sldLayoutId id="2147489737" r:id="rId11536"/>
    <p:sldLayoutId id="2147489773" r:id="rId11537"/>
    <p:sldLayoutId id="2147489749" r:id="rId11538"/>
    <p:sldLayoutId id="2147489755" r:id="rId11539"/>
    <p:sldLayoutId id="2147489767" r:id="rId11540"/>
    <p:sldLayoutId id="2147489761" r:id="rId11541"/>
    <p:sldLayoutId id="2147489632" r:id="rId11542"/>
    <p:sldLayoutId id="2147489684" r:id="rId11543"/>
    <p:sldLayoutId id="2147489654" r:id="rId11544"/>
    <p:sldLayoutId id="2147489692" r:id="rId11545"/>
    <p:sldLayoutId id="2147489674" r:id="rId11546"/>
    <p:sldLayoutId id="2147489722" r:id="rId11547"/>
    <p:sldLayoutId id="2147489716" r:id="rId11548"/>
    <p:sldLayoutId id="2147489734" r:id="rId11549"/>
    <p:sldLayoutId id="2147489640" r:id="rId11550"/>
    <p:sldLayoutId id="2147489604" r:id="rId11551"/>
    <p:sldLayoutId id="2147489610" r:id="rId11552"/>
    <p:sldLayoutId id="2147489626" r:id="rId11553"/>
    <p:sldLayoutId id="2147489620" r:id="rId11554"/>
    <p:sldLayoutId id="2147489841" r:id="rId11555"/>
    <p:sldLayoutId id="2147489329" r:id="rId11556"/>
    <p:sldLayoutId id="2147489850" r:id="rId11557"/>
    <p:sldLayoutId id="2147489855" r:id="rId11558"/>
    <p:sldLayoutId id="2147489853" r:id="rId11559"/>
    <p:sldLayoutId id="2147489858" r:id="rId11560"/>
    <p:sldLayoutId id="2147489857" r:id="rId11561"/>
    <p:sldLayoutId id="2147489860" r:id="rId11562"/>
    <p:sldLayoutId id="2147489320" r:id="rId11563"/>
    <p:sldLayoutId id="2147489864" r:id="rId11564"/>
    <p:sldLayoutId id="2147489866" r:id="rId11565"/>
    <p:sldLayoutId id="2147489314" r:id="rId11566"/>
    <p:sldLayoutId id="2147489868" r:id="rId11567"/>
    <p:sldLayoutId id="2147489368" r:id="rId11568"/>
    <p:sldLayoutId id="2147489388" r:id="rId11569"/>
    <p:sldLayoutId id="2147489376" r:id="rId11570"/>
    <p:sldLayoutId id="2147489390" r:id="rId11571"/>
    <p:sldLayoutId id="2147489384" r:id="rId11572"/>
    <p:sldLayoutId id="2147489400" r:id="rId11573"/>
    <p:sldLayoutId id="2147489398" r:id="rId11574"/>
    <p:sldLayoutId id="2147489404" r:id="rId11575"/>
    <p:sldLayoutId id="2147489370" r:id="rId11576"/>
    <p:sldLayoutId id="2147489347" r:id="rId11577"/>
    <p:sldLayoutId id="2147489353" r:id="rId11578"/>
    <p:sldLayoutId id="2147489365" r:id="rId11579"/>
    <p:sldLayoutId id="2147489359" r:id="rId11580"/>
    <p:sldLayoutId id="2147489942" r:id="rId11581"/>
    <p:sldLayoutId id="2147489694" r:id="rId11582"/>
    <p:sldLayoutId id="2147489612" r:id="rId11583"/>
    <p:sldLayoutId id="2147489624" r:id="rId11584"/>
    <p:sldLayoutId id="2147489618" r:id="rId11585"/>
    <p:sldLayoutId id="2147489634" r:id="rId11586"/>
    <p:sldLayoutId id="2147489630" r:id="rId11587"/>
    <p:sldLayoutId id="2147489947" r:id="rId11588"/>
    <p:sldLayoutId id="2147489950" r:id="rId11589"/>
    <p:sldLayoutId id="2147489948" r:id="rId11590"/>
    <p:sldLayoutId id="2147489662" r:id="rId11591"/>
    <p:sldLayoutId id="2147489676" r:id="rId11592"/>
    <p:sldLayoutId id="2147489949" r:id="rId11593"/>
    <p:sldLayoutId id="2147489884" r:id="rId11594"/>
    <p:sldLayoutId id="2147489894" r:id="rId11595"/>
    <p:sldLayoutId id="2147489888" r:id="rId11596"/>
    <p:sldLayoutId id="2147489474" r:id="rId11597"/>
    <p:sldLayoutId id="2147489892" r:id="rId11598"/>
    <p:sldLayoutId id="2147489896" r:id="rId11599"/>
    <p:sldLayoutId id="2147489895" r:id="rId11600"/>
    <p:sldLayoutId id="2147489898" r:id="rId11601"/>
    <p:sldLayoutId id="2147489885" r:id="rId11602"/>
    <p:sldLayoutId id="2147489876" r:id="rId11603"/>
    <p:sldLayoutId id="2147489878" r:id="rId11604"/>
    <p:sldLayoutId id="2147489882" r:id="rId11605"/>
    <p:sldLayoutId id="2147489880" r:id="rId11606"/>
    <p:sldLayoutId id="2147489913" r:id="rId11607"/>
    <p:sldLayoutId id="2147489903" r:id="rId11608"/>
    <p:sldLayoutId id="2147489927" r:id="rId11609"/>
    <p:sldLayoutId id="2147489548" r:id="rId11610"/>
    <p:sldLayoutId id="2147489542" r:id="rId11611"/>
    <p:sldLayoutId id="2147489560" r:id="rId11612"/>
    <p:sldLayoutId id="2147489558" r:id="rId11613"/>
    <p:sldLayoutId id="2147489564" r:id="rId11614"/>
    <p:sldLayoutId id="2147489592" r:id="rId11615"/>
    <p:sldLayoutId id="2147489570" r:id="rId11616"/>
    <p:sldLayoutId id="2147489574" r:id="rId11617"/>
    <p:sldLayoutId id="2147489586" r:id="rId11618"/>
    <p:sldLayoutId id="2147489578" r:id="rId11619"/>
    <p:sldLayoutId id="2147489918" r:id="rId11620"/>
    <p:sldLayoutId id="2147489544" r:id="rId11621"/>
    <p:sldLayoutId id="2147489924" r:id="rId11622"/>
    <p:sldLayoutId id="2147489932" r:id="rId11623"/>
    <p:sldLayoutId id="2147489930" r:id="rId11624"/>
    <p:sldLayoutId id="2147489936" r:id="rId11625"/>
    <p:sldLayoutId id="2147489556" r:id="rId11626"/>
    <p:sldLayoutId id="2147489938" r:id="rId11627"/>
    <p:sldLayoutId id="2147489920" r:id="rId11628"/>
    <p:sldLayoutId id="2147489909" r:id="rId11629"/>
    <p:sldLayoutId id="2147489911" r:id="rId11630"/>
    <p:sldLayoutId id="2147489916" r:id="rId11631"/>
    <p:sldLayoutId id="2147489914" r:id="rId11632"/>
    <p:sldLayoutId id="2147490172" r:id="rId11633"/>
    <p:sldLayoutId id="2147490199" r:id="rId11634"/>
    <p:sldLayoutId id="2147490175" r:id="rId11635"/>
    <p:sldLayoutId id="2147490179" r:id="rId11636"/>
    <p:sldLayoutId id="2147490177" r:id="rId11637"/>
    <p:sldLayoutId id="2147490182" r:id="rId11638"/>
    <p:sldLayoutId id="2147490181" r:id="rId11639"/>
    <p:sldLayoutId id="2147490184" r:id="rId11640"/>
    <p:sldLayoutId id="2147490196" r:id="rId11641"/>
    <p:sldLayoutId id="2147490188" r:id="rId11642"/>
    <p:sldLayoutId id="2147490190" r:id="rId11643"/>
    <p:sldLayoutId id="2147490194" r:id="rId11644"/>
    <p:sldLayoutId id="2147490192" r:id="rId11645"/>
    <p:sldLayoutId id="2147490213" r:id="rId11646"/>
    <p:sldLayoutId id="2147490223" r:id="rId11647"/>
    <p:sldLayoutId id="2147490217" r:id="rId11648"/>
    <p:sldLayoutId id="2147490224" r:id="rId11649"/>
    <p:sldLayoutId id="2147490221" r:id="rId11650"/>
    <p:sldLayoutId id="2147490229" r:id="rId11651"/>
    <p:sldLayoutId id="2147490228" r:id="rId11652"/>
    <p:sldLayoutId id="2147490231" r:id="rId11653"/>
    <p:sldLayoutId id="2147490214" r:id="rId11654"/>
    <p:sldLayoutId id="2147490205" r:id="rId11655"/>
    <p:sldLayoutId id="2147490207" r:id="rId11656"/>
    <p:sldLayoutId id="2147490211" r:id="rId11657"/>
    <p:sldLayoutId id="2147490209" r:id="rId11658"/>
    <p:sldLayoutId id="2147490246" r:id="rId11659"/>
    <p:sldLayoutId id="2147490236" r:id="rId11660"/>
    <p:sldLayoutId id="2147490260" r:id="rId11661"/>
    <p:sldLayoutId id="2147490269" r:id="rId11662"/>
    <p:sldLayoutId id="2147490265" r:id="rId11663"/>
    <p:sldLayoutId id="2147490279" r:id="rId11664"/>
    <p:sldLayoutId id="2147490277" r:id="rId11665"/>
    <p:sldLayoutId id="2147490283" r:id="rId11666"/>
    <p:sldLayoutId id="2147490295" r:id="rId11667"/>
    <p:sldLayoutId id="2147490287" r:id="rId11668"/>
    <p:sldLayoutId id="2147490289" r:id="rId11669"/>
    <p:sldLayoutId id="2147490293" r:id="rId11670"/>
    <p:sldLayoutId id="2147490291" r:id="rId11671"/>
    <p:sldLayoutId id="2147490251" r:id="rId11672"/>
    <p:sldLayoutId id="2147490266" r:id="rId11673"/>
    <p:sldLayoutId id="2147490257" r:id="rId11674"/>
    <p:sldLayoutId id="2147490268" r:id="rId11675"/>
    <p:sldLayoutId id="2147490263" r:id="rId11676"/>
    <p:sldLayoutId id="2147490278" r:id="rId11677"/>
    <p:sldLayoutId id="2147490276" r:id="rId11678"/>
    <p:sldLayoutId id="2147490282" r:id="rId11679"/>
    <p:sldLayoutId id="2147490253" r:id="rId11680"/>
    <p:sldLayoutId id="2147490242" r:id="rId11681"/>
    <p:sldLayoutId id="2147490244" r:id="rId11682"/>
    <p:sldLayoutId id="2147490249" r:id="rId11683"/>
    <p:sldLayoutId id="2147490247" r:id="rId11684"/>
    <p:sldLayoutId id="2147490298" r:id="rId11685"/>
    <p:sldLayoutId id="2147490325" r:id="rId11686"/>
    <p:sldLayoutId id="2147490301" r:id="rId11687"/>
    <p:sldLayoutId id="2147490305" r:id="rId11688"/>
    <p:sldLayoutId id="2147490303" r:id="rId11689"/>
    <p:sldLayoutId id="2147490308" r:id="rId11690"/>
    <p:sldLayoutId id="2147490307" r:id="rId11691"/>
    <p:sldLayoutId id="2147490310" r:id="rId11692"/>
    <p:sldLayoutId id="2147490322" r:id="rId11693"/>
    <p:sldLayoutId id="2147490314" r:id="rId11694"/>
    <p:sldLayoutId id="2147490316" r:id="rId11695"/>
    <p:sldLayoutId id="2147490320" r:id="rId11696"/>
    <p:sldLayoutId id="2147490318" r:id="rId11697"/>
    <p:sldLayoutId id="2147490339" r:id="rId11698"/>
    <p:sldLayoutId id="2147490350" r:id="rId11699"/>
    <p:sldLayoutId id="2147490343" r:id="rId11700"/>
    <p:sldLayoutId id="2147490351" r:id="rId11701"/>
    <p:sldLayoutId id="2147490347" r:id="rId11702"/>
    <p:sldLayoutId id="2147490358" r:id="rId11703"/>
    <p:sldLayoutId id="2147490356" r:id="rId11704"/>
    <p:sldLayoutId id="2147490360" r:id="rId11705"/>
    <p:sldLayoutId id="2147490340" r:id="rId11706"/>
    <p:sldLayoutId id="2147490331" r:id="rId11707"/>
    <p:sldLayoutId id="2147490333" r:id="rId11708"/>
    <p:sldLayoutId id="2147490337" r:id="rId11709"/>
    <p:sldLayoutId id="2147490335" r:id="rId11710"/>
    <p:sldLayoutId id="2147490066" r:id="rId11711"/>
    <p:sldLayoutId id="2147490121" r:id="rId11712"/>
    <p:sldLayoutId id="2147490069" r:id="rId11713"/>
    <p:sldLayoutId id="2147490073" r:id="rId11714"/>
    <p:sldLayoutId id="2147490071" r:id="rId11715"/>
    <p:sldLayoutId id="2147490076" r:id="rId11716"/>
    <p:sldLayoutId id="2147490075" r:id="rId11717"/>
    <p:sldLayoutId id="2147490078" r:id="rId11718"/>
    <p:sldLayoutId id="2147490102" r:id="rId11719"/>
    <p:sldLayoutId id="2147490087" r:id="rId11720"/>
    <p:sldLayoutId id="2147490091" r:id="rId11721"/>
    <p:sldLayoutId id="2147490098" r:id="rId11722"/>
    <p:sldLayoutId id="2147490095" r:id="rId11723"/>
    <p:sldLayoutId id="2147489975" r:id="rId11724"/>
    <p:sldLayoutId id="2147489988" r:id="rId11725"/>
    <p:sldLayoutId id="2147489980" r:id="rId11726"/>
    <p:sldLayoutId id="2147489989" r:id="rId11727"/>
    <p:sldLayoutId id="2147489985" r:id="rId11728"/>
    <p:sldLayoutId id="2147489997" r:id="rId11729"/>
    <p:sldLayoutId id="2147489995" r:id="rId11730"/>
    <p:sldLayoutId id="2147489999" r:id="rId11731"/>
    <p:sldLayoutId id="2147489976" r:id="rId11732"/>
    <p:sldLayoutId id="2147489964" r:id="rId11733"/>
    <p:sldLayoutId id="2147489966" r:id="rId11734"/>
    <p:sldLayoutId id="2147489972" r:id="rId11735"/>
    <p:sldLayoutId id="2147489969" r:id="rId11736"/>
    <p:sldLayoutId id="2147490014" r:id="rId11737"/>
    <p:sldLayoutId id="2147490004" r:id="rId11738"/>
    <p:sldLayoutId id="2147490028" r:id="rId11739"/>
    <p:sldLayoutId id="2147490037" r:id="rId11740"/>
    <p:sldLayoutId id="2147490033" r:id="rId11741"/>
    <p:sldLayoutId id="2147490047" r:id="rId11742"/>
    <p:sldLayoutId id="2147490045" r:id="rId11743"/>
    <p:sldLayoutId id="2147490051" r:id="rId11744"/>
    <p:sldLayoutId id="2147490063" r:id="rId11745"/>
    <p:sldLayoutId id="2147490055" r:id="rId11746"/>
    <p:sldLayoutId id="2147490057" r:id="rId11747"/>
    <p:sldLayoutId id="2147490061" r:id="rId11748"/>
    <p:sldLayoutId id="2147490059" r:id="rId11749"/>
    <p:sldLayoutId id="2147490019" r:id="rId11750"/>
    <p:sldLayoutId id="2147490034" r:id="rId11751"/>
    <p:sldLayoutId id="2147490025" r:id="rId11752"/>
    <p:sldLayoutId id="2147490036" r:id="rId11753"/>
    <p:sldLayoutId id="2147490031" r:id="rId11754"/>
    <p:sldLayoutId id="2147490046" r:id="rId11755"/>
    <p:sldLayoutId id="2147490044" r:id="rId11756"/>
    <p:sldLayoutId id="2147490050" r:id="rId11757"/>
    <p:sldLayoutId id="2147490021" r:id="rId11758"/>
    <p:sldLayoutId id="2147490010" r:id="rId11759"/>
    <p:sldLayoutId id="2147490012" r:id="rId11760"/>
    <p:sldLayoutId id="2147490017" r:id="rId11761"/>
    <p:sldLayoutId id="2147490015" r:id="rId11762"/>
    <p:sldLayoutId id="2147490112" r:id="rId11763"/>
    <p:sldLayoutId id="2147490137" r:id="rId11764"/>
    <p:sldLayoutId id="2147489961" r:id="rId11765"/>
    <p:sldLayoutId id="2147489974" r:id="rId11766"/>
    <p:sldLayoutId id="2147489968" r:id="rId11767"/>
    <p:sldLayoutId id="2147489987" r:id="rId11768"/>
    <p:sldLayoutId id="2147489984" r:id="rId11769"/>
    <p:sldLayoutId id="2147489993" r:id="rId11770"/>
    <p:sldLayoutId id="2147490134" r:id="rId11771"/>
    <p:sldLayoutId id="2147490126" r:id="rId11772"/>
    <p:sldLayoutId id="2147490128" r:id="rId11773"/>
    <p:sldLayoutId id="2147490132" r:id="rId11774"/>
    <p:sldLayoutId id="2147490130" r:id="rId11775"/>
    <p:sldLayoutId id="2147490151" r:id="rId11776"/>
    <p:sldLayoutId id="2147490161" r:id="rId11777"/>
    <p:sldLayoutId id="2147490155" r:id="rId11778"/>
    <p:sldLayoutId id="2147490162" r:id="rId11779"/>
    <p:sldLayoutId id="2147490159" r:id="rId11780"/>
    <p:sldLayoutId id="2147490167" r:id="rId11781"/>
    <p:sldLayoutId id="2147490166" r:id="rId11782"/>
    <p:sldLayoutId id="2147490169" r:id="rId11783"/>
    <p:sldLayoutId id="2147490152" r:id="rId11784"/>
    <p:sldLayoutId id="2147490143" r:id="rId11785"/>
    <p:sldLayoutId id="2147490145" r:id="rId11786"/>
    <p:sldLayoutId id="2147490149" r:id="rId11787"/>
    <p:sldLayoutId id="2147490147" r:id="rId11788"/>
    <p:sldLayoutId id="2147490084" r:id="rId11789"/>
    <p:sldLayoutId id="2147489954" r:id="rId11790"/>
    <p:sldLayoutId id="2147490090" r:id="rId11791"/>
    <p:sldLayoutId id="2147490099" r:id="rId11792"/>
    <p:sldLayoutId id="2147490094" r:id="rId11793"/>
    <p:sldLayoutId id="2147490104" r:id="rId11794"/>
    <p:sldLayoutId id="2147490103" r:id="rId11795"/>
    <p:sldLayoutId id="2147490106" r:id="rId11796"/>
    <p:sldLayoutId id="2147489958" r:id="rId11797"/>
    <p:sldLayoutId id="2147490110" r:id="rId11798"/>
    <p:sldLayoutId id="2147490113" r:id="rId11799"/>
    <p:sldLayoutId id="2147490120" r:id="rId11800"/>
    <p:sldLayoutId id="2147490116" r:id="rId11801"/>
    <p:sldLayoutId id="2147489035" r:id="rId11802"/>
    <p:sldLayoutId id="2147489114" r:id="rId11803"/>
    <p:sldLayoutId id="2147489051" r:id="rId11804"/>
    <p:sldLayoutId id="2147489065" r:id="rId11805"/>
    <p:sldLayoutId id="2147489059" r:id="rId11806"/>
    <p:sldLayoutId id="2147489078" r:id="rId11807"/>
    <p:sldLayoutId id="2147489075" r:id="rId11808"/>
    <p:sldLayoutId id="2147489082" r:id="rId11809"/>
    <p:sldLayoutId id="2147489105" r:id="rId11810"/>
    <p:sldLayoutId id="2147489091" r:id="rId11811"/>
    <p:sldLayoutId id="2147489094" r:id="rId11812"/>
    <p:sldLayoutId id="2147489102" r:id="rId11813"/>
    <p:sldLayoutId id="2147489098" r:id="rId11814"/>
    <p:sldLayoutId id="2147489137" r:id="rId11815"/>
    <p:sldLayoutId id="2147489152" r:id="rId11816"/>
    <p:sldLayoutId id="2147489143" r:id="rId11817"/>
    <p:sldLayoutId id="2147489153" r:id="rId11818"/>
    <p:sldLayoutId id="2147489149" r:id="rId11819"/>
    <p:sldLayoutId id="2147489161" r:id="rId11820"/>
    <p:sldLayoutId id="2147489159" r:id="rId11821"/>
    <p:sldLayoutId id="2147489164" r:id="rId11822"/>
    <p:sldLayoutId id="2147489138" r:id="rId11823"/>
    <p:sldLayoutId id="2147489122" r:id="rId11824"/>
    <p:sldLayoutId id="2147489125" r:id="rId11825"/>
    <p:sldLayoutId id="2147489134" r:id="rId11826"/>
    <p:sldLayoutId id="2147489129" r:id="rId11827"/>
    <p:sldLayoutId id="2147489218" r:id="rId11828"/>
    <p:sldLayoutId id="2147489188" r:id="rId11829"/>
    <p:sldLayoutId id="2147489241" r:id="rId11830"/>
    <p:sldLayoutId id="2147489251" r:id="rId11831"/>
    <p:sldLayoutId id="2147489247" r:id="rId11832"/>
    <p:sldLayoutId id="2147489261" r:id="rId11833"/>
    <p:sldLayoutId id="2147489259" r:id="rId11834"/>
    <p:sldLayoutId id="2147489265" r:id="rId11835"/>
    <p:sldLayoutId id="2147489277" r:id="rId11836"/>
    <p:sldLayoutId id="2147489269" r:id="rId11837"/>
    <p:sldLayoutId id="2147489271" r:id="rId11838"/>
    <p:sldLayoutId id="2147489275" r:id="rId11839"/>
    <p:sldLayoutId id="2147489273" r:id="rId11840"/>
    <p:sldLayoutId id="2147489228" r:id="rId11841"/>
    <p:sldLayoutId id="2147489248" r:id="rId11842"/>
    <p:sldLayoutId id="2147489237" r:id="rId11843"/>
    <p:sldLayoutId id="2147489250" r:id="rId11844"/>
    <p:sldLayoutId id="2147489245" r:id="rId11845"/>
    <p:sldLayoutId id="2147489260" r:id="rId11846"/>
    <p:sldLayoutId id="2147489258" r:id="rId11847"/>
    <p:sldLayoutId id="2147489264" r:id="rId11848"/>
    <p:sldLayoutId id="2147489231" r:id="rId11849"/>
    <p:sldLayoutId id="2147489206" r:id="rId11850"/>
    <p:sldLayoutId id="2147489212" r:id="rId11851"/>
    <p:sldLayoutId id="2147489225" r:id="rId11852"/>
    <p:sldLayoutId id="2147489222" r:id="rId11853"/>
    <p:sldLayoutId id="2147489311" r:id="rId11854"/>
    <p:sldLayoutId id="2147489383" r:id="rId11855"/>
    <p:sldLayoutId id="2147489318" r:id="rId11856"/>
    <p:sldLayoutId id="2147489328" r:id="rId11857"/>
    <p:sldLayoutId id="2147489324" r:id="rId11858"/>
    <p:sldLayoutId id="2147489334" r:id="rId11859"/>
    <p:sldLayoutId id="2147489333" r:id="rId11860"/>
    <p:sldLayoutId id="2147489340" r:id="rId11861"/>
    <p:sldLayoutId id="2147489373" r:id="rId11862"/>
    <p:sldLayoutId id="2147489349" r:id="rId11863"/>
    <p:sldLayoutId id="2147489355" r:id="rId11864"/>
    <p:sldLayoutId id="2147489367" r:id="rId11865"/>
    <p:sldLayoutId id="2147489361" r:id="rId11866"/>
    <p:sldLayoutId id="2147489429" r:id="rId11867"/>
    <p:sldLayoutId id="2147489461" r:id="rId11868"/>
    <p:sldLayoutId id="2147489441" r:id="rId11869"/>
    <p:sldLayoutId id="2147489463" r:id="rId11870"/>
    <p:sldLayoutId id="2147489457" r:id="rId11871"/>
    <p:sldLayoutId id="2147489477" r:id="rId11872"/>
    <p:sldLayoutId id="2147489475" r:id="rId11873"/>
    <p:sldLayoutId id="2147489483" r:id="rId11874"/>
    <p:sldLayoutId id="2147489433" r:id="rId11875"/>
    <p:sldLayoutId id="2147489405" r:id="rId11876"/>
    <p:sldLayoutId id="2147489413" r:id="rId11877"/>
    <p:sldLayoutId id="2147489425" r:id="rId11878"/>
    <p:sldLayoutId id="2147489419" r:id="rId11879"/>
    <p:sldLayoutId id="2147489732" r:id="rId11880"/>
    <p:sldLayoutId id="2147489803" r:id="rId11881"/>
    <p:sldLayoutId id="2147489736" r:id="rId11882"/>
    <p:sldLayoutId id="2147489742" r:id="rId11883"/>
    <p:sldLayoutId id="2147489739" r:id="rId11884"/>
    <p:sldLayoutId id="2147489747" r:id="rId11885"/>
    <p:sldLayoutId id="2147489745" r:id="rId11886"/>
    <p:sldLayoutId id="2147489750" r:id="rId11887"/>
    <p:sldLayoutId id="2147489782" r:id="rId11888"/>
    <p:sldLayoutId id="2147489763" r:id="rId11889"/>
    <p:sldLayoutId id="2147489769" r:id="rId11890"/>
    <p:sldLayoutId id="2147489778" r:id="rId11891"/>
    <p:sldLayoutId id="2147489775" r:id="rId11892"/>
    <p:sldLayoutId id="2147489561" r:id="rId11893"/>
    <p:sldLayoutId id="2147489587" r:id="rId11894"/>
    <p:sldLayoutId id="2147489571" r:id="rId11895"/>
    <p:sldLayoutId id="2147489589" r:id="rId11896"/>
    <p:sldLayoutId id="2147489581" r:id="rId11897"/>
    <p:sldLayoutId id="2147489605" r:id="rId11898"/>
    <p:sldLayoutId id="2147489601" r:id="rId11899"/>
    <p:sldLayoutId id="2147489609" r:id="rId11900"/>
    <p:sldLayoutId id="2147489563" r:id="rId11901"/>
    <p:sldLayoutId id="2147489539" r:id="rId11902"/>
    <p:sldLayoutId id="2147489543" r:id="rId11903"/>
    <p:sldLayoutId id="2147489555" r:id="rId11904"/>
    <p:sldLayoutId id="2147489549" r:id="rId11905"/>
    <p:sldLayoutId id="2147489639" r:id="rId11906"/>
    <p:sldLayoutId id="2147489619" r:id="rId11907"/>
    <p:sldLayoutId id="2147489667" r:id="rId11908"/>
    <p:sldLayoutId id="2147489685" r:id="rId11909"/>
    <p:sldLayoutId id="2147489677" r:id="rId11910"/>
    <p:sldLayoutId id="2147489703" r:id="rId11911"/>
    <p:sldLayoutId id="2147489700" r:id="rId11912"/>
    <p:sldLayoutId id="2147489709" r:id="rId11913"/>
    <p:sldLayoutId id="2147489727" r:id="rId11914"/>
    <p:sldLayoutId id="2147489715" r:id="rId11915"/>
    <p:sldLayoutId id="2147489718" r:id="rId11916"/>
    <p:sldLayoutId id="2147489724" r:id="rId11917"/>
    <p:sldLayoutId id="2147489721" r:id="rId11918"/>
    <p:sldLayoutId id="2147489649" r:id="rId11919"/>
    <p:sldLayoutId id="2147489679" r:id="rId11920"/>
    <p:sldLayoutId id="2147489661" r:id="rId11921"/>
    <p:sldLayoutId id="2147489683" r:id="rId11922"/>
    <p:sldLayoutId id="2147489673" r:id="rId11923"/>
    <p:sldLayoutId id="2147489702" r:id="rId11924"/>
    <p:sldLayoutId id="2147489699" r:id="rId11925"/>
    <p:sldLayoutId id="2147489708" r:id="rId11926"/>
    <p:sldLayoutId id="2147489653" r:id="rId11927"/>
    <p:sldLayoutId id="2147489631" r:id="rId11928"/>
    <p:sldLayoutId id="2147489635" r:id="rId11929"/>
    <p:sldLayoutId id="2147489645" r:id="rId11930"/>
    <p:sldLayoutId id="2147489641" r:id="rId11931"/>
    <p:sldLayoutId id="2147489792" r:id="rId11932"/>
    <p:sldLayoutId id="2147489819" r:id="rId11933"/>
    <p:sldLayoutId id="2147489533" r:id="rId11934"/>
    <p:sldLayoutId id="2147489559" r:id="rId11935"/>
    <p:sldLayoutId id="2147489547" r:id="rId11936"/>
    <p:sldLayoutId id="2147489585" r:id="rId11937"/>
    <p:sldLayoutId id="2147489579" r:id="rId11938"/>
    <p:sldLayoutId id="2147489597" r:id="rId11939"/>
    <p:sldLayoutId id="2147489816" r:id="rId11940"/>
    <p:sldLayoutId id="2147489808" r:id="rId11941"/>
    <p:sldLayoutId id="2147489810" r:id="rId11942"/>
    <p:sldLayoutId id="2147489814" r:id="rId11943"/>
    <p:sldLayoutId id="2147489812" r:id="rId11944"/>
    <p:sldLayoutId id="2147489833" r:id="rId11945"/>
    <p:sldLayoutId id="2147489845" r:id="rId11946"/>
    <p:sldLayoutId id="2147489837" r:id="rId11947"/>
    <p:sldLayoutId id="2147489846" r:id="rId11948"/>
    <p:sldLayoutId id="2147489842" r:id="rId11949"/>
    <p:sldLayoutId id="2147488699" r:id="rId11950"/>
    <p:sldLayoutId id="2147488698" r:id="rId11951"/>
    <p:sldLayoutId id="2147488701" r:id="rId11952"/>
    <p:sldLayoutId id="2147489834" r:id="rId11953"/>
    <p:sldLayoutId id="2147489825" r:id="rId11954"/>
    <p:sldLayoutId id="2147489827" r:id="rId11955"/>
    <p:sldLayoutId id="2147489831" r:id="rId11956"/>
    <p:sldLayoutId id="2147489829" r:id="rId11957"/>
    <p:sldLayoutId id="2147489759" r:id="rId11958"/>
    <p:sldLayoutId id="2147489519" r:id="rId11959"/>
    <p:sldLayoutId id="2147489768" r:id="rId11960"/>
    <p:sldLayoutId id="2147489779" r:id="rId11961"/>
    <p:sldLayoutId id="2147489774" r:id="rId11962"/>
    <p:sldLayoutId id="2147489784" r:id="rId11963"/>
    <p:sldLayoutId id="2147489783" r:id="rId11964"/>
    <p:sldLayoutId id="2147489786" r:id="rId11965"/>
    <p:sldLayoutId id="2147489527" r:id="rId11966"/>
    <p:sldLayoutId id="2147489790" r:id="rId11967"/>
    <p:sldLayoutId id="2147489794" r:id="rId11968"/>
    <p:sldLayoutId id="2147489802" r:id="rId11969"/>
    <p:sldLayoutId id="2147489798" r:id="rId11970"/>
    <p:sldLayoutId id="2147488759" r:id="rId11971"/>
    <p:sldLayoutId id="2147488804" r:id="rId11972"/>
    <p:sldLayoutId id="2147488764" r:id="rId11973"/>
    <p:sldLayoutId id="2147488771" r:id="rId11974"/>
    <p:sldLayoutId id="2147488768" r:id="rId11975"/>
    <p:sldLayoutId id="2147488777" r:id="rId11976"/>
    <p:sldLayoutId id="2147488775" r:id="rId11977"/>
    <p:sldLayoutId id="2147488780" r:id="rId11978"/>
    <p:sldLayoutId id="2147488799" r:id="rId11979"/>
    <p:sldLayoutId id="2147488786" r:id="rId11980"/>
    <p:sldLayoutId id="2147488789" r:id="rId11981"/>
    <p:sldLayoutId id="2147488796" r:id="rId11982"/>
    <p:sldLayoutId id="2147488792" r:id="rId11983"/>
    <p:sldLayoutId id="2147488837" r:id="rId11984"/>
    <p:sldLayoutId id="2147488857" r:id="rId11985"/>
    <p:sldLayoutId id="2147488845" r:id="rId11986"/>
    <p:sldLayoutId id="2147488859" r:id="rId11987"/>
    <p:sldLayoutId id="2147488853" r:id="rId11988"/>
    <p:sldLayoutId id="2147488869" r:id="rId11989"/>
    <p:sldLayoutId id="2147488867" r:id="rId11990"/>
    <p:sldLayoutId id="2147488873" r:id="rId11991"/>
    <p:sldLayoutId id="2147488839" r:id="rId11992"/>
    <p:sldLayoutId id="2147488820" r:id="rId11993"/>
    <p:sldLayoutId id="2147488825" r:id="rId11994"/>
    <p:sldLayoutId id="2147488833" r:id="rId11995"/>
    <p:sldLayoutId id="2147488829" r:id="rId11996"/>
    <p:sldLayoutId id="2147488953" r:id="rId11997"/>
    <p:sldLayoutId id="2147488921" r:id="rId11998"/>
    <p:sldLayoutId id="2147489001" r:id="rId11999"/>
    <p:sldLayoutId id="2147489033" r:id="rId12000"/>
    <p:sldLayoutId id="2147489019" r:id="rId12001"/>
    <p:sldLayoutId id="2147489071" r:id="rId12002"/>
    <p:sldLayoutId id="2147489061" r:id="rId12003"/>
    <p:sldLayoutId id="2147489084" r:id="rId12004"/>
    <p:sldLayoutId id="2147489110" r:id="rId12005"/>
    <p:sldLayoutId id="2147489090" r:id="rId12006"/>
    <p:sldLayoutId id="2147489097" r:id="rId12007"/>
    <p:sldLayoutId id="2147489108" r:id="rId12008"/>
    <p:sldLayoutId id="2147489104" r:id="rId12009"/>
    <p:sldLayoutId id="2147488969" r:id="rId12010"/>
    <p:sldLayoutId id="2147489021" r:id="rId12011"/>
    <p:sldLayoutId id="2147488991" r:id="rId12012"/>
    <p:sldLayoutId id="2147489029" r:id="rId12013"/>
    <p:sldLayoutId id="2147489011" r:id="rId12014"/>
    <p:sldLayoutId id="2147489067" r:id="rId12015"/>
    <p:sldLayoutId id="2147489057" r:id="rId12016"/>
    <p:sldLayoutId id="2147489080" r:id="rId12017"/>
    <p:sldLayoutId id="2147488977" r:id="rId12018"/>
    <p:sldLayoutId id="2147488941" r:id="rId12019"/>
    <p:sldLayoutId id="2147488947" r:id="rId12020"/>
    <p:sldLayoutId id="2147488963" r:id="rId12021"/>
    <p:sldLayoutId id="2147488957" r:id="rId12022"/>
    <p:sldLayoutId id="2147489168" r:id="rId12023"/>
    <p:sldLayoutId id="2147488709" r:id="rId12024"/>
    <p:sldLayoutId id="2147489173" r:id="rId12025"/>
    <p:sldLayoutId id="2147489180" r:id="rId12026"/>
    <p:sldLayoutId id="2147489176" r:id="rId12027"/>
    <p:sldLayoutId id="2147489198" r:id="rId12028"/>
    <p:sldLayoutId id="2147489192" r:id="rId12029"/>
    <p:sldLayoutId id="2147489208" r:id="rId12030"/>
    <p:sldLayoutId id="2147488706" r:id="rId12031"/>
    <p:sldLayoutId id="2147489227" r:id="rId12032"/>
    <p:sldLayoutId id="2147489233" r:id="rId12033"/>
    <p:sldLayoutId id="2147488704" r:id="rId12034"/>
    <p:sldLayoutId id="2147489239" r:id="rId12035"/>
    <p:sldLayoutId id="2147488725" r:id="rId12036"/>
    <p:sldLayoutId id="2147488741" r:id="rId12037"/>
    <p:sldLayoutId id="2147488731" r:id="rId12038"/>
    <p:sldLayoutId id="2147488743" r:id="rId12039"/>
    <p:sldLayoutId id="2147488737" r:id="rId12040"/>
    <p:sldLayoutId id="2147488750" r:id="rId12041"/>
    <p:sldLayoutId id="2147488749" r:id="rId12042"/>
    <p:sldLayoutId id="2147488754" r:id="rId12043"/>
    <p:sldLayoutId id="2147488727" r:id="rId12044"/>
    <p:sldLayoutId id="2147488715" r:id="rId12045"/>
    <p:sldLayoutId id="2147488717" r:id="rId12046"/>
    <p:sldLayoutId id="2147488721" r:id="rId12047"/>
    <p:sldLayoutId id="2147488719" r:id="rId12048"/>
    <p:sldLayoutId id="2147489495" r:id="rId12049"/>
    <p:sldLayoutId id="2147489031" r:id="rId12050"/>
    <p:sldLayoutId id="2147488949" r:id="rId12051"/>
    <p:sldLayoutId id="2147488961" r:id="rId12052"/>
    <p:sldLayoutId id="2147488955" r:id="rId12053"/>
    <p:sldLayoutId id="2147488971" r:id="rId12054"/>
    <p:sldLayoutId id="2147488967" r:id="rId12055"/>
    <p:sldLayoutId id="2147489505" r:id="rId12056"/>
    <p:sldLayoutId id="2147489511" r:id="rId12057"/>
    <p:sldLayoutId id="2147489507" r:id="rId12058"/>
    <p:sldLayoutId id="2147488999" r:id="rId12059"/>
    <p:sldLayoutId id="2147489013" r:id="rId12060"/>
    <p:sldLayoutId id="2147489509" r:id="rId12061"/>
    <p:sldLayoutId id="2147489292" r:id="rId12062"/>
    <p:sldLayoutId id="2147489302" r:id="rId12063"/>
    <p:sldLayoutId id="2147489296" r:id="rId12064"/>
    <p:sldLayoutId id="2147488813" r:id="rId12065"/>
    <p:sldLayoutId id="2147489300" r:id="rId12066"/>
    <p:sldLayoutId id="2147489304" r:id="rId12067"/>
    <p:sldLayoutId id="2147489303" r:id="rId12068"/>
    <p:sldLayoutId id="2147489306" r:id="rId12069"/>
    <p:sldLayoutId id="2147489293" r:id="rId12070"/>
    <p:sldLayoutId id="2147489284" r:id="rId12071"/>
    <p:sldLayoutId id="2147489286" r:id="rId12072"/>
    <p:sldLayoutId id="2147489290" r:id="rId12073"/>
    <p:sldLayoutId id="2147489288" r:id="rId12074"/>
    <p:sldLayoutId id="2147489351" r:id="rId12075"/>
    <p:sldLayoutId id="2147489312" r:id="rId12076"/>
    <p:sldLayoutId id="2147489411" r:id="rId12077"/>
    <p:sldLayoutId id="2147488885" r:id="rId12078"/>
    <p:sldLayoutId id="2147488879" r:id="rId12079"/>
    <p:sldLayoutId id="2147488897" r:id="rId12080"/>
    <p:sldLayoutId id="2147488895" r:id="rId12081"/>
    <p:sldLayoutId id="2147488901" r:id="rId12082"/>
    <p:sldLayoutId id="2147488929" r:id="rId12083"/>
    <p:sldLayoutId id="2147488907" r:id="rId12084"/>
    <p:sldLayoutId id="2147488911" r:id="rId12085"/>
    <p:sldLayoutId id="2147488923" r:id="rId12086"/>
    <p:sldLayoutId id="2147488915" r:id="rId12087"/>
    <p:sldLayoutId id="2147489369" r:id="rId12088"/>
    <p:sldLayoutId id="2147488881" r:id="rId12089"/>
    <p:sldLayoutId id="2147489399" r:id="rId12090"/>
    <p:sldLayoutId id="2147489443" r:id="rId12091"/>
    <p:sldLayoutId id="2147489431" r:id="rId12092"/>
    <p:sldLayoutId id="2147489465" r:id="rId12093"/>
    <p:sldLayoutId id="2147488893" r:id="rId12094"/>
    <p:sldLayoutId id="2147489481" r:id="rId12095"/>
    <p:sldLayoutId id="2147489381" r:id="rId12096"/>
    <p:sldLayoutId id="2147489336" r:id="rId12097"/>
    <p:sldLayoutId id="2147489342" r:id="rId12098"/>
    <p:sldLayoutId id="2147489360" r:id="rId12099"/>
    <p:sldLayoutId id="2147489354" r:id="rId12100"/>
    <p:sldLayoutId id="2147495348" r:id="rId12101"/>
    <p:sldLayoutId id="2147496302" r:id="rId12102"/>
    <p:sldLayoutId id="2147496386" r:id="rId12103"/>
    <p:sldLayoutId id="2147496314" r:id="rId12104"/>
    <p:sldLayoutId id="2147496324" r:id="rId12105"/>
    <p:sldLayoutId id="2147496320" r:id="rId12106"/>
    <p:sldLayoutId id="2147496334" r:id="rId12107"/>
    <p:sldLayoutId id="2147496332" r:id="rId12108"/>
    <p:sldLayoutId id="2147496338" r:id="rId12109"/>
    <p:sldLayoutId id="2147496368" r:id="rId12110"/>
    <p:sldLayoutId id="2147496352" r:id="rId12111"/>
    <p:sldLayoutId id="2147496356" r:id="rId12112"/>
    <p:sldLayoutId id="2147496364" r:id="rId12113"/>
    <p:sldLayoutId id="2147496360" r:id="rId12114"/>
    <p:sldLayoutId id="2147496417" r:id="rId12115"/>
    <p:sldLayoutId id="2147496437" r:id="rId12116"/>
    <p:sldLayoutId id="2147496425" r:id="rId12117"/>
    <p:sldLayoutId id="2147496439" r:id="rId12118"/>
    <p:sldLayoutId id="2147496433" r:id="rId12119"/>
    <p:sldLayoutId id="2147496449" r:id="rId12120"/>
    <p:sldLayoutId id="2147496447" r:id="rId12121"/>
    <p:sldLayoutId id="2147496453" r:id="rId12122"/>
    <p:sldLayoutId id="2147496419" r:id="rId12123"/>
    <p:sldLayoutId id="2147496401" r:id="rId12124"/>
    <p:sldLayoutId id="2147496405" r:id="rId12125"/>
    <p:sldLayoutId id="2147496413" r:id="rId12126"/>
    <p:sldLayoutId id="2147496409" r:id="rId12127"/>
    <p:sldLayoutId id="2147496517" r:id="rId12128"/>
    <p:sldLayoutId id="2147496497" r:id="rId12129"/>
    <p:sldLayoutId id="2147496545" r:id="rId12130"/>
    <p:sldLayoutId id="2147496563" r:id="rId12131"/>
    <p:sldLayoutId id="2147496555" r:id="rId12132"/>
    <p:sldLayoutId id="2147496583" r:id="rId12133"/>
    <p:sldLayoutId id="2147496579" r:id="rId12134"/>
    <p:sldLayoutId id="2147496591" r:id="rId12135"/>
    <p:sldLayoutId id="2147496615" r:id="rId12136"/>
    <p:sldLayoutId id="2147496599" r:id="rId12137"/>
    <p:sldLayoutId id="2147496603" r:id="rId12138"/>
    <p:sldLayoutId id="2147496611" r:id="rId12139"/>
    <p:sldLayoutId id="2147496607" r:id="rId12140"/>
    <p:sldLayoutId id="2147496527" r:id="rId12141"/>
    <p:sldLayoutId id="2147496557" r:id="rId12142"/>
    <p:sldLayoutId id="2147496539" r:id="rId12143"/>
    <p:sldLayoutId id="2147496561" r:id="rId12144"/>
    <p:sldLayoutId id="2147496551" r:id="rId12145"/>
    <p:sldLayoutId id="2147496581" r:id="rId12146"/>
    <p:sldLayoutId id="2147496577" r:id="rId12147"/>
    <p:sldLayoutId id="2147496589" r:id="rId12148"/>
    <p:sldLayoutId id="2147496531" r:id="rId12149"/>
    <p:sldLayoutId id="2147496509" r:id="rId12150"/>
    <p:sldLayoutId id="2147496513" r:id="rId12151"/>
    <p:sldLayoutId id="2147496523" r:id="rId12152"/>
    <p:sldLayoutId id="2147496519" r:id="rId12153"/>
    <p:sldLayoutId id="2147496681" r:id="rId12154"/>
    <p:sldLayoutId id="2147496735" r:id="rId12155"/>
    <p:sldLayoutId id="2147496687" r:id="rId12156"/>
    <p:sldLayoutId id="2147496695" r:id="rId12157"/>
    <p:sldLayoutId id="2147496691" r:id="rId12158"/>
    <p:sldLayoutId id="2147496701" r:id="rId12159"/>
    <p:sldLayoutId id="2147496699" r:id="rId12160"/>
    <p:sldLayoutId id="2147496705" r:id="rId12161"/>
    <p:sldLayoutId id="2147496729" r:id="rId12162"/>
    <p:sldLayoutId id="2147496713" r:id="rId12163"/>
    <p:sldLayoutId id="2147496717" r:id="rId12164"/>
    <p:sldLayoutId id="2147496725" r:id="rId12165"/>
    <p:sldLayoutId id="2147496721" r:id="rId12166"/>
    <p:sldLayoutId id="2147496763" r:id="rId12167"/>
    <p:sldLayoutId id="2147496783" r:id="rId12168"/>
    <p:sldLayoutId id="2147496771" r:id="rId12169"/>
    <p:sldLayoutId id="2147496785" r:id="rId12170"/>
    <p:sldLayoutId id="2147496779" r:id="rId12171"/>
    <p:sldLayoutId id="2147496795" r:id="rId12172"/>
    <p:sldLayoutId id="2147496793" r:id="rId12173"/>
    <p:sldLayoutId id="2147496799" r:id="rId12174"/>
    <p:sldLayoutId id="2147496765" r:id="rId12175"/>
    <p:sldLayoutId id="2147496747" r:id="rId12176"/>
    <p:sldLayoutId id="2147496751" r:id="rId12177"/>
    <p:sldLayoutId id="2147496759" r:id="rId12178"/>
    <p:sldLayoutId id="2147496755" r:id="rId12179"/>
    <p:sldLayoutId id="2147497175" r:id="rId12180"/>
    <p:sldLayoutId id="2147497285" r:id="rId12181"/>
    <p:sldLayoutId id="2147497181" r:id="rId12182"/>
    <p:sldLayoutId id="2147497189" r:id="rId12183"/>
    <p:sldLayoutId id="2147497185" r:id="rId12184"/>
    <p:sldLayoutId id="2147497195" r:id="rId12185"/>
    <p:sldLayoutId id="2147497193" r:id="rId12186"/>
    <p:sldLayoutId id="2147497199" r:id="rId12187"/>
    <p:sldLayoutId id="2147497247" r:id="rId12188"/>
    <p:sldLayoutId id="2147497217" r:id="rId12189"/>
    <p:sldLayoutId id="2147497225" r:id="rId12190"/>
    <p:sldLayoutId id="2147497239" r:id="rId12191"/>
    <p:sldLayoutId id="2147497233" r:id="rId12192"/>
    <p:sldLayoutId id="2147496982" r:id="rId12193"/>
    <p:sldLayoutId id="2147497015" r:id="rId12194"/>
    <p:sldLayoutId id="2147496995" r:id="rId12195"/>
    <p:sldLayoutId id="2147497018" r:id="rId12196"/>
    <p:sldLayoutId id="2147497008" r:id="rId12197"/>
    <p:sldLayoutId id="2147497036" r:id="rId12198"/>
    <p:sldLayoutId id="2147497032" r:id="rId12199"/>
    <p:sldLayoutId id="2147497041" r:id="rId12200"/>
    <p:sldLayoutId id="2147496985" r:id="rId12201"/>
    <p:sldLayoutId id="2147496955" r:id="rId12202"/>
    <p:sldLayoutId id="2147496961" r:id="rId12203"/>
    <p:sldLayoutId id="2147496975" r:id="rId12204"/>
    <p:sldLayoutId id="2147496968" r:id="rId12205"/>
    <p:sldLayoutId id="2147497071" r:id="rId12206"/>
    <p:sldLayoutId id="2147497051" r:id="rId12207"/>
    <p:sldLayoutId id="2147497099" r:id="rId12208"/>
    <p:sldLayoutId id="2147497117" r:id="rId12209"/>
    <p:sldLayoutId id="2147497109" r:id="rId12210"/>
    <p:sldLayoutId id="2147497137" r:id="rId12211"/>
    <p:sldLayoutId id="2147497133" r:id="rId12212"/>
    <p:sldLayoutId id="2147497145" r:id="rId12213"/>
    <p:sldLayoutId id="2147497169" r:id="rId12214"/>
    <p:sldLayoutId id="2147497153" r:id="rId12215"/>
    <p:sldLayoutId id="2147497157" r:id="rId12216"/>
    <p:sldLayoutId id="2147497165" r:id="rId12217"/>
    <p:sldLayoutId id="2147497161" r:id="rId12218"/>
    <p:sldLayoutId id="2147497081" r:id="rId12219"/>
    <p:sldLayoutId id="2147497111" r:id="rId12220"/>
    <p:sldLayoutId id="2147497093" r:id="rId12221"/>
    <p:sldLayoutId id="2147497115" r:id="rId12222"/>
    <p:sldLayoutId id="2147497105" r:id="rId12223"/>
    <p:sldLayoutId id="2147497135" r:id="rId12224"/>
    <p:sldLayoutId id="2147497131" r:id="rId12225"/>
    <p:sldLayoutId id="2147497143" r:id="rId12226"/>
    <p:sldLayoutId id="2147497085" r:id="rId12227"/>
    <p:sldLayoutId id="2147497063" r:id="rId12228"/>
    <p:sldLayoutId id="2147497067" r:id="rId12229"/>
    <p:sldLayoutId id="2147497077" r:id="rId12230"/>
    <p:sldLayoutId id="2147497073" r:id="rId12231"/>
    <p:sldLayoutId id="2147497267" r:id="rId12232"/>
    <p:sldLayoutId id="2147497355" r:id="rId12233"/>
    <p:sldLayoutId id="2147496948" r:id="rId12234"/>
    <p:sldLayoutId id="2147496980" r:id="rId12235"/>
    <p:sldLayoutId id="2147496966" r:id="rId12236"/>
    <p:sldLayoutId id="2147497013" r:id="rId12237"/>
    <p:sldLayoutId id="2147497006" r:id="rId12238"/>
    <p:sldLayoutId id="2147497027" r:id="rId12239"/>
    <p:sldLayoutId id="2147497346" r:id="rId12240"/>
    <p:sldLayoutId id="2147497314" r:id="rId12241"/>
    <p:sldLayoutId id="2147497324" r:id="rId12242"/>
    <p:sldLayoutId id="2147497340" r:id="rId12243"/>
    <p:sldLayoutId id="2147497334" r:id="rId12244"/>
    <p:sldLayoutId id="2147497394" r:id="rId12245"/>
    <p:sldLayoutId id="2147497414" r:id="rId12246"/>
    <p:sldLayoutId id="2147497402" r:id="rId12247"/>
    <p:sldLayoutId id="2147497416" r:id="rId12248"/>
    <p:sldLayoutId id="2147497410" r:id="rId12249"/>
    <p:sldLayoutId id="2147497426" r:id="rId12250"/>
    <p:sldLayoutId id="2147497424" r:id="rId12251"/>
    <p:sldLayoutId id="2147497430" r:id="rId12252"/>
    <p:sldLayoutId id="2147497396" r:id="rId12253"/>
    <p:sldLayoutId id="2147497373" r:id="rId12254"/>
    <p:sldLayoutId id="2147497379" r:id="rId12255"/>
    <p:sldLayoutId id="2147497390" r:id="rId12256"/>
    <p:sldLayoutId id="2147497385" r:id="rId12257"/>
    <p:sldLayoutId id="2147497211" r:id="rId12258"/>
    <p:sldLayoutId id="2147496894" r:id="rId12259"/>
    <p:sldLayoutId id="2147497223" r:id="rId12260"/>
    <p:sldLayoutId id="2147497241" r:id="rId12261"/>
    <p:sldLayoutId id="2147497231" r:id="rId12262"/>
    <p:sldLayoutId id="2147497251" r:id="rId12263"/>
    <p:sldLayoutId id="2147497249" r:id="rId12264"/>
    <p:sldLayoutId id="2147497255" r:id="rId12265"/>
    <p:sldLayoutId id="2147496939" r:id="rId12266"/>
    <p:sldLayoutId id="2147497263" r:id="rId12267"/>
    <p:sldLayoutId id="2147497269" r:id="rId12268"/>
    <p:sldLayoutId id="2147497283" r:id="rId12269"/>
    <p:sldLayoutId id="2147497275" r:id="rId12270"/>
    <p:sldLayoutId id="2147497624" r:id="rId12271"/>
    <p:sldLayoutId id="2147497678" r:id="rId12272"/>
    <p:sldLayoutId id="2147497630" r:id="rId12273"/>
    <p:sldLayoutId id="2147497638" r:id="rId12274"/>
    <p:sldLayoutId id="2147497634" r:id="rId12275"/>
    <p:sldLayoutId id="2147497644" r:id="rId12276"/>
    <p:sldLayoutId id="2147497642" r:id="rId12277"/>
    <p:sldLayoutId id="2147497648" r:id="rId12278"/>
    <p:sldLayoutId id="2147497672" r:id="rId12279"/>
    <p:sldLayoutId id="2147497656" r:id="rId12280"/>
    <p:sldLayoutId id="2147497660" r:id="rId12281"/>
    <p:sldLayoutId id="2147497668" r:id="rId12282"/>
    <p:sldLayoutId id="2147497664" r:id="rId12283"/>
    <p:sldLayoutId id="2147497714" r:id="rId12284"/>
    <p:sldLayoutId id="2147497734" r:id="rId12285"/>
    <p:sldLayoutId id="2147497722" r:id="rId12286"/>
    <p:sldLayoutId id="2147497736" r:id="rId12287"/>
    <p:sldLayoutId id="2147497730" r:id="rId12288"/>
    <p:sldLayoutId id="2147497746" r:id="rId12289"/>
    <p:sldLayoutId id="2147497744" r:id="rId12290"/>
    <p:sldLayoutId id="2147497750" r:id="rId12291"/>
    <p:sldLayoutId id="2147497716" r:id="rId12292"/>
    <p:sldLayoutId id="2147497696" r:id="rId12293"/>
    <p:sldLayoutId id="2147497702" r:id="rId12294"/>
    <p:sldLayoutId id="2147497710" r:id="rId12295"/>
    <p:sldLayoutId id="2147497706" r:id="rId12296"/>
    <p:sldLayoutId id="2147497830" r:id="rId12297"/>
    <p:sldLayoutId id="2147497798" r:id="rId12298"/>
    <p:sldLayoutId id="2147497878" r:id="rId12299"/>
    <p:sldLayoutId id="2147492342" r:id="rId12300"/>
    <p:sldLayoutId id="2147492328" r:id="rId12301"/>
    <p:sldLayoutId id="2147492371" r:id="rId12302"/>
    <p:sldLayoutId id="2147492365" r:id="rId12303"/>
    <p:sldLayoutId id="2147492383" r:id="rId12304"/>
    <p:sldLayoutId id="2147492419" r:id="rId12305"/>
    <p:sldLayoutId id="2147492395" r:id="rId12306"/>
    <p:sldLayoutId id="2147492401" r:id="rId12307"/>
    <p:sldLayoutId id="2147492413" r:id="rId12308"/>
    <p:sldLayoutId id="2147492407" r:id="rId12309"/>
    <p:sldLayoutId id="2147497846" r:id="rId12310"/>
    <p:sldLayoutId id="2147492330" r:id="rId12311"/>
    <p:sldLayoutId id="2147497868" r:id="rId12312"/>
    <p:sldLayoutId id="2147492338" r:id="rId12313"/>
    <p:sldLayoutId id="2147497888" r:id="rId12314"/>
    <p:sldLayoutId id="2147492368" r:id="rId12315"/>
    <p:sldLayoutId id="2147492362" r:id="rId12316"/>
    <p:sldLayoutId id="2147492380" r:id="rId12317"/>
    <p:sldLayoutId id="2147497854" r:id="rId12318"/>
    <p:sldLayoutId id="2147497818" r:id="rId12319"/>
    <p:sldLayoutId id="2147497824" r:id="rId12320"/>
    <p:sldLayoutId id="2147497840" r:id="rId12321"/>
    <p:sldLayoutId id="2147497834" r:id="rId12322"/>
    <p:sldLayoutId id="2147492487" r:id="rId12323"/>
    <p:sldLayoutId id="2147497542" r:id="rId12324"/>
    <p:sldLayoutId id="2147492496" r:id="rId12325"/>
    <p:sldLayoutId id="2147492508" r:id="rId12326"/>
    <p:sldLayoutId id="2147492502" r:id="rId12327"/>
    <p:sldLayoutId id="2147492517" r:id="rId12328"/>
    <p:sldLayoutId id="2147492514" r:id="rId12329"/>
    <p:sldLayoutId id="2147492523" r:id="rId12330"/>
    <p:sldLayoutId id="2147497533" r:id="rId12331"/>
    <p:sldLayoutId id="2147492535" r:id="rId12332"/>
    <p:sldLayoutId id="2147492541" r:id="rId12333"/>
    <p:sldLayoutId id="2147497527" r:id="rId12334"/>
    <p:sldLayoutId id="2147492547" r:id="rId12335"/>
    <p:sldLayoutId id="2147497582" r:id="rId12336"/>
    <p:sldLayoutId id="2147497602" r:id="rId12337"/>
    <p:sldLayoutId id="2147497590" r:id="rId12338"/>
    <p:sldLayoutId id="2147497604" r:id="rId12339"/>
    <p:sldLayoutId id="2147497598" r:id="rId12340"/>
    <p:sldLayoutId id="2147497614" r:id="rId12341"/>
    <p:sldLayoutId id="2147497612" r:id="rId12342"/>
    <p:sldLayoutId id="2147497618" r:id="rId12343"/>
    <p:sldLayoutId id="2147497584" r:id="rId12344"/>
    <p:sldLayoutId id="2147497560" r:id="rId12345"/>
    <p:sldLayoutId id="2147497566" r:id="rId12346"/>
    <p:sldLayoutId id="2147497578" r:id="rId12347"/>
    <p:sldLayoutId id="2147497572" r:id="rId12348"/>
    <p:sldLayoutId id="2147492789" r:id="rId12349"/>
    <p:sldLayoutId id="2147492340" r:id="rId12350"/>
    <p:sldLayoutId id="2147497826" r:id="rId12351"/>
    <p:sldLayoutId id="2147497838" r:id="rId12352"/>
    <p:sldLayoutId id="2147497832" r:id="rId12353"/>
    <p:sldLayoutId id="2147497848" r:id="rId12354"/>
    <p:sldLayoutId id="2147497844" r:id="rId12355"/>
    <p:sldLayoutId id="2147492799" r:id="rId12356"/>
    <p:sldLayoutId id="2147492805" r:id="rId12357"/>
    <p:sldLayoutId id="2147492801" r:id="rId12358"/>
    <p:sldLayoutId id="2147497876" r:id="rId12359"/>
    <p:sldLayoutId id="2147497890" r:id="rId12360"/>
    <p:sldLayoutId id="2147492803" r:id="rId12361"/>
    <p:sldLayoutId id="2147492641" r:id="rId12362"/>
    <p:sldLayoutId id="2147492661" r:id="rId12363"/>
    <p:sldLayoutId id="2147492649" r:id="rId12364"/>
    <p:sldLayoutId id="2147497688" r:id="rId12365"/>
    <p:sldLayoutId id="2147492657" r:id="rId12366"/>
    <p:sldLayoutId id="2147492665" r:id="rId12367"/>
    <p:sldLayoutId id="2147492663" r:id="rId12368"/>
    <p:sldLayoutId id="2147492669" r:id="rId12369"/>
    <p:sldLayoutId id="2147492643" r:id="rId12370"/>
    <p:sldLayoutId id="2147492625" r:id="rId12371"/>
    <p:sldLayoutId id="2147492629" r:id="rId12372"/>
    <p:sldLayoutId id="2147492637" r:id="rId12373"/>
    <p:sldLayoutId id="2147492633" r:id="rId12374"/>
    <p:sldLayoutId id="2147492706" r:id="rId12375"/>
    <p:sldLayoutId id="2147492680" r:id="rId12376"/>
    <p:sldLayoutId id="2147492738" r:id="rId12377"/>
    <p:sldLayoutId id="2147497762" r:id="rId12378"/>
    <p:sldLayoutId id="2147497756" r:id="rId12379"/>
    <p:sldLayoutId id="2147497774" r:id="rId12380"/>
    <p:sldLayoutId id="2147497772" r:id="rId12381"/>
    <p:sldLayoutId id="2147497778" r:id="rId12382"/>
    <p:sldLayoutId id="2147497806" r:id="rId12383"/>
    <p:sldLayoutId id="2147497784" r:id="rId12384"/>
    <p:sldLayoutId id="2147497788" r:id="rId12385"/>
    <p:sldLayoutId id="2147497800" r:id="rId12386"/>
    <p:sldLayoutId id="2147497792" r:id="rId12387"/>
    <p:sldLayoutId id="2147492717" r:id="rId12388"/>
    <p:sldLayoutId id="2147497758" r:id="rId12389"/>
    <p:sldLayoutId id="2147492732" r:id="rId12390"/>
    <p:sldLayoutId id="2147492754" r:id="rId12391"/>
    <p:sldLayoutId id="2147492748" r:id="rId12392"/>
    <p:sldLayoutId id="2147492765" r:id="rId12393"/>
    <p:sldLayoutId id="2147497770" r:id="rId12394"/>
    <p:sldLayoutId id="2147492773" r:id="rId12395"/>
    <p:sldLayoutId id="2147492723" r:id="rId12396"/>
    <p:sldLayoutId id="2147492696" r:id="rId12397"/>
    <p:sldLayoutId id="2147492700" r:id="rId12398"/>
    <p:sldLayoutId id="2147492712" r:id="rId12399"/>
    <p:sldLayoutId id="2147492708" r:id="rId12400"/>
    <p:sldLayoutId id="2147493341" r:id="rId12401"/>
    <p:sldLayoutId id="2147493395" r:id="rId12402"/>
    <p:sldLayoutId id="2147493347" r:id="rId12403"/>
    <p:sldLayoutId id="2147493355" r:id="rId12404"/>
    <p:sldLayoutId id="2147493351" r:id="rId12405"/>
    <p:sldLayoutId id="2147493361" r:id="rId12406"/>
    <p:sldLayoutId id="2147493359" r:id="rId12407"/>
    <p:sldLayoutId id="2147493365" r:id="rId12408"/>
    <p:sldLayoutId id="2147493389" r:id="rId12409"/>
    <p:sldLayoutId id="2147493373" r:id="rId12410"/>
    <p:sldLayoutId id="2147493377" r:id="rId12411"/>
    <p:sldLayoutId id="2147493385" r:id="rId12412"/>
    <p:sldLayoutId id="2147493381" r:id="rId12413"/>
    <p:sldLayoutId id="2147493423" r:id="rId12414"/>
    <p:sldLayoutId id="2147493443" r:id="rId12415"/>
    <p:sldLayoutId id="2147493431" r:id="rId12416"/>
    <p:sldLayoutId id="2147493445" r:id="rId12417"/>
    <p:sldLayoutId id="2147493439" r:id="rId12418"/>
    <p:sldLayoutId id="2147493455" r:id="rId12419"/>
    <p:sldLayoutId id="2147493453" r:id="rId12420"/>
    <p:sldLayoutId id="2147493459" r:id="rId12421"/>
    <p:sldLayoutId id="2147493425" r:id="rId12422"/>
    <p:sldLayoutId id="2147493407" r:id="rId12423"/>
    <p:sldLayoutId id="2147493411" r:id="rId12424"/>
    <p:sldLayoutId id="2147493419" r:id="rId12425"/>
    <p:sldLayoutId id="2147493415" r:id="rId12426"/>
    <p:sldLayoutId id="2147493489" r:id="rId12427"/>
    <p:sldLayoutId id="2147493469" r:id="rId12428"/>
    <p:sldLayoutId id="2147493517" r:id="rId12429"/>
    <p:sldLayoutId id="2147493535" r:id="rId12430"/>
    <p:sldLayoutId id="2147493527" r:id="rId12431"/>
    <p:sldLayoutId id="2147493555" r:id="rId12432"/>
    <p:sldLayoutId id="2147493551" r:id="rId12433"/>
    <p:sldLayoutId id="2147493563" r:id="rId12434"/>
    <p:sldLayoutId id="2147493587" r:id="rId12435"/>
    <p:sldLayoutId id="2147493571" r:id="rId12436"/>
    <p:sldLayoutId id="2147493575" r:id="rId12437"/>
    <p:sldLayoutId id="2147493583" r:id="rId12438"/>
    <p:sldLayoutId id="2147493579" r:id="rId12439"/>
    <p:sldLayoutId id="2147493499" r:id="rId12440"/>
    <p:sldLayoutId id="2147493529" r:id="rId12441"/>
    <p:sldLayoutId id="2147493511" r:id="rId12442"/>
    <p:sldLayoutId id="2147493533" r:id="rId12443"/>
    <p:sldLayoutId id="2147493523" r:id="rId12444"/>
    <p:sldLayoutId id="2147493553" r:id="rId12445"/>
    <p:sldLayoutId id="2147493549" r:id="rId12446"/>
    <p:sldLayoutId id="2147493561" r:id="rId12447"/>
    <p:sldLayoutId id="2147493503" r:id="rId12448"/>
    <p:sldLayoutId id="2147493481" r:id="rId12449"/>
    <p:sldLayoutId id="2147493485" r:id="rId12450"/>
    <p:sldLayoutId id="2147493495" r:id="rId12451"/>
    <p:sldLayoutId id="2147493491" r:id="rId12452"/>
    <p:sldLayoutId id="2147493593" r:id="rId12453"/>
    <p:sldLayoutId id="2147493647" r:id="rId12454"/>
    <p:sldLayoutId id="2147493599" r:id="rId12455"/>
    <p:sldLayoutId id="2147493607" r:id="rId12456"/>
    <p:sldLayoutId id="2147493603" r:id="rId12457"/>
    <p:sldLayoutId id="2147493613" r:id="rId12458"/>
    <p:sldLayoutId id="2147493611" r:id="rId12459"/>
    <p:sldLayoutId id="2147493617" r:id="rId12460"/>
    <p:sldLayoutId id="2147493641" r:id="rId12461"/>
    <p:sldLayoutId id="2147493625" r:id="rId12462"/>
    <p:sldLayoutId id="2147493629" r:id="rId12463"/>
    <p:sldLayoutId id="2147493637" r:id="rId12464"/>
    <p:sldLayoutId id="2147493633" r:id="rId12465"/>
    <p:sldLayoutId id="2147493675" r:id="rId12466"/>
    <p:sldLayoutId id="2147493695" r:id="rId12467"/>
    <p:sldLayoutId id="2147493683" r:id="rId12468"/>
    <p:sldLayoutId id="2147493697" r:id="rId12469"/>
    <p:sldLayoutId id="2147493691" r:id="rId12470"/>
    <p:sldLayoutId id="2147493707" r:id="rId12471"/>
    <p:sldLayoutId id="2147493705" r:id="rId12472"/>
    <p:sldLayoutId id="2147493711" r:id="rId12473"/>
    <p:sldLayoutId id="2147493677" r:id="rId12474"/>
    <p:sldLayoutId id="2147493659" r:id="rId12475"/>
    <p:sldLayoutId id="2147493663" r:id="rId12476"/>
    <p:sldLayoutId id="2147493671" r:id="rId12477"/>
    <p:sldLayoutId id="2147493667" r:id="rId12478"/>
    <p:sldLayoutId id="2147493129" r:id="rId12479"/>
    <p:sldLayoutId id="2147493239" r:id="rId12480"/>
    <p:sldLayoutId id="2147493135" r:id="rId12481"/>
    <p:sldLayoutId id="2147493143" r:id="rId12482"/>
    <p:sldLayoutId id="2147493139" r:id="rId12483"/>
    <p:sldLayoutId id="2147493149" r:id="rId12484"/>
    <p:sldLayoutId id="2147493147" r:id="rId12485"/>
    <p:sldLayoutId id="2147493153" r:id="rId12486"/>
    <p:sldLayoutId id="2147493201" r:id="rId12487"/>
    <p:sldLayoutId id="2147493171" r:id="rId12488"/>
    <p:sldLayoutId id="2147493179" r:id="rId12489"/>
    <p:sldLayoutId id="2147493193" r:id="rId12490"/>
    <p:sldLayoutId id="2147493187" r:id="rId12491"/>
    <p:sldLayoutId id="2147492947" r:id="rId12492"/>
    <p:sldLayoutId id="2147492973" r:id="rId12493"/>
    <p:sldLayoutId id="2147492957" r:id="rId12494"/>
    <p:sldLayoutId id="2147492975" r:id="rId12495"/>
    <p:sldLayoutId id="2147492967" r:id="rId12496"/>
    <p:sldLayoutId id="2147492991" r:id="rId12497"/>
    <p:sldLayoutId id="2147492987" r:id="rId12498"/>
    <p:sldLayoutId id="2147492995" r:id="rId12499"/>
    <p:sldLayoutId id="2147492949" r:id="rId12500"/>
    <p:sldLayoutId id="2147492925" r:id="rId12501"/>
    <p:sldLayoutId id="2147492929" r:id="rId12502"/>
    <p:sldLayoutId id="2147492941" r:id="rId12503"/>
    <p:sldLayoutId id="2147492935" r:id="rId12504"/>
    <p:sldLayoutId id="2147493025" r:id="rId12505"/>
    <p:sldLayoutId id="2147493005" r:id="rId12506"/>
    <p:sldLayoutId id="2147493053" r:id="rId12507"/>
    <p:sldLayoutId id="2147493071" r:id="rId12508"/>
    <p:sldLayoutId id="2147493063" r:id="rId12509"/>
    <p:sldLayoutId id="2147493091" r:id="rId12510"/>
    <p:sldLayoutId id="2147493087" r:id="rId12511"/>
    <p:sldLayoutId id="2147493099" r:id="rId12512"/>
    <p:sldLayoutId id="2147493123" r:id="rId12513"/>
    <p:sldLayoutId id="2147493107" r:id="rId12514"/>
    <p:sldLayoutId id="2147493111" r:id="rId12515"/>
    <p:sldLayoutId id="2147493119" r:id="rId12516"/>
    <p:sldLayoutId id="2147493115" r:id="rId12517"/>
    <p:sldLayoutId id="2147493035" r:id="rId12518"/>
    <p:sldLayoutId id="2147493065" r:id="rId12519"/>
    <p:sldLayoutId id="2147493047" r:id="rId12520"/>
    <p:sldLayoutId id="2147493069" r:id="rId12521"/>
    <p:sldLayoutId id="2147493059" r:id="rId12522"/>
    <p:sldLayoutId id="2147493089" r:id="rId12523"/>
    <p:sldLayoutId id="2147493085" r:id="rId12524"/>
    <p:sldLayoutId id="2147493097" r:id="rId12525"/>
    <p:sldLayoutId id="2147493039" r:id="rId12526"/>
    <p:sldLayoutId id="2147493017" r:id="rId12527"/>
    <p:sldLayoutId id="2147493021" r:id="rId12528"/>
    <p:sldLayoutId id="2147493031" r:id="rId12529"/>
    <p:sldLayoutId id="2147493027" r:id="rId12530"/>
    <p:sldLayoutId id="2147493221" r:id="rId12531"/>
    <p:sldLayoutId id="2147493271" r:id="rId12532"/>
    <p:sldLayoutId id="2147492919" r:id="rId12533"/>
    <p:sldLayoutId id="2147492945" r:id="rId12534"/>
    <p:sldLayoutId id="2147492933" r:id="rId12535"/>
    <p:sldLayoutId id="2147492971" r:id="rId12536"/>
    <p:sldLayoutId id="2147492965" r:id="rId12537"/>
    <p:sldLayoutId id="2147492983" r:id="rId12538"/>
    <p:sldLayoutId id="2147493265" r:id="rId12539"/>
    <p:sldLayoutId id="2147493249" r:id="rId12540"/>
    <p:sldLayoutId id="2147493253" r:id="rId12541"/>
    <p:sldLayoutId id="2147493261" r:id="rId12542"/>
    <p:sldLayoutId id="2147493257" r:id="rId12543"/>
    <p:sldLayoutId id="2147493299" r:id="rId12544"/>
    <p:sldLayoutId id="2147493319" r:id="rId12545"/>
    <p:sldLayoutId id="2147493307" r:id="rId12546"/>
    <p:sldLayoutId id="2147493321" r:id="rId12547"/>
    <p:sldLayoutId id="2147493315" r:id="rId12548"/>
    <p:sldLayoutId id="2147493331" r:id="rId12549"/>
    <p:sldLayoutId id="2147493329" r:id="rId12550"/>
    <p:sldLayoutId id="2147493335" r:id="rId12551"/>
    <p:sldLayoutId id="2147493301" r:id="rId12552"/>
    <p:sldLayoutId id="2147493283" r:id="rId12553"/>
    <p:sldLayoutId id="2147493287" r:id="rId12554"/>
    <p:sldLayoutId id="2147493295" r:id="rId12555"/>
    <p:sldLayoutId id="2147493291" r:id="rId12556"/>
    <p:sldLayoutId id="2147493165" r:id="rId12557"/>
    <p:sldLayoutId id="2147492905" r:id="rId12558"/>
    <p:sldLayoutId id="2147493177" r:id="rId12559"/>
    <p:sldLayoutId id="2147493195" r:id="rId12560"/>
    <p:sldLayoutId id="2147493185" r:id="rId12561"/>
    <p:sldLayoutId id="2147493205" r:id="rId12562"/>
    <p:sldLayoutId id="2147493203" r:id="rId12563"/>
    <p:sldLayoutId id="2147493209" r:id="rId12564"/>
    <p:sldLayoutId id="2147492913" r:id="rId12565"/>
    <p:sldLayoutId id="2147493217" r:id="rId12566"/>
    <p:sldLayoutId id="2147493223" r:id="rId12567"/>
    <p:sldLayoutId id="2147493237" r:id="rId12568"/>
    <p:sldLayoutId id="2147493229" r:id="rId12569"/>
    <p:sldLayoutId id="2147494506" r:id="rId12570"/>
    <p:sldLayoutId id="2147494612" r:id="rId12571"/>
    <p:sldLayoutId id="2147494522" r:id="rId12572"/>
    <p:sldLayoutId id="2147494536" r:id="rId12573"/>
    <p:sldLayoutId id="2147494530" r:id="rId12574"/>
    <p:sldLayoutId id="2147494550" r:id="rId12575"/>
    <p:sldLayoutId id="2147494546" r:id="rId12576"/>
    <p:sldLayoutId id="2147494556" r:id="rId12577"/>
    <p:sldLayoutId id="2147494598" r:id="rId12578"/>
    <p:sldLayoutId id="2147494574" r:id="rId12579"/>
    <p:sldLayoutId id="2147494580" r:id="rId12580"/>
    <p:sldLayoutId id="2147494592" r:id="rId12581"/>
    <p:sldLayoutId id="2147494586" r:id="rId12582"/>
    <p:sldLayoutId id="2147494644" r:id="rId12583"/>
    <p:sldLayoutId id="2147494664" r:id="rId12584"/>
    <p:sldLayoutId id="2147494652" r:id="rId12585"/>
    <p:sldLayoutId id="2147494666" r:id="rId12586"/>
    <p:sldLayoutId id="2147494660" r:id="rId12587"/>
    <p:sldLayoutId id="2147494676" r:id="rId12588"/>
    <p:sldLayoutId id="2147494674" r:id="rId12589"/>
    <p:sldLayoutId id="2147494680" r:id="rId12590"/>
    <p:sldLayoutId id="2147494646" r:id="rId12591"/>
    <p:sldLayoutId id="2147494624" r:id="rId12592"/>
    <p:sldLayoutId id="2147494628" r:id="rId12593"/>
    <p:sldLayoutId id="2147494640" r:id="rId12594"/>
    <p:sldLayoutId id="2147494634" r:id="rId12595"/>
    <p:sldLayoutId id="2147494738" r:id="rId12596"/>
    <p:sldLayoutId id="2147494708" r:id="rId12597"/>
    <p:sldLayoutId id="2147494780" r:id="rId12598"/>
    <p:sldLayoutId id="2147494800" r:id="rId12599"/>
    <p:sldLayoutId id="2147494792" r:id="rId12600"/>
    <p:sldLayoutId id="2147494820" r:id="rId12601"/>
    <p:sldLayoutId id="2147494816" r:id="rId12602"/>
    <p:sldLayoutId id="2147494828" r:id="rId12603"/>
    <p:sldLayoutId id="2147494852" r:id="rId12604"/>
    <p:sldLayoutId id="2147494836" r:id="rId12605"/>
    <p:sldLayoutId id="2147494840" r:id="rId12606"/>
    <p:sldLayoutId id="2147494848" r:id="rId12607"/>
    <p:sldLayoutId id="2147494844" r:id="rId12608"/>
    <p:sldLayoutId id="2147494754" r:id="rId12609"/>
    <p:sldLayoutId id="2147494794" r:id="rId12610"/>
    <p:sldLayoutId id="2147494772" r:id="rId12611"/>
    <p:sldLayoutId id="2147494798" r:id="rId12612"/>
    <p:sldLayoutId id="2147494788" r:id="rId12613"/>
    <p:sldLayoutId id="2147494818" r:id="rId12614"/>
    <p:sldLayoutId id="2147494814" r:id="rId12615"/>
    <p:sldLayoutId id="2147494826" r:id="rId12616"/>
    <p:sldLayoutId id="2147494760" r:id="rId12617"/>
    <p:sldLayoutId id="2147494726" r:id="rId12618"/>
    <p:sldLayoutId id="2147494732" r:id="rId12619"/>
    <p:sldLayoutId id="2147494748" r:id="rId12620"/>
    <p:sldLayoutId id="2147494742" r:id="rId12621"/>
    <p:sldLayoutId id="2147494920" r:id="rId12622"/>
    <p:sldLayoutId id="2147495010" r:id="rId12623"/>
    <p:sldLayoutId id="2147494930" r:id="rId12624"/>
    <p:sldLayoutId id="2147494944" r:id="rId12625"/>
    <p:sldLayoutId id="2147494938" r:id="rId12626"/>
    <p:sldLayoutId id="2147494952" r:id="rId12627"/>
    <p:sldLayoutId id="2147494950" r:id="rId12628"/>
    <p:sldLayoutId id="2147494960" r:id="rId12629"/>
    <p:sldLayoutId id="2147495000" r:id="rId12630"/>
    <p:sldLayoutId id="2147494972" r:id="rId12631"/>
    <p:sldLayoutId id="2147494980" r:id="rId12632"/>
    <p:sldLayoutId id="2147494994" r:id="rId12633"/>
    <p:sldLayoutId id="2147494988" r:id="rId12634"/>
    <p:sldLayoutId id="2147495056" r:id="rId12635"/>
    <p:sldLayoutId id="2147495088" r:id="rId12636"/>
    <p:sldLayoutId id="2147495068" r:id="rId12637"/>
    <p:sldLayoutId id="2147495090" r:id="rId12638"/>
    <p:sldLayoutId id="2147495084" r:id="rId12639"/>
    <p:sldLayoutId id="2147495104" r:id="rId12640"/>
    <p:sldLayoutId id="2147495102" r:id="rId12641"/>
    <p:sldLayoutId id="2147495110" r:id="rId12642"/>
    <p:sldLayoutId id="2147495060" r:id="rId12643"/>
    <p:sldLayoutId id="2147495032" r:id="rId12644"/>
    <p:sldLayoutId id="2147495040" r:id="rId12645"/>
    <p:sldLayoutId id="2147495052" r:id="rId12646"/>
    <p:sldLayoutId id="2147495046" r:id="rId12647"/>
    <p:sldLayoutId id="2147495248" r:id="rId12648"/>
    <p:sldLayoutId id="2147495303" r:id="rId12649"/>
    <p:sldLayoutId id="2147495251" r:id="rId12650"/>
    <p:sldLayoutId id="2147495255" r:id="rId12651"/>
    <p:sldLayoutId id="2147495253" r:id="rId12652"/>
    <p:sldLayoutId id="2147495258" r:id="rId12653"/>
    <p:sldLayoutId id="2147495257" r:id="rId12654"/>
    <p:sldLayoutId id="2147495260" r:id="rId12655"/>
    <p:sldLayoutId id="2147495284" r:id="rId12656"/>
    <p:sldLayoutId id="2147495269" r:id="rId12657"/>
    <p:sldLayoutId id="2147495273" r:id="rId12658"/>
    <p:sldLayoutId id="2147495280" r:id="rId12659"/>
    <p:sldLayoutId id="2147495277" r:id="rId12660"/>
    <p:sldLayoutId id="2147495157" r:id="rId12661"/>
    <p:sldLayoutId id="2147495170" r:id="rId12662"/>
    <p:sldLayoutId id="2147495162" r:id="rId12663"/>
    <p:sldLayoutId id="2147495171" r:id="rId12664"/>
    <p:sldLayoutId id="2147495167" r:id="rId12665"/>
    <p:sldLayoutId id="2147495179" r:id="rId12666"/>
    <p:sldLayoutId id="2147495177" r:id="rId12667"/>
    <p:sldLayoutId id="2147495181" r:id="rId12668"/>
    <p:sldLayoutId id="2147495158" r:id="rId12669"/>
    <p:sldLayoutId id="2147495146" r:id="rId12670"/>
    <p:sldLayoutId id="2147495148" r:id="rId12671"/>
    <p:sldLayoutId id="2147495154" r:id="rId12672"/>
    <p:sldLayoutId id="2147495151" r:id="rId12673"/>
    <p:sldLayoutId id="2147495196" r:id="rId12674"/>
    <p:sldLayoutId id="2147495186" r:id="rId12675"/>
    <p:sldLayoutId id="2147495210" r:id="rId12676"/>
    <p:sldLayoutId id="2147495219" r:id="rId12677"/>
    <p:sldLayoutId id="2147495215" r:id="rId12678"/>
    <p:sldLayoutId id="2147495229" r:id="rId12679"/>
    <p:sldLayoutId id="2147495227" r:id="rId12680"/>
    <p:sldLayoutId id="2147495233" r:id="rId12681"/>
    <p:sldLayoutId id="2147495245" r:id="rId12682"/>
    <p:sldLayoutId id="2147495237" r:id="rId12683"/>
    <p:sldLayoutId id="2147495239" r:id="rId12684"/>
    <p:sldLayoutId id="2147495243" r:id="rId12685"/>
    <p:sldLayoutId id="2147495241" r:id="rId12686"/>
    <p:sldLayoutId id="2147495201" r:id="rId12687"/>
    <p:sldLayoutId id="2147495216" r:id="rId12688"/>
    <p:sldLayoutId id="2147495207" r:id="rId12689"/>
    <p:sldLayoutId id="2147495218" r:id="rId12690"/>
    <p:sldLayoutId id="2147495213" r:id="rId12691"/>
    <p:sldLayoutId id="2147495228" r:id="rId12692"/>
    <p:sldLayoutId id="2147495226" r:id="rId12693"/>
    <p:sldLayoutId id="2147495232" r:id="rId12694"/>
    <p:sldLayoutId id="2147495203" r:id="rId12695"/>
    <p:sldLayoutId id="2147495192" r:id="rId12696"/>
    <p:sldLayoutId id="2147495194" r:id="rId12697"/>
    <p:sldLayoutId id="2147495199" r:id="rId12698"/>
    <p:sldLayoutId id="2147495197" r:id="rId12699"/>
    <p:sldLayoutId id="2147495294" r:id="rId12700"/>
    <p:sldLayoutId id="2147495319" r:id="rId12701"/>
    <p:sldLayoutId id="2147495143" r:id="rId12702"/>
    <p:sldLayoutId id="2147495156" r:id="rId12703"/>
    <p:sldLayoutId id="2147495150" r:id="rId12704"/>
    <p:sldLayoutId id="2147495169" r:id="rId12705"/>
    <p:sldLayoutId id="2147495166" r:id="rId12706"/>
    <p:sldLayoutId id="2147495175" r:id="rId12707"/>
    <p:sldLayoutId id="2147495316" r:id="rId12708"/>
    <p:sldLayoutId id="2147495308" r:id="rId12709"/>
    <p:sldLayoutId id="2147495310" r:id="rId12710"/>
    <p:sldLayoutId id="2147495314" r:id="rId12711"/>
    <p:sldLayoutId id="2147495312" r:id="rId12712"/>
    <p:sldLayoutId id="2147495333" r:id="rId12713"/>
    <p:sldLayoutId id="2147495343" r:id="rId12714"/>
    <p:sldLayoutId id="2147495337" r:id="rId12715"/>
    <p:sldLayoutId id="2147495344" r:id="rId12716"/>
    <p:sldLayoutId id="2147495341" r:id="rId12717"/>
    <p:sldLayoutId id="2147494128" r:id="rId12718"/>
    <p:sldLayoutId id="2147494126" r:id="rId12719"/>
    <p:sldLayoutId id="2147494132" r:id="rId12720"/>
    <p:sldLayoutId id="2147495334" r:id="rId12721"/>
    <p:sldLayoutId id="2147495325" r:id="rId12722"/>
    <p:sldLayoutId id="2147495327" r:id="rId12723"/>
    <p:sldLayoutId id="2147495331" r:id="rId12724"/>
    <p:sldLayoutId id="2147495329" r:id="rId12725"/>
    <p:sldLayoutId id="2147495266" r:id="rId12726"/>
    <p:sldLayoutId id="2147495136" r:id="rId12727"/>
    <p:sldLayoutId id="2147495272" r:id="rId12728"/>
    <p:sldLayoutId id="2147495281" r:id="rId12729"/>
    <p:sldLayoutId id="2147495276" r:id="rId12730"/>
    <p:sldLayoutId id="2147495286" r:id="rId12731"/>
    <p:sldLayoutId id="2147495285" r:id="rId12732"/>
    <p:sldLayoutId id="2147495288" r:id="rId12733"/>
    <p:sldLayoutId id="2147495140" r:id="rId12734"/>
    <p:sldLayoutId id="2147495292" r:id="rId12735"/>
    <p:sldLayoutId id="2147495295" r:id="rId12736"/>
    <p:sldLayoutId id="2147495302" r:id="rId12737"/>
    <p:sldLayoutId id="2147495298" r:id="rId12738"/>
    <p:sldLayoutId id="2147494218" r:id="rId12739"/>
    <p:sldLayoutId id="2147494272" r:id="rId12740"/>
    <p:sldLayoutId id="2147494224" r:id="rId12741"/>
    <p:sldLayoutId id="2147494232" r:id="rId12742"/>
    <p:sldLayoutId id="2147494228" r:id="rId12743"/>
    <p:sldLayoutId id="2147494238" r:id="rId12744"/>
    <p:sldLayoutId id="2147494236" r:id="rId12745"/>
    <p:sldLayoutId id="2147494242" r:id="rId12746"/>
    <p:sldLayoutId id="2147494266" r:id="rId12747"/>
    <p:sldLayoutId id="2147494250" r:id="rId12748"/>
    <p:sldLayoutId id="2147494254" r:id="rId12749"/>
    <p:sldLayoutId id="2147494262" r:id="rId12750"/>
    <p:sldLayoutId id="2147494258" r:id="rId12751"/>
    <p:sldLayoutId id="2147494308" r:id="rId12752"/>
    <p:sldLayoutId id="2147494328" r:id="rId12753"/>
    <p:sldLayoutId id="2147494316" r:id="rId12754"/>
    <p:sldLayoutId id="2147494330" r:id="rId12755"/>
    <p:sldLayoutId id="2147494324" r:id="rId12756"/>
    <p:sldLayoutId id="2147494340" r:id="rId12757"/>
    <p:sldLayoutId id="2147494338" r:id="rId12758"/>
    <p:sldLayoutId id="2147494344" r:id="rId12759"/>
    <p:sldLayoutId id="2147494310" r:id="rId12760"/>
    <p:sldLayoutId id="2147494290" r:id="rId12761"/>
    <p:sldLayoutId id="2147494296" r:id="rId12762"/>
    <p:sldLayoutId id="2147494304" r:id="rId12763"/>
    <p:sldLayoutId id="2147494300" r:id="rId12764"/>
    <p:sldLayoutId id="2147494424" r:id="rId12765"/>
    <p:sldLayoutId id="2147494392" r:id="rId12766"/>
    <p:sldLayoutId id="2147494472" r:id="rId12767"/>
    <p:sldLayoutId id="2147494504" r:id="rId12768"/>
    <p:sldLayoutId id="2147494490" r:id="rId12769"/>
    <p:sldLayoutId id="2147494542" r:id="rId12770"/>
    <p:sldLayoutId id="2147494532" r:id="rId12771"/>
    <p:sldLayoutId id="2147494560" r:id="rId12772"/>
    <p:sldLayoutId id="2147494606" r:id="rId12773"/>
    <p:sldLayoutId id="2147494572" r:id="rId12774"/>
    <p:sldLayoutId id="2147494584" r:id="rId12775"/>
    <p:sldLayoutId id="2147494602" r:id="rId12776"/>
    <p:sldLayoutId id="2147494596" r:id="rId12777"/>
    <p:sldLayoutId id="2147494440" r:id="rId12778"/>
    <p:sldLayoutId id="2147494492" r:id="rId12779"/>
    <p:sldLayoutId id="2147494462" r:id="rId12780"/>
    <p:sldLayoutId id="2147494500" r:id="rId12781"/>
    <p:sldLayoutId id="2147494482" r:id="rId12782"/>
    <p:sldLayoutId id="2147494538" r:id="rId12783"/>
    <p:sldLayoutId id="2147494528" r:id="rId12784"/>
    <p:sldLayoutId id="2147494554" r:id="rId12785"/>
    <p:sldLayoutId id="2147494448" r:id="rId12786"/>
    <p:sldLayoutId id="2147494412" r:id="rId12787"/>
    <p:sldLayoutId id="2147494418" r:id="rId12788"/>
    <p:sldLayoutId id="2147494434" r:id="rId12789"/>
    <p:sldLayoutId id="2147494428" r:id="rId12790"/>
    <p:sldLayoutId id="2147494686" r:id="rId12791"/>
    <p:sldLayoutId id="2147494148" r:id="rId12792"/>
    <p:sldLayoutId id="2147494692" r:id="rId12793"/>
    <p:sldLayoutId id="2147494700" r:id="rId12794"/>
    <p:sldLayoutId id="2147494696" r:id="rId12795"/>
    <p:sldLayoutId id="2147494718" r:id="rId12796"/>
    <p:sldLayoutId id="2147494712" r:id="rId12797"/>
    <p:sldLayoutId id="2147494728" r:id="rId12798"/>
    <p:sldLayoutId id="2147494142" r:id="rId12799"/>
    <p:sldLayoutId id="2147494752" r:id="rId12800"/>
    <p:sldLayoutId id="2147494764" r:id="rId12801"/>
    <p:sldLayoutId id="2147494138" r:id="rId12802"/>
    <p:sldLayoutId id="2147494776" r:id="rId12803"/>
    <p:sldLayoutId id="2147494176" r:id="rId12804"/>
    <p:sldLayoutId id="2147494196" r:id="rId12805"/>
    <p:sldLayoutId id="2147494184" r:id="rId12806"/>
    <p:sldLayoutId id="2147494198" r:id="rId12807"/>
    <p:sldLayoutId id="2147494192" r:id="rId12808"/>
    <p:sldLayoutId id="2147494208" r:id="rId12809"/>
    <p:sldLayoutId id="2147494206" r:id="rId12810"/>
    <p:sldLayoutId id="2147494212" r:id="rId12811"/>
    <p:sldLayoutId id="2147494178" r:id="rId12812"/>
    <p:sldLayoutId id="2147494160" r:id="rId12813"/>
    <p:sldLayoutId id="2147494164" r:id="rId12814"/>
    <p:sldLayoutId id="2147494172" r:id="rId12815"/>
    <p:sldLayoutId id="2147494168" r:id="rId12816"/>
    <p:sldLayoutId id="2147495122" r:id="rId12817"/>
    <p:sldLayoutId id="2147494502" r:id="rId12818"/>
    <p:sldLayoutId id="2147494420" r:id="rId12819"/>
    <p:sldLayoutId id="2147494432" r:id="rId12820"/>
    <p:sldLayoutId id="2147494426" r:id="rId12821"/>
    <p:sldLayoutId id="2147494442" r:id="rId12822"/>
    <p:sldLayoutId id="2147494438" r:id="rId12823"/>
    <p:sldLayoutId id="2147495129" r:id="rId12824"/>
    <p:sldLayoutId id="2147495132" r:id="rId12825"/>
    <p:sldLayoutId id="2147495130" r:id="rId12826"/>
    <p:sldLayoutId id="2147494470" r:id="rId12827"/>
    <p:sldLayoutId id="2147494484" r:id="rId12828"/>
    <p:sldLayoutId id="2147495131" r:id="rId12829"/>
    <p:sldLayoutId id="2147494882" r:id="rId12830"/>
    <p:sldLayoutId id="2147494902" r:id="rId12831"/>
    <p:sldLayoutId id="2147494890" r:id="rId12832"/>
    <p:sldLayoutId id="2147494282" r:id="rId12833"/>
    <p:sldLayoutId id="2147494898" r:id="rId12834"/>
    <p:sldLayoutId id="2147494906" r:id="rId12835"/>
    <p:sldLayoutId id="2147494904" r:id="rId12836"/>
    <p:sldLayoutId id="2147494910" r:id="rId12837"/>
    <p:sldLayoutId id="2147494884" r:id="rId12838"/>
    <p:sldLayoutId id="2147494866" r:id="rId12839"/>
    <p:sldLayoutId id="2147494870" r:id="rId12840"/>
    <p:sldLayoutId id="2147494878" r:id="rId12841"/>
    <p:sldLayoutId id="2147494874" r:id="rId12842"/>
    <p:sldLayoutId id="2147494974" r:id="rId12843"/>
    <p:sldLayoutId id="2147494922" r:id="rId12844"/>
    <p:sldLayoutId id="2147495038" r:id="rId12845"/>
    <p:sldLayoutId id="2147494356" r:id="rId12846"/>
    <p:sldLayoutId id="2147494350" r:id="rId12847"/>
    <p:sldLayoutId id="2147494368" r:id="rId12848"/>
    <p:sldLayoutId id="2147494366" r:id="rId12849"/>
    <p:sldLayoutId id="2147494372" r:id="rId12850"/>
    <p:sldLayoutId id="2147494400" r:id="rId12851"/>
    <p:sldLayoutId id="2147494378" r:id="rId12852"/>
    <p:sldLayoutId id="2147494382" r:id="rId12853"/>
    <p:sldLayoutId id="2147494394" r:id="rId12854"/>
    <p:sldLayoutId id="2147494386" r:id="rId12855"/>
    <p:sldLayoutId id="2147494996" r:id="rId12856"/>
    <p:sldLayoutId id="2147494352" r:id="rId12857"/>
    <p:sldLayoutId id="2147495026" r:id="rId12858"/>
    <p:sldLayoutId id="2147495070" r:id="rId12859"/>
    <p:sldLayoutId id="2147495058" r:id="rId12860"/>
    <p:sldLayoutId id="2147495092" r:id="rId12861"/>
    <p:sldLayoutId id="2147494364" r:id="rId12862"/>
    <p:sldLayoutId id="2147495108" r:id="rId12863"/>
    <p:sldLayoutId id="2147495008" r:id="rId12864"/>
    <p:sldLayoutId id="2147494954" r:id="rId12865"/>
    <p:sldLayoutId id="2147494962" r:id="rId12866"/>
    <p:sldLayoutId id="2147494986" r:id="rId12867"/>
    <p:sldLayoutId id="2147494978" r:id="rId12868"/>
    <p:sldLayoutId id="2147495350" r:id="rId12869"/>
    <p:sldLayoutId id="2147494022" r:id="rId12870"/>
    <p:sldLayoutId id="2147494881" r:id="rId12871"/>
    <p:sldLayoutId id="2147494957" r:id="rId12872"/>
    <p:sldLayoutId id="2147494907" r:id="rId12873"/>
    <p:sldLayoutId id="2147494917" r:id="rId12874"/>
    <p:sldLayoutId id="2147494913" r:id="rId12875"/>
    <p:sldLayoutId id="2147494923" r:id="rId12876"/>
    <p:sldLayoutId id="2147494921" r:id="rId12877"/>
    <p:sldLayoutId id="2147494927" r:id="rId12878"/>
    <p:sldLayoutId id="2147494951" r:id="rId12879"/>
    <p:sldLayoutId id="2147494935" r:id="rId12880"/>
    <p:sldLayoutId id="2147494939" r:id="rId12881"/>
    <p:sldLayoutId id="2147494947" r:id="rId12882"/>
    <p:sldLayoutId id="2147494943" r:id="rId12883"/>
    <p:sldLayoutId id="2147494985" r:id="rId12884"/>
    <p:sldLayoutId id="2147495005" r:id="rId12885"/>
    <p:sldLayoutId id="2147494993" r:id="rId12886"/>
    <p:sldLayoutId id="2147495007" r:id="rId12887"/>
    <p:sldLayoutId id="2147495001" r:id="rId12888"/>
    <p:sldLayoutId id="2147495017" r:id="rId12889"/>
    <p:sldLayoutId id="2147495015" r:id="rId12890"/>
    <p:sldLayoutId id="2147495021" r:id="rId12891"/>
    <p:sldLayoutId id="2147494987" r:id="rId12892"/>
    <p:sldLayoutId id="2147494969" r:id="rId12893"/>
    <p:sldLayoutId id="2147494973" r:id="rId12894"/>
    <p:sldLayoutId id="2147494981" r:id="rId12895"/>
    <p:sldLayoutId id="2147494977" r:id="rId12896"/>
    <p:sldLayoutId id="2147495051" r:id="rId12897"/>
    <p:sldLayoutId id="2147495031" r:id="rId12898"/>
    <p:sldLayoutId id="2147495079" r:id="rId12899"/>
    <p:sldLayoutId id="2147495097" r:id="rId12900"/>
    <p:sldLayoutId id="2147495089" r:id="rId12901"/>
    <p:sldLayoutId id="2147495117" r:id="rId12902"/>
    <p:sldLayoutId id="2147495113" r:id="rId12903"/>
    <p:sldLayoutId id="2147497687" r:id="rId12904"/>
    <p:sldLayoutId id="2147497711" r:id="rId12905"/>
    <p:sldLayoutId id="2147497695" r:id="rId12906"/>
    <p:sldLayoutId id="2147497699" r:id="rId12907"/>
    <p:sldLayoutId id="2147497707" r:id="rId12908"/>
    <p:sldLayoutId id="2147497703" r:id="rId12909"/>
    <p:sldLayoutId id="2147495061" r:id="rId12910"/>
    <p:sldLayoutId id="2147495091" r:id="rId12911"/>
    <p:sldLayoutId id="2147495073" r:id="rId12912"/>
    <p:sldLayoutId id="2147495095" r:id="rId12913"/>
    <p:sldLayoutId id="2147495085" r:id="rId12914"/>
    <p:sldLayoutId id="2147495115" r:id="rId12915"/>
    <p:sldLayoutId id="2147495111" r:id="rId12916"/>
    <p:sldLayoutId id="2147497685" r:id="rId12917"/>
    <p:sldLayoutId id="2147495065" r:id="rId12918"/>
    <p:sldLayoutId id="2147495043" r:id="rId12919"/>
    <p:sldLayoutId id="2147495047" r:id="rId12920"/>
    <p:sldLayoutId id="2147495057" r:id="rId12921"/>
    <p:sldLayoutId id="2147495053" r:id="rId12922"/>
    <p:sldLayoutId id="2147497717" r:id="rId12923"/>
    <p:sldLayoutId id="2147497771" r:id="rId12924"/>
    <p:sldLayoutId id="2147497723" r:id="rId12925"/>
    <p:sldLayoutId id="2147497731" r:id="rId12926"/>
    <p:sldLayoutId id="2147497727" r:id="rId12927"/>
    <p:sldLayoutId id="2147497737" r:id="rId12928"/>
    <p:sldLayoutId id="2147497735" r:id="rId12929"/>
    <p:sldLayoutId id="2147497741" r:id="rId12930"/>
    <p:sldLayoutId id="2147497765" r:id="rId12931"/>
    <p:sldLayoutId id="2147497749" r:id="rId12932"/>
    <p:sldLayoutId id="2147497753" r:id="rId12933"/>
    <p:sldLayoutId id="2147497761" r:id="rId12934"/>
    <p:sldLayoutId id="2147497757" r:id="rId12935"/>
    <p:sldLayoutId id="2147497799" r:id="rId12936"/>
    <p:sldLayoutId id="2147497819" r:id="rId12937"/>
    <p:sldLayoutId id="2147497807" r:id="rId12938"/>
    <p:sldLayoutId id="2147497821" r:id="rId12939"/>
    <p:sldLayoutId id="2147497815" r:id="rId12940"/>
    <p:sldLayoutId id="2147497831" r:id="rId12941"/>
    <p:sldLayoutId id="2147497829" r:id="rId12942"/>
    <p:sldLayoutId id="2147497835" r:id="rId12943"/>
    <p:sldLayoutId id="2147497801" r:id="rId12944"/>
    <p:sldLayoutId id="2147497783" r:id="rId12945"/>
    <p:sldLayoutId id="2147497787" r:id="rId12946"/>
    <p:sldLayoutId id="2147497795" r:id="rId12947"/>
    <p:sldLayoutId id="2147497791" r:id="rId12948"/>
    <p:sldLayoutId id="2147492636" r:id="rId12949"/>
    <p:sldLayoutId id="2147492816" r:id="rId12950"/>
    <p:sldLayoutId id="2147492648" r:id="rId12951"/>
    <p:sldLayoutId id="2147492664" r:id="rId12952"/>
    <p:sldLayoutId id="2147492656" r:id="rId12953"/>
    <p:sldLayoutId id="2147492676" r:id="rId12954"/>
    <p:sldLayoutId id="2147492672" r:id="rId12955"/>
    <p:sldLayoutId id="2147492683" r:id="rId12956"/>
    <p:sldLayoutId id="2147492762" r:id="rId12957"/>
    <p:sldLayoutId id="2147492713" r:id="rId12958"/>
    <p:sldLayoutId id="2147492725" r:id="rId12959"/>
    <p:sldLayoutId id="2147492749" r:id="rId12960"/>
    <p:sldLayoutId id="2147492740" r:id="rId12961"/>
    <p:sldLayoutId id="2147492403" r:id="rId12962"/>
    <p:sldLayoutId id="2147492444" r:id="rId12963"/>
    <p:sldLayoutId id="2147492422" r:id="rId12964"/>
    <p:sldLayoutId id="2147492447" r:id="rId12965"/>
    <p:sldLayoutId id="2147492435" r:id="rId12966"/>
    <p:sldLayoutId id="2147492465" r:id="rId12967"/>
    <p:sldLayoutId id="2147492461" r:id="rId12968"/>
    <p:sldLayoutId id="2147492470" r:id="rId12969"/>
    <p:sldLayoutId id="2147492408" r:id="rId12970"/>
    <p:sldLayoutId id="2147492363" r:id="rId12971"/>
    <p:sldLayoutId id="2147492372" r:id="rId12972"/>
    <p:sldLayoutId id="2147492393" r:id="rId12973"/>
    <p:sldLayoutId id="2147492382" r:id="rId12974"/>
    <p:sldLayoutId id="2147492507" r:id="rId12975"/>
    <p:sldLayoutId id="2147492480" r:id="rId12976"/>
    <p:sldLayoutId id="2147492549" r:id="rId12977"/>
    <p:sldLayoutId id="2147492568" r:id="rId12978"/>
    <p:sldLayoutId id="2147492560" r:id="rId12979"/>
    <p:sldLayoutId id="2147492588" r:id="rId12980"/>
    <p:sldLayoutId id="2147492584" r:id="rId12981"/>
    <p:sldLayoutId id="2147492596" r:id="rId12982"/>
    <p:sldLayoutId id="2147492624" r:id="rId12983"/>
    <p:sldLayoutId id="2147492604" r:id="rId12984"/>
    <p:sldLayoutId id="2147492608" r:id="rId12985"/>
    <p:sldLayoutId id="2147492616" r:id="rId12986"/>
    <p:sldLayoutId id="2147492612" r:id="rId12987"/>
    <p:sldLayoutId id="2147492522" r:id="rId12988"/>
    <p:sldLayoutId id="2147492562" r:id="rId12989"/>
    <p:sldLayoutId id="2147492540" r:id="rId12990"/>
    <p:sldLayoutId id="2147492566" r:id="rId12991"/>
    <p:sldLayoutId id="2147492556" r:id="rId12992"/>
    <p:sldLayoutId id="2147492586" r:id="rId12993"/>
    <p:sldLayoutId id="2147492582" r:id="rId12994"/>
    <p:sldLayoutId id="2147492594" r:id="rId12995"/>
    <p:sldLayoutId id="2147492528" r:id="rId12996"/>
    <p:sldLayoutId id="2147492495" r:id="rId12997"/>
    <p:sldLayoutId id="2147492501" r:id="rId12998"/>
    <p:sldLayoutId id="2147492516" r:id="rId12999"/>
    <p:sldLayoutId id="2147492510" r:id="rId13000"/>
    <p:sldLayoutId id="2147492788" r:id="rId13001"/>
    <p:sldLayoutId id="2147492886" r:id="rId13002"/>
    <p:sldLayoutId id="2147492352" r:id="rId13003"/>
    <p:sldLayoutId id="2147492400" r:id="rId13004"/>
    <p:sldLayoutId id="2147492379" r:id="rId13005"/>
    <p:sldLayoutId id="2147492441" r:id="rId13006"/>
    <p:sldLayoutId id="2147492433" r:id="rId13007"/>
    <p:sldLayoutId id="2147492456" r:id="rId13008"/>
    <p:sldLayoutId id="2147492877" r:id="rId13009"/>
    <p:sldLayoutId id="2147492845" r:id="rId13010"/>
    <p:sldLayoutId id="2147492855" r:id="rId13011"/>
    <p:sldLayoutId id="2147492871" r:id="rId13012"/>
    <p:sldLayoutId id="2147492865" r:id="rId13013"/>
    <p:sldLayoutId id="2147492950" r:id="rId13014"/>
    <p:sldLayoutId id="2147492990" r:id="rId13015"/>
    <p:sldLayoutId id="2147492966" r:id="rId13016"/>
    <p:sldLayoutId id="2147492994" r:id="rId13017"/>
    <p:sldLayoutId id="2147492982" r:id="rId13018"/>
    <p:sldLayoutId id="2147493014" r:id="rId13019"/>
    <p:sldLayoutId id="2147493010" r:id="rId13020"/>
    <p:sldLayoutId id="2147493022" r:id="rId13021"/>
    <p:sldLayoutId id="2147492954" r:id="rId13022"/>
    <p:sldLayoutId id="2147492908" r:id="rId13023"/>
    <p:sldLayoutId id="2147492920" r:id="rId13024"/>
    <p:sldLayoutId id="2147492942" r:id="rId13025"/>
    <p:sldLayoutId id="2147492932" r:id="rId13026"/>
    <p:sldLayoutId id="2147492702" r:id="rId13027"/>
    <p:sldLayoutId id="2147497845" r:id="rId13028"/>
    <p:sldLayoutId id="2147492722" r:id="rId13029"/>
    <p:sldLayoutId id="2147492752" r:id="rId13030"/>
    <p:sldLayoutId id="2147492737" r:id="rId13031"/>
    <p:sldLayoutId id="2147492767" r:id="rId13032"/>
    <p:sldLayoutId id="2147492764" r:id="rId13033"/>
    <p:sldLayoutId id="2147492772" r:id="rId13034"/>
    <p:sldLayoutId id="2147492337" r:id="rId13035"/>
    <p:sldLayoutId id="2147492783" r:id="rId13036"/>
    <p:sldLayoutId id="2147492792" r:id="rId13037"/>
    <p:sldLayoutId id="2147492814" r:id="rId13038"/>
    <p:sldLayoutId id="2147492804" r:id="rId13039"/>
    <p:sldLayoutId id="2147493408" r:id="rId13040"/>
    <p:sldLayoutId id="2147493516" r:id="rId13041"/>
    <p:sldLayoutId id="2147493420" r:id="rId13042"/>
    <p:sldLayoutId id="2147493436" r:id="rId13043"/>
    <p:sldLayoutId id="2147493428" r:id="rId13044"/>
    <p:sldLayoutId id="2147493448" r:id="rId13045"/>
    <p:sldLayoutId id="2147493444" r:id="rId13046"/>
    <p:sldLayoutId id="2147493456" r:id="rId13047"/>
    <p:sldLayoutId id="2147493504" r:id="rId13048"/>
    <p:sldLayoutId id="2147493472" r:id="rId13049"/>
    <p:sldLayoutId id="2147493480" r:id="rId13050"/>
    <p:sldLayoutId id="2147493496" r:id="rId13051"/>
    <p:sldLayoutId id="2147493488" r:id="rId13052"/>
    <p:sldLayoutId id="2147493588" r:id="rId13053"/>
    <p:sldLayoutId id="2147493628" r:id="rId13054"/>
    <p:sldLayoutId id="2147493604" r:id="rId13055"/>
    <p:sldLayoutId id="2147493632" r:id="rId13056"/>
    <p:sldLayoutId id="2147493620" r:id="rId13057"/>
    <p:sldLayoutId id="2147493652" r:id="rId13058"/>
    <p:sldLayoutId id="2147493648" r:id="rId13059"/>
    <p:sldLayoutId id="2147493660" r:id="rId13060"/>
    <p:sldLayoutId id="2147493592" r:id="rId13061"/>
    <p:sldLayoutId id="2147493552" r:id="rId13062"/>
    <p:sldLayoutId id="2147493564" r:id="rId13063"/>
    <p:sldLayoutId id="2147493580" r:id="rId13064"/>
    <p:sldLayoutId id="2147493572" r:id="rId13065"/>
    <p:sldLayoutId id="2147493768" r:id="rId13066"/>
    <p:sldLayoutId id="2147493736" r:id="rId13067"/>
    <p:sldLayoutId id="2147493816" r:id="rId13068"/>
    <p:sldLayoutId id="2147493848" r:id="rId13069"/>
    <p:sldLayoutId id="2147493834" r:id="rId13070"/>
    <p:sldLayoutId id="2147493877" r:id="rId13071"/>
    <p:sldLayoutId id="2147493871" r:id="rId13072"/>
    <p:sldLayoutId id="2147493889" r:id="rId13073"/>
    <p:sldLayoutId id="2147493925" r:id="rId13074"/>
    <p:sldLayoutId id="2147493901" r:id="rId13075"/>
    <p:sldLayoutId id="2147493907" r:id="rId13076"/>
    <p:sldLayoutId id="2147493919" r:id="rId13077"/>
    <p:sldLayoutId id="2147493913" r:id="rId13078"/>
    <p:sldLayoutId id="2147493784" r:id="rId13079"/>
    <p:sldLayoutId id="2147493836" r:id="rId13080"/>
    <p:sldLayoutId id="2147493806" r:id="rId13081"/>
    <p:sldLayoutId id="2147493844" r:id="rId13082"/>
    <p:sldLayoutId id="2147493826" r:id="rId13083"/>
    <p:sldLayoutId id="2147493874" r:id="rId13084"/>
    <p:sldLayoutId id="2147493868" r:id="rId13085"/>
    <p:sldLayoutId id="2147493886" r:id="rId13086"/>
    <p:sldLayoutId id="2147493792" r:id="rId13087"/>
    <p:sldLayoutId id="2147493756" r:id="rId13088"/>
    <p:sldLayoutId id="2147493762" r:id="rId13089"/>
    <p:sldLayoutId id="2147493778" r:id="rId13090"/>
    <p:sldLayoutId id="2147493772" r:id="rId13091"/>
    <p:sldLayoutId id="2147493993" r:id="rId13092"/>
    <p:sldLayoutId id="2147493246" r:id="rId13093"/>
    <p:sldLayoutId id="2147494002" r:id="rId13094"/>
    <p:sldLayoutId id="2147494007" r:id="rId13095"/>
    <p:sldLayoutId id="2147494005" r:id="rId13096"/>
    <p:sldLayoutId id="2147494010" r:id="rId13097"/>
    <p:sldLayoutId id="2147494009" r:id="rId13098"/>
    <p:sldLayoutId id="2147494012" r:id="rId13099"/>
    <p:sldLayoutId id="2147493228" r:id="rId13100"/>
    <p:sldLayoutId id="2147494016" r:id="rId13101"/>
    <p:sldLayoutId id="2147494018" r:id="rId13102"/>
    <p:sldLayoutId id="2147493216" r:id="rId13103"/>
    <p:sldLayoutId id="2147494020" r:id="rId13104"/>
    <p:sldLayoutId id="2147493324" r:id="rId13105"/>
    <p:sldLayoutId id="2147493364" r:id="rId13106"/>
    <p:sldLayoutId id="2147493340" r:id="rId13107"/>
    <p:sldLayoutId id="2147493368" r:id="rId13108"/>
    <p:sldLayoutId id="2147493356" r:id="rId13109"/>
    <p:sldLayoutId id="2147493388" r:id="rId13110"/>
    <p:sldLayoutId id="2147493384" r:id="rId13111"/>
    <p:sldLayoutId id="2147493396" r:id="rId13112"/>
    <p:sldLayoutId id="2147493328" r:id="rId13113"/>
    <p:sldLayoutId id="2147493282" r:id="rId13114"/>
    <p:sldLayoutId id="2147493294" r:id="rId13115"/>
    <p:sldLayoutId id="2147493318" r:id="rId13116"/>
    <p:sldLayoutId id="2147493306" r:id="rId13117"/>
    <p:sldLayoutId id="2147494096" r:id="rId13118"/>
    <p:sldLayoutId id="2147493846" r:id="rId13119"/>
    <p:sldLayoutId id="2147493764" r:id="rId13120"/>
    <p:sldLayoutId id="2147493776" r:id="rId13121"/>
    <p:sldLayoutId id="2147493770" r:id="rId13122"/>
    <p:sldLayoutId id="2147493786" r:id="rId13123"/>
    <p:sldLayoutId id="2147493782" r:id="rId13124"/>
    <p:sldLayoutId id="2147494101" r:id="rId13125"/>
    <p:sldLayoutId id="2147494104" r:id="rId13126"/>
    <p:sldLayoutId id="2147494102" r:id="rId13127"/>
    <p:sldLayoutId id="2147493814" r:id="rId13128"/>
    <p:sldLayoutId id="2147493828" r:id="rId13129"/>
    <p:sldLayoutId id="2147494103" r:id="rId13130"/>
    <p:sldLayoutId id="2147494038" r:id="rId13131"/>
    <p:sldLayoutId id="2147494048" r:id="rId13132"/>
    <p:sldLayoutId id="2147494042" r:id="rId13133"/>
    <p:sldLayoutId id="2147493536" r:id="rId13134"/>
    <p:sldLayoutId id="2147494046" r:id="rId13135"/>
    <p:sldLayoutId id="2147494050" r:id="rId13136"/>
    <p:sldLayoutId id="2147494049" r:id="rId13137"/>
    <p:sldLayoutId id="2147494052" r:id="rId13138"/>
    <p:sldLayoutId id="2147494039" r:id="rId13139"/>
    <p:sldLayoutId id="2147494030" r:id="rId13140"/>
    <p:sldLayoutId id="2147494032" r:id="rId13141"/>
    <p:sldLayoutId id="2147494036" r:id="rId13142"/>
    <p:sldLayoutId id="2147494034" r:id="rId13143"/>
    <p:sldLayoutId id="2147494067" r:id="rId13144"/>
    <p:sldLayoutId id="2147494057" r:id="rId13145"/>
    <p:sldLayoutId id="2147494081" r:id="rId13146"/>
    <p:sldLayoutId id="2147493684" r:id="rId13147"/>
    <p:sldLayoutId id="2147493672" r:id="rId13148"/>
    <p:sldLayoutId id="2147493708" r:id="rId13149"/>
    <p:sldLayoutId id="2147493704" r:id="rId13150"/>
    <p:sldLayoutId id="2147493716" r:id="rId13151"/>
    <p:sldLayoutId id="2147493744" r:id="rId13152"/>
    <p:sldLayoutId id="2147493722" r:id="rId13153"/>
    <p:sldLayoutId id="2147493726" r:id="rId13154"/>
    <p:sldLayoutId id="2147493738" r:id="rId13155"/>
    <p:sldLayoutId id="2147493730" r:id="rId13156"/>
    <p:sldLayoutId id="2147494072" r:id="rId13157"/>
    <p:sldLayoutId id="2147493676" r:id="rId13158"/>
    <p:sldLayoutId id="2147494078" r:id="rId13159"/>
    <p:sldLayoutId id="2147494086" r:id="rId13160"/>
    <p:sldLayoutId id="2147494084" r:id="rId13161"/>
    <p:sldLayoutId id="2147494090" r:id="rId13162"/>
    <p:sldLayoutId id="2147493700" r:id="rId13163"/>
    <p:sldLayoutId id="2147494092" r:id="rId13164"/>
    <p:sldLayoutId id="2147494074" r:id="rId13165"/>
    <p:sldLayoutId id="2147494063" r:id="rId13166"/>
    <p:sldLayoutId id="2147494065" r:id="rId13167"/>
    <p:sldLayoutId id="2147494070" r:id="rId13168"/>
    <p:sldLayoutId id="2147494068" r:id="rId13169"/>
    <p:sldLayoutId id="2147494527" r:id="rId13170"/>
    <p:sldLayoutId id="2147494581" r:id="rId13171"/>
    <p:sldLayoutId id="2147494533" r:id="rId13172"/>
    <p:sldLayoutId id="2147494541" r:id="rId13173"/>
    <p:sldLayoutId id="2147494537" r:id="rId13174"/>
    <p:sldLayoutId id="2147494547" r:id="rId13175"/>
    <p:sldLayoutId id="2147494545" r:id="rId13176"/>
    <p:sldLayoutId id="2147494551" r:id="rId13177"/>
    <p:sldLayoutId id="2147494575" r:id="rId13178"/>
    <p:sldLayoutId id="2147494559" r:id="rId13179"/>
    <p:sldLayoutId id="2147494563" r:id="rId13180"/>
    <p:sldLayoutId id="2147494571" r:id="rId13181"/>
    <p:sldLayoutId id="2147494567" r:id="rId13182"/>
    <p:sldLayoutId id="2147494609" r:id="rId13183"/>
    <p:sldLayoutId id="2147494629" r:id="rId13184"/>
    <p:sldLayoutId id="2147494617" r:id="rId13185"/>
    <p:sldLayoutId id="2147494631" r:id="rId13186"/>
    <p:sldLayoutId id="2147494625" r:id="rId13187"/>
    <p:sldLayoutId id="2147494641" r:id="rId13188"/>
    <p:sldLayoutId id="2147494639" r:id="rId13189"/>
    <p:sldLayoutId id="2147494645" r:id="rId13190"/>
    <p:sldLayoutId id="2147494611" r:id="rId13191"/>
    <p:sldLayoutId id="2147494593" r:id="rId13192"/>
    <p:sldLayoutId id="2147494597" r:id="rId13193"/>
    <p:sldLayoutId id="2147494605" r:id="rId13194"/>
    <p:sldLayoutId id="2147494601" r:id="rId13195"/>
    <p:sldLayoutId id="2147494675" r:id="rId13196"/>
    <p:sldLayoutId id="2147494655" r:id="rId13197"/>
    <p:sldLayoutId id="2147494703" r:id="rId13198"/>
    <p:sldLayoutId id="2147494721" r:id="rId13199"/>
    <p:sldLayoutId id="2147494713" r:id="rId13200"/>
    <p:sldLayoutId id="2147494741" r:id="rId13201"/>
    <p:sldLayoutId id="2147494737" r:id="rId13202"/>
    <p:sldLayoutId id="2147494749" r:id="rId13203"/>
    <p:sldLayoutId id="2147494773" r:id="rId13204"/>
    <p:sldLayoutId id="2147494757" r:id="rId13205"/>
    <p:sldLayoutId id="2147494761" r:id="rId13206"/>
    <p:sldLayoutId id="2147494769" r:id="rId13207"/>
    <p:sldLayoutId id="2147494765" r:id="rId13208"/>
    <p:sldLayoutId id="2147494685" r:id="rId13209"/>
    <p:sldLayoutId id="2147494715" r:id="rId13210"/>
    <p:sldLayoutId id="2147494697" r:id="rId13211"/>
    <p:sldLayoutId id="2147494719" r:id="rId13212"/>
    <p:sldLayoutId id="2147494709" r:id="rId13213"/>
    <p:sldLayoutId id="2147494739" r:id="rId13214"/>
    <p:sldLayoutId id="2147494735" r:id="rId13215"/>
    <p:sldLayoutId id="2147494747" r:id="rId13216"/>
    <p:sldLayoutId id="2147494689" r:id="rId13217"/>
    <p:sldLayoutId id="2147494667" r:id="rId13218"/>
    <p:sldLayoutId id="2147494671" r:id="rId13219"/>
    <p:sldLayoutId id="2147494681" r:id="rId13220"/>
    <p:sldLayoutId id="2147494677" r:id="rId13221"/>
    <p:sldLayoutId id="2147494779" r:id="rId13222"/>
    <p:sldLayoutId id="2147494833" r:id="rId13223"/>
    <p:sldLayoutId id="2147494785" r:id="rId13224"/>
    <p:sldLayoutId id="2147494793" r:id="rId13225"/>
    <p:sldLayoutId id="2147494789" r:id="rId13226"/>
    <p:sldLayoutId id="2147494799" r:id="rId13227"/>
    <p:sldLayoutId id="2147494797" r:id="rId13228"/>
    <p:sldLayoutId id="2147494803" r:id="rId13229"/>
    <p:sldLayoutId id="2147494827" r:id="rId13230"/>
    <p:sldLayoutId id="2147494811" r:id="rId13231"/>
    <p:sldLayoutId id="2147494815" r:id="rId13232"/>
    <p:sldLayoutId id="2147494823" r:id="rId13233"/>
    <p:sldLayoutId id="2147494819" r:id="rId13234"/>
    <p:sldLayoutId id="2147494861" r:id="rId13235"/>
    <p:sldLayoutId id="2147494883" r:id="rId13236"/>
    <p:sldLayoutId id="2147494869" r:id="rId13237"/>
    <p:sldLayoutId id="2147494885" r:id="rId13238"/>
    <p:sldLayoutId id="2147494877" r:id="rId13239"/>
    <p:sldLayoutId id="2147494899" r:id="rId13240"/>
    <p:sldLayoutId id="2147494895" r:id="rId13241"/>
    <p:sldLayoutId id="2147494903" r:id="rId13242"/>
    <p:sldLayoutId id="2147494863" r:id="rId13243"/>
    <p:sldLayoutId id="2147494845" r:id="rId13244"/>
    <p:sldLayoutId id="2147494849" r:id="rId13245"/>
    <p:sldLayoutId id="2147494857" r:id="rId13246"/>
    <p:sldLayoutId id="2147494853" r:id="rId13247"/>
    <p:sldLayoutId id="2147494315" r:id="rId13248"/>
    <p:sldLayoutId id="2147494425" r:id="rId13249"/>
    <p:sldLayoutId id="2147494321" r:id="rId13250"/>
    <p:sldLayoutId id="2147494329" r:id="rId13251"/>
    <p:sldLayoutId id="2147494325" r:id="rId13252"/>
    <p:sldLayoutId id="2147494335" r:id="rId13253"/>
    <p:sldLayoutId id="2147494333" r:id="rId13254"/>
    <p:sldLayoutId id="2147494339" r:id="rId13255"/>
    <p:sldLayoutId id="2147494387" r:id="rId13256"/>
    <p:sldLayoutId id="2147494357" r:id="rId13257"/>
    <p:sldLayoutId id="2147494365" r:id="rId13258"/>
    <p:sldLayoutId id="2147494379" r:id="rId13259"/>
    <p:sldLayoutId id="2147494373" r:id="rId13260"/>
    <p:sldLayoutId id="2147494133" r:id="rId13261"/>
    <p:sldLayoutId id="2147494159" r:id="rId13262"/>
    <p:sldLayoutId id="2147494143" r:id="rId13263"/>
    <p:sldLayoutId id="2147494161" r:id="rId13264"/>
    <p:sldLayoutId id="2147494153" r:id="rId13265"/>
    <p:sldLayoutId id="2147494177" r:id="rId13266"/>
    <p:sldLayoutId id="2147494173" r:id="rId13267"/>
    <p:sldLayoutId id="2147494181" r:id="rId13268"/>
    <p:sldLayoutId id="2147494135" r:id="rId13269"/>
    <p:sldLayoutId id="2147494118" r:id="rId13270"/>
    <p:sldLayoutId id="2147494120" r:id="rId13271"/>
    <p:sldLayoutId id="2147494127" r:id="rId13272"/>
    <p:sldLayoutId id="2147494123" r:id="rId13273"/>
    <p:sldLayoutId id="2147494211" r:id="rId13274"/>
    <p:sldLayoutId id="2147494191" r:id="rId13275"/>
    <p:sldLayoutId id="2147494239" r:id="rId13276"/>
    <p:sldLayoutId id="2147494257" r:id="rId13277"/>
    <p:sldLayoutId id="2147494249" r:id="rId13278"/>
    <p:sldLayoutId id="2147494277" r:id="rId13279"/>
    <p:sldLayoutId id="2147494273" r:id="rId13280"/>
    <p:sldLayoutId id="2147494285" r:id="rId13281"/>
    <p:sldLayoutId id="2147494309" r:id="rId13282"/>
    <p:sldLayoutId id="2147494293" r:id="rId13283"/>
    <p:sldLayoutId id="2147494297" r:id="rId13284"/>
    <p:sldLayoutId id="2147494305" r:id="rId13285"/>
    <p:sldLayoutId id="2147494301" r:id="rId13286"/>
    <p:sldLayoutId id="2147494221" r:id="rId13287"/>
    <p:sldLayoutId id="2147494251" r:id="rId13288"/>
    <p:sldLayoutId id="2147494233" r:id="rId13289"/>
    <p:sldLayoutId id="2147494255" r:id="rId13290"/>
    <p:sldLayoutId id="2147494245" r:id="rId13291"/>
    <p:sldLayoutId id="2147494275" r:id="rId13292"/>
    <p:sldLayoutId id="2147494271" r:id="rId13293"/>
    <p:sldLayoutId id="2147494283" r:id="rId13294"/>
    <p:sldLayoutId id="2147494225" r:id="rId13295"/>
    <p:sldLayoutId id="2147494203" r:id="rId13296"/>
    <p:sldLayoutId id="2147494207" r:id="rId13297"/>
    <p:sldLayoutId id="2147494217" r:id="rId13298"/>
    <p:sldLayoutId id="2147494213" r:id="rId13299"/>
    <p:sldLayoutId id="2147494407" r:id="rId13300"/>
    <p:sldLayoutId id="2147494457" r:id="rId13301"/>
    <p:sldLayoutId id="2147494115" r:id="rId13302"/>
    <p:sldLayoutId id="2147494131" r:id="rId13303"/>
    <p:sldLayoutId id="2147494122" r:id="rId13304"/>
    <p:sldLayoutId id="2147494157" r:id="rId13305"/>
    <p:sldLayoutId id="2147494151" r:id="rId13306"/>
    <p:sldLayoutId id="2147494169" r:id="rId13307"/>
    <p:sldLayoutId id="2147494451" r:id="rId13308"/>
    <p:sldLayoutId id="2147494435" r:id="rId13309"/>
    <p:sldLayoutId id="2147494439" r:id="rId13310"/>
    <p:sldLayoutId id="2147494447" r:id="rId13311"/>
    <p:sldLayoutId id="2147494443" r:id="rId13312"/>
    <p:sldLayoutId id="2147494485" r:id="rId13313"/>
    <p:sldLayoutId id="2147494505" r:id="rId13314"/>
    <p:sldLayoutId id="2147494493" r:id="rId13315"/>
    <p:sldLayoutId id="2147494507" r:id="rId13316"/>
    <p:sldLayoutId id="2147494501" r:id="rId13317"/>
    <p:sldLayoutId id="2147494517" r:id="rId13318"/>
    <p:sldLayoutId id="2147494515" r:id="rId13319"/>
    <p:sldLayoutId id="2147494521" r:id="rId13320"/>
    <p:sldLayoutId id="2147494487" r:id="rId13321"/>
    <p:sldLayoutId id="2147494469" r:id="rId13322"/>
    <p:sldLayoutId id="2147494473" r:id="rId13323"/>
    <p:sldLayoutId id="2147494481" r:id="rId13324"/>
    <p:sldLayoutId id="2147494477" r:id="rId13325"/>
    <p:sldLayoutId id="2147494351" r:id="rId13326"/>
    <p:sldLayoutId id="2147494108" r:id="rId13327"/>
    <p:sldLayoutId id="2147494363" r:id="rId13328"/>
    <p:sldLayoutId id="2147494381" r:id="rId13329"/>
    <p:sldLayoutId id="2147494371" r:id="rId13330"/>
    <p:sldLayoutId id="2147494391" r:id="rId13331"/>
    <p:sldLayoutId id="2147494389" r:id="rId13332"/>
    <p:sldLayoutId id="2147494395" r:id="rId13333"/>
    <p:sldLayoutId id="2147494112" r:id="rId13334"/>
    <p:sldLayoutId id="2147494403" r:id="rId13335"/>
    <p:sldLayoutId id="2147494409" r:id="rId13336"/>
    <p:sldLayoutId id="2147494423" r:id="rId13337"/>
    <p:sldLayoutId id="2147494415" r:id="rId13338"/>
    <p:sldLayoutId id="2147492763" r:id="rId13339"/>
    <p:sldLayoutId id="2147492858" r:id="rId13340"/>
    <p:sldLayoutId id="2147492784" r:id="rId13341"/>
    <p:sldLayoutId id="2147492809" r:id="rId13342"/>
    <p:sldLayoutId id="2147492798" r:id="rId13343"/>
    <p:sldLayoutId id="2147492822" r:id="rId13344"/>
    <p:sldLayoutId id="2147492819" r:id="rId13345"/>
    <p:sldLayoutId id="2147492826" r:id="rId13346"/>
    <p:sldLayoutId id="2147492849" r:id="rId13347"/>
    <p:sldLayoutId id="2147492835" r:id="rId13348"/>
    <p:sldLayoutId id="2147492838" r:id="rId13349"/>
    <p:sldLayoutId id="2147492846" r:id="rId13350"/>
    <p:sldLayoutId id="2147492842" r:id="rId13351"/>
    <p:sldLayoutId id="2147492881" r:id="rId13352"/>
    <p:sldLayoutId id="2147492896" r:id="rId13353"/>
    <p:sldLayoutId id="2147492887" r:id="rId13354"/>
    <p:sldLayoutId id="2147492897" r:id="rId13355"/>
    <p:sldLayoutId id="2147492893" r:id="rId13356"/>
    <p:sldLayoutId id="2147492910" r:id="rId13357"/>
    <p:sldLayoutId id="2147492906" r:id="rId13358"/>
    <p:sldLayoutId id="2147492916" r:id="rId13359"/>
    <p:sldLayoutId id="2147492882" r:id="rId13360"/>
    <p:sldLayoutId id="2147492866" r:id="rId13361"/>
    <p:sldLayoutId id="2147492869" r:id="rId13362"/>
    <p:sldLayoutId id="2147492878" r:id="rId13363"/>
    <p:sldLayoutId id="2147492873" r:id="rId13364"/>
    <p:sldLayoutId id="2147493024" r:id="rId13365"/>
    <p:sldLayoutId id="2147492964" r:id="rId13366"/>
    <p:sldLayoutId id="2147493070" r:id="rId13367"/>
    <p:sldLayoutId id="2147493090" r:id="rId13368"/>
    <p:sldLayoutId id="2147493082" r:id="rId13369"/>
    <p:sldLayoutId id="2147493110" r:id="rId13370"/>
    <p:sldLayoutId id="2147493106" r:id="rId13371"/>
    <p:sldLayoutId id="2147493118" r:id="rId13372"/>
    <p:sldLayoutId id="2147493142" r:id="rId13373"/>
    <p:sldLayoutId id="2147493126" r:id="rId13374"/>
    <p:sldLayoutId id="2147493130" r:id="rId13375"/>
    <p:sldLayoutId id="2147493138" r:id="rId13376"/>
    <p:sldLayoutId id="2147493134" r:id="rId13377"/>
    <p:sldLayoutId id="2147493044" r:id="rId13378"/>
    <p:sldLayoutId id="2147493084" r:id="rId13379"/>
    <p:sldLayoutId id="2147493062" r:id="rId13380"/>
    <p:sldLayoutId id="2147493088" r:id="rId13381"/>
    <p:sldLayoutId id="2147493078" r:id="rId13382"/>
    <p:sldLayoutId id="2147493108" r:id="rId13383"/>
    <p:sldLayoutId id="2147493104" r:id="rId13384"/>
    <p:sldLayoutId id="2147493116" r:id="rId13385"/>
    <p:sldLayoutId id="2147493050" r:id="rId13386"/>
    <p:sldLayoutId id="2147493000" r:id="rId13387"/>
    <p:sldLayoutId id="2147493012" r:id="rId13388"/>
    <p:sldLayoutId id="2147493038" r:id="rId13389"/>
    <p:sldLayoutId id="2147493032" r:id="rId13390"/>
    <p:sldLayoutId id="2147493210" r:id="rId13391"/>
    <p:sldLayoutId id="2147493354" r:id="rId13392"/>
    <p:sldLayoutId id="2147493224" r:id="rId13393"/>
    <p:sldLayoutId id="2147493244" r:id="rId13394"/>
    <p:sldLayoutId id="2147493236" r:id="rId13395"/>
    <p:sldLayoutId id="2147493256" r:id="rId13396"/>
    <p:sldLayoutId id="2147493254" r:id="rId13397"/>
    <p:sldLayoutId id="2147493268" r:id="rId13398"/>
    <p:sldLayoutId id="2147493334" r:id="rId13399"/>
    <p:sldLayoutId id="2147493286" r:id="rId13400"/>
    <p:sldLayoutId id="2147493298" r:id="rId13401"/>
    <p:sldLayoutId id="2147493322" r:id="rId13402"/>
    <p:sldLayoutId id="2147493310" r:id="rId13403"/>
    <p:sldLayoutId id="2147493446" r:id="rId13404"/>
    <p:sldLayoutId id="2147493510" r:id="rId13405"/>
    <p:sldLayoutId id="2147493470" r:id="rId13406"/>
    <p:sldLayoutId id="2147493514" r:id="rId13407"/>
    <p:sldLayoutId id="2147493502" r:id="rId13408"/>
    <p:sldLayoutId id="2147493542" r:id="rId13409"/>
    <p:sldLayoutId id="2147493538" r:id="rId13410"/>
    <p:sldLayoutId id="2147493554" r:id="rId13411"/>
    <p:sldLayoutId id="2147493454" r:id="rId13412"/>
    <p:sldLayoutId id="2147493398" r:id="rId13413"/>
    <p:sldLayoutId id="2147493414" r:id="rId13414"/>
    <p:sldLayoutId id="2147493438" r:id="rId13415"/>
    <p:sldLayoutId id="2147493426" r:id="rId13416"/>
    <p:sldLayoutId id="2147493884" r:id="rId13417"/>
    <p:sldLayoutId id="2147493955" r:id="rId13418"/>
    <p:sldLayoutId id="2147493888" r:id="rId13419"/>
    <p:sldLayoutId id="2147493894" r:id="rId13420"/>
    <p:sldLayoutId id="2147493891" r:id="rId13421"/>
    <p:sldLayoutId id="2147493899" r:id="rId13422"/>
    <p:sldLayoutId id="2147493897" r:id="rId13423"/>
    <p:sldLayoutId id="2147493902" r:id="rId13424"/>
    <p:sldLayoutId id="2147493934" r:id="rId13425"/>
    <p:sldLayoutId id="2147493915" r:id="rId13426"/>
    <p:sldLayoutId id="2147493921" r:id="rId13427"/>
    <p:sldLayoutId id="2147493930" r:id="rId13428"/>
    <p:sldLayoutId id="2147493927" r:id="rId13429"/>
    <p:sldLayoutId id="2147493710" r:id="rId13430"/>
    <p:sldLayoutId id="2147493739" r:id="rId13431"/>
    <p:sldLayoutId id="2147493723" r:id="rId13432"/>
    <p:sldLayoutId id="2147493741" r:id="rId13433"/>
    <p:sldLayoutId id="2147493733" r:id="rId13434"/>
    <p:sldLayoutId id="2147493757" r:id="rId13435"/>
    <p:sldLayoutId id="2147493753" r:id="rId13436"/>
    <p:sldLayoutId id="2147493761" r:id="rId13437"/>
    <p:sldLayoutId id="2147493714" r:id="rId13438"/>
    <p:sldLayoutId id="2147493666" r:id="rId13439"/>
    <p:sldLayoutId id="2147493674" r:id="rId13440"/>
    <p:sldLayoutId id="2147493698" r:id="rId13441"/>
    <p:sldLayoutId id="2147493686" r:id="rId13442"/>
    <p:sldLayoutId id="2147493791" r:id="rId13443"/>
    <p:sldLayoutId id="2147493771" r:id="rId13444"/>
    <p:sldLayoutId id="2147493819" r:id="rId13445"/>
    <p:sldLayoutId id="2147493837" r:id="rId13446"/>
    <p:sldLayoutId id="2147493829" r:id="rId13447"/>
    <p:sldLayoutId id="2147493855" r:id="rId13448"/>
    <p:sldLayoutId id="2147493852" r:id="rId13449"/>
    <p:sldLayoutId id="2147493861" r:id="rId13450"/>
    <p:sldLayoutId id="2147493879" r:id="rId13451"/>
    <p:sldLayoutId id="2147493867" r:id="rId13452"/>
    <p:sldLayoutId id="2147493870" r:id="rId13453"/>
    <p:sldLayoutId id="2147493876" r:id="rId13454"/>
    <p:sldLayoutId id="2147493873" r:id="rId13455"/>
    <p:sldLayoutId id="2147493801" r:id="rId13456"/>
    <p:sldLayoutId id="2147493831" r:id="rId13457"/>
    <p:sldLayoutId id="2147493813" r:id="rId13458"/>
    <p:sldLayoutId id="2147493835" r:id="rId13459"/>
    <p:sldLayoutId id="2147493825" r:id="rId13460"/>
    <p:sldLayoutId id="2147493854" r:id="rId13461"/>
    <p:sldLayoutId id="2147493851" r:id="rId13462"/>
    <p:sldLayoutId id="2147493860" r:id="rId13463"/>
    <p:sldLayoutId id="2147493805" r:id="rId13464"/>
    <p:sldLayoutId id="2147493783" r:id="rId13465"/>
    <p:sldLayoutId id="2147493787" r:id="rId13466"/>
    <p:sldLayoutId id="2147493797" r:id="rId13467"/>
    <p:sldLayoutId id="2147493793" r:id="rId13468"/>
    <p:sldLayoutId id="2147493944" r:id="rId13469"/>
    <p:sldLayoutId id="2147493971" r:id="rId13470"/>
    <p:sldLayoutId id="2147493654" r:id="rId13471"/>
    <p:sldLayoutId id="2147493706" r:id="rId13472"/>
    <p:sldLayoutId id="2147493682" r:id="rId13473"/>
    <p:sldLayoutId id="2147493737" r:id="rId13474"/>
    <p:sldLayoutId id="2147493731" r:id="rId13475"/>
    <p:sldLayoutId id="2147493749" r:id="rId13476"/>
    <p:sldLayoutId id="2147493968" r:id="rId13477"/>
    <p:sldLayoutId id="2147493960" r:id="rId13478"/>
    <p:sldLayoutId id="2147493962" r:id="rId13479"/>
    <p:sldLayoutId id="2147493966" r:id="rId13480"/>
    <p:sldLayoutId id="2147493964" r:id="rId13481"/>
    <p:sldLayoutId id="2147493985" r:id="rId13482"/>
    <p:sldLayoutId id="2147493997" r:id="rId13483"/>
    <p:sldLayoutId id="2147493989" r:id="rId13484"/>
    <p:sldLayoutId id="2147493998" r:id="rId13485"/>
    <p:sldLayoutId id="2147493994" r:id="rId13486"/>
    <p:sldLayoutId id="2147497851" r:id="rId13487"/>
    <p:sldLayoutId id="2147497849" r:id="rId13488"/>
    <p:sldLayoutId id="2147497855" r:id="rId13489"/>
    <p:sldLayoutId id="2147493986" r:id="rId13490"/>
    <p:sldLayoutId id="2147493977" r:id="rId13491"/>
    <p:sldLayoutId id="2147493979" r:id="rId13492"/>
    <p:sldLayoutId id="2147493983" r:id="rId13493"/>
    <p:sldLayoutId id="2147493981" r:id="rId13494"/>
    <p:sldLayoutId id="2147493911" r:id="rId13495"/>
    <p:sldLayoutId id="2147493626" r:id="rId13496"/>
    <p:sldLayoutId id="2147493920" r:id="rId13497"/>
    <p:sldLayoutId id="2147493931" r:id="rId13498"/>
    <p:sldLayoutId id="2147493926" r:id="rId13499"/>
    <p:sldLayoutId id="2147493936" r:id="rId13500"/>
    <p:sldLayoutId id="2147493935" r:id="rId13501"/>
    <p:sldLayoutId id="2147493938" r:id="rId13502"/>
    <p:sldLayoutId id="2147493642" r:id="rId13503"/>
    <p:sldLayoutId id="2147493942" r:id="rId13504"/>
    <p:sldLayoutId id="2147493946" r:id="rId13505"/>
    <p:sldLayoutId id="2147493954" r:id="rId13506"/>
    <p:sldLayoutId id="2147493950" r:id="rId13507"/>
    <p:sldLayoutId id="2147492388" r:id="rId13508"/>
    <p:sldLayoutId id="2147492446" r:id="rId13509"/>
    <p:sldLayoutId id="2147492396" r:id="rId13510"/>
    <p:sldLayoutId id="2147492406" r:id="rId13511"/>
    <p:sldLayoutId id="2147492402" r:id="rId13512"/>
    <p:sldLayoutId id="2147492415" r:id="rId13513"/>
    <p:sldLayoutId id="2147492412" r:id="rId13514"/>
    <p:sldLayoutId id="2147492420" r:id="rId13515"/>
    <p:sldLayoutId id="2147492440" r:id="rId13516"/>
    <p:sldLayoutId id="2147492426" r:id="rId13517"/>
    <p:sldLayoutId id="2147492429" r:id="rId13518"/>
    <p:sldLayoutId id="2147492436" r:id="rId13519"/>
    <p:sldLayoutId id="2147492432" r:id="rId13520"/>
    <p:sldLayoutId id="2147492479" r:id="rId13521"/>
    <p:sldLayoutId id="2147492506" r:id="rId13522"/>
    <p:sldLayoutId id="2147492488" r:id="rId13523"/>
    <p:sldLayoutId id="2147492509" r:id="rId13524"/>
    <p:sldLayoutId id="2147492500" r:id="rId13525"/>
    <p:sldLayoutId id="2147492524" r:id="rId13526"/>
    <p:sldLayoutId id="2147492521" r:id="rId13527"/>
    <p:sldLayoutId id="2147492530" r:id="rId13528"/>
    <p:sldLayoutId id="2147492481" r:id="rId13529"/>
    <p:sldLayoutId id="2147492462" r:id="rId13530"/>
    <p:sldLayoutId id="2147492467" r:id="rId13531"/>
    <p:sldLayoutId id="2147492475" r:id="rId13532"/>
    <p:sldLayoutId id="2147492471" r:id="rId13533"/>
    <p:sldLayoutId id="2147492618" r:id="rId13534"/>
    <p:sldLayoutId id="2147492585" r:id="rId13535"/>
    <p:sldLayoutId id="2147492707" r:id="rId13536"/>
    <p:sldLayoutId id="2147492761" r:id="rId13537"/>
    <p:sldLayoutId id="2147492739" r:id="rId13538"/>
    <p:sldLayoutId id="2147492815" r:id="rId13539"/>
    <p:sldLayoutId id="2147492802" r:id="rId13540"/>
    <p:sldLayoutId id="2147492828" r:id="rId13541"/>
    <p:sldLayoutId id="2147492854" r:id="rId13542"/>
    <p:sldLayoutId id="2147492834" r:id="rId13543"/>
    <p:sldLayoutId id="2147492841" r:id="rId13544"/>
    <p:sldLayoutId id="2147492852" r:id="rId13545"/>
    <p:sldLayoutId id="2147492848" r:id="rId13546"/>
    <p:sldLayoutId id="2147492650" r:id="rId13547"/>
    <p:sldLayoutId id="2147492742" r:id="rId13548"/>
    <p:sldLayoutId id="2147492691" r:id="rId13549"/>
    <p:sldLayoutId id="2147492753" r:id="rId13550"/>
    <p:sldLayoutId id="2147492724" r:id="rId13551"/>
    <p:sldLayoutId id="2147492811" r:id="rId13552"/>
    <p:sldLayoutId id="2147492794" r:id="rId13553"/>
    <p:sldLayoutId id="2147492824" r:id="rId13554"/>
    <p:sldLayoutId id="2147492666" r:id="rId13555"/>
    <p:sldLayoutId id="2147492605" r:id="rId13556"/>
    <p:sldLayoutId id="2147492611" r:id="rId13557"/>
    <p:sldLayoutId id="2147492638" r:id="rId13558"/>
    <p:sldLayoutId id="2147492626" r:id="rId13559"/>
    <p:sldLayoutId id="2147492924" r:id="rId13560"/>
    <p:sldLayoutId id="2147497871" r:id="rId13561"/>
    <p:sldLayoutId id="2147492934" r:id="rId13562"/>
    <p:sldLayoutId id="2147492948" r:id="rId13563"/>
    <p:sldLayoutId id="2147492940" r:id="rId13564"/>
    <p:sldLayoutId id="2147492984" r:id="rId13565"/>
    <p:sldLayoutId id="2147492972" r:id="rId13566"/>
    <p:sldLayoutId id="2147493004" r:id="rId13567"/>
    <p:sldLayoutId id="2147497865" r:id="rId13568"/>
    <p:sldLayoutId id="2147493042" r:id="rId13569"/>
    <p:sldLayoutId id="2147493054" r:id="rId13570"/>
    <p:sldLayoutId id="2147497861" r:id="rId13571"/>
    <p:sldLayoutId id="2147493066" r:id="rId13572"/>
    <p:sldLayoutId id="2147492335" r:id="rId13573"/>
    <p:sldLayoutId id="2147492361" r:id="rId13574"/>
    <p:sldLayoutId id="2147492346" r:id="rId13575"/>
    <p:sldLayoutId id="2147492364" r:id="rId13576"/>
    <p:sldLayoutId id="2147492355" r:id="rId13577"/>
    <p:sldLayoutId id="2147492375" r:id="rId13578"/>
    <p:sldLayoutId id="2147492373" r:id="rId13579"/>
    <p:sldLayoutId id="2147492381" r:id="rId13580"/>
    <p:sldLayoutId id="2147492339" r:id="rId13581"/>
    <p:sldLayoutId id="2147497883" r:id="rId13582"/>
    <p:sldLayoutId id="2147497887" r:id="rId13583"/>
    <p:sldLayoutId id="2147497895" r:id="rId13584"/>
    <p:sldLayoutId id="2147497891" r:id="rId13585"/>
    <p:sldLayoutId id="2147493578" r:id="rId13586"/>
    <p:sldLayoutId id="2147492757" r:id="rId13587"/>
    <p:sldLayoutId id="2147492613" r:id="rId13588"/>
    <p:sldLayoutId id="2147492634" r:id="rId13589"/>
    <p:sldLayoutId id="2147492622" r:id="rId13590"/>
    <p:sldLayoutId id="2147492654" r:id="rId13591"/>
    <p:sldLayoutId id="2147492646" r:id="rId13592"/>
    <p:sldLayoutId id="2147493598" r:id="rId13593"/>
    <p:sldLayoutId id="2147493610" r:id="rId13594"/>
    <p:sldLayoutId id="2147493602" r:id="rId13595"/>
    <p:sldLayoutId id="2147492704" r:id="rId13596"/>
    <p:sldLayoutId id="2147492727" r:id="rId13597"/>
    <p:sldLayoutId id="2147493606" r:id="rId13598"/>
    <p:sldLayoutId id="2147493172" r:id="rId13599"/>
    <p:sldLayoutId id="2147493192" r:id="rId13600"/>
    <p:sldLayoutId id="2147493180" r:id="rId13601"/>
    <p:sldLayoutId id="2147492455" r:id="rId13602"/>
    <p:sldLayoutId id="2147493188" r:id="rId13603"/>
    <p:sldLayoutId id="2147493196" r:id="rId13604"/>
    <p:sldLayoutId id="2147493194" r:id="rId13605"/>
    <p:sldLayoutId id="2147493200" r:id="rId13606"/>
    <p:sldLayoutId id="2147493174" r:id="rId13607"/>
    <p:sldLayoutId id="2147493156" r:id="rId13608"/>
    <p:sldLayoutId id="2147493160" r:id="rId13609"/>
    <p:sldLayoutId id="2147493168" r:id="rId13610"/>
    <p:sldLayoutId id="2147493164" r:id="rId13611"/>
    <p:sldLayoutId id="2147493290" r:id="rId13612"/>
    <p:sldLayoutId id="2147493212" r:id="rId13613"/>
    <p:sldLayoutId id="2147493410" r:id="rId13614"/>
    <p:sldLayoutId id="2147492548" r:id="rId13615"/>
    <p:sldLayoutId id="2147492539" r:id="rId13616"/>
    <p:sldLayoutId id="2147492561" r:id="rId13617"/>
    <p:sldLayoutId id="2147492559" r:id="rId13618"/>
    <p:sldLayoutId id="2147492565" r:id="rId13619"/>
    <p:sldLayoutId id="2147492593" r:id="rId13620"/>
    <p:sldLayoutId id="2147492571" r:id="rId13621"/>
    <p:sldLayoutId id="2147492575" r:id="rId13622"/>
    <p:sldLayoutId id="2147492587" r:id="rId13623"/>
    <p:sldLayoutId id="2147492579" r:id="rId13624"/>
    <p:sldLayoutId id="2147493326" r:id="rId13625"/>
    <p:sldLayoutId id="2147492542" r:id="rId13626"/>
    <p:sldLayoutId id="2147493386" r:id="rId13627"/>
    <p:sldLayoutId id="2147493474" r:id="rId13628"/>
    <p:sldLayoutId id="2147493450" r:id="rId13629"/>
    <p:sldLayoutId id="2147493518" r:id="rId13630"/>
    <p:sldLayoutId id="2147492557" r:id="rId13631"/>
    <p:sldLayoutId id="2147493550" r:id="rId13632"/>
    <p:sldLayoutId id="2147493350" r:id="rId13633"/>
    <p:sldLayoutId id="2147493260" r:id="rId13634"/>
    <p:sldLayoutId id="2147493272" r:id="rId13635"/>
    <p:sldLayoutId id="2147493308" r:id="rId13636"/>
    <p:sldLayoutId id="2147493296" r:id="rId13637"/>
    <p:sldLayoutId id="2147494024" r:id="rId13638"/>
    <p:sldLayoutId id="2147496784" r:id="rId13639"/>
    <p:sldLayoutId id="2147497493" r:id="rId13640"/>
    <p:sldLayoutId id="2147497534" r:id="rId13641"/>
    <p:sldLayoutId id="2147497506" r:id="rId13642"/>
    <p:sldLayoutId id="2147497511" r:id="rId13643"/>
    <p:sldLayoutId id="2147497509" r:id="rId13644"/>
    <p:sldLayoutId id="2147497514" r:id="rId13645"/>
    <p:sldLayoutId id="2147497513" r:id="rId13646"/>
    <p:sldLayoutId id="2147497516" r:id="rId13647"/>
    <p:sldLayoutId id="2147497529" r:id="rId13648"/>
    <p:sldLayoutId id="2147497520" r:id="rId13649"/>
    <p:sldLayoutId id="2147497522" r:id="rId13650"/>
    <p:sldLayoutId id="2147497526" r:id="rId13651"/>
    <p:sldLayoutId id="2147497524" r:id="rId13652"/>
    <p:sldLayoutId id="2147497555" r:id="rId13653"/>
    <p:sldLayoutId id="2147497570" r:id="rId13654"/>
    <p:sldLayoutId id="2147497561" r:id="rId13655"/>
    <p:sldLayoutId id="2147497571" r:id="rId13656"/>
    <p:sldLayoutId id="2147497567" r:id="rId13657"/>
    <p:sldLayoutId id="2147497579" r:id="rId13658"/>
    <p:sldLayoutId id="2147497577" r:id="rId13659"/>
    <p:sldLayoutId id="2147497583" r:id="rId13660"/>
    <p:sldLayoutId id="2147497556" r:id="rId13661"/>
    <p:sldLayoutId id="2147497543" r:id="rId13662"/>
    <p:sldLayoutId id="2147497546" r:id="rId13663"/>
    <p:sldLayoutId id="2147497552" r:id="rId13664"/>
    <p:sldLayoutId id="2147497549" r:id="rId13665"/>
    <p:sldLayoutId id="2147497613" r:id="rId13666"/>
    <p:sldLayoutId id="2147497593" r:id="rId13667"/>
    <p:sldLayoutId id="2147497641" r:id="rId13668"/>
    <p:sldLayoutId id="2147497659" r:id="rId13669"/>
    <p:sldLayoutId id="2147497651" r:id="rId13670"/>
    <p:sldLayoutId id="2147497679" r:id="rId13671"/>
    <p:sldLayoutId id="2147497675" r:id="rId13672"/>
    <p:sldLayoutId id="2147495354" r:id="rId13673"/>
    <p:sldLayoutId id="2147495366" r:id="rId13674"/>
    <p:sldLayoutId id="2147495358" r:id="rId13675"/>
    <p:sldLayoutId id="2147495360" r:id="rId13676"/>
    <p:sldLayoutId id="2147495364" r:id="rId13677"/>
    <p:sldLayoutId id="2147495362" r:id="rId13678"/>
    <p:sldLayoutId id="2147497623" r:id="rId13679"/>
    <p:sldLayoutId id="2147497653" r:id="rId13680"/>
    <p:sldLayoutId id="2147497635" r:id="rId13681"/>
    <p:sldLayoutId id="2147497657" r:id="rId13682"/>
    <p:sldLayoutId id="2147497647" r:id="rId13683"/>
    <p:sldLayoutId id="2147497677" r:id="rId13684"/>
    <p:sldLayoutId id="2147497673" r:id="rId13685"/>
    <p:sldLayoutId id="2147495353" r:id="rId13686"/>
    <p:sldLayoutId id="2147497627" r:id="rId13687"/>
    <p:sldLayoutId id="2147497605" r:id="rId13688"/>
    <p:sldLayoutId id="2147497609" r:id="rId13689"/>
    <p:sldLayoutId id="2147497619" r:id="rId13690"/>
    <p:sldLayoutId id="2147497615" r:id="rId13691"/>
    <p:sldLayoutId id="2147495369" r:id="rId13692"/>
    <p:sldLayoutId id="2147495396" r:id="rId13693"/>
    <p:sldLayoutId id="2147495372" r:id="rId13694"/>
    <p:sldLayoutId id="2147495376" r:id="rId13695"/>
    <p:sldLayoutId id="2147495374" r:id="rId13696"/>
    <p:sldLayoutId id="2147495379" r:id="rId13697"/>
    <p:sldLayoutId id="2147495378" r:id="rId13698"/>
    <p:sldLayoutId id="2147495381" r:id="rId13699"/>
    <p:sldLayoutId id="2147495393" r:id="rId13700"/>
    <p:sldLayoutId id="2147495385" r:id="rId13701"/>
    <p:sldLayoutId id="2147495387" r:id="rId13702"/>
    <p:sldLayoutId id="2147495391" r:id="rId13703"/>
    <p:sldLayoutId id="2147495389" r:id="rId13704"/>
    <p:sldLayoutId id="2147495410" r:id="rId13705"/>
    <p:sldLayoutId id="2147495420" r:id="rId13706"/>
    <p:sldLayoutId id="2147495414" r:id="rId13707"/>
    <p:sldLayoutId id="2147495421" r:id="rId13708"/>
    <p:sldLayoutId id="2147495418" r:id="rId13709"/>
    <p:sldLayoutId id="2147495426" r:id="rId13710"/>
    <p:sldLayoutId id="2147495425" r:id="rId13711"/>
    <p:sldLayoutId id="2147495428" r:id="rId13712"/>
    <p:sldLayoutId id="2147495411" r:id="rId13713"/>
    <p:sldLayoutId id="2147495402" r:id="rId13714"/>
    <p:sldLayoutId id="2147495404" r:id="rId13715"/>
    <p:sldLayoutId id="2147495408" r:id="rId13716"/>
    <p:sldLayoutId id="2147495406" r:id="rId13717"/>
    <p:sldLayoutId id="2147495699" r:id="rId13718"/>
    <p:sldLayoutId id="2147495809" r:id="rId13719"/>
    <p:sldLayoutId id="2147495705" r:id="rId13720"/>
    <p:sldLayoutId id="2147495713" r:id="rId13721"/>
    <p:sldLayoutId id="2147495709" r:id="rId13722"/>
    <p:sldLayoutId id="2147495719" r:id="rId13723"/>
    <p:sldLayoutId id="2147495717" r:id="rId13724"/>
    <p:sldLayoutId id="2147495723" r:id="rId13725"/>
    <p:sldLayoutId id="2147495771" r:id="rId13726"/>
    <p:sldLayoutId id="2147495741" r:id="rId13727"/>
    <p:sldLayoutId id="2147495749" r:id="rId13728"/>
    <p:sldLayoutId id="2147495763" r:id="rId13729"/>
    <p:sldLayoutId id="2147495757" r:id="rId13730"/>
    <p:sldLayoutId id="2147495506" r:id="rId13731"/>
    <p:sldLayoutId id="2147495539" r:id="rId13732"/>
    <p:sldLayoutId id="2147495519" r:id="rId13733"/>
    <p:sldLayoutId id="2147495542" r:id="rId13734"/>
    <p:sldLayoutId id="2147495532" r:id="rId13735"/>
    <p:sldLayoutId id="2147495560" r:id="rId13736"/>
    <p:sldLayoutId id="2147495556" r:id="rId13737"/>
    <p:sldLayoutId id="2147495565" r:id="rId13738"/>
    <p:sldLayoutId id="2147495509" r:id="rId13739"/>
    <p:sldLayoutId id="2147495479" r:id="rId13740"/>
    <p:sldLayoutId id="2147495485" r:id="rId13741"/>
    <p:sldLayoutId id="2147495499" r:id="rId13742"/>
    <p:sldLayoutId id="2147495492" r:id="rId13743"/>
    <p:sldLayoutId id="2147495595" r:id="rId13744"/>
    <p:sldLayoutId id="2147495575" r:id="rId13745"/>
    <p:sldLayoutId id="2147495623" r:id="rId13746"/>
    <p:sldLayoutId id="2147495641" r:id="rId13747"/>
    <p:sldLayoutId id="2147495633" r:id="rId13748"/>
    <p:sldLayoutId id="2147495661" r:id="rId13749"/>
    <p:sldLayoutId id="2147495657" r:id="rId13750"/>
    <p:sldLayoutId id="2147495669" r:id="rId13751"/>
    <p:sldLayoutId id="2147495693" r:id="rId13752"/>
    <p:sldLayoutId id="2147495677" r:id="rId13753"/>
    <p:sldLayoutId id="2147495681" r:id="rId13754"/>
    <p:sldLayoutId id="2147495689" r:id="rId13755"/>
    <p:sldLayoutId id="2147495685" r:id="rId13756"/>
    <p:sldLayoutId id="2147495605" r:id="rId13757"/>
    <p:sldLayoutId id="2147495635" r:id="rId13758"/>
    <p:sldLayoutId id="2147495617" r:id="rId13759"/>
    <p:sldLayoutId id="2147495639" r:id="rId13760"/>
    <p:sldLayoutId id="2147495629" r:id="rId13761"/>
    <p:sldLayoutId id="2147495659" r:id="rId13762"/>
    <p:sldLayoutId id="2147495655" r:id="rId13763"/>
    <p:sldLayoutId id="2147495667" r:id="rId13764"/>
    <p:sldLayoutId id="2147495609" r:id="rId13765"/>
    <p:sldLayoutId id="2147495587" r:id="rId13766"/>
    <p:sldLayoutId id="2147495591" r:id="rId13767"/>
    <p:sldLayoutId id="2147495601" r:id="rId13768"/>
    <p:sldLayoutId id="2147495597" r:id="rId13769"/>
    <p:sldLayoutId id="2147495791" r:id="rId13770"/>
    <p:sldLayoutId id="2147495879" r:id="rId13771"/>
    <p:sldLayoutId id="2147495472" r:id="rId13772"/>
    <p:sldLayoutId id="2147495504" r:id="rId13773"/>
    <p:sldLayoutId id="2147495490" r:id="rId13774"/>
    <p:sldLayoutId id="2147495537" r:id="rId13775"/>
    <p:sldLayoutId id="2147495530" r:id="rId13776"/>
    <p:sldLayoutId id="2147495551" r:id="rId13777"/>
    <p:sldLayoutId id="2147495870" r:id="rId13778"/>
    <p:sldLayoutId id="2147495838" r:id="rId13779"/>
    <p:sldLayoutId id="2147495848" r:id="rId13780"/>
    <p:sldLayoutId id="2147495864" r:id="rId13781"/>
    <p:sldLayoutId id="2147495858" r:id="rId13782"/>
    <p:sldLayoutId id="2147495918" r:id="rId13783"/>
    <p:sldLayoutId id="2147495938" r:id="rId13784"/>
    <p:sldLayoutId id="2147495926" r:id="rId13785"/>
    <p:sldLayoutId id="2147495940" r:id="rId13786"/>
    <p:sldLayoutId id="2147495934" r:id="rId13787"/>
    <p:sldLayoutId id="2147495950" r:id="rId13788"/>
    <p:sldLayoutId id="2147495948" r:id="rId13789"/>
    <p:sldLayoutId id="2147495954" r:id="rId13790"/>
    <p:sldLayoutId id="2147495920" r:id="rId13791"/>
    <p:sldLayoutId id="2147495897" r:id="rId13792"/>
    <p:sldLayoutId id="2147495903" r:id="rId13793"/>
    <p:sldLayoutId id="2147495914" r:id="rId13794"/>
    <p:sldLayoutId id="2147495909" r:id="rId13795"/>
    <p:sldLayoutId id="2147495735" r:id="rId13796"/>
    <p:sldLayoutId id="2147495433" r:id="rId13797"/>
    <p:sldLayoutId id="2147495747" r:id="rId13798"/>
    <p:sldLayoutId id="2147495765" r:id="rId13799"/>
    <p:sldLayoutId id="2147495755" r:id="rId13800"/>
    <p:sldLayoutId id="2147495775" r:id="rId13801"/>
    <p:sldLayoutId id="2147495773" r:id="rId13802"/>
    <p:sldLayoutId id="2147495779" r:id="rId13803"/>
    <p:sldLayoutId id="2147495463" r:id="rId13804"/>
    <p:sldLayoutId id="2147495787" r:id="rId13805"/>
    <p:sldLayoutId id="2147495793" r:id="rId13806"/>
    <p:sldLayoutId id="2147495807" r:id="rId13807"/>
    <p:sldLayoutId id="2147495799" r:id="rId13808"/>
    <p:sldLayoutId id="2147496147" r:id="rId13809"/>
    <p:sldLayoutId id="2147496201" r:id="rId13810"/>
    <p:sldLayoutId id="2147496153" r:id="rId13811"/>
    <p:sldLayoutId id="2147496161" r:id="rId13812"/>
    <p:sldLayoutId id="2147496157" r:id="rId13813"/>
    <p:sldLayoutId id="2147496167" r:id="rId13814"/>
    <p:sldLayoutId id="2147496165" r:id="rId13815"/>
    <p:sldLayoutId id="2147496171" r:id="rId13816"/>
    <p:sldLayoutId id="2147496195" r:id="rId13817"/>
    <p:sldLayoutId id="2147496179" r:id="rId13818"/>
    <p:sldLayoutId id="2147496183" r:id="rId13819"/>
    <p:sldLayoutId id="2147496191" r:id="rId13820"/>
    <p:sldLayoutId id="2147496187" r:id="rId13821"/>
    <p:sldLayoutId id="2147496237" r:id="rId13822"/>
    <p:sldLayoutId id="2147496257" r:id="rId13823"/>
    <p:sldLayoutId id="2147496245" r:id="rId13824"/>
    <p:sldLayoutId id="2147496259" r:id="rId13825"/>
    <p:sldLayoutId id="2147496253" r:id="rId13826"/>
    <p:sldLayoutId id="2147496269" r:id="rId13827"/>
    <p:sldLayoutId id="2147496267" r:id="rId13828"/>
    <p:sldLayoutId id="2147496273" r:id="rId13829"/>
    <p:sldLayoutId id="2147496239" r:id="rId13830"/>
    <p:sldLayoutId id="2147496219" r:id="rId13831"/>
    <p:sldLayoutId id="2147496225" r:id="rId13832"/>
    <p:sldLayoutId id="2147496233" r:id="rId13833"/>
    <p:sldLayoutId id="2147496229" r:id="rId13834"/>
    <p:sldLayoutId id="2147496377" r:id="rId13835"/>
    <p:sldLayoutId id="2147496329" r:id="rId13836"/>
    <p:sldLayoutId id="2147496462" r:id="rId13837"/>
    <p:sldLayoutId id="2147496496" r:id="rId13838"/>
    <p:sldLayoutId id="2147496480" r:id="rId13839"/>
    <p:sldLayoutId id="2147496554" r:id="rId13840"/>
    <p:sldLayoutId id="2147496542" r:id="rId13841"/>
    <p:sldLayoutId id="2147496578" r:id="rId13842"/>
    <p:sldLayoutId id="2147496633" r:id="rId13843"/>
    <p:sldLayoutId id="2147496602" r:id="rId13844"/>
    <p:sldLayoutId id="2147496614" r:id="rId13845"/>
    <p:sldLayoutId id="2147496627" r:id="rId13846"/>
    <p:sldLayoutId id="2147496621" r:id="rId13847"/>
    <p:sldLayoutId id="2147496402" r:id="rId13848"/>
    <p:sldLayoutId id="2147496482" r:id="rId13849"/>
    <p:sldLayoutId id="2147496446" r:id="rId13850"/>
    <p:sldLayoutId id="2147496490" r:id="rId13851"/>
    <p:sldLayoutId id="2147496472" r:id="rId13852"/>
    <p:sldLayoutId id="2147496548" r:id="rId13853"/>
    <p:sldLayoutId id="2147496536" r:id="rId13854"/>
    <p:sldLayoutId id="2147496572" r:id="rId13855"/>
    <p:sldLayoutId id="2147496418" r:id="rId13856"/>
    <p:sldLayoutId id="2147496361" r:id="rId13857"/>
    <p:sldLayoutId id="2147496371" r:id="rId13858"/>
    <p:sldLayoutId id="2147496392" r:id="rId13859"/>
    <p:sldLayoutId id="2147496382" r:id="rId13860"/>
    <p:sldLayoutId id="2147496726" r:id="rId13861"/>
    <p:sldLayoutId id="2147496066" r:id="rId13862"/>
    <p:sldLayoutId id="2147496744" r:id="rId13863"/>
    <p:sldLayoutId id="2147496754" r:id="rId13864"/>
    <p:sldLayoutId id="2147496750" r:id="rId13865"/>
    <p:sldLayoutId id="2147496760" r:id="rId13866"/>
    <p:sldLayoutId id="2147496758" r:id="rId13867"/>
    <p:sldLayoutId id="2147496764" r:id="rId13868"/>
    <p:sldLayoutId id="2147496057" r:id="rId13869"/>
    <p:sldLayoutId id="2147496772" r:id="rId13870"/>
    <p:sldLayoutId id="2147496776" r:id="rId13871"/>
    <p:sldLayoutId id="2147496051" r:id="rId13872"/>
    <p:sldLayoutId id="2147496780" r:id="rId13873"/>
    <p:sldLayoutId id="2147496105" r:id="rId13874"/>
    <p:sldLayoutId id="2147496125" r:id="rId13875"/>
    <p:sldLayoutId id="2147496113" r:id="rId13876"/>
    <p:sldLayoutId id="2147496127" r:id="rId13877"/>
    <p:sldLayoutId id="2147496121" r:id="rId13878"/>
    <p:sldLayoutId id="2147496137" r:id="rId13879"/>
    <p:sldLayoutId id="2147496135" r:id="rId13880"/>
    <p:sldLayoutId id="2147496141" r:id="rId13881"/>
    <p:sldLayoutId id="2147496107" r:id="rId13882"/>
    <p:sldLayoutId id="2147496084" r:id="rId13883"/>
    <p:sldLayoutId id="2147496090" r:id="rId13884"/>
    <p:sldLayoutId id="2147496102" r:id="rId13885"/>
    <p:sldLayoutId id="2147496096" r:id="rId13886"/>
    <p:sldLayoutId id="2147496866" r:id="rId13887"/>
    <p:sldLayoutId id="2147496492" r:id="rId13888"/>
    <p:sldLayoutId id="2147496373" r:id="rId13889"/>
    <p:sldLayoutId id="2147496389" r:id="rId13890"/>
    <p:sldLayoutId id="2147496379" r:id="rId13891"/>
    <p:sldLayoutId id="2147496406" r:id="rId13892"/>
    <p:sldLayoutId id="2147496398" r:id="rId13893"/>
    <p:sldLayoutId id="2147496871" r:id="rId13894"/>
    <p:sldLayoutId id="2147496874" r:id="rId13895"/>
    <p:sldLayoutId id="2147496872" r:id="rId13896"/>
    <p:sldLayoutId id="2147496460" r:id="rId13897"/>
    <p:sldLayoutId id="2147496474" r:id="rId13898"/>
    <p:sldLayoutId id="2147496873" r:id="rId13899"/>
    <p:sldLayoutId id="2147496808" r:id="rId13900"/>
    <p:sldLayoutId id="2147496818" r:id="rId13901"/>
    <p:sldLayoutId id="2147496812" r:id="rId13902"/>
    <p:sldLayoutId id="2147496211" r:id="rId13903"/>
    <p:sldLayoutId id="2147496816" r:id="rId13904"/>
    <p:sldLayoutId id="2147496820" r:id="rId13905"/>
    <p:sldLayoutId id="2147496819" r:id="rId13906"/>
    <p:sldLayoutId id="2147496822" r:id="rId13907"/>
    <p:sldLayoutId id="2147496809" r:id="rId13908"/>
    <p:sldLayoutId id="2147496796" r:id="rId13909"/>
    <p:sldLayoutId id="2147496800" r:id="rId13910"/>
    <p:sldLayoutId id="2147496806" r:id="rId13911"/>
    <p:sldLayoutId id="2147496804" r:id="rId13912"/>
    <p:sldLayoutId id="2147496837" r:id="rId13913"/>
    <p:sldLayoutId id="2147496827" r:id="rId13914"/>
    <p:sldLayoutId id="2147496851" r:id="rId13915"/>
    <p:sldLayoutId id="2147496285" r:id="rId13916"/>
    <p:sldLayoutId id="2147496279" r:id="rId13917"/>
    <p:sldLayoutId id="2147496297" r:id="rId13918"/>
    <p:sldLayoutId id="2147496295" r:id="rId13919"/>
    <p:sldLayoutId id="2147496301" r:id="rId13920"/>
    <p:sldLayoutId id="2147496343" r:id="rId13921"/>
    <p:sldLayoutId id="2147496308" r:id="rId13922"/>
    <p:sldLayoutId id="2147496313" r:id="rId13923"/>
    <p:sldLayoutId id="2147496331" r:id="rId13924"/>
    <p:sldLayoutId id="2147496319" r:id="rId13925"/>
    <p:sldLayoutId id="2147496842" r:id="rId13926"/>
    <p:sldLayoutId id="2147496281" r:id="rId13927"/>
    <p:sldLayoutId id="2147496848" r:id="rId13928"/>
    <p:sldLayoutId id="2147496856" r:id="rId13929"/>
    <p:sldLayoutId id="2147496854" r:id="rId13930"/>
    <p:sldLayoutId id="2147496860" r:id="rId13931"/>
    <p:sldLayoutId id="2147496293" r:id="rId13932"/>
    <p:sldLayoutId id="2147496862" r:id="rId13933"/>
    <p:sldLayoutId id="2147496844" r:id="rId13934"/>
    <p:sldLayoutId id="2147496833" r:id="rId13935"/>
    <p:sldLayoutId id="2147496835" r:id="rId13936"/>
    <p:sldLayoutId id="2147496840" r:id="rId13937"/>
    <p:sldLayoutId id="2147496838" r:id="rId13938"/>
    <p:sldLayoutId id="2147497246" r:id="rId13939"/>
    <p:sldLayoutId id="2147497296" r:id="rId13940"/>
    <p:sldLayoutId id="2147497252" r:id="rId13941"/>
    <p:sldLayoutId id="2147497260" r:id="rId13942"/>
    <p:sldLayoutId id="2147497256" r:id="rId13943"/>
    <p:sldLayoutId id="2147497266" r:id="rId13944"/>
    <p:sldLayoutId id="2147497264" r:id="rId13945"/>
    <p:sldLayoutId id="2147497270" r:id="rId13946"/>
    <p:sldLayoutId id="2147497292" r:id="rId13947"/>
    <p:sldLayoutId id="2147497278" r:id="rId13948"/>
    <p:sldLayoutId id="2147497282" r:id="rId13949"/>
    <p:sldLayoutId id="2147497290" r:id="rId13950"/>
    <p:sldLayoutId id="2147497286" r:id="rId13951"/>
    <p:sldLayoutId id="2147497311" r:id="rId13952"/>
    <p:sldLayoutId id="2147497323" r:id="rId13953"/>
    <p:sldLayoutId id="2147497316" r:id="rId13954"/>
    <p:sldLayoutId id="2147497325" r:id="rId13955"/>
    <p:sldLayoutId id="2147497321" r:id="rId13956"/>
    <p:sldLayoutId id="2147497331" r:id="rId13957"/>
    <p:sldLayoutId id="2147497330" r:id="rId13958"/>
    <p:sldLayoutId id="2147497333" r:id="rId13959"/>
    <p:sldLayoutId id="2147497312" r:id="rId13960"/>
    <p:sldLayoutId id="2147497302" r:id="rId13961"/>
    <p:sldLayoutId id="2147497304" r:id="rId13962"/>
    <p:sldLayoutId id="2147497308" r:id="rId13963"/>
    <p:sldLayoutId id="2147497306" r:id="rId13964"/>
    <p:sldLayoutId id="2147497356" r:id="rId13965"/>
    <p:sldLayoutId id="2147497341" r:id="rId13966"/>
    <p:sldLayoutId id="2147497377" r:id="rId13967"/>
    <p:sldLayoutId id="2147497391" r:id="rId13968"/>
    <p:sldLayoutId id="2147497384" r:id="rId13969"/>
    <p:sldLayoutId id="2147497411" r:id="rId13970"/>
    <p:sldLayoutId id="2147497407" r:id="rId13971"/>
    <p:sldLayoutId id="2147497419" r:id="rId13972"/>
    <p:sldLayoutId id="2147497439" r:id="rId13973"/>
    <p:sldLayoutId id="2147497427" r:id="rId13974"/>
    <p:sldLayoutId id="2147497431" r:id="rId13975"/>
    <p:sldLayoutId id="2147497437" r:id="rId13976"/>
    <p:sldLayoutId id="2147497435" r:id="rId13977"/>
    <p:sldLayoutId id="2147497363" r:id="rId13978"/>
    <p:sldLayoutId id="2147497386" r:id="rId13979"/>
    <p:sldLayoutId id="2147497372" r:id="rId13980"/>
    <p:sldLayoutId id="2147497389" r:id="rId13981"/>
    <p:sldLayoutId id="2147497381" r:id="rId13982"/>
    <p:sldLayoutId id="2147497409" r:id="rId13983"/>
    <p:sldLayoutId id="2147497405" r:id="rId13984"/>
    <p:sldLayoutId id="2147497417" r:id="rId13985"/>
    <p:sldLayoutId id="2147497366" r:id="rId13986"/>
    <p:sldLayoutId id="2147497350" r:id="rId13987"/>
    <p:sldLayoutId id="2147497353" r:id="rId13988"/>
    <p:sldLayoutId id="2147497360" r:id="rId13989"/>
    <p:sldLayoutId id="2147497357" r:id="rId13990"/>
    <p:sldLayoutId id="2147497442" r:id="rId13991"/>
    <p:sldLayoutId id="2147497469" r:id="rId13992"/>
    <p:sldLayoutId id="2147497445" r:id="rId13993"/>
    <p:sldLayoutId id="2147497449" r:id="rId13994"/>
    <p:sldLayoutId id="2147497447" r:id="rId13995"/>
    <p:sldLayoutId id="2147497452" r:id="rId13996"/>
    <p:sldLayoutId id="2147497451" r:id="rId13997"/>
    <p:sldLayoutId id="2147497454" r:id="rId13998"/>
    <p:sldLayoutId id="2147497466" r:id="rId13999"/>
    <p:sldLayoutId id="2147497458" r:id="rId14000"/>
    <p:sldLayoutId id="2147497460" r:id="rId14001"/>
    <p:sldLayoutId id="2147497464" r:id="rId14002"/>
    <p:sldLayoutId id="2147497462" r:id="rId14003"/>
    <p:sldLayoutId id="2147497483" r:id="rId14004"/>
    <p:sldLayoutId id="2147497494" r:id="rId14005"/>
    <p:sldLayoutId id="2147497487" r:id="rId14006"/>
    <p:sldLayoutId id="2147497495" r:id="rId14007"/>
    <p:sldLayoutId id="2147497491" r:id="rId14008"/>
    <p:sldLayoutId id="2147497502" r:id="rId14009"/>
    <p:sldLayoutId id="2147497500" r:id="rId14010"/>
    <p:sldLayoutId id="2147497504" r:id="rId14011"/>
    <p:sldLayoutId id="2147497484" r:id="rId14012"/>
    <p:sldLayoutId id="2147497475" r:id="rId14013"/>
    <p:sldLayoutId id="2147497477" r:id="rId14014"/>
    <p:sldLayoutId id="2147497481" r:id="rId14015"/>
    <p:sldLayoutId id="2147497479" r:id="rId14016"/>
    <p:sldLayoutId id="2147497035" r:id="rId14017"/>
    <p:sldLayoutId id="2147497144" r:id="rId14018"/>
    <p:sldLayoutId id="2147497040" r:id="rId14019"/>
    <p:sldLayoutId id="2147497048" r:id="rId14020"/>
    <p:sldLayoutId id="2147497044" r:id="rId14021"/>
    <p:sldLayoutId id="2147497054" r:id="rId14022"/>
    <p:sldLayoutId id="2147497052" r:id="rId14023"/>
    <p:sldLayoutId id="2147497058" r:id="rId14024"/>
    <p:sldLayoutId id="2147497106" r:id="rId14025"/>
    <p:sldLayoutId id="2147497076" r:id="rId14026"/>
    <p:sldLayoutId id="2147497084" r:id="rId14027"/>
    <p:sldLayoutId id="2147497098" r:id="rId14028"/>
    <p:sldLayoutId id="2147497092" r:id="rId14029"/>
    <p:sldLayoutId id="2147496903" r:id="rId14030"/>
    <p:sldLayoutId id="2147496916" r:id="rId14031"/>
    <p:sldLayoutId id="2147496908" r:id="rId14032"/>
    <p:sldLayoutId id="2147496917" r:id="rId14033"/>
    <p:sldLayoutId id="2147496913" r:id="rId14034"/>
    <p:sldLayoutId id="2147496925" r:id="rId14035"/>
    <p:sldLayoutId id="2147496923" r:id="rId14036"/>
    <p:sldLayoutId id="2147496927" r:id="rId14037"/>
    <p:sldLayoutId id="2147496904" r:id="rId14038"/>
    <p:sldLayoutId id="2147496888" r:id="rId14039"/>
    <p:sldLayoutId id="2147496891" r:id="rId14040"/>
    <p:sldLayoutId id="2147496900" r:id="rId14041"/>
    <p:sldLayoutId id="2147496897" r:id="rId14042"/>
    <p:sldLayoutId id="2147496947" r:id="rId14043"/>
    <p:sldLayoutId id="2147496932" r:id="rId14044"/>
    <p:sldLayoutId id="2147496970" r:id="rId14045"/>
    <p:sldLayoutId id="2147496986" r:id="rId14046"/>
    <p:sldLayoutId id="2147496979" r:id="rId14047"/>
    <p:sldLayoutId id="2147497002" r:id="rId14048"/>
    <p:sldLayoutId id="2147496999" r:id="rId14049"/>
    <p:sldLayoutId id="2147497009" r:id="rId14050"/>
    <p:sldLayoutId id="2147497030" r:id="rId14051"/>
    <p:sldLayoutId id="2147497016" r:id="rId14052"/>
    <p:sldLayoutId id="2147497019" r:id="rId14053"/>
    <p:sldLayoutId id="2147497026" r:id="rId14054"/>
    <p:sldLayoutId id="2147497023" r:id="rId14055"/>
    <p:sldLayoutId id="2147496956" r:id="rId14056"/>
    <p:sldLayoutId id="2147496981" r:id="rId14057"/>
    <p:sldLayoutId id="2147496965" r:id="rId14058"/>
    <p:sldLayoutId id="2147496984" r:id="rId14059"/>
    <p:sldLayoutId id="2147496976" r:id="rId14060"/>
    <p:sldLayoutId id="2147497000" r:id="rId14061"/>
    <p:sldLayoutId id="2147496997" r:id="rId14062"/>
    <p:sldLayoutId id="2147497007" r:id="rId14063"/>
    <p:sldLayoutId id="2147496959" r:id="rId14064"/>
    <p:sldLayoutId id="2147496941" r:id="rId14065"/>
    <p:sldLayoutId id="2147496944" r:id="rId14066"/>
    <p:sldLayoutId id="2147496952" r:id="rId14067"/>
    <p:sldLayoutId id="2147496949" r:id="rId14068"/>
    <p:sldLayoutId id="2147497126" r:id="rId14069"/>
    <p:sldLayoutId id="2147497176" r:id="rId14070"/>
    <p:sldLayoutId id="2147496885" r:id="rId14071"/>
    <p:sldLayoutId id="2147496902" r:id="rId14072"/>
    <p:sldLayoutId id="2147496895" r:id="rId14073"/>
    <p:sldLayoutId id="2147496915" r:id="rId14074"/>
    <p:sldLayoutId id="2147496912" r:id="rId14075"/>
    <p:sldLayoutId id="2147496921" r:id="rId14076"/>
    <p:sldLayoutId id="2147497170" r:id="rId14077"/>
    <p:sldLayoutId id="2147497154" r:id="rId14078"/>
    <p:sldLayoutId id="2147497158" r:id="rId14079"/>
    <p:sldLayoutId id="2147497166" r:id="rId14080"/>
    <p:sldLayoutId id="2147497162" r:id="rId14081"/>
    <p:sldLayoutId id="2147497204" r:id="rId14082"/>
    <p:sldLayoutId id="2147497224" r:id="rId14083"/>
    <p:sldLayoutId id="2147497212" r:id="rId14084"/>
    <p:sldLayoutId id="2147497226" r:id="rId14085"/>
    <p:sldLayoutId id="2147497220" r:id="rId14086"/>
    <p:sldLayoutId id="2147497236" r:id="rId14087"/>
    <p:sldLayoutId id="2147497234" r:id="rId14088"/>
    <p:sldLayoutId id="2147497240" r:id="rId14089"/>
    <p:sldLayoutId id="2147497206" r:id="rId14090"/>
    <p:sldLayoutId id="2147497188" r:id="rId14091"/>
    <p:sldLayoutId id="2147497192" r:id="rId14092"/>
    <p:sldLayoutId id="2147497200" r:id="rId14093"/>
    <p:sldLayoutId id="2147497196" r:id="rId14094"/>
    <p:sldLayoutId id="2147497070" r:id="rId14095"/>
    <p:sldLayoutId id="2147496878" r:id="rId14096"/>
    <p:sldLayoutId id="2147497082" r:id="rId14097"/>
    <p:sldLayoutId id="2147497100" r:id="rId14098"/>
    <p:sldLayoutId id="2147497090" r:id="rId14099"/>
    <p:sldLayoutId id="2147497110" r:id="rId14100"/>
    <p:sldLayoutId id="2147497108" r:id="rId14101"/>
    <p:sldLayoutId id="2147497114" r:id="rId14102"/>
    <p:sldLayoutId id="2147496882" r:id="rId14103"/>
    <p:sldLayoutId id="2147497122" r:id="rId14104"/>
    <p:sldLayoutId id="2147497128" r:id="rId14105"/>
    <p:sldLayoutId id="2147497142" r:id="rId14106"/>
    <p:sldLayoutId id="2147497134" r:id="rId14107"/>
    <p:sldLayoutId id="2147495772" r:id="rId14108"/>
    <p:sldLayoutId id="2147495851" r:id="rId14109"/>
    <p:sldLayoutId id="2147495788" r:id="rId14110"/>
    <p:sldLayoutId id="2147495802" r:id="rId14111"/>
    <p:sldLayoutId id="2147495796" r:id="rId14112"/>
    <p:sldLayoutId id="2147495815" r:id="rId14113"/>
    <p:sldLayoutId id="2147495812" r:id="rId14114"/>
    <p:sldLayoutId id="2147495819" r:id="rId14115"/>
    <p:sldLayoutId id="2147495842" r:id="rId14116"/>
    <p:sldLayoutId id="2147495828" r:id="rId14117"/>
    <p:sldLayoutId id="2147495831" r:id="rId14118"/>
    <p:sldLayoutId id="2147495839" r:id="rId14119"/>
    <p:sldLayoutId id="2147495835" r:id="rId14120"/>
    <p:sldLayoutId id="2147495874" r:id="rId14121"/>
    <p:sldLayoutId id="2147495889" r:id="rId14122"/>
    <p:sldLayoutId id="2147495880" r:id="rId14123"/>
    <p:sldLayoutId id="2147495890" r:id="rId14124"/>
    <p:sldLayoutId id="2147495886" r:id="rId14125"/>
    <p:sldLayoutId id="2147495898" r:id="rId14126"/>
    <p:sldLayoutId id="2147495896" r:id="rId14127"/>
    <p:sldLayoutId id="2147495901" r:id="rId14128"/>
    <p:sldLayoutId id="2147495875" r:id="rId14129"/>
    <p:sldLayoutId id="2147495859" r:id="rId14130"/>
    <p:sldLayoutId id="2147495862" r:id="rId14131"/>
    <p:sldLayoutId id="2147495871" r:id="rId14132"/>
    <p:sldLayoutId id="2147495866" r:id="rId14133"/>
    <p:sldLayoutId id="2147495955" r:id="rId14134"/>
    <p:sldLayoutId id="2147495925" r:id="rId14135"/>
    <p:sldLayoutId id="2147495978" r:id="rId14136"/>
    <p:sldLayoutId id="2147495988" r:id="rId14137"/>
    <p:sldLayoutId id="2147495984" r:id="rId14138"/>
    <p:sldLayoutId id="2147495998" r:id="rId14139"/>
    <p:sldLayoutId id="2147495996" r:id="rId14140"/>
    <p:sldLayoutId id="2147496002" r:id="rId14141"/>
    <p:sldLayoutId id="2147496014" r:id="rId14142"/>
    <p:sldLayoutId id="2147496006" r:id="rId14143"/>
    <p:sldLayoutId id="2147496008" r:id="rId14144"/>
    <p:sldLayoutId id="2147496012" r:id="rId14145"/>
    <p:sldLayoutId id="2147496010" r:id="rId14146"/>
    <p:sldLayoutId id="2147495965" r:id="rId14147"/>
    <p:sldLayoutId id="2147495985" r:id="rId14148"/>
    <p:sldLayoutId id="2147495974" r:id="rId14149"/>
    <p:sldLayoutId id="2147495987" r:id="rId14150"/>
    <p:sldLayoutId id="2147495982" r:id="rId14151"/>
    <p:sldLayoutId id="2147495997" r:id="rId14152"/>
    <p:sldLayoutId id="2147495995" r:id="rId14153"/>
    <p:sldLayoutId id="2147496001" r:id="rId14154"/>
    <p:sldLayoutId id="2147495968" r:id="rId14155"/>
    <p:sldLayoutId id="2147495943" r:id="rId14156"/>
    <p:sldLayoutId id="2147495949" r:id="rId14157"/>
    <p:sldLayoutId id="2147495962" r:id="rId14158"/>
    <p:sldLayoutId id="2147495959" r:id="rId14159"/>
    <p:sldLayoutId id="2147496048" r:id="rId14160"/>
    <p:sldLayoutId id="2147496120" r:id="rId14161"/>
    <p:sldLayoutId id="2147496055" r:id="rId14162"/>
    <p:sldLayoutId id="2147496065" r:id="rId14163"/>
    <p:sldLayoutId id="2147496061" r:id="rId14164"/>
    <p:sldLayoutId id="2147496071" r:id="rId14165"/>
    <p:sldLayoutId id="2147496070" r:id="rId14166"/>
    <p:sldLayoutId id="2147496077" r:id="rId14167"/>
    <p:sldLayoutId id="2147496110" r:id="rId14168"/>
    <p:sldLayoutId id="2147496086" r:id="rId14169"/>
    <p:sldLayoutId id="2147496092" r:id="rId14170"/>
    <p:sldLayoutId id="2147496104" r:id="rId14171"/>
    <p:sldLayoutId id="2147496098" r:id="rId14172"/>
    <p:sldLayoutId id="2147496166" r:id="rId14173"/>
    <p:sldLayoutId id="2147496198" r:id="rId14174"/>
    <p:sldLayoutId id="2147496178" r:id="rId14175"/>
    <p:sldLayoutId id="2147496200" r:id="rId14176"/>
    <p:sldLayoutId id="2147496194" r:id="rId14177"/>
    <p:sldLayoutId id="2147496214" r:id="rId14178"/>
    <p:sldLayoutId id="2147496212" r:id="rId14179"/>
    <p:sldLayoutId id="2147496220" r:id="rId14180"/>
    <p:sldLayoutId id="2147496170" r:id="rId14181"/>
    <p:sldLayoutId id="2147496142" r:id="rId14182"/>
    <p:sldLayoutId id="2147496150" r:id="rId14183"/>
    <p:sldLayoutId id="2147496162" r:id="rId14184"/>
    <p:sldLayoutId id="2147496156" r:id="rId14185"/>
    <p:sldLayoutId id="2147496568" r:id="rId14186"/>
    <p:sldLayoutId id="2147496665" r:id="rId14187"/>
    <p:sldLayoutId id="2147496576" r:id="rId14188"/>
    <p:sldLayoutId id="2147496588" r:id="rId14189"/>
    <p:sldLayoutId id="2147496582" r:id="rId14190"/>
    <p:sldLayoutId id="2147496598" r:id="rId14191"/>
    <p:sldLayoutId id="2147496594" r:id="rId14192"/>
    <p:sldLayoutId id="2147496604" r:id="rId14193"/>
    <p:sldLayoutId id="2147496644" r:id="rId14194"/>
    <p:sldLayoutId id="2147496623" r:id="rId14195"/>
    <p:sldLayoutId id="2147496629" r:id="rId14196"/>
    <p:sldLayoutId id="2147496640" r:id="rId14197"/>
    <p:sldLayoutId id="2147496637" r:id="rId14198"/>
    <p:sldLayoutId id="2147496298" r:id="rId14199"/>
    <p:sldLayoutId id="2147496333" r:id="rId14200"/>
    <p:sldLayoutId id="2147496310" r:id="rId14201"/>
    <p:sldLayoutId id="2147496337" r:id="rId14202"/>
    <p:sldLayoutId id="2147496325" r:id="rId14203"/>
    <p:sldLayoutId id="2147496363" r:id="rId14204"/>
    <p:sldLayoutId id="2147496355" r:id="rId14205"/>
    <p:sldLayoutId id="2147496370" r:id="rId14206"/>
    <p:sldLayoutId id="2147496300" r:id="rId14207"/>
    <p:sldLayoutId id="2147496276" r:id="rId14208"/>
    <p:sldLayoutId id="2147496280" r:id="rId14209"/>
    <p:sldLayoutId id="2147496292" r:id="rId14210"/>
    <p:sldLayoutId id="2147496286" r:id="rId14211"/>
    <p:sldLayoutId id="2147496416" r:id="rId14212"/>
    <p:sldLayoutId id="2147496381" r:id="rId14213"/>
    <p:sldLayoutId id="2147496465" r:id="rId14214"/>
    <p:sldLayoutId id="2147496483" r:id="rId14215"/>
    <p:sldLayoutId id="2147496475" r:id="rId14216"/>
    <p:sldLayoutId id="2147496510" r:id="rId14217"/>
    <p:sldLayoutId id="2147496504" r:id="rId14218"/>
    <p:sldLayoutId id="2147496522" r:id="rId14219"/>
    <p:sldLayoutId id="2147496558" r:id="rId14220"/>
    <p:sldLayoutId id="2147496534" r:id="rId14221"/>
    <p:sldLayoutId id="2147496540" r:id="rId14222"/>
    <p:sldLayoutId id="2147496552" r:id="rId14223"/>
    <p:sldLayoutId id="2147496546" r:id="rId14224"/>
    <p:sldLayoutId id="2147496436" r:id="rId14225"/>
    <p:sldLayoutId id="2147496477" r:id="rId14226"/>
    <p:sldLayoutId id="2147496459" r:id="rId14227"/>
    <p:sldLayoutId id="2147496481" r:id="rId14228"/>
    <p:sldLayoutId id="2147496471" r:id="rId14229"/>
    <p:sldLayoutId id="2147496508" r:id="rId14230"/>
    <p:sldLayoutId id="2147496502" r:id="rId14231"/>
    <p:sldLayoutId id="2147496520" r:id="rId14232"/>
    <p:sldLayoutId id="2147496444" r:id="rId14233"/>
    <p:sldLayoutId id="2147496400" r:id="rId14234"/>
    <p:sldLayoutId id="2147496408" r:id="rId14235"/>
    <p:sldLayoutId id="2147496428" r:id="rId14236"/>
    <p:sldLayoutId id="2147496420" r:id="rId14237"/>
    <p:sldLayoutId id="2147496654" r:id="rId14238"/>
    <p:sldLayoutId id="2147496682" r:id="rId14239"/>
    <p:sldLayoutId id="2147496270" r:id="rId14240"/>
    <p:sldLayoutId id="2147496296" r:id="rId14241"/>
    <p:sldLayoutId id="2147496284" r:id="rId14242"/>
    <p:sldLayoutId id="2147496330" r:id="rId14243"/>
    <p:sldLayoutId id="2147496321" r:id="rId14244"/>
    <p:sldLayoutId id="2147496348" r:id="rId14245"/>
    <p:sldLayoutId id="2147496678" r:id="rId14246"/>
    <p:sldLayoutId id="2147496670" r:id="rId14247"/>
    <p:sldLayoutId id="2147496672" r:id="rId14248"/>
    <p:sldLayoutId id="2147496676" r:id="rId14249"/>
    <p:sldLayoutId id="2147496674" r:id="rId14250"/>
    <p:sldLayoutId id="2147496710" r:id="rId14251"/>
    <p:sldLayoutId id="2147496734" r:id="rId14252"/>
    <p:sldLayoutId id="2147496718" r:id="rId14253"/>
    <p:sldLayoutId id="2147496736" r:id="rId14254"/>
    <p:sldLayoutId id="2147496728" r:id="rId14255"/>
    <p:sldLayoutId id="2147495436" r:id="rId14256"/>
    <p:sldLayoutId id="2147495435" r:id="rId14257"/>
    <p:sldLayoutId id="2147495438" r:id="rId14258"/>
    <p:sldLayoutId id="2147496712" r:id="rId14259"/>
    <p:sldLayoutId id="2147496694" r:id="rId14260"/>
    <p:sldLayoutId id="2147496698" r:id="rId14261"/>
    <p:sldLayoutId id="2147496706" r:id="rId14262"/>
    <p:sldLayoutId id="2147496702" r:id="rId14263"/>
    <p:sldLayoutId id="2147496619" r:id="rId14264"/>
    <p:sldLayoutId id="2147496256" r:id="rId14265"/>
    <p:sldLayoutId id="2147496628" r:id="rId14266"/>
    <p:sldLayoutId id="2147496641" r:id="rId14267"/>
    <p:sldLayoutId id="2147496635" r:id="rId14268"/>
    <p:sldLayoutId id="2147496646" r:id="rId14269"/>
    <p:sldLayoutId id="2147496645" r:id="rId14270"/>
    <p:sldLayoutId id="2147496648" r:id="rId14271"/>
    <p:sldLayoutId id="2147496264" r:id="rId14272"/>
    <p:sldLayoutId id="2147496652" r:id="rId14273"/>
    <p:sldLayoutId id="2147496656" r:id="rId14274"/>
    <p:sldLayoutId id="2147496664" r:id="rId14275"/>
    <p:sldLayoutId id="2147496660" r:id="rId14276"/>
    <p:sldLayoutId id="2147495496" r:id="rId14277"/>
    <p:sldLayoutId id="2147495541" r:id="rId14278"/>
    <p:sldLayoutId id="2147495501" r:id="rId14279"/>
    <p:sldLayoutId id="2147495508" r:id="rId14280"/>
    <p:sldLayoutId id="2147495505" r:id="rId14281"/>
    <p:sldLayoutId id="2147495514" r:id="rId14282"/>
    <p:sldLayoutId id="2147495512" r:id="rId14283"/>
    <p:sldLayoutId id="2147495517" r:id="rId14284"/>
    <p:sldLayoutId id="2147495536" r:id="rId14285"/>
    <p:sldLayoutId id="2147495523" r:id="rId14286"/>
    <p:sldLayoutId id="2147495526" r:id="rId14287"/>
    <p:sldLayoutId id="2147495533" r:id="rId14288"/>
    <p:sldLayoutId id="2147495529" r:id="rId14289"/>
    <p:sldLayoutId id="2147495574" r:id="rId14290"/>
    <p:sldLayoutId id="2147495594" r:id="rId14291"/>
    <p:sldLayoutId id="2147495582" r:id="rId14292"/>
    <p:sldLayoutId id="2147495596" r:id="rId14293"/>
    <p:sldLayoutId id="2147495590" r:id="rId14294"/>
    <p:sldLayoutId id="2147495606" r:id="rId14295"/>
    <p:sldLayoutId id="2147495604" r:id="rId14296"/>
    <p:sldLayoutId id="2147495610" r:id="rId14297"/>
    <p:sldLayoutId id="2147495576" r:id="rId14298"/>
    <p:sldLayoutId id="2147495557" r:id="rId14299"/>
    <p:sldLayoutId id="2147495562" r:id="rId14300"/>
    <p:sldLayoutId id="2147495570" r:id="rId14301"/>
    <p:sldLayoutId id="2147495566" r:id="rId14302"/>
    <p:sldLayoutId id="2147495690" r:id="rId14303"/>
    <p:sldLayoutId id="2147495658" r:id="rId14304"/>
    <p:sldLayoutId id="2147495738" r:id="rId14305"/>
    <p:sldLayoutId id="2147495770" r:id="rId14306"/>
    <p:sldLayoutId id="2147495756" r:id="rId14307"/>
    <p:sldLayoutId id="2147495808" r:id="rId14308"/>
    <p:sldLayoutId id="2147495798" r:id="rId14309"/>
    <p:sldLayoutId id="2147495821" r:id="rId14310"/>
    <p:sldLayoutId id="2147495847" r:id="rId14311"/>
    <p:sldLayoutId id="2147495827" r:id="rId14312"/>
    <p:sldLayoutId id="2147495834" r:id="rId14313"/>
    <p:sldLayoutId id="2147495845" r:id="rId14314"/>
    <p:sldLayoutId id="2147495841" r:id="rId14315"/>
    <p:sldLayoutId id="2147495706" r:id="rId14316"/>
    <p:sldLayoutId id="2147495758" r:id="rId14317"/>
    <p:sldLayoutId id="2147495728" r:id="rId14318"/>
    <p:sldLayoutId id="2147495766" r:id="rId14319"/>
    <p:sldLayoutId id="2147495748" r:id="rId14320"/>
    <p:sldLayoutId id="2147495804" r:id="rId14321"/>
    <p:sldLayoutId id="2147495794" r:id="rId14322"/>
    <p:sldLayoutId id="2147495817" r:id="rId14323"/>
    <p:sldLayoutId id="2147495714" r:id="rId14324"/>
    <p:sldLayoutId id="2147495678" r:id="rId14325"/>
    <p:sldLayoutId id="2147495684" r:id="rId14326"/>
    <p:sldLayoutId id="2147495700" r:id="rId14327"/>
    <p:sldLayoutId id="2147495694" r:id="rId14328"/>
    <p:sldLayoutId id="2147495905" r:id="rId14329"/>
    <p:sldLayoutId id="2147495446" r:id="rId14330"/>
    <p:sldLayoutId id="2147495910" r:id="rId14331"/>
    <p:sldLayoutId id="2147495917" r:id="rId14332"/>
    <p:sldLayoutId id="2147495913" r:id="rId14333"/>
    <p:sldLayoutId id="2147495935" r:id="rId14334"/>
    <p:sldLayoutId id="2147495929" r:id="rId14335"/>
    <p:sldLayoutId id="2147495945" r:id="rId14336"/>
    <p:sldLayoutId id="2147495443" r:id="rId14337"/>
    <p:sldLayoutId id="2147495964" r:id="rId14338"/>
    <p:sldLayoutId id="2147495970" r:id="rId14339"/>
    <p:sldLayoutId id="2147495441" r:id="rId14340"/>
    <p:sldLayoutId id="2147495976" r:id="rId14341"/>
    <p:sldLayoutId id="2147495462" r:id="rId14342"/>
    <p:sldLayoutId id="2147495478" r:id="rId14343"/>
    <p:sldLayoutId id="2147495468" r:id="rId14344"/>
    <p:sldLayoutId id="2147495480" r:id="rId14345"/>
    <p:sldLayoutId id="2147495474" r:id="rId14346"/>
    <p:sldLayoutId id="2147495487" r:id="rId14347"/>
    <p:sldLayoutId id="2147495486" r:id="rId14348"/>
    <p:sldLayoutId id="2147495491" r:id="rId14349"/>
    <p:sldLayoutId id="2147495464" r:id="rId14350"/>
    <p:sldLayoutId id="2147495452" r:id="rId14351"/>
    <p:sldLayoutId id="2147495454" r:id="rId14352"/>
    <p:sldLayoutId id="2147495458" r:id="rId14353"/>
    <p:sldLayoutId id="2147495456" r:id="rId14354"/>
    <p:sldLayoutId id="2147496232" r:id="rId14355"/>
    <p:sldLayoutId id="2147495768" r:id="rId14356"/>
    <p:sldLayoutId id="2147495686" r:id="rId14357"/>
    <p:sldLayoutId id="2147495698" r:id="rId14358"/>
    <p:sldLayoutId id="2147495692" r:id="rId14359"/>
    <p:sldLayoutId id="2147495708" r:id="rId14360"/>
    <p:sldLayoutId id="2147495704" r:id="rId14361"/>
    <p:sldLayoutId id="2147496242" r:id="rId14362"/>
    <p:sldLayoutId id="2147496248" r:id="rId14363"/>
    <p:sldLayoutId id="2147496244" r:id="rId14364"/>
    <p:sldLayoutId id="2147495736" r:id="rId14365"/>
    <p:sldLayoutId id="2147495750" r:id="rId14366"/>
    <p:sldLayoutId id="2147496246" r:id="rId14367"/>
    <p:sldLayoutId id="2147496029" r:id="rId14368"/>
    <p:sldLayoutId id="2147496039" r:id="rId14369"/>
    <p:sldLayoutId id="2147496033" r:id="rId14370"/>
    <p:sldLayoutId id="2147495550" r:id="rId14371"/>
    <p:sldLayoutId id="2147496037" r:id="rId14372"/>
    <p:sldLayoutId id="2147496041" r:id="rId14373"/>
    <p:sldLayoutId id="2147496040" r:id="rId14374"/>
    <p:sldLayoutId id="2147496043" r:id="rId14375"/>
    <p:sldLayoutId id="2147496030" r:id="rId14376"/>
    <p:sldLayoutId id="2147496021" r:id="rId14377"/>
    <p:sldLayoutId id="2147496023" r:id="rId14378"/>
    <p:sldLayoutId id="2147496027" r:id="rId14379"/>
    <p:sldLayoutId id="2147496025" r:id="rId14380"/>
    <p:sldLayoutId id="2147496088" r:id="rId14381"/>
    <p:sldLayoutId id="2147496049" r:id="rId14382"/>
    <p:sldLayoutId id="2147496148" r:id="rId14383"/>
    <p:sldLayoutId id="2147495622" r:id="rId14384"/>
    <p:sldLayoutId id="2147495616" r:id="rId14385"/>
    <p:sldLayoutId id="2147495634" r:id="rId14386"/>
    <p:sldLayoutId id="2147495632" r:id="rId14387"/>
    <p:sldLayoutId id="2147495638" r:id="rId14388"/>
    <p:sldLayoutId id="2147495666" r:id="rId14389"/>
    <p:sldLayoutId id="2147495644" r:id="rId14390"/>
    <p:sldLayoutId id="2147495648" r:id="rId14391"/>
    <p:sldLayoutId id="2147495660" r:id="rId14392"/>
    <p:sldLayoutId id="2147495652" r:id="rId14393"/>
    <p:sldLayoutId id="2147496106" r:id="rId14394"/>
    <p:sldLayoutId id="2147495618" r:id="rId14395"/>
    <p:sldLayoutId id="2147496136" r:id="rId14396"/>
    <p:sldLayoutId id="2147496180" r:id="rId14397"/>
    <p:sldLayoutId id="2147496168" r:id="rId14398"/>
    <p:sldLayoutId id="2147496202" r:id="rId14399"/>
    <p:sldLayoutId id="2147495630" r:id="rId14400"/>
    <p:sldLayoutId id="2147496218" r:id="rId14401"/>
    <p:sldLayoutId id="2147496118" r:id="rId14402"/>
    <p:sldLayoutId id="2147496073" r:id="rId14403"/>
    <p:sldLayoutId id="2147496079" r:id="rId14404"/>
    <p:sldLayoutId id="2147496097" r:id="rId14405"/>
    <p:sldLayoutId id="2147496091" r:id="rId14406"/>
    <p:sldLayoutId id="2147503177" r:id="rId14407"/>
    <p:sldLayoutId id="2147501326" r:id="rId14408"/>
    <p:sldLayoutId id="2147501352" r:id="rId14409"/>
    <p:sldLayoutId id="2147501328" r:id="rId14410"/>
    <p:sldLayoutId id="2147501332" r:id="rId14411"/>
    <p:sldLayoutId id="2147501330" r:id="rId14412"/>
    <p:sldLayoutId id="2147501335" r:id="rId14413"/>
    <p:sldLayoutId id="2147501334" r:id="rId14414"/>
    <p:sldLayoutId id="2147501337" r:id="rId14415"/>
    <p:sldLayoutId id="2147501349" r:id="rId14416"/>
    <p:sldLayoutId id="2147501341" r:id="rId14417"/>
    <p:sldLayoutId id="2147501343" r:id="rId14418"/>
    <p:sldLayoutId id="2147501347" r:id="rId14419"/>
    <p:sldLayoutId id="2147501345" r:id="rId14420"/>
    <p:sldLayoutId id="2147501366" r:id="rId14421"/>
    <p:sldLayoutId id="2147501376" r:id="rId14422"/>
    <p:sldLayoutId id="2147501370" r:id="rId14423"/>
    <p:sldLayoutId id="2147501377" r:id="rId14424"/>
    <p:sldLayoutId id="2147501374" r:id="rId14425"/>
    <p:sldLayoutId id="2147501382" r:id="rId14426"/>
    <p:sldLayoutId id="2147501381" r:id="rId14427"/>
    <p:sldLayoutId id="2147501384" r:id="rId14428"/>
    <p:sldLayoutId id="2147501367" r:id="rId14429"/>
    <p:sldLayoutId id="2147501358" r:id="rId14430"/>
    <p:sldLayoutId id="2147501360" r:id="rId14431"/>
    <p:sldLayoutId id="2147501364" r:id="rId14432"/>
    <p:sldLayoutId id="2147501362" r:id="rId14433"/>
    <p:sldLayoutId id="2147501399" r:id="rId14434"/>
    <p:sldLayoutId id="2147501389" r:id="rId14435"/>
    <p:sldLayoutId id="2147501413" r:id="rId14436"/>
    <p:sldLayoutId id="2147501422" r:id="rId14437"/>
    <p:sldLayoutId id="2147501418" r:id="rId14438"/>
    <p:sldLayoutId id="2147501432" r:id="rId14439"/>
    <p:sldLayoutId id="2147501430" r:id="rId14440"/>
    <p:sldLayoutId id="2147501436" r:id="rId14441"/>
    <p:sldLayoutId id="2147501448" r:id="rId14442"/>
    <p:sldLayoutId id="2147501440" r:id="rId14443"/>
    <p:sldLayoutId id="2147501442" r:id="rId14444"/>
    <p:sldLayoutId id="2147501446" r:id="rId14445"/>
    <p:sldLayoutId id="2147501444" r:id="rId14446"/>
    <p:sldLayoutId id="2147501404" r:id="rId14447"/>
    <p:sldLayoutId id="2147501419" r:id="rId14448"/>
    <p:sldLayoutId id="2147501410" r:id="rId14449"/>
    <p:sldLayoutId id="2147501421" r:id="rId14450"/>
    <p:sldLayoutId id="2147501416" r:id="rId14451"/>
    <p:sldLayoutId id="2147501431" r:id="rId14452"/>
    <p:sldLayoutId id="2147501429" r:id="rId14453"/>
    <p:sldLayoutId id="2147501435" r:id="rId14454"/>
    <p:sldLayoutId id="2147501406" r:id="rId14455"/>
    <p:sldLayoutId id="2147501395" r:id="rId14456"/>
    <p:sldLayoutId id="2147501397" r:id="rId14457"/>
    <p:sldLayoutId id="2147501402" r:id="rId14458"/>
    <p:sldLayoutId id="2147501400" r:id="rId14459"/>
    <p:sldLayoutId id="2147501451" r:id="rId14460"/>
    <p:sldLayoutId id="2147501478" r:id="rId14461"/>
    <p:sldLayoutId id="2147501454" r:id="rId14462"/>
    <p:sldLayoutId id="2147501458" r:id="rId14463"/>
    <p:sldLayoutId id="2147501456" r:id="rId14464"/>
    <p:sldLayoutId id="2147501461" r:id="rId14465"/>
    <p:sldLayoutId id="2147501460" r:id="rId14466"/>
    <p:sldLayoutId id="2147501463" r:id="rId14467"/>
    <p:sldLayoutId id="2147501475" r:id="rId14468"/>
    <p:sldLayoutId id="2147501467" r:id="rId14469"/>
    <p:sldLayoutId id="2147501469" r:id="rId14470"/>
    <p:sldLayoutId id="2147501473" r:id="rId14471"/>
    <p:sldLayoutId id="2147501471" r:id="rId14472"/>
    <p:sldLayoutId id="2147501492" r:id="rId14473"/>
    <p:sldLayoutId id="2147501502" r:id="rId14474"/>
    <p:sldLayoutId id="2147501496" r:id="rId14475"/>
    <p:sldLayoutId id="2147501503" r:id="rId14476"/>
    <p:sldLayoutId id="2147501500" r:id="rId14477"/>
    <p:sldLayoutId id="2147501508" r:id="rId14478"/>
    <p:sldLayoutId id="2147501507" r:id="rId14479"/>
    <p:sldLayoutId id="2147501510" r:id="rId14480"/>
    <p:sldLayoutId id="2147501493" r:id="rId14481"/>
    <p:sldLayoutId id="2147501484" r:id="rId14482"/>
    <p:sldLayoutId id="2147501486" r:id="rId14483"/>
    <p:sldLayoutId id="2147501490" r:id="rId14484"/>
    <p:sldLayoutId id="2147501488" r:id="rId14485"/>
    <p:sldLayoutId id="2147501627" r:id="rId14486"/>
    <p:sldLayoutId id="2147501682" r:id="rId14487"/>
    <p:sldLayoutId id="2147501630" r:id="rId14488"/>
    <p:sldLayoutId id="2147501634" r:id="rId14489"/>
    <p:sldLayoutId id="2147501632" r:id="rId14490"/>
    <p:sldLayoutId id="2147501637" r:id="rId14491"/>
    <p:sldLayoutId id="2147501636" r:id="rId14492"/>
    <p:sldLayoutId id="2147501639" r:id="rId14493"/>
    <p:sldLayoutId id="2147501663" r:id="rId14494"/>
    <p:sldLayoutId id="2147501648" r:id="rId14495"/>
    <p:sldLayoutId id="2147501652" r:id="rId14496"/>
    <p:sldLayoutId id="2147501659" r:id="rId14497"/>
    <p:sldLayoutId id="2147501656" r:id="rId14498"/>
    <p:sldLayoutId id="2147501536" r:id="rId14499"/>
    <p:sldLayoutId id="2147501549" r:id="rId14500"/>
    <p:sldLayoutId id="2147501541" r:id="rId14501"/>
    <p:sldLayoutId id="2147501550" r:id="rId14502"/>
    <p:sldLayoutId id="2147501546" r:id="rId14503"/>
    <p:sldLayoutId id="2147501558" r:id="rId14504"/>
    <p:sldLayoutId id="2147501556" r:id="rId14505"/>
    <p:sldLayoutId id="2147501560" r:id="rId14506"/>
    <p:sldLayoutId id="2147501537" r:id="rId14507"/>
    <p:sldLayoutId id="2147501525" r:id="rId14508"/>
    <p:sldLayoutId id="2147501527" r:id="rId14509"/>
    <p:sldLayoutId id="2147501533" r:id="rId14510"/>
    <p:sldLayoutId id="2147501530" r:id="rId14511"/>
    <p:sldLayoutId id="2147501575" r:id="rId14512"/>
    <p:sldLayoutId id="2147501565" r:id="rId14513"/>
    <p:sldLayoutId id="2147501589" r:id="rId14514"/>
    <p:sldLayoutId id="2147501598" r:id="rId14515"/>
    <p:sldLayoutId id="2147501594" r:id="rId14516"/>
    <p:sldLayoutId id="2147501608" r:id="rId14517"/>
    <p:sldLayoutId id="2147501606" r:id="rId14518"/>
    <p:sldLayoutId id="2147501612" r:id="rId14519"/>
    <p:sldLayoutId id="2147501624" r:id="rId14520"/>
    <p:sldLayoutId id="2147501616" r:id="rId14521"/>
    <p:sldLayoutId id="2147501618" r:id="rId14522"/>
    <p:sldLayoutId id="2147501622" r:id="rId14523"/>
    <p:sldLayoutId id="2147501620" r:id="rId14524"/>
    <p:sldLayoutId id="2147501580" r:id="rId14525"/>
    <p:sldLayoutId id="2147501595" r:id="rId14526"/>
    <p:sldLayoutId id="2147501586" r:id="rId14527"/>
    <p:sldLayoutId id="2147501597" r:id="rId14528"/>
    <p:sldLayoutId id="2147501592" r:id="rId14529"/>
    <p:sldLayoutId id="2147501607" r:id="rId14530"/>
    <p:sldLayoutId id="2147501605" r:id="rId14531"/>
    <p:sldLayoutId id="2147501611" r:id="rId14532"/>
    <p:sldLayoutId id="2147501582" r:id="rId14533"/>
    <p:sldLayoutId id="2147501571" r:id="rId14534"/>
    <p:sldLayoutId id="2147501573" r:id="rId14535"/>
    <p:sldLayoutId id="2147501578" r:id="rId14536"/>
    <p:sldLayoutId id="2147501576" r:id="rId14537"/>
    <p:sldLayoutId id="2147501673" r:id="rId14538"/>
    <p:sldLayoutId id="2147501698" r:id="rId14539"/>
    <p:sldLayoutId id="2147501522" r:id="rId14540"/>
    <p:sldLayoutId id="2147501535" r:id="rId14541"/>
    <p:sldLayoutId id="2147501529" r:id="rId14542"/>
    <p:sldLayoutId id="2147501548" r:id="rId14543"/>
    <p:sldLayoutId id="2147501545" r:id="rId14544"/>
    <p:sldLayoutId id="2147501554" r:id="rId14545"/>
    <p:sldLayoutId id="2147501695" r:id="rId14546"/>
    <p:sldLayoutId id="2147501687" r:id="rId14547"/>
    <p:sldLayoutId id="2147501689" r:id="rId14548"/>
    <p:sldLayoutId id="2147501693" r:id="rId14549"/>
    <p:sldLayoutId id="2147501691" r:id="rId14550"/>
    <p:sldLayoutId id="2147501712" r:id="rId14551"/>
    <p:sldLayoutId id="2147501722" r:id="rId14552"/>
    <p:sldLayoutId id="2147501716" r:id="rId14553"/>
    <p:sldLayoutId id="2147501723" r:id="rId14554"/>
    <p:sldLayoutId id="2147501720" r:id="rId14555"/>
    <p:sldLayoutId id="2147501728" r:id="rId14556"/>
    <p:sldLayoutId id="2147501727" r:id="rId14557"/>
    <p:sldLayoutId id="2147501730" r:id="rId14558"/>
    <p:sldLayoutId id="2147501713" r:id="rId14559"/>
    <p:sldLayoutId id="2147501704" r:id="rId14560"/>
    <p:sldLayoutId id="2147501706" r:id="rId14561"/>
    <p:sldLayoutId id="2147501710" r:id="rId14562"/>
    <p:sldLayoutId id="2147501708" r:id="rId14563"/>
    <p:sldLayoutId id="2147501645" r:id="rId14564"/>
    <p:sldLayoutId id="2147501515" r:id="rId14565"/>
    <p:sldLayoutId id="2147501651" r:id="rId14566"/>
    <p:sldLayoutId id="2147501660" r:id="rId14567"/>
    <p:sldLayoutId id="2147501655" r:id="rId14568"/>
    <p:sldLayoutId id="2147501665" r:id="rId14569"/>
    <p:sldLayoutId id="2147501664" r:id="rId14570"/>
    <p:sldLayoutId id="2147501667" r:id="rId14571"/>
    <p:sldLayoutId id="2147501519" r:id="rId14572"/>
    <p:sldLayoutId id="2147501671" r:id="rId14573"/>
    <p:sldLayoutId id="2147501674" r:id="rId14574"/>
    <p:sldLayoutId id="2147501681" r:id="rId14575"/>
    <p:sldLayoutId id="2147501677" r:id="rId14576"/>
    <p:sldLayoutId id="2147501773" r:id="rId14577"/>
    <p:sldLayoutId id="2147501800" r:id="rId14578"/>
    <p:sldLayoutId id="2147501776" r:id="rId14579"/>
    <p:sldLayoutId id="2147501780" r:id="rId14580"/>
    <p:sldLayoutId id="2147501778" r:id="rId14581"/>
    <p:sldLayoutId id="2147501783" r:id="rId14582"/>
    <p:sldLayoutId id="2147501782" r:id="rId14583"/>
    <p:sldLayoutId id="2147501785" r:id="rId14584"/>
    <p:sldLayoutId id="2147501797" r:id="rId14585"/>
    <p:sldLayoutId id="2147501789" r:id="rId14586"/>
    <p:sldLayoutId id="2147501791" r:id="rId14587"/>
    <p:sldLayoutId id="2147501795" r:id="rId14588"/>
    <p:sldLayoutId id="2147501793" r:id="rId14589"/>
    <p:sldLayoutId id="2147501818" r:id="rId14590"/>
    <p:sldLayoutId id="2147501828" r:id="rId14591"/>
    <p:sldLayoutId id="2147501822" r:id="rId14592"/>
    <p:sldLayoutId id="2147501829" r:id="rId14593"/>
    <p:sldLayoutId id="2147501826" r:id="rId14594"/>
    <p:sldLayoutId id="2147501834" r:id="rId14595"/>
    <p:sldLayoutId id="2147501833" r:id="rId14596"/>
    <p:sldLayoutId id="2147501836" r:id="rId14597"/>
    <p:sldLayoutId id="2147501819" r:id="rId14598"/>
    <p:sldLayoutId id="2147501809" r:id="rId14599"/>
    <p:sldLayoutId id="2147501812" r:id="rId14600"/>
    <p:sldLayoutId id="2147501816" r:id="rId14601"/>
    <p:sldLayoutId id="2147501814" r:id="rId14602"/>
    <p:sldLayoutId id="2147501876" r:id="rId14603"/>
    <p:sldLayoutId id="2147501860" r:id="rId14604"/>
    <p:sldLayoutId id="2147501900" r:id="rId14605"/>
    <p:sldLayoutId id="2147501916" r:id="rId14606"/>
    <p:sldLayoutId id="2147501909" r:id="rId14607"/>
    <p:sldLayoutId id="2147501926" r:id="rId14608"/>
    <p:sldLayoutId id="2147501924" r:id="rId14609"/>
    <p:sldLayoutId id="2147501930" r:id="rId14610"/>
    <p:sldLayoutId id="2147501942" r:id="rId14611"/>
    <p:sldLayoutId id="2147501934" r:id="rId14612"/>
    <p:sldLayoutId id="2147501936" r:id="rId14613"/>
    <p:sldLayoutId id="2147501940" r:id="rId14614"/>
    <p:sldLayoutId id="2147501938" r:id="rId14615"/>
    <p:sldLayoutId id="2147501884" r:id="rId14616"/>
    <p:sldLayoutId id="2147501910" r:id="rId14617"/>
    <p:sldLayoutId id="2147501895" r:id="rId14618"/>
    <p:sldLayoutId id="2147501914" r:id="rId14619"/>
    <p:sldLayoutId id="2147501905" r:id="rId14620"/>
    <p:sldLayoutId id="2147501925" r:id="rId14621"/>
    <p:sldLayoutId id="2147501923" r:id="rId14622"/>
    <p:sldLayoutId id="2147501929" r:id="rId14623"/>
    <p:sldLayoutId id="2147501888" r:id="rId14624"/>
    <p:sldLayoutId id="2147501870" r:id="rId14625"/>
    <p:sldLayoutId id="2147501873" r:id="rId14626"/>
    <p:sldLayoutId id="2147501881" r:id="rId14627"/>
    <p:sldLayoutId id="2147501878" r:id="rId14628"/>
    <p:sldLayoutId id="2147501945" r:id="rId14629"/>
    <p:sldLayoutId id="2147501738" r:id="rId14630"/>
    <p:sldLayoutId id="2147501948" r:id="rId14631"/>
    <p:sldLayoutId id="2147501952" r:id="rId14632"/>
    <p:sldLayoutId id="2147501950" r:id="rId14633"/>
    <p:sldLayoutId id="2147501955" r:id="rId14634"/>
    <p:sldLayoutId id="2147501954" r:id="rId14635"/>
    <p:sldLayoutId id="2147501957" r:id="rId14636"/>
    <p:sldLayoutId id="2147501735" r:id="rId14637"/>
    <p:sldLayoutId id="2147501961" r:id="rId14638"/>
    <p:sldLayoutId id="2147501963" r:id="rId14639"/>
    <p:sldLayoutId id="2147501733" r:id="rId14640"/>
    <p:sldLayoutId id="2147501965" r:id="rId14641"/>
    <p:sldLayoutId id="2147501752" r:id="rId14642"/>
    <p:sldLayoutId id="2147501762" r:id="rId14643"/>
    <p:sldLayoutId id="2147501756" r:id="rId14644"/>
    <p:sldLayoutId id="2147501763" r:id="rId14645"/>
    <p:sldLayoutId id="2147501760" r:id="rId14646"/>
    <p:sldLayoutId id="2147501768" r:id="rId14647"/>
    <p:sldLayoutId id="2147501767" r:id="rId14648"/>
    <p:sldLayoutId id="2147501770" r:id="rId14649"/>
    <p:sldLayoutId id="2147501753" r:id="rId14650"/>
    <p:sldLayoutId id="2147501744" r:id="rId14651"/>
    <p:sldLayoutId id="2147501746" r:id="rId14652"/>
    <p:sldLayoutId id="2147501750" r:id="rId14653"/>
    <p:sldLayoutId id="2147501748" r:id="rId14654"/>
    <p:sldLayoutId id="2147502037" r:id="rId14655"/>
    <p:sldLayoutId id="2147501915" r:id="rId14656"/>
    <p:sldLayoutId id="2147501874" r:id="rId14657"/>
    <p:sldLayoutId id="2147501880" r:id="rId14658"/>
    <p:sldLayoutId id="2147501877" r:id="rId14659"/>
    <p:sldLayoutId id="2147501885" r:id="rId14660"/>
    <p:sldLayoutId id="2147501883" r:id="rId14661"/>
    <p:sldLayoutId id="2147502042" r:id="rId14662"/>
    <p:sldLayoutId id="2147502045" r:id="rId14663"/>
    <p:sldLayoutId id="2147502043" r:id="rId14664"/>
    <p:sldLayoutId id="2147501899" r:id="rId14665"/>
    <p:sldLayoutId id="2147501906" r:id="rId14666"/>
    <p:sldLayoutId id="2147502044" r:id="rId14667"/>
    <p:sldLayoutId id="2147501979" r:id="rId14668"/>
    <p:sldLayoutId id="2147501989" r:id="rId14669"/>
    <p:sldLayoutId id="2147501983" r:id="rId14670"/>
    <p:sldLayoutId id="2147501805" r:id="rId14671"/>
    <p:sldLayoutId id="2147501987" r:id="rId14672"/>
    <p:sldLayoutId id="2147501991" r:id="rId14673"/>
    <p:sldLayoutId id="2147501990" r:id="rId14674"/>
    <p:sldLayoutId id="2147501993" r:id="rId14675"/>
    <p:sldLayoutId id="2147501980" r:id="rId14676"/>
    <p:sldLayoutId id="2147501971" r:id="rId14677"/>
    <p:sldLayoutId id="2147501973" r:id="rId14678"/>
    <p:sldLayoutId id="2147501977" r:id="rId14679"/>
    <p:sldLayoutId id="2147501975" r:id="rId14680"/>
    <p:sldLayoutId id="2147502008" r:id="rId14681"/>
    <p:sldLayoutId id="2147501998" r:id="rId14682"/>
    <p:sldLayoutId id="2147502022" r:id="rId14683"/>
    <p:sldLayoutId id="2147501842" r:id="rId14684"/>
    <p:sldLayoutId id="2147501839" r:id="rId14685"/>
    <p:sldLayoutId id="2147501848" r:id="rId14686"/>
    <p:sldLayoutId id="2147501847" r:id="rId14687"/>
    <p:sldLayoutId id="2147501850" r:id="rId14688"/>
    <p:sldLayoutId id="2147501864" r:id="rId14689"/>
    <p:sldLayoutId id="2147501853" r:id="rId14690"/>
    <p:sldLayoutId id="2147501855" r:id="rId14691"/>
    <p:sldLayoutId id="2147501861" r:id="rId14692"/>
    <p:sldLayoutId id="2147501857" r:id="rId14693"/>
    <p:sldLayoutId id="2147502013" r:id="rId14694"/>
    <p:sldLayoutId id="2147501840" r:id="rId14695"/>
    <p:sldLayoutId id="2147502019" r:id="rId14696"/>
    <p:sldLayoutId id="2147502027" r:id="rId14697"/>
    <p:sldLayoutId id="2147502025" r:id="rId14698"/>
    <p:sldLayoutId id="2147502031" r:id="rId14699"/>
    <p:sldLayoutId id="2147501846" r:id="rId14700"/>
    <p:sldLayoutId id="2147502033" r:id="rId14701"/>
    <p:sldLayoutId id="2147502015" r:id="rId14702"/>
    <p:sldLayoutId id="2147502004" r:id="rId14703"/>
    <p:sldLayoutId id="2147502006" r:id="rId14704"/>
    <p:sldLayoutId id="2147502011" r:id="rId14705"/>
    <p:sldLayoutId id="2147502009" r:id="rId14706"/>
    <p:sldLayoutId id="2147502267" r:id="rId14707"/>
    <p:sldLayoutId id="2147502294" r:id="rId14708"/>
    <p:sldLayoutId id="2147502270" r:id="rId14709"/>
    <p:sldLayoutId id="2147502274" r:id="rId14710"/>
    <p:sldLayoutId id="2147502272" r:id="rId14711"/>
    <p:sldLayoutId id="2147502277" r:id="rId14712"/>
    <p:sldLayoutId id="2147502276" r:id="rId14713"/>
    <p:sldLayoutId id="2147502279" r:id="rId14714"/>
    <p:sldLayoutId id="2147502291" r:id="rId14715"/>
    <p:sldLayoutId id="2147502283" r:id="rId14716"/>
    <p:sldLayoutId id="2147502285" r:id="rId14717"/>
    <p:sldLayoutId id="2147502289" r:id="rId14718"/>
    <p:sldLayoutId id="2147502287" r:id="rId14719"/>
    <p:sldLayoutId id="2147502308" r:id="rId14720"/>
    <p:sldLayoutId id="2147502318" r:id="rId14721"/>
    <p:sldLayoutId id="2147502312" r:id="rId14722"/>
    <p:sldLayoutId id="2147502319" r:id="rId14723"/>
    <p:sldLayoutId id="2147502316" r:id="rId14724"/>
    <p:sldLayoutId id="2147502324" r:id="rId14725"/>
    <p:sldLayoutId id="2147502323" r:id="rId14726"/>
    <p:sldLayoutId id="2147502326" r:id="rId14727"/>
    <p:sldLayoutId id="2147502309" r:id="rId14728"/>
    <p:sldLayoutId id="2147502300" r:id="rId14729"/>
    <p:sldLayoutId id="2147502302" r:id="rId14730"/>
    <p:sldLayoutId id="2147502306" r:id="rId14731"/>
    <p:sldLayoutId id="2147502304" r:id="rId14732"/>
    <p:sldLayoutId id="2147502341" r:id="rId14733"/>
    <p:sldLayoutId id="2147502331" r:id="rId14734"/>
    <p:sldLayoutId id="2147502355" r:id="rId14735"/>
    <p:sldLayoutId id="2147502364" r:id="rId14736"/>
    <p:sldLayoutId id="2147502360" r:id="rId14737"/>
    <p:sldLayoutId id="2147502374" r:id="rId14738"/>
    <p:sldLayoutId id="2147502372" r:id="rId14739"/>
    <p:sldLayoutId id="2147502378" r:id="rId14740"/>
    <p:sldLayoutId id="2147502390" r:id="rId14741"/>
    <p:sldLayoutId id="2147502382" r:id="rId14742"/>
    <p:sldLayoutId id="2147502384" r:id="rId14743"/>
    <p:sldLayoutId id="2147502388" r:id="rId14744"/>
    <p:sldLayoutId id="2147502386" r:id="rId14745"/>
    <p:sldLayoutId id="2147502346" r:id="rId14746"/>
    <p:sldLayoutId id="2147502361" r:id="rId14747"/>
    <p:sldLayoutId id="2147502352" r:id="rId14748"/>
    <p:sldLayoutId id="2147502363" r:id="rId14749"/>
    <p:sldLayoutId id="2147502358" r:id="rId14750"/>
    <p:sldLayoutId id="2147502373" r:id="rId14751"/>
    <p:sldLayoutId id="2147502371" r:id="rId14752"/>
    <p:sldLayoutId id="2147502377" r:id="rId14753"/>
    <p:sldLayoutId id="2147502348" r:id="rId14754"/>
    <p:sldLayoutId id="2147502337" r:id="rId14755"/>
    <p:sldLayoutId id="2147502339" r:id="rId14756"/>
    <p:sldLayoutId id="2147502344" r:id="rId14757"/>
    <p:sldLayoutId id="2147502342" r:id="rId14758"/>
    <p:sldLayoutId id="2147502393" r:id="rId14759"/>
    <p:sldLayoutId id="2147502420" r:id="rId14760"/>
    <p:sldLayoutId id="2147502396" r:id="rId14761"/>
    <p:sldLayoutId id="2147502400" r:id="rId14762"/>
    <p:sldLayoutId id="2147502398" r:id="rId14763"/>
    <p:sldLayoutId id="2147502403" r:id="rId14764"/>
    <p:sldLayoutId id="2147502402" r:id="rId14765"/>
    <p:sldLayoutId id="2147502405" r:id="rId14766"/>
    <p:sldLayoutId id="2147502417" r:id="rId14767"/>
    <p:sldLayoutId id="2147502409" r:id="rId14768"/>
    <p:sldLayoutId id="2147502411" r:id="rId14769"/>
    <p:sldLayoutId id="2147502415" r:id="rId14770"/>
    <p:sldLayoutId id="2147502413" r:id="rId14771"/>
    <p:sldLayoutId id="2147502434" r:id="rId14772"/>
    <p:sldLayoutId id="2147502444" r:id="rId14773"/>
    <p:sldLayoutId id="2147502438" r:id="rId14774"/>
    <p:sldLayoutId id="2147502445" r:id="rId14775"/>
    <p:sldLayoutId id="2147502442" r:id="rId14776"/>
    <p:sldLayoutId id="2147502450" r:id="rId14777"/>
    <p:sldLayoutId id="2147502449" r:id="rId14778"/>
    <p:sldLayoutId id="2147502452" r:id="rId14779"/>
    <p:sldLayoutId id="2147502435" r:id="rId14780"/>
    <p:sldLayoutId id="2147502426" r:id="rId14781"/>
    <p:sldLayoutId id="2147502428" r:id="rId14782"/>
    <p:sldLayoutId id="2147502432" r:id="rId14783"/>
    <p:sldLayoutId id="2147502430" r:id="rId14784"/>
    <p:sldLayoutId id="2147502161" r:id="rId14785"/>
    <p:sldLayoutId id="2147502216" r:id="rId14786"/>
    <p:sldLayoutId id="2147502164" r:id="rId14787"/>
    <p:sldLayoutId id="2147502168" r:id="rId14788"/>
    <p:sldLayoutId id="2147502166" r:id="rId14789"/>
    <p:sldLayoutId id="2147502171" r:id="rId14790"/>
    <p:sldLayoutId id="2147502170" r:id="rId14791"/>
    <p:sldLayoutId id="2147502173" r:id="rId14792"/>
    <p:sldLayoutId id="2147502197" r:id="rId14793"/>
    <p:sldLayoutId id="2147502182" r:id="rId14794"/>
    <p:sldLayoutId id="2147502186" r:id="rId14795"/>
    <p:sldLayoutId id="2147502193" r:id="rId14796"/>
    <p:sldLayoutId id="2147502190" r:id="rId14797"/>
    <p:sldLayoutId id="2147502070" r:id="rId14798"/>
    <p:sldLayoutId id="2147502083" r:id="rId14799"/>
    <p:sldLayoutId id="2147502075" r:id="rId14800"/>
    <p:sldLayoutId id="2147502084" r:id="rId14801"/>
    <p:sldLayoutId id="2147502080" r:id="rId14802"/>
    <p:sldLayoutId id="2147502092" r:id="rId14803"/>
    <p:sldLayoutId id="2147502090" r:id="rId14804"/>
    <p:sldLayoutId id="2147502094" r:id="rId14805"/>
    <p:sldLayoutId id="2147502071" r:id="rId14806"/>
    <p:sldLayoutId id="2147502059" r:id="rId14807"/>
    <p:sldLayoutId id="2147502061" r:id="rId14808"/>
    <p:sldLayoutId id="2147502067" r:id="rId14809"/>
    <p:sldLayoutId id="2147502064" r:id="rId14810"/>
    <p:sldLayoutId id="2147502109" r:id="rId14811"/>
    <p:sldLayoutId id="2147502099" r:id="rId14812"/>
    <p:sldLayoutId id="2147502123" r:id="rId14813"/>
    <p:sldLayoutId id="2147502132" r:id="rId14814"/>
    <p:sldLayoutId id="2147502128" r:id="rId14815"/>
    <p:sldLayoutId id="2147502142" r:id="rId14816"/>
    <p:sldLayoutId id="2147502140" r:id="rId14817"/>
    <p:sldLayoutId id="2147502146" r:id="rId14818"/>
    <p:sldLayoutId id="2147502158" r:id="rId14819"/>
    <p:sldLayoutId id="2147502150" r:id="rId14820"/>
    <p:sldLayoutId id="2147502152" r:id="rId14821"/>
    <p:sldLayoutId id="2147502156" r:id="rId14822"/>
    <p:sldLayoutId id="2147502154" r:id="rId14823"/>
    <p:sldLayoutId id="2147502114" r:id="rId14824"/>
    <p:sldLayoutId id="2147502129" r:id="rId14825"/>
    <p:sldLayoutId id="2147502120" r:id="rId14826"/>
    <p:sldLayoutId id="2147502131" r:id="rId14827"/>
    <p:sldLayoutId id="2147502126" r:id="rId14828"/>
    <p:sldLayoutId id="2147502141" r:id="rId14829"/>
    <p:sldLayoutId id="2147502139" r:id="rId14830"/>
    <p:sldLayoutId id="2147502145" r:id="rId14831"/>
    <p:sldLayoutId id="2147502116" r:id="rId14832"/>
    <p:sldLayoutId id="2147502105" r:id="rId14833"/>
    <p:sldLayoutId id="2147502107" r:id="rId14834"/>
    <p:sldLayoutId id="2147502112" r:id="rId14835"/>
    <p:sldLayoutId id="2147502110" r:id="rId14836"/>
    <p:sldLayoutId id="2147502207" r:id="rId14837"/>
    <p:sldLayoutId id="2147502232" r:id="rId14838"/>
    <p:sldLayoutId id="2147502056" r:id="rId14839"/>
    <p:sldLayoutId id="2147502069" r:id="rId14840"/>
    <p:sldLayoutId id="2147502063" r:id="rId14841"/>
    <p:sldLayoutId id="2147502082" r:id="rId14842"/>
    <p:sldLayoutId id="2147502079" r:id="rId14843"/>
    <p:sldLayoutId id="2147502088" r:id="rId14844"/>
    <p:sldLayoutId id="2147502229" r:id="rId14845"/>
    <p:sldLayoutId id="2147502221" r:id="rId14846"/>
    <p:sldLayoutId id="2147502223" r:id="rId14847"/>
    <p:sldLayoutId id="2147502227" r:id="rId14848"/>
    <p:sldLayoutId id="2147502225" r:id="rId14849"/>
    <p:sldLayoutId id="2147502246" r:id="rId14850"/>
    <p:sldLayoutId id="2147502256" r:id="rId14851"/>
    <p:sldLayoutId id="2147502250" r:id="rId14852"/>
    <p:sldLayoutId id="2147502257" r:id="rId14853"/>
    <p:sldLayoutId id="2147502254" r:id="rId14854"/>
    <p:sldLayoutId id="2147502262" r:id="rId14855"/>
    <p:sldLayoutId id="2147502261" r:id="rId14856"/>
    <p:sldLayoutId id="2147502264" r:id="rId14857"/>
    <p:sldLayoutId id="2147502247" r:id="rId14858"/>
    <p:sldLayoutId id="2147502238" r:id="rId14859"/>
    <p:sldLayoutId id="2147502240" r:id="rId14860"/>
    <p:sldLayoutId id="2147502244" r:id="rId14861"/>
    <p:sldLayoutId id="2147502242" r:id="rId14862"/>
    <p:sldLayoutId id="2147502179" r:id="rId14863"/>
    <p:sldLayoutId id="2147502049" r:id="rId14864"/>
    <p:sldLayoutId id="2147502185" r:id="rId14865"/>
    <p:sldLayoutId id="2147502194" r:id="rId14866"/>
    <p:sldLayoutId id="2147502189" r:id="rId14867"/>
    <p:sldLayoutId id="2147502199" r:id="rId14868"/>
    <p:sldLayoutId id="2147502198" r:id="rId14869"/>
    <p:sldLayoutId id="2147502201" r:id="rId14870"/>
    <p:sldLayoutId id="2147502053" r:id="rId14871"/>
    <p:sldLayoutId id="2147502205" r:id="rId14872"/>
    <p:sldLayoutId id="2147502208" r:id="rId14873"/>
    <p:sldLayoutId id="2147502215" r:id="rId14874"/>
    <p:sldLayoutId id="2147502211" r:id="rId14875"/>
    <p:sldLayoutId id="2147502645" r:id="rId14876"/>
    <p:sldLayoutId id="2147502698" r:id="rId14877"/>
    <p:sldLayoutId id="2147502653" r:id="rId14878"/>
    <p:sldLayoutId id="2147502660" r:id="rId14879"/>
    <p:sldLayoutId id="2147502657" r:id="rId14880"/>
    <p:sldLayoutId id="2147502667" r:id="rId14881"/>
    <p:sldLayoutId id="2147502665" r:id="rId14882"/>
    <p:sldLayoutId id="2147502670" r:id="rId14883"/>
    <p:sldLayoutId id="2147502691" r:id="rId14884"/>
    <p:sldLayoutId id="2147502679" r:id="rId14885"/>
    <p:sldLayoutId id="2147502682" r:id="rId14886"/>
    <p:sldLayoutId id="2147502688" r:id="rId14887"/>
    <p:sldLayoutId id="2147502685" r:id="rId14888"/>
    <p:sldLayoutId id="2147502714" r:id="rId14889"/>
    <p:sldLayoutId id="2147502724" r:id="rId14890"/>
    <p:sldLayoutId id="2147502718" r:id="rId14891"/>
    <p:sldLayoutId id="2147502725" r:id="rId14892"/>
    <p:sldLayoutId id="2147502722" r:id="rId14893"/>
    <p:sldLayoutId id="2147502730" r:id="rId14894"/>
    <p:sldLayoutId id="2147502729" r:id="rId14895"/>
    <p:sldLayoutId id="2147502732" r:id="rId14896"/>
    <p:sldLayoutId id="2147502715" r:id="rId14897"/>
    <p:sldLayoutId id="2147502704" r:id="rId14898"/>
    <p:sldLayoutId id="2147502706" r:id="rId14899"/>
    <p:sldLayoutId id="2147502712" r:id="rId14900"/>
    <p:sldLayoutId id="2147502709" r:id="rId14901"/>
    <p:sldLayoutId id="2147502761" r:id="rId14902"/>
    <p:sldLayoutId id="2147502746" r:id="rId14903"/>
    <p:sldLayoutId id="2147502782" r:id="rId14904"/>
    <p:sldLayoutId id="2147502792" r:id="rId14905"/>
    <p:sldLayoutId id="2147502788" r:id="rId14906"/>
    <p:sldLayoutId id="2147502802" r:id="rId14907"/>
    <p:sldLayoutId id="2147502800" r:id="rId14908"/>
    <p:sldLayoutId id="2147502806" r:id="rId14909"/>
    <p:sldLayoutId id="2147502818" r:id="rId14910"/>
    <p:sldLayoutId id="2147502810" r:id="rId14911"/>
    <p:sldLayoutId id="2147502812" r:id="rId14912"/>
    <p:sldLayoutId id="2147502816" r:id="rId14913"/>
    <p:sldLayoutId id="2147502814" r:id="rId14914"/>
    <p:sldLayoutId id="2147502769" r:id="rId14915"/>
    <p:sldLayoutId id="2147502789" r:id="rId14916"/>
    <p:sldLayoutId id="2147502778" r:id="rId14917"/>
    <p:sldLayoutId id="2147502791" r:id="rId14918"/>
    <p:sldLayoutId id="2147502786" r:id="rId14919"/>
    <p:sldLayoutId id="2147502801" r:id="rId14920"/>
    <p:sldLayoutId id="2147502799" r:id="rId14921"/>
    <p:sldLayoutId id="2147502805" r:id="rId14922"/>
    <p:sldLayoutId id="2147502772" r:id="rId14923"/>
    <p:sldLayoutId id="2147502755" r:id="rId14924"/>
    <p:sldLayoutId id="2147502758" r:id="rId14925"/>
    <p:sldLayoutId id="2147502766" r:id="rId14926"/>
    <p:sldLayoutId id="2147502763" r:id="rId14927"/>
    <p:sldLayoutId id="2147502852" r:id="rId14928"/>
    <p:sldLayoutId id="2147502897" r:id="rId14929"/>
    <p:sldLayoutId id="2147502857" r:id="rId14930"/>
    <p:sldLayoutId id="2147502864" r:id="rId14931"/>
    <p:sldLayoutId id="2147502861" r:id="rId14932"/>
    <p:sldLayoutId id="2147502868" r:id="rId14933"/>
    <p:sldLayoutId id="2147502867" r:id="rId14934"/>
    <p:sldLayoutId id="2147502872" r:id="rId14935"/>
    <p:sldLayoutId id="2147502892" r:id="rId14936"/>
    <p:sldLayoutId id="2147502878" r:id="rId14937"/>
    <p:sldLayoutId id="2147502882" r:id="rId14938"/>
    <p:sldLayoutId id="2147502889" r:id="rId14939"/>
    <p:sldLayoutId id="2147502886" r:id="rId14940"/>
    <p:sldLayoutId id="2147502920" r:id="rId14941"/>
    <p:sldLayoutId id="2147502936" r:id="rId14942"/>
    <p:sldLayoutId id="2147502926" r:id="rId14943"/>
    <p:sldLayoutId id="2147502937" r:id="rId14944"/>
    <p:sldLayoutId id="2147502934" r:id="rId14945"/>
    <p:sldLayoutId id="2147502944" r:id="rId14946"/>
    <p:sldLayoutId id="2147502943" r:id="rId14947"/>
    <p:sldLayoutId id="2147502947" r:id="rId14948"/>
    <p:sldLayoutId id="2147502922" r:id="rId14949"/>
    <p:sldLayoutId id="2147502908" r:id="rId14950"/>
    <p:sldLayoutId id="2147502912" r:id="rId14951"/>
    <p:sldLayoutId id="2147502918" r:id="rId14952"/>
    <p:sldLayoutId id="2147502915" r:id="rId14953"/>
    <p:sldLayoutId id="2147503077" r:id="rId14954"/>
    <p:sldLayoutId id="2147503132" r:id="rId14955"/>
    <p:sldLayoutId id="2147503080" r:id="rId14956"/>
    <p:sldLayoutId id="2147503084" r:id="rId14957"/>
    <p:sldLayoutId id="2147503082" r:id="rId14958"/>
    <p:sldLayoutId id="2147503087" r:id="rId14959"/>
    <p:sldLayoutId id="2147503086" r:id="rId14960"/>
    <p:sldLayoutId id="2147503089" r:id="rId14961"/>
    <p:sldLayoutId id="2147503113" r:id="rId14962"/>
    <p:sldLayoutId id="2147503098" r:id="rId14963"/>
    <p:sldLayoutId id="2147503102" r:id="rId14964"/>
    <p:sldLayoutId id="2147503109" r:id="rId14965"/>
    <p:sldLayoutId id="2147503106" r:id="rId14966"/>
    <p:sldLayoutId id="2147502986" r:id="rId14967"/>
    <p:sldLayoutId id="2147502999" r:id="rId14968"/>
    <p:sldLayoutId id="2147502991" r:id="rId14969"/>
    <p:sldLayoutId id="2147503000" r:id="rId14970"/>
    <p:sldLayoutId id="2147502996" r:id="rId14971"/>
    <p:sldLayoutId id="2147503008" r:id="rId14972"/>
    <p:sldLayoutId id="2147503006" r:id="rId14973"/>
    <p:sldLayoutId id="2147503010" r:id="rId14974"/>
    <p:sldLayoutId id="2147502987" r:id="rId14975"/>
    <p:sldLayoutId id="2147502975" r:id="rId14976"/>
    <p:sldLayoutId id="2147502977" r:id="rId14977"/>
    <p:sldLayoutId id="2147502983" r:id="rId14978"/>
    <p:sldLayoutId id="2147502980" r:id="rId14979"/>
    <p:sldLayoutId id="2147503025" r:id="rId14980"/>
    <p:sldLayoutId id="2147503015" r:id="rId14981"/>
    <p:sldLayoutId id="2147503039" r:id="rId14982"/>
    <p:sldLayoutId id="2147503048" r:id="rId14983"/>
    <p:sldLayoutId id="2147503044" r:id="rId14984"/>
    <p:sldLayoutId id="2147503058" r:id="rId14985"/>
    <p:sldLayoutId id="2147503056" r:id="rId14986"/>
    <p:sldLayoutId id="2147503062" r:id="rId14987"/>
    <p:sldLayoutId id="2147503074" r:id="rId14988"/>
    <p:sldLayoutId id="2147503066" r:id="rId14989"/>
    <p:sldLayoutId id="2147503068" r:id="rId14990"/>
    <p:sldLayoutId id="2147503072" r:id="rId14991"/>
    <p:sldLayoutId id="2147503070" r:id="rId14992"/>
    <p:sldLayoutId id="2147503030" r:id="rId14993"/>
    <p:sldLayoutId id="2147503045" r:id="rId14994"/>
    <p:sldLayoutId id="2147503036" r:id="rId14995"/>
    <p:sldLayoutId id="2147503047" r:id="rId14996"/>
    <p:sldLayoutId id="2147503042" r:id="rId14997"/>
    <p:sldLayoutId id="2147503057" r:id="rId14998"/>
    <p:sldLayoutId id="2147503055" r:id="rId14999"/>
    <p:sldLayoutId id="2147503061" r:id="rId15000"/>
    <p:sldLayoutId id="2147503032" r:id="rId15001"/>
    <p:sldLayoutId id="2147503021" r:id="rId15002"/>
    <p:sldLayoutId id="2147503023" r:id="rId15003"/>
    <p:sldLayoutId id="2147503028" r:id="rId15004"/>
    <p:sldLayoutId id="2147503026" r:id="rId15005"/>
    <p:sldLayoutId id="2147503123" r:id="rId15006"/>
    <p:sldLayoutId id="2147503148" r:id="rId15007"/>
    <p:sldLayoutId id="2147502972" r:id="rId15008"/>
    <p:sldLayoutId id="2147502985" r:id="rId15009"/>
    <p:sldLayoutId id="2147502979" r:id="rId15010"/>
    <p:sldLayoutId id="2147502998" r:id="rId15011"/>
    <p:sldLayoutId id="2147502995" r:id="rId15012"/>
    <p:sldLayoutId id="2147503004" r:id="rId15013"/>
    <p:sldLayoutId id="2147503145" r:id="rId15014"/>
    <p:sldLayoutId id="2147503137" r:id="rId15015"/>
    <p:sldLayoutId id="2147503139" r:id="rId15016"/>
    <p:sldLayoutId id="2147503143" r:id="rId15017"/>
    <p:sldLayoutId id="2147503141" r:id="rId15018"/>
    <p:sldLayoutId id="2147503162" r:id="rId15019"/>
    <p:sldLayoutId id="2147503172" r:id="rId15020"/>
    <p:sldLayoutId id="2147503166" r:id="rId15021"/>
    <p:sldLayoutId id="2147503173" r:id="rId15022"/>
    <p:sldLayoutId id="2147503170" r:id="rId15023"/>
    <p:sldLayoutId id="2147502456" r:id="rId15024"/>
    <p:sldLayoutId id="2147502455" r:id="rId15025"/>
    <p:sldLayoutId id="2147502458" r:id="rId15026"/>
    <p:sldLayoutId id="2147503163" r:id="rId15027"/>
    <p:sldLayoutId id="2147503154" r:id="rId15028"/>
    <p:sldLayoutId id="2147503156" r:id="rId15029"/>
    <p:sldLayoutId id="2147503160" r:id="rId15030"/>
    <p:sldLayoutId id="2147503158" r:id="rId15031"/>
    <p:sldLayoutId id="2147503095" r:id="rId15032"/>
    <p:sldLayoutId id="2147502965" r:id="rId15033"/>
    <p:sldLayoutId id="2147503101" r:id="rId15034"/>
    <p:sldLayoutId id="2147503110" r:id="rId15035"/>
    <p:sldLayoutId id="2147503105" r:id="rId15036"/>
    <p:sldLayoutId id="2147503115" r:id="rId15037"/>
    <p:sldLayoutId id="2147503114" r:id="rId15038"/>
    <p:sldLayoutId id="2147503117" r:id="rId15039"/>
    <p:sldLayoutId id="2147502969" r:id="rId15040"/>
    <p:sldLayoutId id="2147503121" r:id="rId15041"/>
    <p:sldLayoutId id="2147503124" r:id="rId15042"/>
    <p:sldLayoutId id="2147503131" r:id="rId15043"/>
    <p:sldLayoutId id="2147503127" r:id="rId15044"/>
    <p:sldLayoutId id="2147502501" r:id="rId15045"/>
    <p:sldLayoutId id="2147502528" r:id="rId15046"/>
    <p:sldLayoutId id="2147502504" r:id="rId15047"/>
    <p:sldLayoutId id="2147502508" r:id="rId15048"/>
    <p:sldLayoutId id="2147502506" r:id="rId15049"/>
    <p:sldLayoutId id="2147502511" r:id="rId15050"/>
    <p:sldLayoutId id="2147502510" r:id="rId15051"/>
    <p:sldLayoutId id="2147502513" r:id="rId15052"/>
    <p:sldLayoutId id="2147502525" r:id="rId15053"/>
    <p:sldLayoutId id="2147502517" r:id="rId15054"/>
    <p:sldLayoutId id="2147502519" r:id="rId15055"/>
    <p:sldLayoutId id="2147502523" r:id="rId15056"/>
    <p:sldLayoutId id="2147502521" r:id="rId15057"/>
    <p:sldLayoutId id="2147502546" r:id="rId15058"/>
    <p:sldLayoutId id="2147502556" r:id="rId15059"/>
    <p:sldLayoutId id="2147502550" r:id="rId15060"/>
    <p:sldLayoutId id="2147502557" r:id="rId15061"/>
    <p:sldLayoutId id="2147502554" r:id="rId15062"/>
    <p:sldLayoutId id="2147502562" r:id="rId15063"/>
    <p:sldLayoutId id="2147502561" r:id="rId15064"/>
    <p:sldLayoutId id="2147502564" r:id="rId15065"/>
    <p:sldLayoutId id="2147502547" r:id="rId15066"/>
    <p:sldLayoutId id="2147502537" r:id="rId15067"/>
    <p:sldLayoutId id="2147502540" r:id="rId15068"/>
    <p:sldLayoutId id="2147502544" r:id="rId15069"/>
    <p:sldLayoutId id="2147502542" r:id="rId15070"/>
    <p:sldLayoutId id="2147502604" r:id="rId15071"/>
    <p:sldLayoutId id="2147502588" r:id="rId15072"/>
    <p:sldLayoutId id="2147502628" r:id="rId15073"/>
    <p:sldLayoutId id="2147502644" r:id="rId15074"/>
    <p:sldLayoutId id="2147502637" r:id="rId15075"/>
    <p:sldLayoutId id="2147502663" r:id="rId15076"/>
    <p:sldLayoutId id="2147502658" r:id="rId15077"/>
    <p:sldLayoutId id="2147502672" r:id="rId15078"/>
    <p:sldLayoutId id="2147502695" r:id="rId15079"/>
    <p:sldLayoutId id="2147502678" r:id="rId15080"/>
    <p:sldLayoutId id="2147502684" r:id="rId15081"/>
    <p:sldLayoutId id="2147502693" r:id="rId15082"/>
    <p:sldLayoutId id="2147502690" r:id="rId15083"/>
    <p:sldLayoutId id="2147502612" r:id="rId15084"/>
    <p:sldLayoutId id="2147502638" r:id="rId15085"/>
    <p:sldLayoutId id="2147502623" r:id="rId15086"/>
    <p:sldLayoutId id="2147502642" r:id="rId15087"/>
    <p:sldLayoutId id="2147502633" r:id="rId15088"/>
    <p:sldLayoutId id="2147502661" r:id="rId15089"/>
    <p:sldLayoutId id="2147502656" r:id="rId15090"/>
    <p:sldLayoutId id="2147502669" r:id="rId15091"/>
    <p:sldLayoutId id="2147502616" r:id="rId15092"/>
    <p:sldLayoutId id="2147502598" r:id="rId15093"/>
    <p:sldLayoutId id="2147502601" r:id="rId15094"/>
    <p:sldLayoutId id="2147502609" r:id="rId15095"/>
    <p:sldLayoutId id="2147502606" r:id="rId15096"/>
    <p:sldLayoutId id="2147502735" r:id="rId15097"/>
    <p:sldLayoutId id="2147502466" r:id="rId15098"/>
    <p:sldLayoutId id="2147502738" r:id="rId15099"/>
    <p:sldLayoutId id="2147502742" r:id="rId15100"/>
    <p:sldLayoutId id="2147502740" r:id="rId15101"/>
    <p:sldLayoutId id="2147502751" r:id="rId15102"/>
    <p:sldLayoutId id="2147502748" r:id="rId15103"/>
    <p:sldLayoutId id="2147502756" r:id="rId15104"/>
    <p:sldLayoutId id="2147502463" r:id="rId15105"/>
    <p:sldLayoutId id="2147502768" r:id="rId15106"/>
    <p:sldLayoutId id="2147502774" r:id="rId15107"/>
    <p:sldLayoutId id="2147502461" r:id="rId15108"/>
    <p:sldLayoutId id="2147502780" r:id="rId15109"/>
    <p:sldLayoutId id="2147502480" r:id="rId15110"/>
    <p:sldLayoutId id="2147502490" r:id="rId15111"/>
    <p:sldLayoutId id="2147502484" r:id="rId15112"/>
    <p:sldLayoutId id="2147502491" r:id="rId15113"/>
    <p:sldLayoutId id="2147502488" r:id="rId15114"/>
    <p:sldLayoutId id="2147502496" r:id="rId15115"/>
    <p:sldLayoutId id="2147502495" r:id="rId15116"/>
    <p:sldLayoutId id="2147502498" r:id="rId15117"/>
    <p:sldLayoutId id="2147502481" r:id="rId15118"/>
    <p:sldLayoutId id="2147502472" r:id="rId15119"/>
    <p:sldLayoutId id="2147502474" r:id="rId15120"/>
    <p:sldLayoutId id="2147502478" r:id="rId15121"/>
    <p:sldLayoutId id="2147502476" r:id="rId15122"/>
    <p:sldLayoutId id="2147502953" r:id="rId15123"/>
    <p:sldLayoutId id="2147502643" r:id="rId15124"/>
    <p:sldLayoutId id="2147502602" r:id="rId15125"/>
    <p:sldLayoutId id="2147502608" r:id="rId15126"/>
    <p:sldLayoutId id="2147502605" r:id="rId15127"/>
    <p:sldLayoutId id="2147502613" r:id="rId15128"/>
    <p:sldLayoutId id="2147502611" r:id="rId15129"/>
    <p:sldLayoutId id="2147502958" r:id="rId15130"/>
    <p:sldLayoutId id="2147502961" r:id="rId15131"/>
    <p:sldLayoutId id="2147502959" r:id="rId15132"/>
    <p:sldLayoutId id="2147502627" r:id="rId15133"/>
    <p:sldLayoutId id="2147502634" r:id="rId15134"/>
    <p:sldLayoutId id="2147502960" r:id="rId15135"/>
    <p:sldLayoutId id="2147502833" r:id="rId15136"/>
    <p:sldLayoutId id="2147502843" r:id="rId15137"/>
    <p:sldLayoutId id="2147502837" r:id="rId15138"/>
    <p:sldLayoutId id="2147502533" r:id="rId15139"/>
    <p:sldLayoutId id="2147502841" r:id="rId15140"/>
    <p:sldLayoutId id="2147502845" r:id="rId15141"/>
    <p:sldLayoutId id="2147502844" r:id="rId15142"/>
    <p:sldLayoutId id="2147502847" r:id="rId15143"/>
    <p:sldLayoutId id="2147502834" r:id="rId15144"/>
    <p:sldLayoutId id="2147502825" r:id="rId15145"/>
    <p:sldLayoutId id="2147502827" r:id="rId15146"/>
    <p:sldLayoutId id="2147502831" r:id="rId15147"/>
    <p:sldLayoutId id="2147502829" r:id="rId15148"/>
    <p:sldLayoutId id="2147502879" r:id="rId15149"/>
    <p:sldLayoutId id="2147502853" r:id="rId15150"/>
    <p:sldLayoutId id="2147502911" r:id="rId15151"/>
    <p:sldLayoutId id="2147502570" r:id="rId15152"/>
    <p:sldLayoutId id="2147502567" r:id="rId15153"/>
    <p:sldLayoutId id="2147502576" r:id="rId15154"/>
    <p:sldLayoutId id="2147502575" r:id="rId15155"/>
    <p:sldLayoutId id="2147502578" r:id="rId15156"/>
    <p:sldLayoutId id="2147502592" r:id="rId15157"/>
    <p:sldLayoutId id="2147502581" r:id="rId15158"/>
    <p:sldLayoutId id="2147502583" r:id="rId15159"/>
    <p:sldLayoutId id="2147502589" r:id="rId15160"/>
    <p:sldLayoutId id="2147502585" r:id="rId15161"/>
    <p:sldLayoutId id="2147502890" r:id="rId15162"/>
    <p:sldLayoutId id="2147502568" r:id="rId15163"/>
    <p:sldLayoutId id="2147502905" r:id="rId15164"/>
    <p:sldLayoutId id="2147502927" r:id="rId15165"/>
    <p:sldLayoutId id="2147502921" r:id="rId15166"/>
    <p:sldLayoutId id="2147502938" r:id="rId15167"/>
    <p:sldLayoutId id="2147502574" r:id="rId15168"/>
    <p:sldLayoutId id="2147502946" r:id="rId15169"/>
    <p:sldLayoutId id="2147502896" r:id="rId15170"/>
    <p:sldLayoutId id="2147502869" r:id="rId15171"/>
    <p:sldLayoutId id="2147502873" r:id="rId15172"/>
    <p:sldLayoutId id="2147502885" r:id="rId15173"/>
    <p:sldLayoutId id="2147502881" r:id="rId15174"/>
    <p:sldLayoutId id="2147503179" r:id="rId15175"/>
    <p:sldLayoutId id="2147500722" r:id="rId15176"/>
    <p:sldLayoutId id="2147501203" r:id="rId15177"/>
    <p:sldLayoutId id="2147501241" r:id="rId15178"/>
    <p:sldLayoutId id="2147501216" r:id="rId15179"/>
    <p:sldLayoutId id="2147501221" r:id="rId15180"/>
    <p:sldLayoutId id="2147501219" r:id="rId15181"/>
    <p:sldLayoutId id="2147501224" r:id="rId15182"/>
    <p:sldLayoutId id="2147501223" r:id="rId15183"/>
    <p:sldLayoutId id="2147501226" r:id="rId15184"/>
    <p:sldLayoutId id="2147501238" r:id="rId15185"/>
    <p:sldLayoutId id="2147501230" r:id="rId15186"/>
    <p:sldLayoutId id="2147501232" r:id="rId15187"/>
    <p:sldLayoutId id="2147501236" r:id="rId15188"/>
    <p:sldLayoutId id="2147501234" r:id="rId15189"/>
    <p:sldLayoutId id="2147501255" r:id="rId15190"/>
    <p:sldLayoutId id="2147501265" r:id="rId15191"/>
    <p:sldLayoutId id="2147501259" r:id="rId15192"/>
    <p:sldLayoutId id="2147501266" r:id="rId15193"/>
    <p:sldLayoutId id="2147501263" r:id="rId15194"/>
    <p:sldLayoutId id="2147501271" r:id="rId15195"/>
    <p:sldLayoutId id="2147501270" r:id="rId15196"/>
    <p:sldLayoutId id="2147501273" r:id="rId15197"/>
    <p:sldLayoutId id="2147501256" r:id="rId15198"/>
    <p:sldLayoutId id="2147501247" r:id="rId15199"/>
    <p:sldLayoutId id="2147501249" r:id="rId15200"/>
    <p:sldLayoutId id="2147501253" r:id="rId15201"/>
    <p:sldLayoutId id="2147501251" r:id="rId15202"/>
    <p:sldLayoutId id="2147501288" r:id="rId15203"/>
    <p:sldLayoutId id="2147501278" r:id="rId15204"/>
    <p:sldLayoutId id="2147501302" r:id="rId15205"/>
    <p:sldLayoutId id="2147501311" r:id="rId15206"/>
    <p:sldLayoutId id="2147501307" r:id="rId15207"/>
    <p:sldLayoutId id="2147501321" r:id="rId15208"/>
    <p:sldLayoutId id="2147501319" r:id="rId15209"/>
    <p:sldLayoutId id="2147499469" r:id="rId15210"/>
    <p:sldLayoutId id="2147499481" r:id="rId15211"/>
    <p:sldLayoutId id="2147499473" r:id="rId15212"/>
    <p:sldLayoutId id="2147499475" r:id="rId15213"/>
    <p:sldLayoutId id="2147499479" r:id="rId15214"/>
    <p:sldLayoutId id="2147499477" r:id="rId15215"/>
    <p:sldLayoutId id="2147501293" r:id="rId15216"/>
    <p:sldLayoutId id="2147501308" r:id="rId15217"/>
    <p:sldLayoutId id="2147501299" r:id="rId15218"/>
    <p:sldLayoutId id="2147501310" r:id="rId15219"/>
    <p:sldLayoutId id="2147501305" r:id="rId15220"/>
    <p:sldLayoutId id="2147501320" r:id="rId15221"/>
    <p:sldLayoutId id="2147501318" r:id="rId15222"/>
    <p:sldLayoutId id="2147499468" r:id="rId15223"/>
    <p:sldLayoutId id="2147501295" r:id="rId15224"/>
    <p:sldLayoutId id="2147501284" r:id="rId15225"/>
    <p:sldLayoutId id="2147501286" r:id="rId15226"/>
    <p:sldLayoutId id="2147501291" r:id="rId15227"/>
    <p:sldLayoutId id="2147501289" r:id="rId15228"/>
    <p:sldLayoutId id="2147499484" r:id="rId15229"/>
    <p:sldLayoutId id="2147499511" r:id="rId15230"/>
    <p:sldLayoutId id="2147499487" r:id="rId15231"/>
    <p:sldLayoutId id="2147499491" r:id="rId15232"/>
    <p:sldLayoutId id="2147499489" r:id="rId15233"/>
    <p:sldLayoutId id="2147499494" r:id="rId15234"/>
    <p:sldLayoutId id="2147499493" r:id="rId15235"/>
    <p:sldLayoutId id="2147499496" r:id="rId15236"/>
    <p:sldLayoutId id="2147499508" r:id="rId15237"/>
    <p:sldLayoutId id="2147499500" r:id="rId15238"/>
    <p:sldLayoutId id="2147499502" r:id="rId15239"/>
    <p:sldLayoutId id="2147499506" r:id="rId15240"/>
    <p:sldLayoutId id="2147499504" r:id="rId15241"/>
    <p:sldLayoutId id="2147499525" r:id="rId15242"/>
    <p:sldLayoutId id="2147499535" r:id="rId15243"/>
    <p:sldLayoutId id="2147499529" r:id="rId15244"/>
    <p:sldLayoutId id="2147499536" r:id="rId15245"/>
    <p:sldLayoutId id="2147499533" r:id="rId15246"/>
    <p:sldLayoutId id="2147499541" r:id="rId15247"/>
    <p:sldLayoutId id="2147499540" r:id="rId15248"/>
    <p:sldLayoutId id="2147499543" r:id="rId15249"/>
    <p:sldLayoutId id="2147499526" r:id="rId15250"/>
    <p:sldLayoutId id="2147499517" r:id="rId15251"/>
    <p:sldLayoutId id="2147499519" r:id="rId15252"/>
    <p:sldLayoutId id="2147499523" r:id="rId15253"/>
    <p:sldLayoutId id="2147499521" r:id="rId15254"/>
    <p:sldLayoutId id="2147499814" r:id="rId15255"/>
    <p:sldLayoutId id="2147499924" r:id="rId15256"/>
    <p:sldLayoutId id="2147499820" r:id="rId15257"/>
    <p:sldLayoutId id="2147499828" r:id="rId15258"/>
    <p:sldLayoutId id="2147499824" r:id="rId15259"/>
    <p:sldLayoutId id="2147499834" r:id="rId15260"/>
    <p:sldLayoutId id="2147499832" r:id="rId15261"/>
    <p:sldLayoutId id="2147499838" r:id="rId15262"/>
    <p:sldLayoutId id="2147499886" r:id="rId15263"/>
    <p:sldLayoutId id="2147499856" r:id="rId15264"/>
    <p:sldLayoutId id="2147499864" r:id="rId15265"/>
    <p:sldLayoutId id="2147499878" r:id="rId15266"/>
    <p:sldLayoutId id="2147499872" r:id="rId15267"/>
    <p:sldLayoutId id="2147499621" r:id="rId15268"/>
    <p:sldLayoutId id="2147499654" r:id="rId15269"/>
    <p:sldLayoutId id="2147499634" r:id="rId15270"/>
    <p:sldLayoutId id="2147499657" r:id="rId15271"/>
    <p:sldLayoutId id="2147499647" r:id="rId15272"/>
    <p:sldLayoutId id="2147499675" r:id="rId15273"/>
    <p:sldLayoutId id="2147499671" r:id="rId15274"/>
    <p:sldLayoutId id="2147499680" r:id="rId15275"/>
    <p:sldLayoutId id="2147499624" r:id="rId15276"/>
    <p:sldLayoutId id="2147499594" r:id="rId15277"/>
    <p:sldLayoutId id="2147499600" r:id="rId15278"/>
    <p:sldLayoutId id="2147499614" r:id="rId15279"/>
    <p:sldLayoutId id="2147499607" r:id="rId15280"/>
    <p:sldLayoutId id="2147499710" r:id="rId15281"/>
    <p:sldLayoutId id="2147499690" r:id="rId15282"/>
    <p:sldLayoutId id="2147499738" r:id="rId15283"/>
    <p:sldLayoutId id="2147499756" r:id="rId15284"/>
    <p:sldLayoutId id="2147499748" r:id="rId15285"/>
    <p:sldLayoutId id="2147499776" r:id="rId15286"/>
    <p:sldLayoutId id="2147499772" r:id="rId15287"/>
    <p:sldLayoutId id="2147499784" r:id="rId15288"/>
    <p:sldLayoutId id="2147499808" r:id="rId15289"/>
    <p:sldLayoutId id="2147499792" r:id="rId15290"/>
    <p:sldLayoutId id="2147499796" r:id="rId15291"/>
    <p:sldLayoutId id="2147499804" r:id="rId15292"/>
    <p:sldLayoutId id="2147499800" r:id="rId15293"/>
    <p:sldLayoutId id="2147499720" r:id="rId15294"/>
    <p:sldLayoutId id="2147499750" r:id="rId15295"/>
    <p:sldLayoutId id="2147499732" r:id="rId15296"/>
    <p:sldLayoutId id="2147499754" r:id="rId15297"/>
    <p:sldLayoutId id="2147499744" r:id="rId15298"/>
    <p:sldLayoutId id="2147499774" r:id="rId15299"/>
    <p:sldLayoutId id="2147499770" r:id="rId15300"/>
    <p:sldLayoutId id="2147499782" r:id="rId15301"/>
    <p:sldLayoutId id="2147499724" r:id="rId15302"/>
    <p:sldLayoutId id="2147499702" r:id="rId15303"/>
    <p:sldLayoutId id="2147499706" r:id="rId15304"/>
    <p:sldLayoutId id="2147499716" r:id="rId15305"/>
    <p:sldLayoutId id="2147499712" r:id="rId15306"/>
    <p:sldLayoutId id="2147499906" r:id="rId15307"/>
    <p:sldLayoutId id="2147499994" r:id="rId15308"/>
    <p:sldLayoutId id="2147499587" r:id="rId15309"/>
    <p:sldLayoutId id="2147499619" r:id="rId15310"/>
    <p:sldLayoutId id="2147499605" r:id="rId15311"/>
    <p:sldLayoutId id="2147499652" r:id="rId15312"/>
    <p:sldLayoutId id="2147499645" r:id="rId15313"/>
    <p:sldLayoutId id="2147499666" r:id="rId15314"/>
    <p:sldLayoutId id="2147499985" r:id="rId15315"/>
    <p:sldLayoutId id="2147499953" r:id="rId15316"/>
    <p:sldLayoutId id="2147499963" r:id="rId15317"/>
    <p:sldLayoutId id="2147499979" r:id="rId15318"/>
    <p:sldLayoutId id="2147499973" r:id="rId15319"/>
    <p:sldLayoutId id="2147500033" r:id="rId15320"/>
    <p:sldLayoutId id="2147500053" r:id="rId15321"/>
    <p:sldLayoutId id="2147500041" r:id="rId15322"/>
    <p:sldLayoutId id="2147500055" r:id="rId15323"/>
    <p:sldLayoutId id="2147500049" r:id="rId15324"/>
    <p:sldLayoutId id="2147500065" r:id="rId15325"/>
    <p:sldLayoutId id="2147500063" r:id="rId15326"/>
    <p:sldLayoutId id="2147500069" r:id="rId15327"/>
    <p:sldLayoutId id="2147500035" r:id="rId15328"/>
    <p:sldLayoutId id="2147500012" r:id="rId15329"/>
    <p:sldLayoutId id="2147500018" r:id="rId15330"/>
    <p:sldLayoutId id="2147500029" r:id="rId15331"/>
    <p:sldLayoutId id="2147500024" r:id="rId15332"/>
    <p:sldLayoutId id="2147499850" r:id="rId15333"/>
    <p:sldLayoutId id="2147499548" r:id="rId15334"/>
    <p:sldLayoutId id="2147499862" r:id="rId15335"/>
    <p:sldLayoutId id="2147499880" r:id="rId15336"/>
    <p:sldLayoutId id="2147499870" r:id="rId15337"/>
    <p:sldLayoutId id="2147499890" r:id="rId15338"/>
    <p:sldLayoutId id="2147499888" r:id="rId15339"/>
    <p:sldLayoutId id="2147499894" r:id="rId15340"/>
    <p:sldLayoutId id="2147499578" r:id="rId15341"/>
    <p:sldLayoutId id="2147499902" r:id="rId15342"/>
    <p:sldLayoutId id="2147499908" r:id="rId15343"/>
    <p:sldLayoutId id="2147499922" r:id="rId15344"/>
    <p:sldLayoutId id="2147499914" r:id="rId15345"/>
    <p:sldLayoutId id="2147500262" r:id="rId15346"/>
    <p:sldLayoutId id="2147500316" r:id="rId15347"/>
    <p:sldLayoutId id="2147500268" r:id="rId15348"/>
    <p:sldLayoutId id="2147500276" r:id="rId15349"/>
    <p:sldLayoutId id="2147500272" r:id="rId15350"/>
    <p:sldLayoutId id="2147500282" r:id="rId15351"/>
    <p:sldLayoutId id="2147500280" r:id="rId15352"/>
    <p:sldLayoutId id="2147500286" r:id="rId15353"/>
    <p:sldLayoutId id="2147500310" r:id="rId15354"/>
    <p:sldLayoutId id="2147500294" r:id="rId15355"/>
    <p:sldLayoutId id="2147500298" r:id="rId15356"/>
    <p:sldLayoutId id="2147500306" r:id="rId15357"/>
    <p:sldLayoutId id="2147500302" r:id="rId15358"/>
    <p:sldLayoutId id="2147500352" r:id="rId15359"/>
    <p:sldLayoutId id="2147500372" r:id="rId15360"/>
    <p:sldLayoutId id="2147500360" r:id="rId15361"/>
    <p:sldLayoutId id="2147500374" r:id="rId15362"/>
    <p:sldLayoutId id="2147500368" r:id="rId15363"/>
    <p:sldLayoutId id="2147500384" r:id="rId15364"/>
    <p:sldLayoutId id="2147500382" r:id="rId15365"/>
    <p:sldLayoutId id="2147500388" r:id="rId15366"/>
    <p:sldLayoutId id="2147500354" r:id="rId15367"/>
    <p:sldLayoutId id="2147500334" r:id="rId15368"/>
    <p:sldLayoutId id="2147500340" r:id="rId15369"/>
    <p:sldLayoutId id="2147500348" r:id="rId15370"/>
    <p:sldLayoutId id="2147500344" r:id="rId15371"/>
    <p:sldLayoutId id="2147500468" r:id="rId15372"/>
    <p:sldLayoutId id="2147500436" r:id="rId15373"/>
    <p:sldLayoutId id="2147500516" r:id="rId15374"/>
    <p:sldLayoutId id="2147500548" r:id="rId15375"/>
    <p:sldLayoutId id="2147500534" r:id="rId15376"/>
    <p:sldLayoutId id="2147500577" r:id="rId15377"/>
    <p:sldLayoutId id="2147500571" r:id="rId15378"/>
    <p:sldLayoutId id="2147500589" r:id="rId15379"/>
    <p:sldLayoutId id="2147500625" r:id="rId15380"/>
    <p:sldLayoutId id="2147500601" r:id="rId15381"/>
    <p:sldLayoutId id="2147500607" r:id="rId15382"/>
    <p:sldLayoutId id="2147500619" r:id="rId15383"/>
    <p:sldLayoutId id="2147500613" r:id="rId15384"/>
    <p:sldLayoutId id="2147500484" r:id="rId15385"/>
    <p:sldLayoutId id="2147500536" r:id="rId15386"/>
    <p:sldLayoutId id="2147500506" r:id="rId15387"/>
    <p:sldLayoutId id="2147500544" r:id="rId15388"/>
    <p:sldLayoutId id="2147500526" r:id="rId15389"/>
    <p:sldLayoutId id="2147500574" r:id="rId15390"/>
    <p:sldLayoutId id="2147500568" r:id="rId15391"/>
    <p:sldLayoutId id="2147500586" r:id="rId15392"/>
    <p:sldLayoutId id="2147500492" r:id="rId15393"/>
    <p:sldLayoutId id="2147500456" r:id="rId15394"/>
    <p:sldLayoutId id="2147500462" r:id="rId15395"/>
    <p:sldLayoutId id="2147500478" r:id="rId15396"/>
    <p:sldLayoutId id="2147500472" r:id="rId15397"/>
    <p:sldLayoutId id="2147500693" r:id="rId15398"/>
    <p:sldLayoutId id="2147500181" r:id="rId15399"/>
    <p:sldLayoutId id="2147500702" r:id="rId15400"/>
    <p:sldLayoutId id="2147500707" r:id="rId15401"/>
    <p:sldLayoutId id="2147500705" r:id="rId15402"/>
    <p:sldLayoutId id="2147500710" r:id="rId15403"/>
    <p:sldLayoutId id="2147500709" r:id="rId15404"/>
    <p:sldLayoutId id="2147500712" r:id="rId15405"/>
    <p:sldLayoutId id="2147500172" r:id="rId15406"/>
    <p:sldLayoutId id="2147500716" r:id="rId15407"/>
    <p:sldLayoutId id="2147500718" r:id="rId15408"/>
    <p:sldLayoutId id="2147500166" r:id="rId15409"/>
    <p:sldLayoutId id="2147500720" r:id="rId15410"/>
    <p:sldLayoutId id="2147500220" r:id="rId15411"/>
    <p:sldLayoutId id="2147500240" r:id="rId15412"/>
    <p:sldLayoutId id="2147500228" r:id="rId15413"/>
    <p:sldLayoutId id="2147500242" r:id="rId15414"/>
    <p:sldLayoutId id="2147500236" r:id="rId15415"/>
    <p:sldLayoutId id="2147500252" r:id="rId15416"/>
    <p:sldLayoutId id="2147500250" r:id="rId15417"/>
    <p:sldLayoutId id="2147500256" r:id="rId15418"/>
    <p:sldLayoutId id="2147500222" r:id="rId15419"/>
    <p:sldLayoutId id="2147500199" r:id="rId15420"/>
    <p:sldLayoutId id="2147500205" r:id="rId15421"/>
    <p:sldLayoutId id="2147500217" r:id="rId15422"/>
    <p:sldLayoutId id="2147500211" r:id="rId15423"/>
    <p:sldLayoutId id="2147500796" r:id="rId15424"/>
    <p:sldLayoutId id="2147500546" r:id="rId15425"/>
    <p:sldLayoutId id="2147500464" r:id="rId15426"/>
    <p:sldLayoutId id="2147500476" r:id="rId15427"/>
    <p:sldLayoutId id="2147500470" r:id="rId15428"/>
    <p:sldLayoutId id="2147500486" r:id="rId15429"/>
    <p:sldLayoutId id="2147500482" r:id="rId15430"/>
    <p:sldLayoutId id="2147500801" r:id="rId15431"/>
    <p:sldLayoutId id="2147500804" r:id="rId15432"/>
    <p:sldLayoutId id="2147500802" r:id="rId15433"/>
    <p:sldLayoutId id="2147500514" r:id="rId15434"/>
    <p:sldLayoutId id="2147500528" r:id="rId15435"/>
    <p:sldLayoutId id="2147500803" r:id="rId15436"/>
    <p:sldLayoutId id="2147500738" r:id="rId15437"/>
    <p:sldLayoutId id="2147500748" r:id="rId15438"/>
    <p:sldLayoutId id="2147500742" r:id="rId15439"/>
    <p:sldLayoutId id="2147500326" r:id="rId15440"/>
    <p:sldLayoutId id="2147500746" r:id="rId15441"/>
    <p:sldLayoutId id="2147500750" r:id="rId15442"/>
    <p:sldLayoutId id="2147500749" r:id="rId15443"/>
    <p:sldLayoutId id="2147500752" r:id="rId15444"/>
    <p:sldLayoutId id="2147500739" r:id="rId15445"/>
    <p:sldLayoutId id="2147500730" r:id="rId15446"/>
    <p:sldLayoutId id="2147500732" r:id="rId15447"/>
    <p:sldLayoutId id="2147500736" r:id="rId15448"/>
    <p:sldLayoutId id="2147500734" r:id="rId15449"/>
    <p:sldLayoutId id="2147500767" r:id="rId15450"/>
    <p:sldLayoutId id="2147500757" r:id="rId15451"/>
    <p:sldLayoutId id="2147500781" r:id="rId15452"/>
    <p:sldLayoutId id="2147500400" r:id="rId15453"/>
    <p:sldLayoutId id="2147500394" r:id="rId15454"/>
    <p:sldLayoutId id="2147500412" r:id="rId15455"/>
    <p:sldLayoutId id="2147500410" r:id="rId15456"/>
    <p:sldLayoutId id="2147500416" r:id="rId15457"/>
    <p:sldLayoutId id="2147500444" r:id="rId15458"/>
    <p:sldLayoutId id="2147500422" r:id="rId15459"/>
    <p:sldLayoutId id="2147500426" r:id="rId15460"/>
    <p:sldLayoutId id="2147500438" r:id="rId15461"/>
    <p:sldLayoutId id="2147500430" r:id="rId15462"/>
    <p:sldLayoutId id="2147500772" r:id="rId15463"/>
    <p:sldLayoutId id="2147500396" r:id="rId15464"/>
    <p:sldLayoutId id="2147500778" r:id="rId15465"/>
    <p:sldLayoutId id="2147500786" r:id="rId15466"/>
    <p:sldLayoutId id="2147500784" r:id="rId15467"/>
    <p:sldLayoutId id="2147500790" r:id="rId15468"/>
    <p:sldLayoutId id="2147500408" r:id="rId15469"/>
    <p:sldLayoutId id="2147500792" r:id="rId15470"/>
    <p:sldLayoutId id="2147500774" r:id="rId15471"/>
    <p:sldLayoutId id="2147500763" r:id="rId15472"/>
    <p:sldLayoutId id="2147500765" r:id="rId15473"/>
    <p:sldLayoutId id="2147500770" r:id="rId15474"/>
    <p:sldLayoutId id="2147500768" r:id="rId15475"/>
    <p:sldLayoutId id="2147501026" r:id="rId15476"/>
    <p:sldLayoutId id="2147501053" r:id="rId15477"/>
    <p:sldLayoutId id="2147501029" r:id="rId15478"/>
    <p:sldLayoutId id="2147501033" r:id="rId15479"/>
    <p:sldLayoutId id="2147501031" r:id="rId15480"/>
    <p:sldLayoutId id="2147501036" r:id="rId15481"/>
    <p:sldLayoutId id="2147501035" r:id="rId15482"/>
    <p:sldLayoutId id="2147501038" r:id="rId15483"/>
    <p:sldLayoutId id="2147501050" r:id="rId15484"/>
    <p:sldLayoutId id="2147501042" r:id="rId15485"/>
    <p:sldLayoutId id="2147501044" r:id="rId15486"/>
    <p:sldLayoutId id="2147501048" r:id="rId15487"/>
    <p:sldLayoutId id="2147501046" r:id="rId15488"/>
    <p:sldLayoutId id="2147501067" r:id="rId15489"/>
    <p:sldLayoutId id="2147501077" r:id="rId15490"/>
    <p:sldLayoutId id="2147501071" r:id="rId15491"/>
    <p:sldLayoutId id="2147501078" r:id="rId15492"/>
    <p:sldLayoutId id="2147501075" r:id="rId15493"/>
    <p:sldLayoutId id="2147501083" r:id="rId15494"/>
    <p:sldLayoutId id="2147501082" r:id="rId15495"/>
    <p:sldLayoutId id="2147501085" r:id="rId15496"/>
    <p:sldLayoutId id="2147501068" r:id="rId15497"/>
    <p:sldLayoutId id="2147501059" r:id="rId15498"/>
    <p:sldLayoutId id="2147501061" r:id="rId15499"/>
    <p:sldLayoutId id="2147501065" r:id="rId15500"/>
    <p:sldLayoutId id="2147501063" r:id="rId15501"/>
    <p:sldLayoutId id="2147501100" r:id="rId15502"/>
    <p:sldLayoutId id="2147501090" r:id="rId15503"/>
    <p:sldLayoutId id="2147501114" r:id="rId15504"/>
    <p:sldLayoutId id="2147501123" r:id="rId15505"/>
    <p:sldLayoutId id="2147501119" r:id="rId15506"/>
    <p:sldLayoutId id="2147501133" r:id="rId15507"/>
    <p:sldLayoutId id="2147501131" r:id="rId15508"/>
    <p:sldLayoutId id="2147501137" r:id="rId15509"/>
    <p:sldLayoutId id="2147501149" r:id="rId15510"/>
    <p:sldLayoutId id="2147501141" r:id="rId15511"/>
    <p:sldLayoutId id="2147501143" r:id="rId15512"/>
    <p:sldLayoutId id="2147501147" r:id="rId15513"/>
    <p:sldLayoutId id="2147501145" r:id="rId15514"/>
    <p:sldLayoutId id="2147501105" r:id="rId15515"/>
    <p:sldLayoutId id="2147501120" r:id="rId15516"/>
    <p:sldLayoutId id="2147501111" r:id="rId15517"/>
    <p:sldLayoutId id="2147501122" r:id="rId15518"/>
    <p:sldLayoutId id="2147501117" r:id="rId15519"/>
    <p:sldLayoutId id="2147501132" r:id="rId15520"/>
    <p:sldLayoutId id="2147501130" r:id="rId15521"/>
    <p:sldLayoutId id="2147501136" r:id="rId15522"/>
    <p:sldLayoutId id="2147501107" r:id="rId15523"/>
    <p:sldLayoutId id="2147501096" r:id="rId15524"/>
    <p:sldLayoutId id="2147501098" r:id="rId15525"/>
    <p:sldLayoutId id="2147501103" r:id="rId15526"/>
    <p:sldLayoutId id="2147501101" r:id="rId15527"/>
    <p:sldLayoutId id="2147501152" r:id="rId15528"/>
    <p:sldLayoutId id="2147501179" r:id="rId15529"/>
    <p:sldLayoutId id="2147501155" r:id="rId15530"/>
    <p:sldLayoutId id="2147501159" r:id="rId15531"/>
    <p:sldLayoutId id="2147501157" r:id="rId15532"/>
    <p:sldLayoutId id="2147501162" r:id="rId15533"/>
    <p:sldLayoutId id="2147501161" r:id="rId15534"/>
    <p:sldLayoutId id="2147501164" r:id="rId15535"/>
    <p:sldLayoutId id="2147501176" r:id="rId15536"/>
    <p:sldLayoutId id="2147501168" r:id="rId15537"/>
    <p:sldLayoutId id="2147501170" r:id="rId15538"/>
    <p:sldLayoutId id="2147501174" r:id="rId15539"/>
    <p:sldLayoutId id="2147501172" r:id="rId15540"/>
    <p:sldLayoutId id="2147501193" r:id="rId15541"/>
    <p:sldLayoutId id="2147501204" r:id="rId15542"/>
    <p:sldLayoutId id="2147501197" r:id="rId15543"/>
    <p:sldLayoutId id="2147501205" r:id="rId15544"/>
    <p:sldLayoutId id="2147501201" r:id="rId15545"/>
    <p:sldLayoutId id="2147501212" r:id="rId15546"/>
    <p:sldLayoutId id="2147501210" r:id="rId15547"/>
    <p:sldLayoutId id="2147501214" r:id="rId15548"/>
    <p:sldLayoutId id="2147501194" r:id="rId15549"/>
    <p:sldLayoutId id="2147501185" r:id="rId15550"/>
    <p:sldLayoutId id="2147501187" r:id="rId15551"/>
    <p:sldLayoutId id="2147501191" r:id="rId15552"/>
    <p:sldLayoutId id="2147501189" r:id="rId15553"/>
    <p:sldLayoutId id="2147500920" r:id="rId15554"/>
    <p:sldLayoutId id="2147500975" r:id="rId15555"/>
    <p:sldLayoutId id="2147500923" r:id="rId15556"/>
    <p:sldLayoutId id="2147500927" r:id="rId15557"/>
    <p:sldLayoutId id="2147500925" r:id="rId15558"/>
    <p:sldLayoutId id="2147500930" r:id="rId15559"/>
    <p:sldLayoutId id="2147500929" r:id="rId15560"/>
    <p:sldLayoutId id="2147500932" r:id="rId15561"/>
    <p:sldLayoutId id="2147500956" r:id="rId15562"/>
    <p:sldLayoutId id="2147500941" r:id="rId15563"/>
    <p:sldLayoutId id="2147500945" r:id="rId15564"/>
    <p:sldLayoutId id="2147500952" r:id="rId15565"/>
    <p:sldLayoutId id="2147500949" r:id="rId15566"/>
    <p:sldLayoutId id="2147500829" r:id="rId15567"/>
    <p:sldLayoutId id="2147500842" r:id="rId15568"/>
    <p:sldLayoutId id="2147500834" r:id="rId15569"/>
    <p:sldLayoutId id="2147500843" r:id="rId15570"/>
    <p:sldLayoutId id="2147500839" r:id="rId15571"/>
    <p:sldLayoutId id="2147500851" r:id="rId15572"/>
    <p:sldLayoutId id="2147500849" r:id="rId15573"/>
    <p:sldLayoutId id="2147500853" r:id="rId15574"/>
    <p:sldLayoutId id="2147500830" r:id="rId15575"/>
    <p:sldLayoutId id="2147500818" r:id="rId15576"/>
    <p:sldLayoutId id="2147500820" r:id="rId15577"/>
    <p:sldLayoutId id="2147500826" r:id="rId15578"/>
    <p:sldLayoutId id="2147500823" r:id="rId15579"/>
    <p:sldLayoutId id="2147500868" r:id="rId15580"/>
    <p:sldLayoutId id="2147500858" r:id="rId15581"/>
    <p:sldLayoutId id="2147500882" r:id="rId15582"/>
    <p:sldLayoutId id="2147500891" r:id="rId15583"/>
    <p:sldLayoutId id="2147500887" r:id="rId15584"/>
    <p:sldLayoutId id="2147500901" r:id="rId15585"/>
    <p:sldLayoutId id="2147500899" r:id="rId15586"/>
    <p:sldLayoutId id="2147500905" r:id="rId15587"/>
    <p:sldLayoutId id="2147500917" r:id="rId15588"/>
    <p:sldLayoutId id="2147500909" r:id="rId15589"/>
    <p:sldLayoutId id="2147500911" r:id="rId15590"/>
    <p:sldLayoutId id="2147500915" r:id="rId15591"/>
    <p:sldLayoutId id="2147500913" r:id="rId15592"/>
    <p:sldLayoutId id="2147500873" r:id="rId15593"/>
    <p:sldLayoutId id="2147500888" r:id="rId15594"/>
    <p:sldLayoutId id="2147500879" r:id="rId15595"/>
    <p:sldLayoutId id="2147500890" r:id="rId15596"/>
    <p:sldLayoutId id="2147500885" r:id="rId15597"/>
    <p:sldLayoutId id="2147500900" r:id="rId15598"/>
    <p:sldLayoutId id="2147500898" r:id="rId15599"/>
    <p:sldLayoutId id="2147500904" r:id="rId15600"/>
    <p:sldLayoutId id="2147500875" r:id="rId15601"/>
    <p:sldLayoutId id="2147500864" r:id="rId15602"/>
    <p:sldLayoutId id="2147500866" r:id="rId15603"/>
    <p:sldLayoutId id="2147500871" r:id="rId15604"/>
    <p:sldLayoutId id="2147500869" r:id="rId15605"/>
    <p:sldLayoutId id="2147500966" r:id="rId15606"/>
    <p:sldLayoutId id="2147500991" r:id="rId15607"/>
    <p:sldLayoutId id="2147500815" r:id="rId15608"/>
    <p:sldLayoutId id="2147500828" r:id="rId15609"/>
    <p:sldLayoutId id="2147500822" r:id="rId15610"/>
    <p:sldLayoutId id="2147500841" r:id="rId15611"/>
    <p:sldLayoutId id="2147500838" r:id="rId15612"/>
    <p:sldLayoutId id="2147500847" r:id="rId15613"/>
    <p:sldLayoutId id="2147500988" r:id="rId15614"/>
    <p:sldLayoutId id="2147500980" r:id="rId15615"/>
    <p:sldLayoutId id="2147500982" r:id="rId15616"/>
    <p:sldLayoutId id="2147500986" r:id="rId15617"/>
    <p:sldLayoutId id="2147500984" r:id="rId15618"/>
    <p:sldLayoutId id="2147501005" r:id="rId15619"/>
    <p:sldLayoutId id="2147501015" r:id="rId15620"/>
    <p:sldLayoutId id="2147501009" r:id="rId15621"/>
    <p:sldLayoutId id="2147501016" r:id="rId15622"/>
    <p:sldLayoutId id="2147501013" r:id="rId15623"/>
    <p:sldLayoutId id="2147501021" r:id="rId15624"/>
    <p:sldLayoutId id="2147501020" r:id="rId15625"/>
    <p:sldLayoutId id="2147501023" r:id="rId15626"/>
    <p:sldLayoutId id="2147501006" r:id="rId15627"/>
    <p:sldLayoutId id="2147500997" r:id="rId15628"/>
    <p:sldLayoutId id="2147500999" r:id="rId15629"/>
    <p:sldLayoutId id="2147501003" r:id="rId15630"/>
    <p:sldLayoutId id="2147501001" r:id="rId15631"/>
    <p:sldLayoutId id="2147500938" r:id="rId15632"/>
    <p:sldLayoutId id="2147500808" r:id="rId15633"/>
    <p:sldLayoutId id="2147500944" r:id="rId15634"/>
    <p:sldLayoutId id="2147500953" r:id="rId15635"/>
    <p:sldLayoutId id="2147500948" r:id="rId15636"/>
    <p:sldLayoutId id="2147500958" r:id="rId15637"/>
    <p:sldLayoutId id="2147500957" r:id="rId15638"/>
    <p:sldLayoutId id="2147500960" r:id="rId15639"/>
    <p:sldLayoutId id="2147500812" r:id="rId15640"/>
    <p:sldLayoutId id="2147500964" r:id="rId15641"/>
    <p:sldLayoutId id="2147500967" r:id="rId15642"/>
    <p:sldLayoutId id="2147500974" r:id="rId15643"/>
    <p:sldLayoutId id="2147500970" r:id="rId15644"/>
    <p:sldLayoutId id="2147499887" r:id="rId15645"/>
    <p:sldLayoutId id="2147499966" r:id="rId15646"/>
    <p:sldLayoutId id="2147499903" r:id="rId15647"/>
    <p:sldLayoutId id="2147499917" r:id="rId15648"/>
    <p:sldLayoutId id="2147499911" r:id="rId15649"/>
    <p:sldLayoutId id="2147499930" r:id="rId15650"/>
    <p:sldLayoutId id="2147499927" r:id="rId15651"/>
    <p:sldLayoutId id="2147499934" r:id="rId15652"/>
    <p:sldLayoutId id="2147499957" r:id="rId15653"/>
    <p:sldLayoutId id="2147499943" r:id="rId15654"/>
    <p:sldLayoutId id="2147499946" r:id="rId15655"/>
    <p:sldLayoutId id="2147499954" r:id="rId15656"/>
    <p:sldLayoutId id="2147499950" r:id="rId15657"/>
    <p:sldLayoutId id="2147499989" r:id="rId15658"/>
    <p:sldLayoutId id="2147500004" r:id="rId15659"/>
    <p:sldLayoutId id="2147499995" r:id="rId15660"/>
    <p:sldLayoutId id="2147500005" r:id="rId15661"/>
    <p:sldLayoutId id="2147500001" r:id="rId15662"/>
    <p:sldLayoutId id="2147500013" r:id="rId15663"/>
    <p:sldLayoutId id="2147500011" r:id="rId15664"/>
    <p:sldLayoutId id="2147500016" r:id="rId15665"/>
    <p:sldLayoutId id="2147499990" r:id="rId15666"/>
    <p:sldLayoutId id="2147499974" r:id="rId15667"/>
    <p:sldLayoutId id="2147499977" r:id="rId15668"/>
    <p:sldLayoutId id="2147499986" r:id="rId15669"/>
    <p:sldLayoutId id="2147499981" r:id="rId15670"/>
    <p:sldLayoutId id="2147500070" r:id="rId15671"/>
    <p:sldLayoutId id="2147500040" r:id="rId15672"/>
    <p:sldLayoutId id="2147500093" r:id="rId15673"/>
    <p:sldLayoutId id="2147500103" r:id="rId15674"/>
    <p:sldLayoutId id="2147500099" r:id="rId15675"/>
    <p:sldLayoutId id="2147500113" r:id="rId15676"/>
    <p:sldLayoutId id="2147500111" r:id="rId15677"/>
    <p:sldLayoutId id="2147500117" r:id="rId15678"/>
    <p:sldLayoutId id="2147500129" r:id="rId15679"/>
    <p:sldLayoutId id="2147500121" r:id="rId15680"/>
    <p:sldLayoutId id="2147500123" r:id="rId15681"/>
    <p:sldLayoutId id="2147500127" r:id="rId15682"/>
    <p:sldLayoutId id="2147500125" r:id="rId15683"/>
    <p:sldLayoutId id="2147500080" r:id="rId15684"/>
    <p:sldLayoutId id="2147500100" r:id="rId15685"/>
    <p:sldLayoutId id="2147500089" r:id="rId15686"/>
    <p:sldLayoutId id="2147500102" r:id="rId15687"/>
    <p:sldLayoutId id="2147500097" r:id="rId15688"/>
    <p:sldLayoutId id="2147500112" r:id="rId15689"/>
    <p:sldLayoutId id="2147500110" r:id="rId15690"/>
    <p:sldLayoutId id="2147500116" r:id="rId15691"/>
    <p:sldLayoutId id="2147500083" r:id="rId15692"/>
    <p:sldLayoutId id="2147500058" r:id="rId15693"/>
    <p:sldLayoutId id="2147500064" r:id="rId15694"/>
    <p:sldLayoutId id="2147500077" r:id="rId15695"/>
    <p:sldLayoutId id="2147500074" r:id="rId15696"/>
    <p:sldLayoutId id="2147500163" r:id="rId15697"/>
    <p:sldLayoutId id="2147500235" r:id="rId15698"/>
    <p:sldLayoutId id="2147500170" r:id="rId15699"/>
    <p:sldLayoutId id="2147500180" r:id="rId15700"/>
    <p:sldLayoutId id="2147500176" r:id="rId15701"/>
    <p:sldLayoutId id="2147500186" r:id="rId15702"/>
    <p:sldLayoutId id="2147500185" r:id="rId15703"/>
    <p:sldLayoutId id="2147500192" r:id="rId15704"/>
    <p:sldLayoutId id="2147500225" r:id="rId15705"/>
    <p:sldLayoutId id="2147500201" r:id="rId15706"/>
    <p:sldLayoutId id="2147500207" r:id="rId15707"/>
    <p:sldLayoutId id="2147500219" r:id="rId15708"/>
    <p:sldLayoutId id="2147500213" r:id="rId15709"/>
    <p:sldLayoutId id="2147500281" r:id="rId15710"/>
    <p:sldLayoutId id="2147500313" r:id="rId15711"/>
    <p:sldLayoutId id="2147500293" r:id="rId15712"/>
    <p:sldLayoutId id="2147500315" r:id="rId15713"/>
    <p:sldLayoutId id="2147500309" r:id="rId15714"/>
    <p:sldLayoutId id="2147500329" r:id="rId15715"/>
    <p:sldLayoutId id="2147500327" r:id="rId15716"/>
    <p:sldLayoutId id="2147500335" r:id="rId15717"/>
    <p:sldLayoutId id="2147500285" r:id="rId15718"/>
    <p:sldLayoutId id="2147500257" r:id="rId15719"/>
    <p:sldLayoutId id="2147500265" r:id="rId15720"/>
    <p:sldLayoutId id="2147500277" r:id="rId15721"/>
    <p:sldLayoutId id="2147500271" r:id="rId15722"/>
    <p:sldLayoutId id="2147500584" r:id="rId15723"/>
    <p:sldLayoutId id="2147500655" r:id="rId15724"/>
    <p:sldLayoutId id="2147500588" r:id="rId15725"/>
    <p:sldLayoutId id="2147500594" r:id="rId15726"/>
    <p:sldLayoutId id="2147500591" r:id="rId15727"/>
    <p:sldLayoutId id="2147500599" r:id="rId15728"/>
    <p:sldLayoutId id="2147500597" r:id="rId15729"/>
    <p:sldLayoutId id="2147500602" r:id="rId15730"/>
    <p:sldLayoutId id="2147500634" r:id="rId15731"/>
    <p:sldLayoutId id="2147500615" r:id="rId15732"/>
    <p:sldLayoutId id="2147500621" r:id="rId15733"/>
    <p:sldLayoutId id="2147500630" r:id="rId15734"/>
    <p:sldLayoutId id="2147500627" r:id="rId15735"/>
    <p:sldLayoutId id="2147500413" r:id="rId15736"/>
    <p:sldLayoutId id="2147500439" r:id="rId15737"/>
    <p:sldLayoutId id="2147500423" r:id="rId15738"/>
    <p:sldLayoutId id="2147500441" r:id="rId15739"/>
    <p:sldLayoutId id="2147500433" r:id="rId15740"/>
    <p:sldLayoutId id="2147500457" r:id="rId15741"/>
    <p:sldLayoutId id="2147500453" r:id="rId15742"/>
    <p:sldLayoutId id="2147500461" r:id="rId15743"/>
    <p:sldLayoutId id="2147500415" r:id="rId15744"/>
    <p:sldLayoutId id="2147500391" r:id="rId15745"/>
    <p:sldLayoutId id="2147500395" r:id="rId15746"/>
    <p:sldLayoutId id="2147500407" r:id="rId15747"/>
    <p:sldLayoutId id="2147500401" r:id="rId15748"/>
    <p:sldLayoutId id="2147500491" r:id="rId15749"/>
    <p:sldLayoutId id="2147500471" r:id="rId15750"/>
    <p:sldLayoutId id="2147500519" r:id="rId15751"/>
    <p:sldLayoutId id="2147500537" r:id="rId15752"/>
    <p:sldLayoutId id="2147500529" r:id="rId15753"/>
    <p:sldLayoutId id="2147500555" r:id="rId15754"/>
    <p:sldLayoutId id="2147500552" r:id="rId15755"/>
    <p:sldLayoutId id="2147500561" r:id="rId15756"/>
    <p:sldLayoutId id="2147500579" r:id="rId15757"/>
    <p:sldLayoutId id="2147500567" r:id="rId15758"/>
    <p:sldLayoutId id="2147500570" r:id="rId15759"/>
    <p:sldLayoutId id="2147500576" r:id="rId15760"/>
    <p:sldLayoutId id="2147500573" r:id="rId15761"/>
    <p:sldLayoutId id="2147500501" r:id="rId15762"/>
    <p:sldLayoutId id="2147500531" r:id="rId15763"/>
    <p:sldLayoutId id="2147500513" r:id="rId15764"/>
    <p:sldLayoutId id="2147500535" r:id="rId15765"/>
    <p:sldLayoutId id="2147500525" r:id="rId15766"/>
    <p:sldLayoutId id="2147500554" r:id="rId15767"/>
    <p:sldLayoutId id="2147500551" r:id="rId15768"/>
    <p:sldLayoutId id="2147500560" r:id="rId15769"/>
    <p:sldLayoutId id="2147500505" r:id="rId15770"/>
    <p:sldLayoutId id="2147500483" r:id="rId15771"/>
    <p:sldLayoutId id="2147500487" r:id="rId15772"/>
    <p:sldLayoutId id="2147500497" r:id="rId15773"/>
    <p:sldLayoutId id="2147500493" r:id="rId15774"/>
    <p:sldLayoutId id="2147500644" r:id="rId15775"/>
    <p:sldLayoutId id="2147500671" r:id="rId15776"/>
    <p:sldLayoutId id="2147500385" r:id="rId15777"/>
    <p:sldLayoutId id="2147500411" r:id="rId15778"/>
    <p:sldLayoutId id="2147500399" r:id="rId15779"/>
    <p:sldLayoutId id="2147500437" r:id="rId15780"/>
    <p:sldLayoutId id="2147500431" r:id="rId15781"/>
    <p:sldLayoutId id="2147500449" r:id="rId15782"/>
    <p:sldLayoutId id="2147500668" r:id="rId15783"/>
    <p:sldLayoutId id="2147500660" r:id="rId15784"/>
    <p:sldLayoutId id="2147500662" r:id="rId15785"/>
    <p:sldLayoutId id="2147500666" r:id="rId15786"/>
    <p:sldLayoutId id="2147500664" r:id="rId15787"/>
    <p:sldLayoutId id="2147500685" r:id="rId15788"/>
    <p:sldLayoutId id="2147500697" r:id="rId15789"/>
    <p:sldLayoutId id="2147500689" r:id="rId15790"/>
    <p:sldLayoutId id="2147500698" r:id="rId15791"/>
    <p:sldLayoutId id="2147500694" r:id="rId15792"/>
    <p:sldLayoutId id="2147499551" r:id="rId15793"/>
    <p:sldLayoutId id="2147499550" r:id="rId15794"/>
    <p:sldLayoutId id="2147499553" r:id="rId15795"/>
    <p:sldLayoutId id="2147500686" r:id="rId15796"/>
    <p:sldLayoutId id="2147500677" r:id="rId15797"/>
    <p:sldLayoutId id="2147500679" r:id="rId15798"/>
    <p:sldLayoutId id="2147500683" r:id="rId15799"/>
    <p:sldLayoutId id="2147500681" r:id="rId15800"/>
    <p:sldLayoutId id="2147500611" r:id="rId15801"/>
    <p:sldLayoutId id="2147500371" r:id="rId15802"/>
    <p:sldLayoutId id="2147500620" r:id="rId15803"/>
    <p:sldLayoutId id="2147500631" r:id="rId15804"/>
    <p:sldLayoutId id="2147500626" r:id="rId15805"/>
    <p:sldLayoutId id="2147500636" r:id="rId15806"/>
    <p:sldLayoutId id="2147500635" r:id="rId15807"/>
    <p:sldLayoutId id="2147500638" r:id="rId15808"/>
    <p:sldLayoutId id="2147500379" r:id="rId15809"/>
    <p:sldLayoutId id="2147500642" r:id="rId15810"/>
    <p:sldLayoutId id="2147500646" r:id="rId15811"/>
    <p:sldLayoutId id="2147500654" r:id="rId15812"/>
    <p:sldLayoutId id="2147500650" r:id="rId15813"/>
    <p:sldLayoutId id="2147499611" r:id="rId15814"/>
    <p:sldLayoutId id="2147499656" r:id="rId15815"/>
    <p:sldLayoutId id="2147499616" r:id="rId15816"/>
    <p:sldLayoutId id="2147499623" r:id="rId15817"/>
    <p:sldLayoutId id="2147499620" r:id="rId15818"/>
    <p:sldLayoutId id="2147499629" r:id="rId15819"/>
    <p:sldLayoutId id="2147499627" r:id="rId15820"/>
    <p:sldLayoutId id="2147499632" r:id="rId15821"/>
    <p:sldLayoutId id="2147499651" r:id="rId15822"/>
    <p:sldLayoutId id="2147499638" r:id="rId15823"/>
    <p:sldLayoutId id="2147499641" r:id="rId15824"/>
    <p:sldLayoutId id="2147499648" r:id="rId15825"/>
    <p:sldLayoutId id="2147499644" r:id="rId15826"/>
    <p:sldLayoutId id="2147499689" r:id="rId15827"/>
    <p:sldLayoutId id="2147499709" r:id="rId15828"/>
    <p:sldLayoutId id="2147499697" r:id="rId15829"/>
    <p:sldLayoutId id="2147499711" r:id="rId15830"/>
    <p:sldLayoutId id="2147499705" r:id="rId15831"/>
    <p:sldLayoutId id="2147499721" r:id="rId15832"/>
    <p:sldLayoutId id="2147499719" r:id="rId15833"/>
    <p:sldLayoutId id="2147499725" r:id="rId15834"/>
    <p:sldLayoutId id="2147499691" r:id="rId15835"/>
    <p:sldLayoutId id="2147499672" r:id="rId15836"/>
    <p:sldLayoutId id="2147499677" r:id="rId15837"/>
    <p:sldLayoutId id="2147499685" r:id="rId15838"/>
    <p:sldLayoutId id="2147499681" r:id="rId15839"/>
    <p:sldLayoutId id="2147499805" r:id="rId15840"/>
    <p:sldLayoutId id="2147499773" r:id="rId15841"/>
    <p:sldLayoutId id="2147499853" r:id="rId15842"/>
    <p:sldLayoutId id="2147499885" r:id="rId15843"/>
    <p:sldLayoutId id="2147499871" r:id="rId15844"/>
    <p:sldLayoutId id="2147499923" r:id="rId15845"/>
    <p:sldLayoutId id="2147499913" r:id="rId15846"/>
    <p:sldLayoutId id="2147499936" r:id="rId15847"/>
    <p:sldLayoutId id="2147499962" r:id="rId15848"/>
    <p:sldLayoutId id="2147499942" r:id="rId15849"/>
    <p:sldLayoutId id="2147499949" r:id="rId15850"/>
    <p:sldLayoutId id="2147499960" r:id="rId15851"/>
    <p:sldLayoutId id="2147499956" r:id="rId15852"/>
    <p:sldLayoutId id="2147499821" r:id="rId15853"/>
    <p:sldLayoutId id="2147499873" r:id="rId15854"/>
    <p:sldLayoutId id="2147499843" r:id="rId15855"/>
    <p:sldLayoutId id="2147499881" r:id="rId15856"/>
    <p:sldLayoutId id="2147499863" r:id="rId15857"/>
    <p:sldLayoutId id="2147499919" r:id="rId15858"/>
    <p:sldLayoutId id="2147499909" r:id="rId15859"/>
    <p:sldLayoutId id="2147499932" r:id="rId15860"/>
    <p:sldLayoutId id="2147499829" r:id="rId15861"/>
    <p:sldLayoutId id="2147499793" r:id="rId15862"/>
    <p:sldLayoutId id="2147499799" r:id="rId15863"/>
    <p:sldLayoutId id="2147499815" r:id="rId15864"/>
    <p:sldLayoutId id="2147499809" r:id="rId15865"/>
    <p:sldLayoutId id="2147500020" r:id="rId15866"/>
    <p:sldLayoutId id="2147499561" r:id="rId15867"/>
    <p:sldLayoutId id="2147500025" r:id="rId15868"/>
    <p:sldLayoutId id="2147500032" r:id="rId15869"/>
    <p:sldLayoutId id="2147500028" r:id="rId15870"/>
    <p:sldLayoutId id="2147500050" r:id="rId15871"/>
    <p:sldLayoutId id="2147500044" r:id="rId15872"/>
    <p:sldLayoutId id="2147500060" r:id="rId15873"/>
    <p:sldLayoutId id="2147499558" r:id="rId15874"/>
    <p:sldLayoutId id="2147500079" r:id="rId15875"/>
    <p:sldLayoutId id="2147500085" r:id="rId15876"/>
    <p:sldLayoutId id="2147499556" r:id="rId15877"/>
    <p:sldLayoutId id="2147500091" r:id="rId15878"/>
    <p:sldLayoutId id="2147499577" r:id="rId15879"/>
    <p:sldLayoutId id="2147499593" r:id="rId15880"/>
    <p:sldLayoutId id="2147499583" r:id="rId15881"/>
    <p:sldLayoutId id="2147499595" r:id="rId15882"/>
    <p:sldLayoutId id="2147499589" r:id="rId15883"/>
    <p:sldLayoutId id="2147499602" r:id="rId15884"/>
    <p:sldLayoutId id="2147499601" r:id="rId15885"/>
    <p:sldLayoutId id="2147499606" r:id="rId15886"/>
    <p:sldLayoutId id="2147499579" r:id="rId15887"/>
    <p:sldLayoutId id="2147499567" r:id="rId15888"/>
    <p:sldLayoutId id="2147499569" r:id="rId15889"/>
    <p:sldLayoutId id="2147499573" r:id="rId15890"/>
    <p:sldLayoutId id="2147499571" r:id="rId15891"/>
    <p:sldLayoutId id="2147500347" r:id="rId15892"/>
    <p:sldLayoutId id="2147499883" r:id="rId15893"/>
    <p:sldLayoutId id="2147499801" r:id="rId15894"/>
    <p:sldLayoutId id="2147499813" r:id="rId15895"/>
    <p:sldLayoutId id="2147499807" r:id="rId15896"/>
    <p:sldLayoutId id="2147499823" r:id="rId15897"/>
    <p:sldLayoutId id="2147499819" r:id="rId15898"/>
    <p:sldLayoutId id="2147500357" r:id="rId15899"/>
    <p:sldLayoutId id="2147500363" r:id="rId15900"/>
    <p:sldLayoutId id="2147500359" r:id="rId15901"/>
    <p:sldLayoutId id="2147499851" r:id="rId15902"/>
    <p:sldLayoutId id="2147499865" r:id="rId15903"/>
    <p:sldLayoutId id="2147500361" r:id="rId15904"/>
    <p:sldLayoutId id="2147500144" r:id="rId15905"/>
    <p:sldLayoutId id="2147500154" r:id="rId15906"/>
    <p:sldLayoutId id="2147500148" r:id="rId15907"/>
    <p:sldLayoutId id="2147499665" r:id="rId15908"/>
    <p:sldLayoutId id="2147500152" r:id="rId15909"/>
    <p:sldLayoutId id="2147500156" r:id="rId15910"/>
    <p:sldLayoutId id="2147500155" r:id="rId15911"/>
    <p:sldLayoutId id="2147500158" r:id="rId15912"/>
    <p:sldLayoutId id="2147500145" r:id="rId15913"/>
    <p:sldLayoutId id="2147500136" r:id="rId15914"/>
    <p:sldLayoutId id="2147500138" r:id="rId15915"/>
    <p:sldLayoutId id="2147500142" r:id="rId15916"/>
    <p:sldLayoutId id="2147500140" r:id="rId15917"/>
    <p:sldLayoutId id="2147500203" r:id="rId15918"/>
    <p:sldLayoutId id="2147500164" r:id="rId15919"/>
    <p:sldLayoutId id="2147500263" r:id="rId15920"/>
    <p:sldLayoutId id="2147499737" r:id="rId15921"/>
    <p:sldLayoutId id="2147499731" r:id="rId15922"/>
    <p:sldLayoutId id="2147499749" r:id="rId15923"/>
    <p:sldLayoutId id="2147499747" r:id="rId15924"/>
    <p:sldLayoutId id="2147499753" r:id="rId15925"/>
    <p:sldLayoutId id="2147499781" r:id="rId15926"/>
    <p:sldLayoutId id="2147499759" r:id="rId15927"/>
    <p:sldLayoutId id="2147499763" r:id="rId15928"/>
    <p:sldLayoutId id="2147499775" r:id="rId15929"/>
    <p:sldLayoutId id="2147499767" r:id="rId15930"/>
    <p:sldLayoutId id="2147500221" r:id="rId15931"/>
    <p:sldLayoutId id="2147499733" r:id="rId15932"/>
    <p:sldLayoutId id="2147500251" r:id="rId15933"/>
    <p:sldLayoutId id="2147500295" r:id="rId15934"/>
    <p:sldLayoutId id="2147500283" r:id="rId15935"/>
    <p:sldLayoutId id="2147500317" r:id="rId15936"/>
    <p:sldLayoutId id="2147499745" r:id="rId15937"/>
    <p:sldLayoutId id="2147500333" r:id="rId15938"/>
    <p:sldLayoutId id="2147500233" r:id="rId15939"/>
    <p:sldLayoutId id="2147500188" r:id="rId15940"/>
    <p:sldLayoutId id="2147500194" r:id="rId15941"/>
    <p:sldLayoutId id="2147500212" r:id="rId15942"/>
    <p:sldLayoutId id="2147500206" r:id="rId15943"/>
    <p:sldLayoutId id="2147500724" r:id="rId15944"/>
    <p:sldLayoutId id="2147498868" r:id="rId15945"/>
    <p:sldLayoutId id="2147499347" r:id="rId15946"/>
    <p:sldLayoutId id="2147499385" r:id="rId15947"/>
    <p:sldLayoutId id="2147499360" r:id="rId15948"/>
    <p:sldLayoutId id="2147499365" r:id="rId15949"/>
    <p:sldLayoutId id="2147499363" r:id="rId15950"/>
    <p:sldLayoutId id="2147499368" r:id="rId15951"/>
    <p:sldLayoutId id="2147499367" r:id="rId15952"/>
    <p:sldLayoutId id="2147499370" r:id="rId15953"/>
    <p:sldLayoutId id="2147499382" r:id="rId15954"/>
    <p:sldLayoutId id="2147499374" r:id="rId15955"/>
    <p:sldLayoutId id="2147499376" r:id="rId15956"/>
    <p:sldLayoutId id="2147499380" r:id="rId15957"/>
    <p:sldLayoutId id="2147499378" r:id="rId15958"/>
    <p:sldLayoutId id="2147499399" r:id="rId15959"/>
    <p:sldLayoutId id="2147499409" r:id="rId15960"/>
    <p:sldLayoutId id="2147499403" r:id="rId15961"/>
    <p:sldLayoutId id="2147499410" r:id="rId15962"/>
    <p:sldLayoutId id="2147499407" r:id="rId15963"/>
    <p:sldLayoutId id="2147499415" r:id="rId15964"/>
    <p:sldLayoutId id="2147499414" r:id="rId15965"/>
    <p:sldLayoutId id="2147499417" r:id="rId15966"/>
    <p:sldLayoutId id="2147499400" r:id="rId15967"/>
    <p:sldLayoutId id="2147499391" r:id="rId15968"/>
    <p:sldLayoutId id="2147499393" r:id="rId15969"/>
    <p:sldLayoutId id="2147499397" r:id="rId15970"/>
    <p:sldLayoutId id="2147499395" r:id="rId15971"/>
    <p:sldLayoutId id="2147499432" r:id="rId15972"/>
    <p:sldLayoutId id="2147499422" r:id="rId15973"/>
    <p:sldLayoutId id="2147499446" r:id="rId15974"/>
    <p:sldLayoutId id="2147499455" r:id="rId15975"/>
    <p:sldLayoutId id="2147499451" r:id="rId15976"/>
    <p:sldLayoutId id="2147499465" r:id="rId15977"/>
    <p:sldLayoutId id="2147499463" r:id="rId15978"/>
    <p:sldLayoutId id="2147503183" r:id="rId15979"/>
    <p:sldLayoutId id="2147503195" r:id="rId15980"/>
    <p:sldLayoutId id="2147503187" r:id="rId15981"/>
    <p:sldLayoutId id="2147503189" r:id="rId15982"/>
    <p:sldLayoutId id="2147503193" r:id="rId15983"/>
    <p:sldLayoutId id="2147503191" r:id="rId15984"/>
    <p:sldLayoutId id="2147499437" r:id="rId15985"/>
    <p:sldLayoutId id="2147499452" r:id="rId15986"/>
    <p:sldLayoutId id="2147499443" r:id="rId15987"/>
    <p:sldLayoutId id="2147499454" r:id="rId15988"/>
    <p:sldLayoutId id="2147499449" r:id="rId15989"/>
    <p:sldLayoutId id="2147499464" r:id="rId15990"/>
    <p:sldLayoutId id="2147499462" r:id="rId15991"/>
    <p:sldLayoutId id="2147503182" r:id="rId15992"/>
    <p:sldLayoutId id="2147499439" r:id="rId15993"/>
    <p:sldLayoutId id="2147499428" r:id="rId15994"/>
    <p:sldLayoutId id="2147499430" r:id="rId15995"/>
    <p:sldLayoutId id="2147499435" r:id="rId15996"/>
    <p:sldLayoutId id="2147499433" r:id="rId15997"/>
    <p:sldLayoutId id="2147503198" r:id="rId15998"/>
    <p:sldLayoutId id="2147503225" r:id="rId15999"/>
    <p:sldLayoutId id="2147503201" r:id="rId16000"/>
    <p:sldLayoutId id="2147503205" r:id="rId16001"/>
    <p:sldLayoutId id="2147503203" r:id="rId16002"/>
    <p:sldLayoutId id="2147503208" r:id="rId16003"/>
    <p:sldLayoutId id="2147503207" r:id="rId16004"/>
    <p:sldLayoutId id="2147503210" r:id="rId16005"/>
    <p:sldLayoutId id="2147503222" r:id="rId16006"/>
    <p:sldLayoutId id="2147503214" r:id="rId16007"/>
    <p:sldLayoutId id="2147503216" r:id="rId16008"/>
    <p:sldLayoutId id="2147503220" r:id="rId16009"/>
    <p:sldLayoutId id="2147503218" r:id="rId16010"/>
    <p:sldLayoutId id="2147503239" r:id="rId16011"/>
    <p:sldLayoutId id="2147503249" r:id="rId16012"/>
    <p:sldLayoutId id="2147503243" r:id="rId16013"/>
    <p:sldLayoutId id="2147503250" r:id="rId16014"/>
    <p:sldLayoutId id="2147503247" r:id="rId16015"/>
    <p:sldLayoutId id="2147503255" r:id="rId16016"/>
    <p:sldLayoutId id="2147503254" r:id="rId16017"/>
    <p:sldLayoutId id="2147503257" r:id="rId16018"/>
    <p:sldLayoutId id="2147503240" r:id="rId16019"/>
    <p:sldLayoutId id="2147503231" r:id="rId16020"/>
    <p:sldLayoutId id="2147503233" r:id="rId16021"/>
    <p:sldLayoutId id="2147503237" r:id="rId16022"/>
    <p:sldLayoutId id="2147503235" r:id="rId16023"/>
    <p:sldLayoutId id="2147497960" r:id="rId16024"/>
    <p:sldLayoutId id="2147498070" r:id="rId16025"/>
    <p:sldLayoutId id="2147497966" r:id="rId16026"/>
    <p:sldLayoutId id="2147497974" r:id="rId16027"/>
    <p:sldLayoutId id="2147497970" r:id="rId16028"/>
    <p:sldLayoutId id="2147497980" r:id="rId16029"/>
    <p:sldLayoutId id="2147497978" r:id="rId16030"/>
    <p:sldLayoutId id="2147497984" r:id="rId16031"/>
    <p:sldLayoutId id="2147498032" r:id="rId16032"/>
    <p:sldLayoutId id="2147498002" r:id="rId16033"/>
    <p:sldLayoutId id="2147498010" r:id="rId16034"/>
    <p:sldLayoutId id="2147498024" r:id="rId16035"/>
    <p:sldLayoutId id="2147498018" r:id="rId16036"/>
    <p:sldLayoutId id="2147503335" r:id="rId16037"/>
    <p:sldLayoutId id="2147503368" r:id="rId16038"/>
    <p:sldLayoutId id="2147503348" r:id="rId16039"/>
    <p:sldLayoutId id="2147503371" r:id="rId16040"/>
    <p:sldLayoutId id="2147503361" r:id="rId16041"/>
    <p:sldLayoutId id="2147503389" r:id="rId16042"/>
    <p:sldLayoutId id="2147503385" r:id="rId16043"/>
    <p:sldLayoutId id="2147503394" r:id="rId16044"/>
    <p:sldLayoutId id="2147503338" r:id="rId16045"/>
    <p:sldLayoutId id="2147503308" r:id="rId16046"/>
    <p:sldLayoutId id="2147503314" r:id="rId16047"/>
    <p:sldLayoutId id="2147503328" r:id="rId16048"/>
    <p:sldLayoutId id="2147503321" r:id="rId16049"/>
    <p:sldLayoutId id="2147503424" r:id="rId16050"/>
    <p:sldLayoutId id="2147503404" r:id="rId16051"/>
    <p:sldLayoutId id="2147503452" r:id="rId16052"/>
    <p:sldLayoutId id="2147497902" r:id="rId16053"/>
    <p:sldLayoutId id="2147503462" r:id="rId16054"/>
    <p:sldLayoutId id="2147497922" r:id="rId16055"/>
    <p:sldLayoutId id="2147497918" r:id="rId16056"/>
    <p:sldLayoutId id="2147497930" r:id="rId16057"/>
    <p:sldLayoutId id="2147497954" r:id="rId16058"/>
    <p:sldLayoutId id="2147497938" r:id="rId16059"/>
    <p:sldLayoutId id="2147497942" r:id="rId16060"/>
    <p:sldLayoutId id="2147497950" r:id="rId16061"/>
    <p:sldLayoutId id="2147497946" r:id="rId16062"/>
    <p:sldLayoutId id="2147503434" r:id="rId16063"/>
    <p:sldLayoutId id="2147497896" r:id="rId16064"/>
    <p:sldLayoutId id="2147503446" r:id="rId16065"/>
    <p:sldLayoutId id="2147497900" r:id="rId16066"/>
    <p:sldLayoutId id="2147503458" r:id="rId16067"/>
    <p:sldLayoutId id="2147497920" r:id="rId16068"/>
    <p:sldLayoutId id="2147497916" r:id="rId16069"/>
    <p:sldLayoutId id="2147497928" r:id="rId16070"/>
    <p:sldLayoutId id="2147503438" r:id="rId16071"/>
    <p:sldLayoutId id="2147503416" r:id="rId16072"/>
    <p:sldLayoutId id="2147503420" r:id="rId16073"/>
    <p:sldLayoutId id="2147503430" r:id="rId16074"/>
    <p:sldLayoutId id="2147503426" r:id="rId16075"/>
    <p:sldLayoutId id="2147498052" r:id="rId16076"/>
    <p:sldLayoutId id="2147498140" r:id="rId16077"/>
    <p:sldLayoutId id="2147503301" r:id="rId16078"/>
    <p:sldLayoutId id="2147503333" r:id="rId16079"/>
    <p:sldLayoutId id="2147503319" r:id="rId16080"/>
    <p:sldLayoutId id="2147503366" r:id="rId16081"/>
    <p:sldLayoutId id="2147503359" r:id="rId16082"/>
    <p:sldLayoutId id="2147503380" r:id="rId16083"/>
    <p:sldLayoutId id="2147498131" r:id="rId16084"/>
    <p:sldLayoutId id="2147498099" r:id="rId16085"/>
    <p:sldLayoutId id="2147498109" r:id="rId16086"/>
    <p:sldLayoutId id="2147498125" r:id="rId16087"/>
    <p:sldLayoutId id="2147498119" r:id="rId16088"/>
    <p:sldLayoutId id="2147498179" r:id="rId16089"/>
    <p:sldLayoutId id="2147498199" r:id="rId16090"/>
    <p:sldLayoutId id="2147498187" r:id="rId16091"/>
    <p:sldLayoutId id="2147498201" r:id="rId16092"/>
    <p:sldLayoutId id="2147498195" r:id="rId16093"/>
    <p:sldLayoutId id="2147498211" r:id="rId16094"/>
    <p:sldLayoutId id="2147498209" r:id="rId16095"/>
    <p:sldLayoutId id="2147498215" r:id="rId16096"/>
    <p:sldLayoutId id="2147498181" r:id="rId16097"/>
    <p:sldLayoutId id="2147498158" r:id="rId16098"/>
    <p:sldLayoutId id="2147498164" r:id="rId16099"/>
    <p:sldLayoutId id="2147498175" r:id="rId16100"/>
    <p:sldLayoutId id="2147498170" r:id="rId16101"/>
    <p:sldLayoutId id="2147497996" r:id="rId16102"/>
    <p:sldLayoutId id="2147503262" r:id="rId16103"/>
    <p:sldLayoutId id="2147498008" r:id="rId16104"/>
    <p:sldLayoutId id="2147498026" r:id="rId16105"/>
    <p:sldLayoutId id="2147498016" r:id="rId16106"/>
    <p:sldLayoutId id="2147498036" r:id="rId16107"/>
    <p:sldLayoutId id="2147498034" r:id="rId16108"/>
    <p:sldLayoutId id="2147498040" r:id="rId16109"/>
    <p:sldLayoutId id="2147503292" r:id="rId16110"/>
    <p:sldLayoutId id="2147498048" r:id="rId16111"/>
    <p:sldLayoutId id="2147498054" r:id="rId16112"/>
    <p:sldLayoutId id="2147498068" r:id="rId16113"/>
    <p:sldLayoutId id="2147498060" r:id="rId16114"/>
    <p:sldLayoutId id="2147498408" r:id="rId16115"/>
    <p:sldLayoutId id="2147498462" r:id="rId16116"/>
    <p:sldLayoutId id="2147498414" r:id="rId16117"/>
    <p:sldLayoutId id="2147498422" r:id="rId16118"/>
    <p:sldLayoutId id="2147498418" r:id="rId16119"/>
    <p:sldLayoutId id="2147498428" r:id="rId16120"/>
    <p:sldLayoutId id="2147498426" r:id="rId16121"/>
    <p:sldLayoutId id="2147498432" r:id="rId16122"/>
    <p:sldLayoutId id="2147498456" r:id="rId16123"/>
    <p:sldLayoutId id="2147498440" r:id="rId16124"/>
    <p:sldLayoutId id="2147498444" r:id="rId16125"/>
    <p:sldLayoutId id="2147498452" r:id="rId16126"/>
    <p:sldLayoutId id="2147498448" r:id="rId16127"/>
    <p:sldLayoutId id="2147498498" r:id="rId16128"/>
    <p:sldLayoutId id="2147498518" r:id="rId16129"/>
    <p:sldLayoutId id="2147498506" r:id="rId16130"/>
    <p:sldLayoutId id="2147498520" r:id="rId16131"/>
    <p:sldLayoutId id="2147498514" r:id="rId16132"/>
    <p:sldLayoutId id="2147498530" r:id="rId16133"/>
    <p:sldLayoutId id="2147498528" r:id="rId16134"/>
    <p:sldLayoutId id="2147498534" r:id="rId16135"/>
    <p:sldLayoutId id="2147498500" r:id="rId16136"/>
    <p:sldLayoutId id="2147498480" r:id="rId16137"/>
    <p:sldLayoutId id="2147498486" r:id="rId16138"/>
    <p:sldLayoutId id="2147498494" r:id="rId16139"/>
    <p:sldLayoutId id="2147498490" r:id="rId16140"/>
    <p:sldLayoutId id="2147498614" r:id="rId16141"/>
    <p:sldLayoutId id="2147498582" r:id="rId16142"/>
    <p:sldLayoutId id="2147498662" r:id="rId16143"/>
    <p:sldLayoutId id="2147498694" r:id="rId16144"/>
    <p:sldLayoutId id="2147498680" r:id="rId16145"/>
    <p:sldLayoutId id="2147498723" r:id="rId16146"/>
    <p:sldLayoutId id="2147498717" r:id="rId16147"/>
    <p:sldLayoutId id="2147498735" r:id="rId16148"/>
    <p:sldLayoutId id="2147498771" r:id="rId16149"/>
    <p:sldLayoutId id="2147498747" r:id="rId16150"/>
    <p:sldLayoutId id="2147498753" r:id="rId16151"/>
    <p:sldLayoutId id="2147498765" r:id="rId16152"/>
    <p:sldLayoutId id="2147498759" r:id="rId16153"/>
    <p:sldLayoutId id="2147498630" r:id="rId16154"/>
    <p:sldLayoutId id="2147498682" r:id="rId16155"/>
    <p:sldLayoutId id="2147498652" r:id="rId16156"/>
    <p:sldLayoutId id="2147498690" r:id="rId16157"/>
    <p:sldLayoutId id="2147498672" r:id="rId16158"/>
    <p:sldLayoutId id="2147498720" r:id="rId16159"/>
    <p:sldLayoutId id="2147498714" r:id="rId16160"/>
    <p:sldLayoutId id="2147498732" r:id="rId16161"/>
    <p:sldLayoutId id="2147498638" r:id="rId16162"/>
    <p:sldLayoutId id="2147498602" r:id="rId16163"/>
    <p:sldLayoutId id="2147498608" r:id="rId16164"/>
    <p:sldLayoutId id="2147498624" r:id="rId16165"/>
    <p:sldLayoutId id="2147498618" r:id="rId16166"/>
    <p:sldLayoutId id="2147498839" r:id="rId16167"/>
    <p:sldLayoutId id="2147498327" r:id="rId16168"/>
    <p:sldLayoutId id="2147498848" r:id="rId16169"/>
    <p:sldLayoutId id="2147498853" r:id="rId16170"/>
    <p:sldLayoutId id="2147498851" r:id="rId16171"/>
    <p:sldLayoutId id="2147498856" r:id="rId16172"/>
    <p:sldLayoutId id="2147498855" r:id="rId16173"/>
    <p:sldLayoutId id="2147498858" r:id="rId16174"/>
    <p:sldLayoutId id="2147498318" r:id="rId16175"/>
    <p:sldLayoutId id="2147498862" r:id="rId16176"/>
    <p:sldLayoutId id="2147498864" r:id="rId16177"/>
    <p:sldLayoutId id="2147498312" r:id="rId16178"/>
    <p:sldLayoutId id="2147498866" r:id="rId16179"/>
    <p:sldLayoutId id="2147498366" r:id="rId16180"/>
    <p:sldLayoutId id="2147498386" r:id="rId16181"/>
    <p:sldLayoutId id="2147498374" r:id="rId16182"/>
    <p:sldLayoutId id="2147498388" r:id="rId16183"/>
    <p:sldLayoutId id="2147498382" r:id="rId16184"/>
    <p:sldLayoutId id="2147498398" r:id="rId16185"/>
    <p:sldLayoutId id="2147498396" r:id="rId16186"/>
    <p:sldLayoutId id="2147498402" r:id="rId16187"/>
    <p:sldLayoutId id="2147498368" r:id="rId16188"/>
    <p:sldLayoutId id="2147498345" r:id="rId16189"/>
    <p:sldLayoutId id="2147498351" r:id="rId16190"/>
    <p:sldLayoutId id="2147498363" r:id="rId16191"/>
    <p:sldLayoutId id="2147498357" r:id="rId16192"/>
    <p:sldLayoutId id="2147498940" r:id="rId16193"/>
    <p:sldLayoutId id="2147498692" r:id="rId16194"/>
    <p:sldLayoutId id="2147498610" r:id="rId16195"/>
    <p:sldLayoutId id="2147498622" r:id="rId16196"/>
    <p:sldLayoutId id="2147498616" r:id="rId16197"/>
    <p:sldLayoutId id="2147498632" r:id="rId16198"/>
    <p:sldLayoutId id="2147498628" r:id="rId16199"/>
    <p:sldLayoutId id="2147498945" r:id="rId16200"/>
    <p:sldLayoutId id="2147498948" r:id="rId16201"/>
    <p:sldLayoutId id="2147498946" r:id="rId16202"/>
    <p:sldLayoutId id="2147498660" r:id="rId16203"/>
    <p:sldLayoutId id="2147498674" r:id="rId16204"/>
    <p:sldLayoutId id="2147498947" r:id="rId16205"/>
    <p:sldLayoutId id="2147498882" r:id="rId16206"/>
    <p:sldLayoutId id="2147498892" r:id="rId16207"/>
    <p:sldLayoutId id="2147498886" r:id="rId16208"/>
    <p:sldLayoutId id="2147498472" r:id="rId16209"/>
    <p:sldLayoutId id="2147498890" r:id="rId16210"/>
    <p:sldLayoutId id="2147498894" r:id="rId16211"/>
    <p:sldLayoutId id="2147498893" r:id="rId16212"/>
    <p:sldLayoutId id="2147498896" r:id="rId16213"/>
    <p:sldLayoutId id="2147498883" r:id="rId16214"/>
    <p:sldLayoutId id="2147498874" r:id="rId16215"/>
    <p:sldLayoutId id="2147498876" r:id="rId16216"/>
    <p:sldLayoutId id="2147498880" r:id="rId16217"/>
    <p:sldLayoutId id="2147498878" r:id="rId16218"/>
    <p:sldLayoutId id="2147498911" r:id="rId16219"/>
    <p:sldLayoutId id="2147498901" r:id="rId16220"/>
    <p:sldLayoutId id="2147498925" r:id="rId16221"/>
    <p:sldLayoutId id="2147498546" r:id="rId16222"/>
    <p:sldLayoutId id="2147498540" r:id="rId16223"/>
    <p:sldLayoutId id="2147498558" r:id="rId16224"/>
    <p:sldLayoutId id="2147498556" r:id="rId16225"/>
    <p:sldLayoutId id="2147498562" r:id="rId16226"/>
    <p:sldLayoutId id="2147498590" r:id="rId16227"/>
    <p:sldLayoutId id="2147498568" r:id="rId16228"/>
    <p:sldLayoutId id="2147498572" r:id="rId16229"/>
    <p:sldLayoutId id="2147498584" r:id="rId16230"/>
    <p:sldLayoutId id="2147498576" r:id="rId16231"/>
    <p:sldLayoutId id="2147498916" r:id="rId16232"/>
    <p:sldLayoutId id="2147498542" r:id="rId16233"/>
    <p:sldLayoutId id="2147498922" r:id="rId16234"/>
    <p:sldLayoutId id="2147498930" r:id="rId16235"/>
    <p:sldLayoutId id="2147498928" r:id="rId16236"/>
    <p:sldLayoutId id="2147498934" r:id="rId16237"/>
    <p:sldLayoutId id="2147498554" r:id="rId16238"/>
    <p:sldLayoutId id="2147498936" r:id="rId16239"/>
    <p:sldLayoutId id="2147498918" r:id="rId16240"/>
    <p:sldLayoutId id="2147498907" r:id="rId16241"/>
    <p:sldLayoutId id="2147498909" r:id="rId16242"/>
    <p:sldLayoutId id="2147498914" r:id="rId16243"/>
    <p:sldLayoutId id="2147498912" r:id="rId16244"/>
    <p:sldLayoutId id="2147499170" r:id="rId16245"/>
    <p:sldLayoutId id="2147499197" r:id="rId16246"/>
    <p:sldLayoutId id="2147499173" r:id="rId16247"/>
    <p:sldLayoutId id="2147499177" r:id="rId16248"/>
    <p:sldLayoutId id="2147499175" r:id="rId16249"/>
    <p:sldLayoutId id="2147499180" r:id="rId16250"/>
    <p:sldLayoutId id="2147499179" r:id="rId16251"/>
    <p:sldLayoutId id="2147499182" r:id="rId16252"/>
    <p:sldLayoutId id="2147499194" r:id="rId16253"/>
    <p:sldLayoutId id="2147499186" r:id="rId16254"/>
    <p:sldLayoutId id="2147499188" r:id="rId16255"/>
    <p:sldLayoutId id="2147499192" r:id="rId16256"/>
    <p:sldLayoutId id="2147499190" r:id="rId16257"/>
    <p:sldLayoutId id="2147499211" r:id="rId16258"/>
    <p:sldLayoutId id="2147499221" r:id="rId16259"/>
    <p:sldLayoutId id="2147499215" r:id="rId16260"/>
    <p:sldLayoutId id="2147499222" r:id="rId16261"/>
    <p:sldLayoutId id="2147499219" r:id="rId16262"/>
    <p:sldLayoutId id="2147499227" r:id="rId16263"/>
    <p:sldLayoutId id="2147499226" r:id="rId16264"/>
    <p:sldLayoutId id="2147499229" r:id="rId16265"/>
    <p:sldLayoutId id="2147499212" r:id="rId16266"/>
    <p:sldLayoutId id="2147499203" r:id="rId16267"/>
    <p:sldLayoutId id="2147499205" r:id="rId16268"/>
    <p:sldLayoutId id="2147499209" r:id="rId16269"/>
    <p:sldLayoutId id="2147499207" r:id="rId16270"/>
    <p:sldLayoutId id="2147499244" r:id="rId16271"/>
    <p:sldLayoutId id="2147499234" r:id="rId16272"/>
    <p:sldLayoutId id="2147499258" r:id="rId16273"/>
    <p:sldLayoutId id="2147499267" r:id="rId16274"/>
    <p:sldLayoutId id="2147499263" r:id="rId16275"/>
    <p:sldLayoutId id="2147499277" r:id="rId16276"/>
    <p:sldLayoutId id="2147499275" r:id="rId16277"/>
    <p:sldLayoutId id="2147499281" r:id="rId16278"/>
    <p:sldLayoutId id="2147499293" r:id="rId16279"/>
    <p:sldLayoutId id="2147499285" r:id="rId16280"/>
    <p:sldLayoutId id="2147499287" r:id="rId16281"/>
    <p:sldLayoutId id="2147499291" r:id="rId16282"/>
    <p:sldLayoutId id="2147499289" r:id="rId16283"/>
    <p:sldLayoutId id="2147499249" r:id="rId16284"/>
    <p:sldLayoutId id="2147499264" r:id="rId16285"/>
    <p:sldLayoutId id="2147499255" r:id="rId16286"/>
    <p:sldLayoutId id="2147499266" r:id="rId16287"/>
    <p:sldLayoutId id="2147499261" r:id="rId16288"/>
    <p:sldLayoutId id="2147499276" r:id="rId16289"/>
    <p:sldLayoutId id="2147499274" r:id="rId16290"/>
    <p:sldLayoutId id="2147499280" r:id="rId16291"/>
    <p:sldLayoutId id="2147499251" r:id="rId16292"/>
    <p:sldLayoutId id="2147499240" r:id="rId16293"/>
    <p:sldLayoutId id="2147499242" r:id="rId16294"/>
    <p:sldLayoutId id="2147499247" r:id="rId16295"/>
    <p:sldLayoutId id="2147499245" r:id="rId16296"/>
    <p:sldLayoutId id="2147499296" r:id="rId16297"/>
    <p:sldLayoutId id="2147499323" r:id="rId16298"/>
    <p:sldLayoutId id="2147499299" r:id="rId16299"/>
    <p:sldLayoutId id="2147499303" r:id="rId16300"/>
    <p:sldLayoutId id="2147499301" r:id="rId16301"/>
    <p:sldLayoutId id="2147499306" r:id="rId16302"/>
    <p:sldLayoutId id="2147499305" r:id="rId16303"/>
    <p:sldLayoutId id="2147499308" r:id="rId16304"/>
    <p:sldLayoutId id="2147499320" r:id="rId16305"/>
    <p:sldLayoutId id="2147499312" r:id="rId16306"/>
    <p:sldLayoutId id="2147499314" r:id="rId16307"/>
    <p:sldLayoutId id="2147499318" r:id="rId16308"/>
    <p:sldLayoutId id="2147499316" r:id="rId16309"/>
    <p:sldLayoutId id="2147499337" r:id="rId16310"/>
    <p:sldLayoutId id="2147499348" r:id="rId16311"/>
    <p:sldLayoutId id="2147499341" r:id="rId16312"/>
    <p:sldLayoutId id="2147499349" r:id="rId16313"/>
    <p:sldLayoutId id="2147499345" r:id="rId16314"/>
    <p:sldLayoutId id="2147499356" r:id="rId16315"/>
    <p:sldLayoutId id="2147499354" r:id="rId16316"/>
    <p:sldLayoutId id="2147499358" r:id="rId16317"/>
    <p:sldLayoutId id="2147499338" r:id="rId16318"/>
    <p:sldLayoutId id="2147499329" r:id="rId16319"/>
    <p:sldLayoutId id="2147499331" r:id="rId16320"/>
    <p:sldLayoutId id="2147499335" r:id="rId16321"/>
    <p:sldLayoutId id="2147499333" r:id="rId16322"/>
    <p:sldLayoutId id="2147499064" r:id="rId16323"/>
    <p:sldLayoutId id="2147499119" r:id="rId16324"/>
    <p:sldLayoutId id="2147499067" r:id="rId16325"/>
    <p:sldLayoutId id="2147499071" r:id="rId16326"/>
    <p:sldLayoutId id="2147499069" r:id="rId16327"/>
    <p:sldLayoutId id="2147499074" r:id="rId16328"/>
    <p:sldLayoutId id="2147499073" r:id="rId16329"/>
    <p:sldLayoutId id="2147499076" r:id="rId16330"/>
    <p:sldLayoutId id="2147499100" r:id="rId16331"/>
    <p:sldLayoutId id="2147499085" r:id="rId16332"/>
    <p:sldLayoutId id="2147499089" r:id="rId16333"/>
    <p:sldLayoutId id="2147499096" r:id="rId16334"/>
    <p:sldLayoutId id="2147499093" r:id="rId16335"/>
    <p:sldLayoutId id="2147498973" r:id="rId16336"/>
    <p:sldLayoutId id="2147498986" r:id="rId16337"/>
    <p:sldLayoutId id="2147498978" r:id="rId16338"/>
    <p:sldLayoutId id="2147498987" r:id="rId16339"/>
    <p:sldLayoutId id="2147498983" r:id="rId16340"/>
    <p:sldLayoutId id="2147498995" r:id="rId16341"/>
    <p:sldLayoutId id="2147498993" r:id="rId16342"/>
    <p:sldLayoutId id="2147498997" r:id="rId16343"/>
    <p:sldLayoutId id="2147498974" r:id="rId16344"/>
    <p:sldLayoutId id="2147498962" r:id="rId16345"/>
    <p:sldLayoutId id="2147498964" r:id="rId16346"/>
    <p:sldLayoutId id="2147498970" r:id="rId16347"/>
    <p:sldLayoutId id="2147498967" r:id="rId16348"/>
    <p:sldLayoutId id="2147499012" r:id="rId16349"/>
    <p:sldLayoutId id="2147499002" r:id="rId16350"/>
    <p:sldLayoutId id="2147499026" r:id="rId16351"/>
    <p:sldLayoutId id="2147499035" r:id="rId16352"/>
    <p:sldLayoutId id="2147499031" r:id="rId16353"/>
    <p:sldLayoutId id="2147499045" r:id="rId16354"/>
    <p:sldLayoutId id="2147499043" r:id="rId16355"/>
    <p:sldLayoutId id="2147499049" r:id="rId16356"/>
    <p:sldLayoutId id="2147499061" r:id="rId16357"/>
    <p:sldLayoutId id="2147499053" r:id="rId16358"/>
    <p:sldLayoutId id="2147499055" r:id="rId16359"/>
    <p:sldLayoutId id="2147499059" r:id="rId16360"/>
    <p:sldLayoutId id="2147499057" r:id="rId16361"/>
    <p:sldLayoutId id="2147499017" r:id="rId16362"/>
    <p:sldLayoutId id="2147499032" r:id="rId16363"/>
    <p:sldLayoutId id="2147499023" r:id="rId16364"/>
    <p:sldLayoutId id="2147499034" r:id="rId16365"/>
    <p:sldLayoutId id="2147499029" r:id="rId16366"/>
    <p:sldLayoutId id="2147499044" r:id="rId16367"/>
    <p:sldLayoutId id="2147499042" r:id="rId16368"/>
    <p:sldLayoutId id="2147499048" r:id="rId16369"/>
    <p:sldLayoutId id="2147499019" r:id="rId16370"/>
    <p:sldLayoutId id="2147499008" r:id="rId16371"/>
    <p:sldLayoutId id="2147499010" r:id="rId16372"/>
    <p:sldLayoutId id="2147499015" r:id="rId16373"/>
    <p:sldLayoutId id="2147499013" r:id="rId16374"/>
    <p:sldLayoutId id="2147499110" r:id="rId16375"/>
    <p:sldLayoutId id="2147499135" r:id="rId16376"/>
    <p:sldLayoutId id="2147498959" r:id="rId16377"/>
    <p:sldLayoutId id="2147498972" r:id="rId16378"/>
    <p:sldLayoutId id="2147498966" r:id="rId16379"/>
    <p:sldLayoutId id="2147498985" r:id="rId16380"/>
    <p:sldLayoutId id="2147498982" r:id="rId16381"/>
    <p:sldLayoutId id="2147498991" r:id="rId16382"/>
    <p:sldLayoutId id="2147499132" r:id="rId16383"/>
    <p:sldLayoutId id="2147499124" r:id="rId16384"/>
    <p:sldLayoutId id="2147499126" r:id="rId16385"/>
    <p:sldLayoutId id="2147499130" r:id="rId16386"/>
    <p:sldLayoutId id="2147499128" r:id="rId16387"/>
    <p:sldLayoutId id="2147499149" r:id="rId16388"/>
    <p:sldLayoutId id="2147499159" r:id="rId16389"/>
    <p:sldLayoutId id="2147499153" r:id="rId16390"/>
    <p:sldLayoutId id="2147499160" r:id="rId16391"/>
    <p:sldLayoutId id="2147499157" r:id="rId16392"/>
    <p:sldLayoutId id="2147499165" r:id="rId16393"/>
    <p:sldLayoutId id="2147499164" r:id="rId16394"/>
    <p:sldLayoutId id="2147499167" r:id="rId16395"/>
    <p:sldLayoutId id="2147499150" r:id="rId16396"/>
    <p:sldLayoutId id="2147499141" r:id="rId16397"/>
    <p:sldLayoutId id="2147499143" r:id="rId16398"/>
    <p:sldLayoutId id="2147499147" r:id="rId16399"/>
    <p:sldLayoutId id="2147499145" r:id="rId16400"/>
    <p:sldLayoutId id="2147499082" r:id="rId16401"/>
    <p:sldLayoutId id="2147498952" r:id="rId16402"/>
    <p:sldLayoutId id="2147499088" r:id="rId16403"/>
    <p:sldLayoutId id="2147499097" r:id="rId16404"/>
    <p:sldLayoutId id="2147499092" r:id="rId16405"/>
    <p:sldLayoutId id="2147499102" r:id="rId16406"/>
    <p:sldLayoutId id="2147499101" r:id="rId16407"/>
    <p:sldLayoutId id="2147499104" r:id="rId16408"/>
    <p:sldLayoutId id="2147498956" r:id="rId16409"/>
    <p:sldLayoutId id="2147499108" r:id="rId16410"/>
    <p:sldLayoutId id="2147499111" r:id="rId16411"/>
    <p:sldLayoutId id="2147499118" r:id="rId16412"/>
    <p:sldLayoutId id="2147499114" r:id="rId16413"/>
    <p:sldLayoutId id="2147498033" r:id="rId16414"/>
    <p:sldLayoutId id="2147498112" r:id="rId16415"/>
    <p:sldLayoutId id="2147498049" r:id="rId16416"/>
    <p:sldLayoutId id="2147498063" r:id="rId16417"/>
    <p:sldLayoutId id="2147498057" r:id="rId16418"/>
    <p:sldLayoutId id="2147498076" r:id="rId16419"/>
    <p:sldLayoutId id="2147498073" r:id="rId16420"/>
    <p:sldLayoutId id="2147498080" r:id="rId16421"/>
    <p:sldLayoutId id="2147498103" r:id="rId16422"/>
    <p:sldLayoutId id="2147498089" r:id="rId16423"/>
    <p:sldLayoutId id="2147498092" r:id="rId16424"/>
    <p:sldLayoutId id="2147498100" r:id="rId16425"/>
    <p:sldLayoutId id="2147498096" r:id="rId16426"/>
    <p:sldLayoutId id="2147498135" r:id="rId16427"/>
    <p:sldLayoutId id="2147498150" r:id="rId16428"/>
    <p:sldLayoutId id="2147498141" r:id="rId16429"/>
    <p:sldLayoutId id="2147498151" r:id="rId16430"/>
    <p:sldLayoutId id="2147498147" r:id="rId16431"/>
    <p:sldLayoutId id="2147498159" r:id="rId16432"/>
    <p:sldLayoutId id="2147498157" r:id="rId16433"/>
    <p:sldLayoutId id="2147498162" r:id="rId16434"/>
    <p:sldLayoutId id="2147498136" r:id="rId16435"/>
    <p:sldLayoutId id="2147498120" r:id="rId16436"/>
    <p:sldLayoutId id="2147498123" r:id="rId16437"/>
    <p:sldLayoutId id="2147498132" r:id="rId16438"/>
    <p:sldLayoutId id="2147498127" r:id="rId16439"/>
    <p:sldLayoutId id="2147498216" r:id="rId16440"/>
    <p:sldLayoutId id="2147498186" r:id="rId16441"/>
    <p:sldLayoutId id="2147498239" r:id="rId16442"/>
    <p:sldLayoutId id="2147498249" r:id="rId16443"/>
    <p:sldLayoutId id="2147498245" r:id="rId16444"/>
    <p:sldLayoutId id="2147498259" r:id="rId16445"/>
    <p:sldLayoutId id="2147498257" r:id="rId16446"/>
    <p:sldLayoutId id="2147498263" r:id="rId16447"/>
    <p:sldLayoutId id="2147498275" r:id="rId16448"/>
    <p:sldLayoutId id="2147498267" r:id="rId16449"/>
    <p:sldLayoutId id="2147498269" r:id="rId16450"/>
    <p:sldLayoutId id="2147498273" r:id="rId16451"/>
    <p:sldLayoutId id="2147498271" r:id="rId16452"/>
    <p:sldLayoutId id="2147498226" r:id="rId16453"/>
    <p:sldLayoutId id="2147498246" r:id="rId16454"/>
    <p:sldLayoutId id="2147498235" r:id="rId16455"/>
    <p:sldLayoutId id="2147498248" r:id="rId16456"/>
    <p:sldLayoutId id="2147498243" r:id="rId16457"/>
    <p:sldLayoutId id="2147498258" r:id="rId16458"/>
    <p:sldLayoutId id="2147498256" r:id="rId16459"/>
    <p:sldLayoutId id="2147498262" r:id="rId16460"/>
    <p:sldLayoutId id="2147498229" r:id="rId16461"/>
    <p:sldLayoutId id="2147498204" r:id="rId16462"/>
    <p:sldLayoutId id="2147498210" r:id="rId16463"/>
    <p:sldLayoutId id="2147498223" r:id="rId16464"/>
    <p:sldLayoutId id="2147498220" r:id="rId16465"/>
    <p:sldLayoutId id="2147498309" r:id="rId16466"/>
    <p:sldLayoutId id="2147498381" r:id="rId16467"/>
    <p:sldLayoutId id="2147498316" r:id="rId16468"/>
    <p:sldLayoutId id="2147498326" r:id="rId16469"/>
    <p:sldLayoutId id="2147498322" r:id="rId16470"/>
    <p:sldLayoutId id="2147498332" r:id="rId16471"/>
    <p:sldLayoutId id="2147498331" r:id="rId16472"/>
    <p:sldLayoutId id="2147498338" r:id="rId16473"/>
    <p:sldLayoutId id="2147498371" r:id="rId16474"/>
    <p:sldLayoutId id="2147498347" r:id="rId16475"/>
    <p:sldLayoutId id="2147498353" r:id="rId16476"/>
    <p:sldLayoutId id="2147498365" r:id="rId16477"/>
    <p:sldLayoutId id="2147498359" r:id="rId16478"/>
    <p:sldLayoutId id="2147498427" r:id="rId16479"/>
    <p:sldLayoutId id="2147498459" r:id="rId16480"/>
    <p:sldLayoutId id="2147498439" r:id="rId16481"/>
    <p:sldLayoutId id="2147498461" r:id="rId16482"/>
    <p:sldLayoutId id="2147498455" r:id="rId16483"/>
    <p:sldLayoutId id="2147498475" r:id="rId16484"/>
    <p:sldLayoutId id="2147498473" r:id="rId16485"/>
    <p:sldLayoutId id="2147498481" r:id="rId16486"/>
    <p:sldLayoutId id="2147498431" r:id="rId16487"/>
    <p:sldLayoutId id="2147498403" r:id="rId16488"/>
    <p:sldLayoutId id="2147498411" r:id="rId16489"/>
    <p:sldLayoutId id="2147498423" r:id="rId16490"/>
    <p:sldLayoutId id="2147498417" r:id="rId16491"/>
    <p:sldLayoutId id="2147498730" r:id="rId16492"/>
    <p:sldLayoutId id="2147498801" r:id="rId16493"/>
    <p:sldLayoutId id="2147498734" r:id="rId16494"/>
    <p:sldLayoutId id="2147498740" r:id="rId16495"/>
    <p:sldLayoutId id="2147498737" r:id="rId16496"/>
    <p:sldLayoutId id="2147498745" r:id="rId16497"/>
    <p:sldLayoutId id="2147498743" r:id="rId16498"/>
    <p:sldLayoutId id="2147498748" r:id="rId16499"/>
    <p:sldLayoutId id="2147498780" r:id="rId16500"/>
    <p:sldLayoutId id="2147498761" r:id="rId16501"/>
    <p:sldLayoutId id="2147498767" r:id="rId16502"/>
    <p:sldLayoutId id="2147498776" r:id="rId16503"/>
    <p:sldLayoutId id="2147498773" r:id="rId16504"/>
    <p:sldLayoutId id="2147498559" r:id="rId16505"/>
    <p:sldLayoutId id="2147498585" r:id="rId16506"/>
    <p:sldLayoutId id="2147498569" r:id="rId16507"/>
    <p:sldLayoutId id="2147498587" r:id="rId16508"/>
    <p:sldLayoutId id="2147498579" r:id="rId16509"/>
    <p:sldLayoutId id="2147498603" r:id="rId16510"/>
    <p:sldLayoutId id="2147498599" r:id="rId16511"/>
    <p:sldLayoutId id="2147498607" r:id="rId16512"/>
    <p:sldLayoutId id="2147498561" r:id="rId16513"/>
    <p:sldLayoutId id="2147498537" r:id="rId16514"/>
    <p:sldLayoutId id="2147498541" r:id="rId16515"/>
    <p:sldLayoutId id="2147498553" r:id="rId16516"/>
    <p:sldLayoutId id="2147498547" r:id="rId16517"/>
    <p:sldLayoutId id="2147498637" r:id="rId16518"/>
    <p:sldLayoutId id="2147498617" r:id="rId16519"/>
    <p:sldLayoutId id="2147498665" r:id="rId16520"/>
    <p:sldLayoutId id="2147498683" r:id="rId16521"/>
    <p:sldLayoutId id="2147498675" r:id="rId16522"/>
    <p:sldLayoutId id="2147498701" r:id="rId16523"/>
    <p:sldLayoutId id="2147498698" r:id="rId16524"/>
    <p:sldLayoutId id="2147498707" r:id="rId16525"/>
    <p:sldLayoutId id="2147498725" r:id="rId16526"/>
    <p:sldLayoutId id="2147498713" r:id="rId16527"/>
    <p:sldLayoutId id="2147498716" r:id="rId16528"/>
    <p:sldLayoutId id="2147498722" r:id="rId16529"/>
    <p:sldLayoutId id="2147498719" r:id="rId16530"/>
    <p:sldLayoutId id="2147498647" r:id="rId16531"/>
    <p:sldLayoutId id="2147498677" r:id="rId16532"/>
    <p:sldLayoutId id="2147498659" r:id="rId16533"/>
    <p:sldLayoutId id="2147498681" r:id="rId16534"/>
    <p:sldLayoutId id="2147498671" r:id="rId16535"/>
    <p:sldLayoutId id="2147498700" r:id="rId16536"/>
    <p:sldLayoutId id="2147498697" r:id="rId16537"/>
    <p:sldLayoutId id="2147498706" r:id="rId16538"/>
    <p:sldLayoutId id="2147498651" r:id="rId16539"/>
    <p:sldLayoutId id="2147498629" r:id="rId16540"/>
    <p:sldLayoutId id="2147498633" r:id="rId16541"/>
    <p:sldLayoutId id="2147498643" r:id="rId16542"/>
    <p:sldLayoutId id="2147498639" r:id="rId16543"/>
    <p:sldLayoutId id="2147498790" r:id="rId16544"/>
    <p:sldLayoutId id="2147498817" r:id="rId16545"/>
    <p:sldLayoutId id="2147498531" r:id="rId16546"/>
    <p:sldLayoutId id="2147498557" r:id="rId16547"/>
    <p:sldLayoutId id="2147498545" r:id="rId16548"/>
    <p:sldLayoutId id="2147498583" r:id="rId16549"/>
    <p:sldLayoutId id="2147498577" r:id="rId16550"/>
    <p:sldLayoutId id="2147498595" r:id="rId16551"/>
    <p:sldLayoutId id="2147498814" r:id="rId16552"/>
    <p:sldLayoutId id="2147498806" r:id="rId16553"/>
    <p:sldLayoutId id="2147498808" r:id="rId16554"/>
    <p:sldLayoutId id="2147498812" r:id="rId16555"/>
    <p:sldLayoutId id="2147498810" r:id="rId16556"/>
    <p:sldLayoutId id="2147498831" r:id="rId16557"/>
    <p:sldLayoutId id="2147498843" r:id="rId16558"/>
    <p:sldLayoutId id="2147498835" r:id="rId16559"/>
    <p:sldLayoutId id="2147498844" r:id="rId16560"/>
    <p:sldLayoutId id="2147498840" r:id="rId16561"/>
    <p:sldLayoutId id="2147503265" r:id="rId16562"/>
    <p:sldLayoutId id="2147503264" r:id="rId16563"/>
    <p:sldLayoutId id="2147503267" r:id="rId16564"/>
    <p:sldLayoutId id="2147498832" r:id="rId16565"/>
    <p:sldLayoutId id="2147498823" r:id="rId16566"/>
    <p:sldLayoutId id="2147498825" r:id="rId16567"/>
    <p:sldLayoutId id="2147498829" r:id="rId16568"/>
    <p:sldLayoutId id="2147498827" r:id="rId16569"/>
    <p:sldLayoutId id="2147498757" r:id="rId16570"/>
    <p:sldLayoutId id="2147498517" r:id="rId16571"/>
    <p:sldLayoutId id="2147498766" r:id="rId16572"/>
    <p:sldLayoutId id="2147498777" r:id="rId16573"/>
    <p:sldLayoutId id="2147498772" r:id="rId16574"/>
    <p:sldLayoutId id="2147498782" r:id="rId16575"/>
    <p:sldLayoutId id="2147498781" r:id="rId16576"/>
    <p:sldLayoutId id="2147498784" r:id="rId16577"/>
    <p:sldLayoutId id="2147498525" r:id="rId16578"/>
    <p:sldLayoutId id="2147498788" r:id="rId16579"/>
    <p:sldLayoutId id="2147498792" r:id="rId16580"/>
    <p:sldLayoutId id="2147498800" r:id="rId16581"/>
    <p:sldLayoutId id="2147498796" r:id="rId16582"/>
    <p:sldLayoutId id="2147503325" r:id="rId16583"/>
    <p:sldLayoutId id="2147503370" r:id="rId16584"/>
    <p:sldLayoutId id="2147503330" r:id="rId16585"/>
    <p:sldLayoutId id="2147503337" r:id="rId16586"/>
    <p:sldLayoutId id="2147503334" r:id="rId16587"/>
    <p:sldLayoutId id="2147503343" r:id="rId16588"/>
    <p:sldLayoutId id="2147503341" r:id="rId16589"/>
    <p:sldLayoutId id="2147503346" r:id="rId16590"/>
    <p:sldLayoutId id="2147503365" r:id="rId16591"/>
    <p:sldLayoutId id="2147503352" r:id="rId16592"/>
    <p:sldLayoutId id="2147503355" r:id="rId16593"/>
    <p:sldLayoutId id="2147503362" r:id="rId16594"/>
    <p:sldLayoutId id="2147503358" r:id="rId16595"/>
    <p:sldLayoutId id="2147503403" r:id="rId16596"/>
    <p:sldLayoutId id="2147503423" r:id="rId16597"/>
    <p:sldLayoutId id="2147503411" r:id="rId16598"/>
    <p:sldLayoutId id="2147503425" r:id="rId16599"/>
    <p:sldLayoutId id="2147503419" r:id="rId16600"/>
    <p:sldLayoutId id="2147503435" r:id="rId16601"/>
    <p:sldLayoutId id="2147503433" r:id="rId16602"/>
    <p:sldLayoutId id="2147503439" r:id="rId16603"/>
    <p:sldLayoutId id="2147503405" r:id="rId16604"/>
    <p:sldLayoutId id="2147503386" r:id="rId16605"/>
    <p:sldLayoutId id="2147503391" r:id="rId16606"/>
    <p:sldLayoutId id="2147503399" r:id="rId16607"/>
    <p:sldLayoutId id="2147503395" r:id="rId16608"/>
    <p:sldLayoutId id="2147497951" r:id="rId16609"/>
    <p:sldLayoutId id="2147497919" r:id="rId16610"/>
    <p:sldLayoutId id="2147497999" r:id="rId16611"/>
    <p:sldLayoutId id="2147498031" r:id="rId16612"/>
    <p:sldLayoutId id="2147498017" r:id="rId16613"/>
    <p:sldLayoutId id="2147498069" r:id="rId16614"/>
    <p:sldLayoutId id="2147498059" r:id="rId16615"/>
    <p:sldLayoutId id="2147498082" r:id="rId16616"/>
    <p:sldLayoutId id="2147498108" r:id="rId16617"/>
    <p:sldLayoutId id="2147498088" r:id="rId16618"/>
    <p:sldLayoutId id="2147498095" r:id="rId16619"/>
    <p:sldLayoutId id="2147498106" r:id="rId16620"/>
    <p:sldLayoutId id="2147498102" r:id="rId16621"/>
    <p:sldLayoutId id="2147497967" r:id="rId16622"/>
    <p:sldLayoutId id="2147498019" r:id="rId16623"/>
    <p:sldLayoutId id="2147497989" r:id="rId16624"/>
    <p:sldLayoutId id="2147498027" r:id="rId16625"/>
    <p:sldLayoutId id="2147498009" r:id="rId16626"/>
    <p:sldLayoutId id="2147498065" r:id="rId16627"/>
    <p:sldLayoutId id="2147498055" r:id="rId16628"/>
    <p:sldLayoutId id="2147498078" r:id="rId16629"/>
    <p:sldLayoutId id="2147497975" r:id="rId16630"/>
    <p:sldLayoutId id="2147497939" r:id="rId16631"/>
    <p:sldLayoutId id="2147497945" r:id="rId16632"/>
    <p:sldLayoutId id="2147497961" r:id="rId16633"/>
    <p:sldLayoutId id="2147497955" r:id="rId16634"/>
    <p:sldLayoutId id="2147498166" r:id="rId16635"/>
    <p:sldLayoutId id="2147503275" r:id="rId16636"/>
    <p:sldLayoutId id="2147498171" r:id="rId16637"/>
    <p:sldLayoutId id="2147498178" r:id="rId16638"/>
    <p:sldLayoutId id="2147498174" r:id="rId16639"/>
    <p:sldLayoutId id="2147498196" r:id="rId16640"/>
    <p:sldLayoutId id="2147498190" r:id="rId16641"/>
    <p:sldLayoutId id="2147498206" r:id="rId16642"/>
    <p:sldLayoutId id="2147503272" r:id="rId16643"/>
    <p:sldLayoutId id="2147498225" r:id="rId16644"/>
    <p:sldLayoutId id="2147498231" r:id="rId16645"/>
    <p:sldLayoutId id="2147503270" r:id="rId16646"/>
    <p:sldLayoutId id="2147498237" r:id="rId16647"/>
    <p:sldLayoutId id="2147503291" r:id="rId16648"/>
    <p:sldLayoutId id="2147503307" r:id="rId16649"/>
    <p:sldLayoutId id="2147503297" r:id="rId16650"/>
    <p:sldLayoutId id="2147503309" r:id="rId16651"/>
    <p:sldLayoutId id="2147503303" r:id="rId16652"/>
    <p:sldLayoutId id="2147503316" r:id="rId16653"/>
    <p:sldLayoutId id="2147503315" r:id="rId16654"/>
    <p:sldLayoutId id="2147503320" r:id="rId16655"/>
    <p:sldLayoutId id="2147503293" r:id="rId16656"/>
    <p:sldLayoutId id="2147503281" r:id="rId16657"/>
    <p:sldLayoutId id="2147503283" r:id="rId16658"/>
    <p:sldLayoutId id="2147503287" r:id="rId16659"/>
    <p:sldLayoutId id="2147503285" r:id="rId16660"/>
    <p:sldLayoutId id="2147498493" r:id="rId16661"/>
    <p:sldLayoutId id="2147498029" r:id="rId16662"/>
    <p:sldLayoutId id="2147497947" r:id="rId16663"/>
    <p:sldLayoutId id="2147497959" r:id="rId16664"/>
    <p:sldLayoutId id="2147497953" r:id="rId16665"/>
    <p:sldLayoutId id="2147497969" r:id="rId16666"/>
    <p:sldLayoutId id="2147497965" r:id="rId16667"/>
    <p:sldLayoutId id="2147498503" r:id="rId16668"/>
    <p:sldLayoutId id="2147498509" r:id="rId16669"/>
    <p:sldLayoutId id="2147498505" r:id="rId16670"/>
    <p:sldLayoutId id="2147497997" r:id="rId16671"/>
    <p:sldLayoutId id="2147498011" r:id="rId16672"/>
    <p:sldLayoutId id="2147498507" r:id="rId16673"/>
    <p:sldLayoutId id="2147498290" r:id="rId16674"/>
    <p:sldLayoutId id="2147498300" r:id="rId16675"/>
    <p:sldLayoutId id="2147498294" r:id="rId16676"/>
    <p:sldLayoutId id="2147503379" r:id="rId16677"/>
    <p:sldLayoutId id="2147498298" r:id="rId16678"/>
    <p:sldLayoutId id="2147498302" r:id="rId16679"/>
    <p:sldLayoutId id="2147498301" r:id="rId16680"/>
    <p:sldLayoutId id="2147498304" r:id="rId16681"/>
    <p:sldLayoutId id="2147498291" r:id="rId16682"/>
    <p:sldLayoutId id="2147498282" r:id="rId16683"/>
    <p:sldLayoutId id="2147498284" r:id="rId16684"/>
    <p:sldLayoutId id="2147498288" r:id="rId16685"/>
    <p:sldLayoutId id="2147498286" r:id="rId16686"/>
    <p:sldLayoutId id="2147498349" r:id="rId16687"/>
    <p:sldLayoutId id="2147498310" r:id="rId16688"/>
    <p:sldLayoutId id="2147498409" r:id="rId16689"/>
    <p:sldLayoutId id="2147503451" r:id="rId16690"/>
    <p:sldLayoutId id="2147503445" r:id="rId16691"/>
    <p:sldLayoutId id="2147503463" r:id="rId16692"/>
    <p:sldLayoutId id="2147503461" r:id="rId16693"/>
    <p:sldLayoutId id="2147497899" r:id="rId16694"/>
    <p:sldLayoutId id="2147497927" r:id="rId16695"/>
    <p:sldLayoutId id="2147497905" r:id="rId16696"/>
    <p:sldLayoutId id="2147497909" r:id="rId16697"/>
    <p:sldLayoutId id="2147497921" r:id="rId16698"/>
    <p:sldLayoutId id="2147497913" r:id="rId16699"/>
    <p:sldLayoutId id="2147498367" r:id="rId16700"/>
    <p:sldLayoutId id="2147503447" r:id="rId16701"/>
    <p:sldLayoutId id="2147498397" r:id="rId16702"/>
    <p:sldLayoutId id="2147498441" r:id="rId16703"/>
    <p:sldLayoutId id="2147498429" r:id="rId16704"/>
    <p:sldLayoutId id="2147498463" r:id="rId16705"/>
    <p:sldLayoutId id="2147503459" r:id="rId16706"/>
    <p:sldLayoutId id="2147498479" r:id="rId16707"/>
    <p:sldLayoutId id="2147498379" r:id="rId16708"/>
    <p:sldLayoutId id="2147498334" r:id="rId16709"/>
    <p:sldLayoutId id="2147498340" r:id="rId16710"/>
    <p:sldLayoutId id="2147498358" r:id="rId16711"/>
    <p:sldLayoutId id="2147498352" r:id="rId16712"/>
    <p:sldLayoutId id="2147483659" r:id="rId16713"/>
    <p:sldLayoutId id="2147483660" r:id="rId16714"/>
    <p:sldLayoutId id="2147483662" r:id="rId16715"/>
    <p:sldLayoutId id="2147483665" r:id="rId16716"/>
    <p:sldLayoutId id="2147483667" r:id="rId16717"/>
    <p:sldLayoutId id="2147483668" r:id="rId16718"/>
    <p:sldLayoutId id="2147483670" r:id="rId16719"/>
    <p:sldLayoutId id="2147483676" r:id="rId1672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715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715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7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715.xm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715.xml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671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6715.xml"/><Relationship Id="rId1" Type="http://schemas.openxmlformats.org/officeDocument/2006/relationships/tags" Target="../tags/tag6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7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6715.xml"/><Relationship Id="rId1" Type="http://schemas.openxmlformats.org/officeDocument/2006/relationships/tags" Target="../tags/tag8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7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28.svg"/><Relationship Id="rId2" Type="http://schemas.openxmlformats.org/officeDocument/2006/relationships/slideLayout" Target="../slideLayouts/slideLayout16715.xml"/><Relationship Id="rId1" Type="http://schemas.openxmlformats.org/officeDocument/2006/relationships/tags" Target="../tags/tag9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30.sv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6718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79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16715.xml"/><Relationship Id="rId1" Type="http://schemas.openxmlformats.org/officeDocument/2006/relationships/tags" Target="../tags/tag12.xml"/><Relationship Id="rId6" Type="http://schemas.openxmlformats.org/officeDocument/2006/relationships/image" Target="../media/image35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1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16715.xml"/><Relationship Id="rId1" Type="http://schemas.openxmlformats.org/officeDocument/2006/relationships/tags" Target="../tags/tag13.xml"/><Relationship Id="rId6" Type="http://schemas.openxmlformats.org/officeDocument/2006/relationships/image" Target="../media/image3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2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16715.xml"/><Relationship Id="rId1" Type="http://schemas.openxmlformats.org/officeDocument/2006/relationships/tags" Target="../tags/tag14.xml"/><Relationship Id="rId6" Type="http://schemas.openxmlformats.org/officeDocument/2006/relationships/image" Target="../media/image39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3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16715.xml"/><Relationship Id="rId1" Type="http://schemas.openxmlformats.org/officeDocument/2006/relationships/tags" Target="../tags/tag15.xml"/><Relationship Id="rId6" Type="http://schemas.openxmlformats.org/officeDocument/2006/relationships/image" Target="../media/image41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4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16715.xml"/><Relationship Id="rId1" Type="http://schemas.openxmlformats.org/officeDocument/2006/relationships/tags" Target="../tags/tag16.xml"/><Relationship Id="rId6" Type="http://schemas.openxmlformats.org/officeDocument/2006/relationships/image" Target="../media/image43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5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6715.xml"/><Relationship Id="rId1" Type="http://schemas.openxmlformats.org/officeDocument/2006/relationships/tags" Target="../tags/tag17.xml"/><Relationship Id="rId6" Type="http://schemas.openxmlformats.org/officeDocument/2006/relationships/image" Target="../media/image45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6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16715.xml"/><Relationship Id="rId1" Type="http://schemas.openxmlformats.org/officeDocument/2006/relationships/tags" Target="../tags/tag18.xml"/><Relationship Id="rId6" Type="http://schemas.openxmlformats.org/officeDocument/2006/relationships/image" Target="../media/image41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7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16715.xml"/><Relationship Id="rId1" Type="http://schemas.openxmlformats.org/officeDocument/2006/relationships/tags" Target="../tags/tag19.xml"/><Relationship Id="rId6" Type="http://schemas.openxmlformats.org/officeDocument/2006/relationships/image" Target="../media/image4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8.bin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svg"/><Relationship Id="rId3" Type="http://schemas.openxmlformats.org/officeDocument/2006/relationships/notesSlide" Target="../notesSlides/notesSlide33.xml"/><Relationship Id="rId7" Type="http://schemas.openxmlformats.org/officeDocument/2006/relationships/image" Target="../media/image16.svg"/><Relationship Id="rId12" Type="http://schemas.openxmlformats.org/officeDocument/2006/relationships/image" Target="../media/image21.png"/><Relationship Id="rId2" Type="http://schemas.openxmlformats.org/officeDocument/2006/relationships/slideLayout" Target="../slideLayouts/slideLayout16715.xml"/><Relationship Id="rId1" Type="http://schemas.openxmlformats.org/officeDocument/2006/relationships/tags" Target="../tags/tag20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26.emf"/><Relationship Id="rId15" Type="http://schemas.openxmlformats.org/officeDocument/2006/relationships/image" Target="../media/image24.svg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8.svg"/><Relationship Id="rId14" Type="http://schemas.openxmlformats.org/officeDocument/2006/relationships/image" Target="../media/image2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16715.xml"/><Relationship Id="rId1" Type="http://schemas.openxmlformats.org/officeDocument/2006/relationships/tags" Target="../tags/tag21.xml"/><Relationship Id="rId6" Type="http://schemas.openxmlformats.org/officeDocument/2006/relationships/image" Target="../media/image49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715.xml"/><Relationship Id="rId4" Type="http://schemas.openxmlformats.org/officeDocument/2006/relationships/image" Target="../media/image4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7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7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7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7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29"/>
          <p:cNvSpPr txBox="1">
            <a:spLocks noGrp="1"/>
          </p:cNvSpPr>
          <p:nvPr>
            <p:ph type="ctrTitle"/>
          </p:nvPr>
        </p:nvSpPr>
        <p:spPr>
          <a:xfrm>
            <a:off x="713225" y="961275"/>
            <a:ext cx="4539900" cy="2451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/>
              <a:t>Mini Project 2</a:t>
            </a:r>
            <a:br>
              <a:rPr lang="en" b="1"/>
            </a:br>
            <a:r>
              <a:rPr lang="en" sz="3200" b="1"/>
              <a:t>Bank</a:t>
            </a:r>
            <a:r>
              <a:rPr lang="en" b="1"/>
              <a:t> </a:t>
            </a:r>
            <a:r>
              <a:rPr lang="en" sz="3200" b="1"/>
              <a:t>Term Deposit Subscription</a:t>
            </a:r>
            <a:endParaRPr/>
          </a:p>
        </p:txBody>
      </p:sp>
      <p:sp>
        <p:nvSpPr>
          <p:cNvPr id="259" name="Google Shape;259;p29"/>
          <p:cNvSpPr txBox="1">
            <a:spLocks noGrp="1"/>
          </p:cNvSpPr>
          <p:nvPr>
            <p:ph type="subTitle" idx="1"/>
          </p:nvPr>
        </p:nvSpPr>
        <p:spPr>
          <a:xfrm>
            <a:off x="1706525" y="3341875"/>
            <a:ext cx="2553300" cy="114147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oy Chowdhury, Ritwik</a:t>
            </a:r>
            <a:br>
              <a:rPr lang="en"/>
            </a:br>
            <a:r>
              <a:rPr lang="en"/>
              <a:t>Datta Chakraborty, Shreyan</a:t>
            </a:r>
            <a:br>
              <a:rPr lang="en"/>
            </a:br>
            <a:r>
              <a:rPr lang="en"/>
              <a:t>Muchahary, Frankle</a:t>
            </a:r>
            <a:br>
              <a:rPr lang="en"/>
            </a:br>
            <a:r>
              <a:rPr lang="en"/>
              <a:t>Tan, Roger</a:t>
            </a:r>
            <a:br>
              <a:rPr lang="en"/>
            </a:br>
            <a:r>
              <a:rPr lang="en"/>
              <a:t>(Team-42)</a:t>
            </a:r>
            <a:endParaRPr/>
          </a:p>
        </p:txBody>
      </p:sp>
      <p:sp>
        <p:nvSpPr>
          <p:cNvPr id="260" name="Google Shape;260;p29"/>
          <p:cNvSpPr/>
          <p:nvPr/>
        </p:nvSpPr>
        <p:spPr>
          <a:xfrm>
            <a:off x="6238001" y="171376"/>
            <a:ext cx="1226100" cy="1226100"/>
          </a:xfrm>
          <a:prstGeom prst="pie">
            <a:avLst>
              <a:gd name="adj1" fmla="val 0"/>
              <a:gd name="adj2" fmla="val 16200000"/>
            </a:avLst>
          </a:prstGeom>
          <a:solidFill>
            <a:srgbClr val="000000">
              <a:alpha val="12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61" name="Google Shape;261;p29"/>
          <p:cNvGrpSpPr/>
          <p:nvPr/>
        </p:nvGrpSpPr>
        <p:grpSpPr>
          <a:xfrm>
            <a:off x="6441108" y="3752866"/>
            <a:ext cx="1301097" cy="1072159"/>
            <a:chOff x="8077428" y="4048214"/>
            <a:chExt cx="933690" cy="788700"/>
          </a:xfrm>
        </p:grpSpPr>
        <p:sp>
          <p:nvSpPr>
            <p:cNvPr id="262" name="Google Shape;262;p29"/>
            <p:cNvSpPr/>
            <p:nvPr/>
          </p:nvSpPr>
          <p:spPr>
            <a:xfrm>
              <a:off x="8077428" y="4048214"/>
              <a:ext cx="235200" cy="7887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" name="Google Shape;263;p29"/>
            <p:cNvSpPr/>
            <p:nvPr/>
          </p:nvSpPr>
          <p:spPr>
            <a:xfrm>
              <a:off x="8426673" y="4191843"/>
              <a:ext cx="235200" cy="6450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" name="Google Shape;264;p29"/>
            <p:cNvSpPr/>
            <p:nvPr/>
          </p:nvSpPr>
          <p:spPr>
            <a:xfrm>
              <a:off x="8775917" y="4392244"/>
              <a:ext cx="235200" cy="4446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65" name="Google Shape;265;p29"/>
          <p:cNvSpPr/>
          <p:nvPr/>
        </p:nvSpPr>
        <p:spPr>
          <a:xfrm>
            <a:off x="8938809" y="184686"/>
            <a:ext cx="140400" cy="1404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6" name="Google Shape;266;p29"/>
          <p:cNvSpPr/>
          <p:nvPr/>
        </p:nvSpPr>
        <p:spPr>
          <a:xfrm>
            <a:off x="6181396" y="3101671"/>
            <a:ext cx="140400" cy="140400"/>
          </a:xfrm>
          <a:prstGeom prst="ellipse">
            <a:avLst/>
          </a:prstGeom>
          <a:solidFill>
            <a:srgbClr val="000000">
              <a:alpha val="12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67" name="Google Shape;267;p29"/>
          <p:cNvGrpSpPr/>
          <p:nvPr/>
        </p:nvGrpSpPr>
        <p:grpSpPr>
          <a:xfrm>
            <a:off x="7770421" y="237411"/>
            <a:ext cx="1133755" cy="1742342"/>
            <a:chOff x="10151996" y="778186"/>
            <a:chExt cx="1133755" cy="1742342"/>
          </a:xfrm>
        </p:grpSpPr>
        <p:sp>
          <p:nvSpPr>
            <p:cNvPr id="268" name="Google Shape;268;p29"/>
            <p:cNvSpPr/>
            <p:nvPr/>
          </p:nvSpPr>
          <p:spPr>
            <a:xfrm>
              <a:off x="10153099" y="866402"/>
              <a:ext cx="1132653" cy="1654125"/>
            </a:xfrm>
            <a:custGeom>
              <a:avLst/>
              <a:gdLst/>
              <a:ahLst/>
              <a:cxnLst/>
              <a:rect l="l" t="t" r="r" b="b"/>
              <a:pathLst>
                <a:path w="11298" h="16500" extrusionOk="0">
                  <a:moveTo>
                    <a:pt x="7107" y="1"/>
                  </a:moveTo>
                  <a:cubicBezTo>
                    <a:pt x="7069" y="1"/>
                    <a:pt x="7031" y="11"/>
                    <a:pt x="6995" y="32"/>
                  </a:cubicBezTo>
                  <a:lnTo>
                    <a:pt x="1938" y="3028"/>
                  </a:lnTo>
                  <a:cubicBezTo>
                    <a:pt x="1735" y="3152"/>
                    <a:pt x="1600" y="3366"/>
                    <a:pt x="1600" y="3603"/>
                  </a:cubicBezTo>
                  <a:lnTo>
                    <a:pt x="902" y="4020"/>
                  </a:lnTo>
                  <a:cubicBezTo>
                    <a:pt x="688" y="4143"/>
                    <a:pt x="564" y="4369"/>
                    <a:pt x="564" y="4605"/>
                  </a:cubicBezTo>
                  <a:lnTo>
                    <a:pt x="564" y="6700"/>
                  </a:lnTo>
                  <a:lnTo>
                    <a:pt x="417" y="6779"/>
                  </a:lnTo>
                  <a:cubicBezTo>
                    <a:pt x="271" y="6869"/>
                    <a:pt x="158" y="6993"/>
                    <a:pt x="91" y="7139"/>
                  </a:cubicBezTo>
                  <a:lnTo>
                    <a:pt x="79" y="7139"/>
                  </a:lnTo>
                  <a:cubicBezTo>
                    <a:pt x="23" y="7173"/>
                    <a:pt x="1" y="7432"/>
                    <a:pt x="1" y="7432"/>
                  </a:cubicBezTo>
                  <a:lnTo>
                    <a:pt x="1" y="13526"/>
                  </a:lnTo>
                  <a:cubicBezTo>
                    <a:pt x="1" y="13537"/>
                    <a:pt x="1" y="13548"/>
                    <a:pt x="1" y="13560"/>
                  </a:cubicBezTo>
                  <a:cubicBezTo>
                    <a:pt x="1" y="13661"/>
                    <a:pt x="34" y="13751"/>
                    <a:pt x="91" y="13819"/>
                  </a:cubicBezTo>
                  <a:cubicBezTo>
                    <a:pt x="136" y="13886"/>
                    <a:pt x="192" y="13909"/>
                    <a:pt x="226" y="13920"/>
                  </a:cubicBezTo>
                  <a:cubicBezTo>
                    <a:pt x="237" y="13931"/>
                    <a:pt x="260" y="13942"/>
                    <a:pt x="271" y="13942"/>
                  </a:cubicBezTo>
                  <a:lnTo>
                    <a:pt x="1037" y="14393"/>
                  </a:lnTo>
                  <a:cubicBezTo>
                    <a:pt x="1023" y="14379"/>
                    <a:pt x="1009" y="14365"/>
                    <a:pt x="995" y="14351"/>
                  </a:cubicBezTo>
                  <a:lnTo>
                    <a:pt x="995" y="14351"/>
                  </a:lnTo>
                  <a:cubicBezTo>
                    <a:pt x="1070" y="14420"/>
                    <a:pt x="1168" y="14459"/>
                    <a:pt x="1270" y="14459"/>
                  </a:cubicBezTo>
                  <a:cubicBezTo>
                    <a:pt x="1339" y="14459"/>
                    <a:pt x="1409" y="14442"/>
                    <a:pt x="1476" y="14404"/>
                  </a:cubicBezTo>
                  <a:lnTo>
                    <a:pt x="6218" y="11656"/>
                  </a:lnTo>
                  <a:lnTo>
                    <a:pt x="6218" y="11679"/>
                  </a:lnTo>
                  <a:cubicBezTo>
                    <a:pt x="6218" y="11701"/>
                    <a:pt x="6218" y="11724"/>
                    <a:pt x="6218" y="11757"/>
                  </a:cubicBezTo>
                  <a:cubicBezTo>
                    <a:pt x="6218" y="11870"/>
                    <a:pt x="6229" y="11971"/>
                    <a:pt x="6263" y="12084"/>
                  </a:cubicBezTo>
                  <a:cubicBezTo>
                    <a:pt x="6229" y="12185"/>
                    <a:pt x="6218" y="12298"/>
                    <a:pt x="6218" y="12411"/>
                  </a:cubicBezTo>
                  <a:cubicBezTo>
                    <a:pt x="6218" y="12478"/>
                    <a:pt x="6218" y="12535"/>
                    <a:pt x="6229" y="12591"/>
                  </a:cubicBezTo>
                  <a:lnTo>
                    <a:pt x="6218" y="13165"/>
                  </a:lnTo>
                  <a:cubicBezTo>
                    <a:pt x="6218" y="13199"/>
                    <a:pt x="6218" y="13222"/>
                    <a:pt x="6218" y="13244"/>
                  </a:cubicBezTo>
                  <a:cubicBezTo>
                    <a:pt x="6218" y="13357"/>
                    <a:pt x="6229" y="13469"/>
                    <a:pt x="6263" y="13571"/>
                  </a:cubicBezTo>
                  <a:cubicBezTo>
                    <a:pt x="6229" y="13683"/>
                    <a:pt x="6218" y="13796"/>
                    <a:pt x="6218" y="13909"/>
                  </a:cubicBezTo>
                  <a:cubicBezTo>
                    <a:pt x="6218" y="13965"/>
                    <a:pt x="6218" y="14033"/>
                    <a:pt x="6229" y="14089"/>
                  </a:cubicBezTo>
                  <a:lnTo>
                    <a:pt x="6218" y="14663"/>
                  </a:lnTo>
                  <a:cubicBezTo>
                    <a:pt x="6218" y="14686"/>
                    <a:pt x="6218" y="14708"/>
                    <a:pt x="6218" y="14731"/>
                  </a:cubicBezTo>
                  <a:cubicBezTo>
                    <a:pt x="6218" y="15711"/>
                    <a:pt x="7356" y="16499"/>
                    <a:pt x="8763" y="16499"/>
                  </a:cubicBezTo>
                  <a:cubicBezTo>
                    <a:pt x="10160" y="16499"/>
                    <a:pt x="11298" y="15711"/>
                    <a:pt x="11298" y="14731"/>
                  </a:cubicBezTo>
                  <a:lnTo>
                    <a:pt x="11298" y="13897"/>
                  </a:lnTo>
                  <a:cubicBezTo>
                    <a:pt x="11298" y="13785"/>
                    <a:pt x="11286" y="13683"/>
                    <a:pt x="11253" y="13571"/>
                  </a:cubicBezTo>
                  <a:cubicBezTo>
                    <a:pt x="11286" y="13469"/>
                    <a:pt x="11298" y="13357"/>
                    <a:pt x="11298" y="13244"/>
                  </a:cubicBezTo>
                  <a:lnTo>
                    <a:pt x="11298" y="12411"/>
                  </a:lnTo>
                  <a:cubicBezTo>
                    <a:pt x="11298" y="12298"/>
                    <a:pt x="11286" y="12185"/>
                    <a:pt x="11253" y="12084"/>
                  </a:cubicBezTo>
                  <a:cubicBezTo>
                    <a:pt x="11286" y="11971"/>
                    <a:pt x="11298" y="11859"/>
                    <a:pt x="11298" y="11746"/>
                  </a:cubicBezTo>
                  <a:lnTo>
                    <a:pt x="11298" y="10924"/>
                  </a:lnTo>
                  <a:cubicBezTo>
                    <a:pt x="11298" y="9944"/>
                    <a:pt x="10160" y="9167"/>
                    <a:pt x="8763" y="9167"/>
                  </a:cubicBezTo>
                  <a:cubicBezTo>
                    <a:pt x="8459" y="9167"/>
                    <a:pt x="8178" y="9201"/>
                    <a:pt x="7919" y="9257"/>
                  </a:cubicBezTo>
                  <a:lnTo>
                    <a:pt x="7919" y="7534"/>
                  </a:lnTo>
                  <a:lnTo>
                    <a:pt x="8347" y="7286"/>
                  </a:lnTo>
                  <a:lnTo>
                    <a:pt x="8347" y="5191"/>
                  </a:lnTo>
                  <a:lnTo>
                    <a:pt x="7919" y="5439"/>
                  </a:lnTo>
                  <a:lnTo>
                    <a:pt x="7919" y="3839"/>
                  </a:lnTo>
                  <a:cubicBezTo>
                    <a:pt x="7919" y="3670"/>
                    <a:pt x="7784" y="3551"/>
                    <a:pt x="7636" y="3551"/>
                  </a:cubicBezTo>
                  <a:cubicBezTo>
                    <a:pt x="7588" y="3551"/>
                    <a:pt x="7538" y="3564"/>
                    <a:pt x="7491" y="3592"/>
                  </a:cubicBezTo>
                  <a:lnTo>
                    <a:pt x="7344" y="3682"/>
                  </a:lnTo>
                  <a:lnTo>
                    <a:pt x="7344" y="235"/>
                  </a:lnTo>
                  <a:cubicBezTo>
                    <a:pt x="7344" y="98"/>
                    <a:pt x="7228" y="1"/>
                    <a:pt x="7107" y="1"/>
                  </a:cubicBezTo>
                  <a:close/>
                </a:path>
              </a:pathLst>
            </a:cu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" name="Google Shape;269;p29"/>
            <p:cNvSpPr/>
            <p:nvPr/>
          </p:nvSpPr>
          <p:spPr>
            <a:xfrm>
              <a:off x="10153099" y="1091355"/>
              <a:ext cx="706981" cy="1093627"/>
            </a:xfrm>
            <a:custGeom>
              <a:avLst/>
              <a:gdLst/>
              <a:ahLst/>
              <a:cxnLst/>
              <a:rect l="l" t="t" r="r" b="b"/>
              <a:pathLst>
                <a:path w="7052" h="10909" extrusionOk="0">
                  <a:moveTo>
                    <a:pt x="6770" y="0"/>
                  </a:moveTo>
                  <a:cubicBezTo>
                    <a:pt x="6721" y="0"/>
                    <a:pt x="6671" y="13"/>
                    <a:pt x="6623" y="41"/>
                  </a:cubicBezTo>
                  <a:lnTo>
                    <a:pt x="417" y="3724"/>
                  </a:lnTo>
                  <a:cubicBezTo>
                    <a:pt x="158" y="3870"/>
                    <a:pt x="1" y="4152"/>
                    <a:pt x="1" y="4445"/>
                  </a:cubicBezTo>
                  <a:lnTo>
                    <a:pt x="1" y="10505"/>
                  </a:lnTo>
                  <a:cubicBezTo>
                    <a:pt x="1" y="10736"/>
                    <a:pt x="196" y="10909"/>
                    <a:pt x="409" y="10909"/>
                  </a:cubicBezTo>
                  <a:cubicBezTo>
                    <a:pt x="476" y="10909"/>
                    <a:pt x="544" y="10891"/>
                    <a:pt x="609" y="10854"/>
                  </a:cubicBezTo>
                  <a:lnTo>
                    <a:pt x="6533" y="7418"/>
                  </a:lnTo>
                  <a:cubicBezTo>
                    <a:pt x="6849" y="7227"/>
                    <a:pt x="7051" y="6878"/>
                    <a:pt x="7051" y="6506"/>
                  </a:cubicBezTo>
                  <a:lnTo>
                    <a:pt x="7051" y="278"/>
                  </a:lnTo>
                  <a:cubicBezTo>
                    <a:pt x="7051" y="117"/>
                    <a:pt x="6918" y="0"/>
                    <a:pt x="67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" name="Google Shape;270;p29"/>
            <p:cNvSpPr/>
            <p:nvPr/>
          </p:nvSpPr>
          <p:spPr>
            <a:xfrm>
              <a:off x="10153099" y="1091355"/>
              <a:ext cx="706981" cy="1093627"/>
            </a:xfrm>
            <a:custGeom>
              <a:avLst/>
              <a:gdLst/>
              <a:ahLst/>
              <a:cxnLst/>
              <a:rect l="l" t="t" r="r" b="b"/>
              <a:pathLst>
                <a:path w="7052" h="10909" extrusionOk="0">
                  <a:moveTo>
                    <a:pt x="6770" y="0"/>
                  </a:moveTo>
                  <a:cubicBezTo>
                    <a:pt x="6721" y="0"/>
                    <a:pt x="6671" y="13"/>
                    <a:pt x="6623" y="41"/>
                  </a:cubicBezTo>
                  <a:lnTo>
                    <a:pt x="417" y="3724"/>
                  </a:lnTo>
                  <a:cubicBezTo>
                    <a:pt x="158" y="3870"/>
                    <a:pt x="1" y="4152"/>
                    <a:pt x="1" y="4445"/>
                  </a:cubicBezTo>
                  <a:lnTo>
                    <a:pt x="1" y="10505"/>
                  </a:lnTo>
                  <a:cubicBezTo>
                    <a:pt x="1" y="10736"/>
                    <a:pt x="196" y="10909"/>
                    <a:pt x="409" y="10909"/>
                  </a:cubicBezTo>
                  <a:cubicBezTo>
                    <a:pt x="476" y="10909"/>
                    <a:pt x="544" y="10891"/>
                    <a:pt x="609" y="10854"/>
                  </a:cubicBezTo>
                  <a:lnTo>
                    <a:pt x="6533" y="7418"/>
                  </a:lnTo>
                  <a:cubicBezTo>
                    <a:pt x="6849" y="7227"/>
                    <a:pt x="7051" y="6878"/>
                    <a:pt x="7051" y="6506"/>
                  </a:cubicBezTo>
                  <a:lnTo>
                    <a:pt x="7051" y="278"/>
                  </a:lnTo>
                  <a:cubicBezTo>
                    <a:pt x="7051" y="117"/>
                    <a:pt x="6918" y="0"/>
                    <a:pt x="67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" name="Google Shape;271;p29"/>
            <p:cNvSpPr/>
            <p:nvPr/>
          </p:nvSpPr>
          <p:spPr>
            <a:xfrm>
              <a:off x="10153099" y="1084137"/>
              <a:ext cx="706981" cy="1111171"/>
            </a:xfrm>
            <a:custGeom>
              <a:avLst/>
              <a:gdLst/>
              <a:ahLst/>
              <a:cxnLst/>
              <a:rect l="l" t="t" r="r" b="b"/>
              <a:pathLst>
                <a:path w="7052" h="11084" fill="none" extrusionOk="0">
                  <a:moveTo>
                    <a:pt x="1" y="10577"/>
                  </a:moveTo>
                  <a:lnTo>
                    <a:pt x="1" y="4517"/>
                  </a:lnTo>
                  <a:cubicBezTo>
                    <a:pt x="1" y="4224"/>
                    <a:pt x="158" y="3942"/>
                    <a:pt x="417" y="3796"/>
                  </a:cubicBezTo>
                  <a:lnTo>
                    <a:pt x="6623" y="113"/>
                  </a:lnTo>
                  <a:cubicBezTo>
                    <a:pt x="6815" y="0"/>
                    <a:pt x="7051" y="136"/>
                    <a:pt x="7051" y="350"/>
                  </a:cubicBezTo>
                  <a:lnTo>
                    <a:pt x="7051" y="6578"/>
                  </a:lnTo>
                  <a:cubicBezTo>
                    <a:pt x="7051" y="6950"/>
                    <a:pt x="6849" y="7299"/>
                    <a:pt x="6533" y="7490"/>
                  </a:cubicBezTo>
                  <a:lnTo>
                    <a:pt x="609" y="10926"/>
                  </a:lnTo>
                  <a:cubicBezTo>
                    <a:pt x="339" y="11083"/>
                    <a:pt x="1" y="10881"/>
                    <a:pt x="1" y="10577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" name="Google Shape;272;p29"/>
            <p:cNvSpPr/>
            <p:nvPr/>
          </p:nvSpPr>
          <p:spPr>
            <a:xfrm>
              <a:off x="10153099" y="1084137"/>
              <a:ext cx="706981" cy="1111171"/>
            </a:xfrm>
            <a:custGeom>
              <a:avLst/>
              <a:gdLst/>
              <a:ahLst/>
              <a:cxnLst/>
              <a:rect l="l" t="t" r="r" b="b"/>
              <a:pathLst>
                <a:path w="7052" h="11084" fill="none" extrusionOk="0">
                  <a:moveTo>
                    <a:pt x="1" y="10577"/>
                  </a:moveTo>
                  <a:lnTo>
                    <a:pt x="1" y="4517"/>
                  </a:lnTo>
                  <a:cubicBezTo>
                    <a:pt x="1" y="4224"/>
                    <a:pt x="158" y="3942"/>
                    <a:pt x="417" y="3796"/>
                  </a:cubicBezTo>
                  <a:lnTo>
                    <a:pt x="6623" y="113"/>
                  </a:lnTo>
                  <a:cubicBezTo>
                    <a:pt x="6815" y="0"/>
                    <a:pt x="7051" y="136"/>
                    <a:pt x="7051" y="350"/>
                  </a:cubicBezTo>
                  <a:lnTo>
                    <a:pt x="7051" y="6578"/>
                  </a:lnTo>
                  <a:cubicBezTo>
                    <a:pt x="7051" y="6950"/>
                    <a:pt x="6849" y="7299"/>
                    <a:pt x="6533" y="7490"/>
                  </a:cubicBezTo>
                  <a:lnTo>
                    <a:pt x="609" y="10926"/>
                  </a:lnTo>
                  <a:cubicBezTo>
                    <a:pt x="339" y="11083"/>
                    <a:pt x="1" y="10881"/>
                    <a:pt x="1" y="10577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" name="Google Shape;273;p29"/>
            <p:cNvSpPr/>
            <p:nvPr/>
          </p:nvSpPr>
          <p:spPr>
            <a:xfrm>
              <a:off x="10209539" y="883344"/>
              <a:ext cx="576051" cy="889518"/>
            </a:xfrm>
            <a:custGeom>
              <a:avLst/>
              <a:gdLst/>
              <a:ahLst/>
              <a:cxnLst/>
              <a:rect l="l" t="t" r="r" b="b"/>
              <a:pathLst>
                <a:path w="5746" h="8873" extrusionOk="0">
                  <a:moveTo>
                    <a:pt x="5513" y="1"/>
                  </a:moveTo>
                  <a:cubicBezTo>
                    <a:pt x="5474" y="1"/>
                    <a:pt x="5434" y="10"/>
                    <a:pt x="5396" y="32"/>
                  </a:cubicBezTo>
                  <a:lnTo>
                    <a:pt x="339" y="3028"/>
                  </a:lnTo>
                  <a:cubicBezTo>
                    <a:pt x="125" y="3152"/>
                    <a:pt x="1" y="3377"/>
                    <a:pt x="1" y="3625"/>
                  </a:cubicBezTo>
                  <a:lnTo>
                    <a:pt x="1" y="8547"/>
                  </a:lnTo>
                  <a:cubicBezTo>
                    <a:pt x="1" y="8736"/>
                    <a:pt x="157" y="8872"/>
                    <a:pt x="331" y="8872"/>
                  </a:cubicBezTo>
                  <a:cubicBezTo>
                    <a:pt x="386" y="8872"/>
                    <a:pt x="442" y="8859"/>
                    <a:pt x="496" y="8829"/>
                  </a:cubicBezTo>
                  <a:lnTo>
                    <a:pt x="5317" y="6036"/>
                  </a:lnTo>
                  <a:cubicBezTo>
                    <a:pt x="5576" y="5878"/>
                    <a:pt x="5745" y="5596"/>
                    <a:pt x="5745" y="5292"/>
                  </a:cubicBezTo>
                  <a:lnTo>
                    <a:pt x="5745" y="235"/>
                  </a:lnTo>
                  <a:cubicBezTo>
                    <a:pt x="5745" y="98"/>
                    <a:pt x="5635" y="1"/>
                    <a:pt x="551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" name="Google Shape;274;p29"/>
            <p:cNvSpPr/>
            <p:nvPr/>
          </p:nvSpPr>
          <p:spPr>
            <a:xfrm>
              <a:off x="10209539" y="883344"/>
              <a:ext cx="576051" cy="889518"/>
            </a:xfrm>
            <a:custGeom>
              <a:avLst/>
              <a:gdLst/>
              <a:ahLst/>
              <a:cxnLst/>
              <a:rect l="l" t="t" r="r" b="b"/>
              <a:pathLst>
                <a:path w="5746" h="8873" extrusionOk="0">
                  <a:moveTo>
                    <a:pt x="5513" y="1"/>
                  </a:moveTo>
                  <a:cubicBezTo>
                    <a:pt x="5474" y="1"/>
                    <a:pt x="5434" y="10"/>
                    <a:pt x="5396" y="32"/>
                  </a:cubicBezTo>
                  <a:lnTo>
                    <a:pt x="339" y="3028"/>
                  </a:lnTo>
                  <a:cubicBezTo>
                    <a:pt x="125" y="3152"/>
                    <a:pt x="1" y="3377"/>
                    <a:pt x="1" y="3625"/>
                  </a:cubicBezTo>
                  <a:lnTo>
                    <a:pt x="1" y="8547"/>
                  </a:lnTo>
                  <a:cubicBezTo>
                    <a:pt x="1" y="8736"/>
                    <a:pt x="157" y="8872"/>
                    <a:pt x="331" y="8872"/>
                  </a:cubicBezTo>
                  <a:cubicBezTo>
                    <a:pt x="386" y="8872"/>
                    <a:pt x="442" y="8859"/>
                    <a:pt x="496" y="8829"/>
                  </a:cubicBezTo>
                  <a:lnTo>
                    <a:pt x="5317" y="6036"/>
                  </a:lnTo>
                  <a:cubicBezTo>
                    <a:pt x="5576" y="5878"/>
                    <a:pt x="5745" y="5596"/>
                    <a:pt x="5745" y="5292"/>
                  </a:cubicBezTo>
                  <a:lnTo>
                    <a:pt x="5745" y="235"/>
                  </a:lnTo>
                  <a:cubicBezTo>
                    <a:pt x="5745" y="98"/>
                    <a:pt x="5635" y="1"/>
                    <a:pt x="551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" name="Google Shape;275;p29"/>
            <p:cNvSpPr/>
            <p:nvPr/>
          </p:nvSpPr>
          <p:spPr>
            <a:xfrm>
              <a:off x="10209539" y="877530"/>
              <a:ext cx="576051" cy="903353"/>
            </a:xfrm>
            <a:custGeom>
              <a:avLst/>
              <a:gdLst/>
              <a:ahLst/>
              <a:cxnLst/>
              <a:rect l="l" t="t" r="r" b="b"/>
              <a:pathLst>
                <a:path w="5746" h="9011" fill="none" extrusionOk="0">
                  <a:moveTo>
                    <a:pt x="1" y="8605"/>
                  </a:moveTo>
                  <a:lnTo>
                    <a:pt x="1" y="3683"/>
                  </a:lnTo>
                  <a:cubicBezTo>
                    <a:pt x="1" y="3435"/>
                    <a:pt x="125" y="3210"/>
                    <a:pt x="339" y="3086"/>
                  </a:cubicBezTo>
                  <a:lnTo>
                    <a:pt x="5396" y="90"/>
                  </a:lnTo>
                  <a:cubicBezTo>
                    <a:pt x="5554" y="0"/>
                    <a:pt x="5745" y="113"/>
                    <a:pt x="5745" y="293"/>
                  </a:cubicBezTo>
                  <a:lnTo>
                    <a:pt x="5745" y="5350"/>
                  </a:lnTo>
                  <a:cubicBezTo>
                    <a:pt x="5745" y="5654"/>
                    <a:pt x="5576" y="5936"/>
                    <a:pt x="5317" y="6094"/>
                  </a:cubicBezTo>
                  <a:lnTo>
                    <a:pt x="496" y="8887"/>
                  </a:lnTo>
                  <a:cubicBezTo>
                    <a:pt x="271" y="9011"/>
                    <a:pt x="1" y="8853"/>
                    <a:pt x="1" y="8605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" name="Google Shape;276;p29"/>
            <p:cNvSpPr/>
            <p:nvPr/>
          </p:nvSpPr>
          <p:spPr>
            <a:xfrm>
              <a:off x="10209539" y="877530"/>
              <a:ext cx="576051" cy="903353"/>
            </a:xfrm>
            <a:custGeom>
              <a:avLst/>
              <a:gdLst/>
              <a:ahLst/>
              <a:cxnLst/>
              <a:rect l="l" t="t" r="r" b="b"/>
              <a:pathLst>
                <a:path w="5746" h="9011" fill="none" extrusionOk="0">
                  <a:moveTo>
                    <a:pt x="1" y="8605"/>
                  </a:moveTo>
                  <a:lnTo>
                    <a:pt x="1" y="3683"/>
                  </a:lnTo>
                  <a:cubicBezTo>
                    <a:pt x="1" y="3435"/>
                    <a:pt x="125" y="3210"/>
                    <a:pt x="339" y="3086"/>
                  </a:cubicBezTo>
                  <a:lnTo>
                    <a:pt x="5396" y="90"/>
                  </a:lnTo>
                  <a:cubicBezTo>
                    <a:pt x="5554" y="0"/>
                    <a:pt x="5745" y="113"/>
                    <a:pt x="5745" y="293"/>
                  </a:cubicBezTo>
                  <a:lnTo>
                    <a:pt x="5745" y="5350"/>
                  </a:lnTo>
                  <a:cubicBezTo>
                    <a:pt x="5745" y="5654"/>
                    <a:pt x="5576" y="5936"/>
                    <a:pt x="5317" y="6094"/>
                  </a:cubicBezTo>
                  <a:lnTo>
                    <a:pt x="496" y="8887"/>
                  </a:lnTo>
                  <a:cubicBezTo>
                    <a:pt x="271" y="9011"/>
                    <a:pt x="1" y="8853"/>
                    <a:pt x="1" y="8605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" name="Google Shape;277;p29"/>
            <p:cNvSpPr/>
            <p:nvPr/>
          </p:nvSpPr>
          <p:spPr>
            <a:xfrm>
              <a:off x="10280716" y="976874"/>
              <a:ext cx="443818" cy="468669"/>
            </a:xfrm>
            <a:custGeom>
              <a:avLst/>
              <a:gdLst/>
              <a:ahLst/>
              <a:cxnLst/>
              <a:rect l="l" t="t" r="r" b="b"/>
              <a:pathLst>
                <a:path w="4427" h="4675" extrusionOk="0">
                  <a:moveTo>
                    <a:pt x="4427" y="0"/>
                  </a:moveTo>
                  <a:lnTo>
                    <a:pt x="0" y="2591"/>
                  </a:lnTo>
                  <a:lnTo>
                    <a:pt x="0" y="4675"/>
                  </a:lnTo>
                  <a:lnTo>
                    <a:pt x="4427" y="2084"/>
                  </a:lnTo>
                  <a:lnTo>
                    <a:pt x="442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" name="Google Shape;278;p29"/>
            <p:cNvSpPr/>
            <p:nvPr/>
          </p:nvSpPr>
          <p:spPr>
            <a:xfrm>
              <a:off x="10280716" y="976874"/>
              <a:ext cx="443818" cy="468669"/>
            </a:xfrm>
            <a:custGeom>
              <a:avLst/>
              <a:gdLst/>
              <a:ahLst/>
              <a:cxnLst/>
              <a:rect l="l" t="t" r="r" b="b"/>
              <a:pathLst>
                <a:path w="4427" h="4675" extrusionOk="0">
                  <a:moveTo>
                    <a:pt x="4427" y="0"/>
                  </a:moveTo>
                  <a:lnTo>
                    <a:pt x="0" y="2591"/>
                  </a:lnTo>
                  <a:lnTo>
                    <a:pt x="0" y="4675"/>
                  </a:lnTo>
                  <a:lnTo>
                    <a:pt x="4427" y="2084"/>
                  </a:lnTo>
                  <a:lnTo>
                    <a:pt x="4427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" name="Google Shape;279;p29"/>
            <p:cNvSpPr/>
            <p:nvPr/>
          </p:nvSpPr>
          <p:spPr>
            <a:xfrm>
              <a:off x="10280716" y="976874"/>
              <a:ext cx="443818" cy="468669"/>
            </a:xfrm>
            <a:custGeom>
              <a:avLst/>
              <a:gdLst/>
              <a:ahLst/>
              <a:cxnLst/>
              <a:rect l="l" t="t" r="r" b="b"/>
              <a:pathLst>
                <a:path w="4427" h="4675" fill="none" extrusionOk="0">
                  <a:moveTo>
                    <a:pt x="0" y="2591"/>
                  </a:moveTo>
                  <a:lnTo>
                    <a:pt x="0" y="4675"/>
                  </a:lnTo>
                  <a:lnTo>
                    <a:pt x="4427" y="2084"/>
                  </a:lnTo>
                  <a:lnTo>
                    <a:pt x="4427" y="0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" name="Google Shape;280;p29"/>
            <p:cNvSpPr/>
            <p:nvPr/>
          </p:nvSpPr>
          <p:spPr>
            <a:xfrm>
              <a:off x="10280716" y="976874"/>
              <a:ext cx="443818" cy="468669"/>
            </a:xfrm>
            <a:custGeom>
              <a:avLst/>
              <a:gdLst/>
              <a:ahLst/>
              <a:cxnLst/>
              <a:rect l="l" t="t" r="r" b="b"/>
              <a:pathLst>
                <a:path w="4427" h="4675" fill="none" extrusionOk="0">
                  <a:moveTo>
                    <a:pt x="0" y="2591"/>
                  </a:moveTo>
                  <a:lnTo>
                    <a:pt x="0" y="4675"/>
                  </a:lnTo>
                  <a:lnTo>
                    <a:pt x="4427" y="2084"/>
                  </a:lnTo>
                  <a:lnTo>
                    <a:pt x="4427" y="0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" name="Google Shape;281;p29"/>
            <p:cNvSpPr/>
            <p:nvPr/>
          </p:nvSpPr>
          <p:spPr>
            <a:xfrm>
              <a:off x="10270491" y="1356206"/>
              <a:ext cx="354693" cy="206716"/>
            </a:xfrm>
            <a:custGeom>
              <a:avLst/>
              <a:gdLst/>
              <a:ahLst/>
              <a:cxnLst/>
              <a:rect l="l" t="t" r="r" b="b"/>
              <a:pathLst>
                <a:path w="3538" h="2062" fill="none" extrusionOk="0">
                  <a:moveTo>
                    <a:pt x="1" y="2062"/>
                  </a:moveTo>
                  <a:lnTo>
                    <a:pt x="3538" y="1"/>
                  </a:lnTo>
                </a:path>
              </a:pathLst>
            </a:custGeom>
            <a:noFill/>
            <a:ln w="31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" name="Google Shape;282;p29"/>
            <p:cNvSpPr/>
            <p:nvPr/>
          </p:nvSpPr>
          <p:spPr>
            <a:xfrm>
              <a:off x="10270491" y="1402519"/>
              <a:ext cx="354693" cy="206715"/>
            </a:xfrm>
            <a:custGeom>
              <a:avLst/>
              <a:gdLst/>
              <a:ahLst/>
              <a:cxnLst/>
              <a:rect l="l" t="t" r="r" b="b"/>
              <a:pathLst>
                <a:path w="3538" h="2062" fill="none" extrusionOk="0">
                  <a:moveTo>
                    <a:pt x="1" y="2062"/>
                  </a:moveTo>
                  <a:lnTo>
                    <a:pt x="3538" y="1"/>
                  </a:lnTo>
                </a:path>
              </a:pathLst>
            </a:custGeom>
            <a:noFill/>
            <a:ln w="31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" name="Google Shape;283;p29"/>
            <p:cNvSpPr/>
            <p:nvPr/>
          </p:nvSpPr>
          <p:spPr>
            <a:xfrm>
              <a:off x="10270491" y="1447730"/>
              <a:ext cx="354693" cy="206715"/>
            </a:xfrm>
            <a:custGeom>
              <a:avLst/>
              <a:gdLst/>
              <a:ahLst/>
              <a:cxnLst/>
              <a:rect l="l" t="t" r="r" b="b"/>
              <a:pathLst>
                <a:path w="3538" h="2062" fill="none" extrusionOk="0">
                  <a:moveTo>
                    <a:pt x="1" y="2061"/>
                  </a:moveTo>
                  <a:lnTo>
                    <a:pt x="3538" y="0"/>
                  </a:lnTo>
                </a:path>
              </a:pathLst>
            </a:custGeom>
            <a:noFill/>
            <a:ln w="31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" name="Google Shape;284;p29"/>
            <p:cNvSpPr/>
            <p:nvPr/>
          </p:nvSpPr>
          <p:spPr>
            <a:xfrm>
              <a:off x="10649936" y="1271598"/>
              <a:ext cx="105065" cy="186365"/>
            </a:xfrm>
            <a:custGeom>
              <a:avLst/>
              <a:gdLst/>
              <a:ahLst/>
              <a:cxnLst/>
              <a:rect l="l" t="t" r="r" b="b"/>
              <a:pathLst>
                <a:path w="1048" h="1859" extrusionOk="0">
                  <a:moveTo>
                    <a:pt x="1048" y="0"/>
                  </a:moveTo>
                  <a:lnTo>
                    <a:pt x="0" y="586"/>
                  </a:lnTo>
                  <a:lnTo>
                    <a:pt x="0" y="1858"/>
                  </a:lnTo>
                  <a:lnTo>
                    <a:pt x="1048" y="1250"/>
                  </a:lnTo>
                  <a:lnTo>
                    <a:pt x="10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" name="Google Shape;285;p29"/>
            <p:cNvSpPr/>
            <p:nvPr/>
          </p:nvSpPr>
          <p:spPr>
            <a:xfrm>
              <a:off x="10649936" y="1271598"/>
              <a:ext cx="105065" cy="186365"/>
            </a:xfrm>
            <a:custGeom>
              <a:avLst/>
              <a:gdLst/>
              <a:ahLst/>
              <a:cxnLst/>
              <a:rect l="l" t="t" r="r" b="b"/>
              <a:pathLst>
                <a:path w="1048" h="1859" fill="none" extrusionOk="0">
                  <a:moveTo>
                    <a:pt x="0" y="586"/>
                  </a:moveTo>
                  <a:lnTo>
                    <a:pt x="0" y="1858"/>
                  </a:lnTo>
                  <a:lnTo>
                    <a:pt x="1048" y="1250"/>
                  </a:lnTo>
                  <a:lnTo>
                    <a:pt x="1048" y="0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" name="Google Shape;286;p29"/>
            <p:cNvSpPr/>
            <p:nvPr/>
          </p:nvSpPr>
          <p:spPr>
            <a:xfrm>
              <a:off x="10313398" y="784000"/>
              <a:ext cx="576051" cy="890120"/>
            </a:xfrm>
            <a:custGeom>
              <a:avLst/>
              <a:gdLst/>
              <a:ahLst/>
              <a:cxnLst/>
              <a:rect l="l" t="t" r="r" b="b"/>
              <a:pathLst>
                <a:path w="5746" h="8879" extrusionOk="0">
                  <a:moveTo>
                    <a:pt x="5508" y="0"/>
                  </a:moveTo>
                  <a:cubicBezTo>
                    <a:pt x="5470" y="0"/>
                    <a:pt x="5432" y="10"/>
                    <a:pt x="5396" y="32"/>
                  </a:cubicBezTo>
                  <a:lnTo>
                    <a:pt x="339" y="3028"/>
                  </a:lnTo>
                  <a:cubicBezTo>
                    <a:pt x="125" y="3152"/>
                    <a:pt x="1" y="3377"/>
                    <a:pt x="1" y="3625"/>
                  </a:cubicBezTo>
                  <a:lnTo>
                    <a:pt x="1" y="8547"/>
                  </a:lnTo>
                  <a:cubicBezTo>
                    <a:pt x="1" y="8741"/>
                    <a:pt x="152" y="8878"/>
                    <a:pt x="323" y="8878"/>
                  </a:cubicBezTo>
                  <a:cubicBezTo>
                    <a:pt x="380" y="8878"/>
                    <a:pt x="440" y="8863"/>
                    <a:pt x="497" y="8829"/>
                  </a:cubicBezTo>
                  <a:lnTo>
                    <a:pt x="5317" y="6035"/>
                  </a:lnTo>
                  <a:cubicBezTo>
                    <a:pt x="5576" y="5889"/>
                    <a:pt x="5745" y="5607"/>
                    <a:pt x="5745" y="5303"/>
                  </a:cubicBezTo>
                  <a:lnTo>
                    <a:pt x="5745" y="235"/>
                  </a:lnTo>
                  <a:cubicBezTo>
                    <a:pt x="5745" y="98"/>
                    <a:pt x="5629" y="0"/>
                    <a:pt x="550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" name="Google Shape;287;p29"/>
            <p:cNvSpPr/>
            <p:nvPr/>
          </p:nvSpPr>
          <p:spPr>
            <a:xfrm>
              <a:off x="10313398" y="784000"/>
              <a:ext cx="576051" cy="890120"/>
            </a:xfrm>
            <a:custGeom>
              <a:avLst/>
              <a:gdLst/>
              <a:ahLst/>
              <a:cxnLst/>
              <a:rect l="l" t="t" r="r" b="b"/>
              <a:pathLst>
                <a:path w="5746" h="8879" extrusionOk="0">
                  <a:moveTo>
                    <a:pt x="5508" y="0"/>
                  </a:moveTo>
                  <a:cubicBezTo>
                    <a:pt x="5470" y="0"/>
                    <a:pt x="5432" y="10"/>
                    <a:pt x="5396" y="32"/>
                  </a:cubicBezTo>
                  <a:lnTo>
                    <a:pt x="339" y="3028"/>
                  </a:lnTo>
                  <a:cubicBezTo>
                    <a:pt x="125" y="3152"/>
                    <a:pt x="1" y="3377"/>
                    <a:pt x="1" y="3625"/>
                  </a:cubicBezTo>
                  <a:lnTo>
                    <a:pt x="1" y="8547"/>
                  </a:lnTo>
                  <a:cubicBezTo>
                    <a:pt x="1" y="8741"/>
                    <a:pt x="152" y="8878"/>
                    <a:pt x="323" y="8878"/>
                  </a:cubicBezTo>
                  <a:cubicBezTo>
                    <a:pt x="380" y="8878"/>
                    <a:pt x="440" y="8863"/>
                    <a:pt x="497" y="8829"/>
                  </a:cubicBezTo>
                  <a:lnTo>
                    <a:pt x="5317" y="6035"/>
                  </a:lnTo>
                  <a:cubicBezTo>
                    <a:pt x="5576" y="5889"/>
                    <a:pt x="5745" y="5607"/>
                    <a:pt x="5745" y="5303"/>
                  </a:cubicBezTo>
                  <a:lnTo>
                    <a:pt x="5745" y="235"/>
                  </a:lnTo>
                  <a:cubicBezTo>
                    <a:pt x="5745" y="98"/>
                    <a:pt x="5629" y="0"/>
                    <a:pt x="550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" name="Google Shape;288;p29"/>
            <p:cNvSpPr/>
            <p:nvPr/>
          </p:nvSpPr>
          <p:spPr>
            <a:xfrm>
              <a:off x="10313398" y="778186"/>
              <a:ext cx="576051" cy="904456"/>
            </a:xfrm>
            <a:custGeom>
              <a:avLst/>
              <a:gdLst/>
              <a:ahLst/>
              <a:cxnLst/>
              <a:rect l="l" t="t" r="r" b="b"/>
              <a:pathLst>
                <a:path w="5746" h="9022" fill="none" extrusionOk="0">
                  <a:moveTo>
                    <a:pt x="1" y="8605"/>
                  </a:moveTo>
                  <a:lnTo>
                    <a:pt x="1" y="3683"/>
                  </a:lnTo>
                  <a:cubicBezTo>
                    <a:pt x="1" y="3435"/>
                    <a:pt x="125" y="3210"/>
                    <a:pt x="339" y="3086"/>
                  </a:cubicBezTo>
                  <a:lnTo>
                    <a:pt x="5396" y="90"/>
                  </a:lnTo>
                  <a:cubicBezTo>
                    <a:pt x="5543" y="0"/>
                    <a:pt x="5745" y="113"/>
                    <a:pt x="5745" y="293"/>
                  </a:cubicBezTo>
                  <a:lnTo>
                    <a:pt x="5745" y="5361"/>
                  </a:lnTo>
                  <a:cubicBezTo>
                    <a:pt x="5745" y="5665"/>
                    <a:pt x="5576" y="5947"/>
                    <a:pt x="5317" y="6093"/>
                  </a:cubicBezTo>
                  <a:lnTo>
                    <a:pt x="497" y="8887"/>
                  </a:lnTo>
                  <a:cubicBezTo>
                    <a:pt x="271" y="9022"/>
                    <a:pt x="1" y="8864"/>
                    <a:pt x="1" y="8605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29"/>
            <p:cNvSpPr/>
            <p:nvPr/>
          </p:nvSpPr>
          <p:spPr>
            <a:xfrm>
              <a:off x="10313398" y="778186"/>
              <a:ext cx="576051" cy="904456"/>
            </a:xfrm>
            <a:custGeom>
              <a:avLst/>
              <a:gdLst/>
              <a:ahLst/>
              <a:cxnLst/>
              <a:rect l="l" t="t" r="r" b="b"/>
              <a:pathLst>
                <a:path w="5746" h="9022" fill="none" extrusionOk="0">
                  <a:moveTo>
                    <a:pt x="1" y="8605"/>
                  </a:moveTo>
                  <a:lnTo>
                    <a:pt x="1" y="3683"/>
                  </a:lnTo>
                  <a:cubicBezTo>
                    <a:pt x="1" y="3435"/>
                    <a:pt x="125" y="3210"/>
                    <a:pt x="339" y="3086"/>
                  </a:cubicBezTo>
                  <a:lnTo>
                    <a:pt x="5396" y="90"/>
                  </a:lnTo>
                  <a:cubicBezTo>
                    <a:pt x="5543" y="0"/>
                    <a:pt x="5745" y="113"/>
                    <a:pt x="5745" y="293"/>
                  </a:cubicBezTo>
                  <a:lnTo>
                    <a:pt x="5745" y="5361"/>
                  </a:lnTo>
                  <a:cubicBezTo>
                    <a:pt x="5745" y="5665"/>
                    <a:pt x="5576" y="5947"/>
                    <a:pt x="5317" y="6093"/>
                  </a:cubicBezTo>
                  <a:lnTo>
                    <a:pt x="497" y="8887"/>
                  </a:lnTo>
                  <a:cubicBezTo>
                    <a:pt x="271" y="9022"/>
                    <a:pt x="1" y="8864"/>
                    <a:pt x="1" y="8605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" name="Google Shape;290;p29"/>
            <p:cNvSpPr/>
            <p:nvPr/>
          </p:nvSpPr>
          <p:spPr>
            <a:xfrm>
              <a:off x="10384575" y="878633"/>
              <a:ext cx="442715" cy="468669"/>
            </a:xfrm>
            <a:custGeom>
              <a:avLst/>
              <a:gdLst/>
              <a:ahLst/>
              <a:cxnLst/>
              <a:rect l="l" t="t" r="r" b="b"/>
              <a:pathLst>
                <a:path w="4416" h="4675" extrusionOk="0">
                  <a:moveTo>
                    <a:pt x="4416" y="0"/>
                  </a:moveTo>
                  <a:lnTo>
                    <a:pt x="1" y="2580"/>
                  </a:lnTo>
                  <a:lnTo>
                    <a:pt x="1" y="4675"/>
                  </a:lnTo>
                  <a:lnTo>
                    <a:pt x="4416" y="2073"/>
                  </a:lnTo>
                  <a:lnTo>
                    <a:pt x="44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" name="Google Shape;291;p29"/>
            <p:cNvSpPr/>
            <p:nvPr/>
          </p:nvSpPr>
          <p:spPr>
            <a:xfrm>
              <a:off x="10384575" y="878633"/>
              <a:ext cx="442715" cy="468669"/>
            </a:xfrm>
            <a:custGeom>
              <a:avLst/>
              <a:gdLst/>
              <a:ahLst/>
              <a:cxnLst/>
              <a:rect l="l" t="t" r="r" b="b"/>
              <a:pathLst>
                <a:path w="4416" h="4675" extrusionOk="0">
                  <a:moveTo>
                    <a:pt x="4416" y="0"/>
                  </a:moveTo>
                  <a:lnTo>
                    <a:pt x="1" y="2580"/>
                  </a:lnTo>
                  <a:lnTo>
                    <a:pt x="1" y="4675"/>
                  </a:lnTo>
                  <a:lnTo>
                    <a:pt x="4416" y="2073"/>
                  </a:lnTo>
                  <a:lnTo>
                    <a:pt x="4416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" name="Google Shape;292;p29"/>
            <p:cNvSpPr/>
            <p:nvPr/>
          </p:nvSpPr>
          <p:spPr>
            <a:xfrm>
              <a:off x="10384575" y="878633"/>
              <a:ext cx="442715" cy="468669"/>
            </a:xfrm>
            <a:custGeom>
              <a:avLst/>
              <a:gdLst/>
              <a:ahLst/>
              <a:cxnLst/>
              <a:rect l="l" t="t" r="r" b="b"/>
              <a:pathLst>
                <a:path w="4416" h="4675" fill="none" extrusionOk="0">
                  <a:moveTo>
                    <a:pt x="1" y="2580"/>
                  </a:moveTo>
                  <a:lnTo>
                    <a:pt x="1" y="4675"/>
                  </a:lnTo>
                  <a:lnTo>
                    <a:pt x="4416" y="2073"/>
                  </a:lnTo>
                  <a:lnTo>
                    <a:pt x="4416" y="0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" name="Google Shape;293;p29"/>
            <p:cNvSpPr/>
            <p:nvPr/>
          </p:nvSpPr>
          <p:spPr>
            <a:xfrm>
              <a:off x="10384575" y="878633"/>
              <a:ext cx="442715" cy="468669"/>
            </a:xfrm>
            <a:custGeom>
              <a:avLst/>
              <a:gdLst/>
              <a:ahLst/>
              <a:cxnLst/>
              <a:rect l="l" t="t" r="r" b="b"/>
              <a:pathLst>
                <a:path w="4416" h="4675" fill="none" extrusionOk="0">
                  <a:moveTo>
                    <a:pt x="1" y="2580"/>
                  </a:moveTo>
                  <a:lnTo>
                    <a:pt x="1" y="4675"/>
                  </a:lnTo>
                  <a:lnTo>
                    <a:pt x="4416" y="2073"/>
                  </a:lnTo>
                  <a:lnTo>
                    <a:pt x="4416" y="0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" name="Google Shape;294;p29"/>
            <p:cNvSpPr/>
            <p:nvPr/>
          </p:nvSpPr>
          <p:spPr>
            <a:xfrm>
              <a:off x="10374450" y="1256862"/>
              <a:ext cx="354593" cy="206715"/>
            </a:xfrm>
            <a:custGeom>
              <a:avLst/>
              <a:gdLst/>
              <a:ahLst/>
              <a:cxnLst/>
              <a:rect l="l" t="t" r="r" b="b"/>
              <a:pathLst>
                <a:path w="3537" h="2062" fill="none" extrusionOk="0">
                  <a:moveTo>
                    <a:pt x="0" y="2062"/>
                  </a:moveTo>
                  <a:lnTo>
                    <a:pt x="3537" y="1"/>
                  </a:lnTo>
                </a:path>
              </a:pathLst>
            </a:custGeom>
            <a:noFill/>
            <a:ln w="31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" name="Google Shape;295;p29"/>
            <p:cNvSpPr/>
            <p:nvPr/>
          </p:nvSpPr>
          <p:spPr>
            <a:xfrm>
              <a:off x="10374450" y="1303175"/>
              <a:ext cx="354593" cy="206716"/>
            </a:xfrm>
            <a:custGeom>
              <a:avLst/>
              <a:gdLst/>
              <a:ahLst/>
              <a:cxnLst/>
              <a:rect l="l" t="t" r="r" b="b"/>
              <a:pathLst>
                <a:path w="3537" h="2062" fill="none" extrusionOk="0">
                  <a:moveTo>
                    <a:pt x="0" y="2062"/>
                  </a:moveTo>
                  <a:lnTo>
                    <a:pt x="3537" y="0"/>
                  </a:lnTo>
                </a:path>
              </a:pathLst>
            </a:custGeom>
            <a:noFill/>
            <a:ln w="31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" name="Google Shape;296;p29"/>
            <p:cNvSpPr/>
            <p:nvPr/>
          </p:nvSpPr>
          <p:spPr>
            <a:xfrm>
              <a:off x="10374450" y="1348286"/>
              <a:ext cx="354593" cy="206816"/>
            </a:xfrm>
            <a:custGeom>
              <a:avLst/>
              <a:gdLst/>
              <a:ahLst/>
              <a:cxnLst/>
              <a:rect l="l" t="t" r="r" b="b"/>
              <a:pathLst>
                <a:path w="3537" h="2063" fill="none" extrusionOk="0">
                  <a:moveTo>
                    <a:pt x="0" y="2062"/>
                  </a:moveTo>
                  <a:lnTo>
                    <a:pt x="3537" y="1"/>
                  </a:lnTo>
                </a:path>
              </a:pathLst>
            </a:custGeom>
            <a:noFill/>
            <a:ln w="31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" name="Google Shape;297;p29"/>
            <p:cNvSpPr/>
            <p:nvPr/>
          </p:nvSpPr>
          <p:spPr>
            <a:xfrm>
              <a:off x="10752692" y="1172154"/>
              <a:ext cx="106268" cy="186465"/>
            </a:xfrm>
            <a:custGeom>
              <a:avLst/>
              <a:gdLst/>
              <a:ahLst/>
              <a:cxnLst/>
              <a:rect l="l" t="t" r="r" b="b"/>
              <a:pathLst>
                <a:path w="1060" h="1860" extrusionOk="0">
                  <a:moveTo>
                    <a:pt x="1059" y="1"/>
                  </a:moveTo>
                  <a:lnTo>
                    <a:pt x="0" y="598"/>
                  </a:lnTo>
                  <a:lnTo>
                    <a:pt x="0" y="1859"/>
                  </a:lnTo>
                  <a:lnTo>
                    <a:pt x="1059" y="1251"/>
                  </a:lnTo>
                  <a:lnTo>
                    <a:pt x="105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" name="Google Shape;298;p29"/>
            <p:cNvSpPr/>
            <p:nvPr/>
          </p:nvSpPr>
          <p:spPr>
            <a:xfrm>
              <a:off x="10752692" y="1172154"/>
              <a:ext cx="106268" cy="186465"/>
            </a:xfrm>
            <a:custGeom>
              <a:avLst/>
              <a:gdLst/>
              <a:ahLst/>
              <a:cxnLst/>
              <a:rect l="l" t="t" r="r" b="b"/>
              <a:pathLst>
                <a:path w="1060" h="1860" fill="none" extrusionOk="0">
                  <a:moveTo>
                    <a:pt x="0" y="598"/>
                  </a:moveTo>
                  <a:lnTo>
                    <a:pt x="0" y="1859"/>
                  </a:lnTo>
                  <a:lnTo>
                    <a:pt x="1059" y="1251"/>
                  </a:lnTo>
                  <a:lnTo>
                    <a:pt x="1059" y="1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" name="Google Shape;299;p29"/>
            <p:cNvSpPr/>
            <p:nvPr/>
          </p:nvSpPr>
          <p:spPr>
            <a:xfrm>
              <a:off x="10151996" y="1499658"/>
              <a:ext cx="105065" cy="728417"/>
            </a:xfrm>
            <a:custGeom>
              <a:avLst/>
              <a:gdLst/>
              <a:ahLst/>
              <a:cxnLst/>
              <a:rect l="l" t="t" r="r" b="b"/>
              <a:pathLst>
                <a:path w="1048" h="7266" extrusionOk="0">
                  <a:moveTo>
                    <a:pt x="90" y="0"/>
                  </a:moveTo>
                  <a:cubicBezTo>
                    <a:pt x="34" y="34"/>
                    <a:pt x="0" y="304"/>
                    <a:pt x="0" y="304"/>
                  </a:cubicBezTo>
                  <a:lnTo>
                    <a:pt x="0" y="6386"/>
                  </a:lnTo>
                  <a:cubicBezTo>
                    <a:pt x="45" y="6769"/>
                    <a:pt x="259" y="6792"/>
                    <a:pt x="259" y="6792"/>
                  </a:cubicBezTo>
                  <a:lnTo>
                    <a:pt x="1048" y="7265"/>
                  </a:lnTo>
                  <a:cubicBezTo>
                    <a:pt x="868" y="7130"/>
                    <a:pt x="879" y="6882"/>
                    <a:pt x="879" y="6882"/>
                  </a:cubicBezTo>
                  <a:lnTo>
                    <a:pt x="879" y="5362"/>
                  </a:lnTo>
                  <a:cubicBezTo>
                    <a:pt x="879" y="5362"/>
                    <a:pt x="879" y="935"/>
                    <a:pt x="879" y="777"/>
                  </a:cubicBezTo>
                  <a:cubicBezTo>
                    <a:pt x="879" y="620"/>
                    <a:pt x="958" y="496"/>
                    <a:pt x="958" y="496"/>
                  </a:cubicBezTo>
                  <a:lnTo>
                    <a:pt x="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29"/>
            <p:cNvSpPr/>
            <p:nvPr/>
          </p:nvSpPr>
          <p:spPr>
            <a:xfrm>
              <a:off x="10151996" y="1499658"/>
              <a:ext cx="105065" cy="728417"/>
            </a:xfrm>
            <a:custGeom>
              <a:avLst/>
              <a:gdLst/>
              <a:ahLst/>
              <a:cxnLst/>
              <a:rect l="l" t="t" r="r" b="b"/>
              <a:pathLst>
                <a:path w="1048" h="7266" fill="none" extrusionOk="0">
                  <a:moveTo>
                    <a:pt x="90" y="0"/>
                  </a:moveTo>
                  <a:lnTo>
                    <a:pt x="958" y="496"/>
                  </a:lnTo>
                  <a:cubicBezTo>
                    <a:pt x="958" y="496"/>
                    <a:pt x="879" y="620"/>
                    <a:pt x="879" y="777"/>
                  </a:cubicBezTo>
                  <a:cubicBezTo>
                    <a:pt x="879" y="935"/>
                    <a:pt x="879" y="5362"/>
                    <a:pt x="879" y="5362"/>
                  </a:cubicBezTo>
                  <a:lnTo>
                    <a:pt x="879" y="6882"/>
                  </a:lnTo>
                  <a:cubicBezTo>
                    <a:pt x="879" y="6882"/>
                    <a:pt x="868" y="7130"/>
                    <a:pt x="1048" y="7265"/>
                  </a:cubicBezTo>
                  <a:lnTo>
                    <a:pt x="259" y="6792"/>
                  </a:lnTo>
                  <a:cubicBezTo>
                    <a:pt x="259" y="6792"/>
                    <a:pt x="45" y="6769"/>
                    <a:pt x="0" y="6386"/>
                  </a:cubicBezTo>
                  <a:lnTo>
                    <a:pt x="0" y="304"/>
                  </a:lnTo>
                  <a:cubicBezTo>
                    <a:pt x="0" y="304"/>
                    <a:pt x="34" y="34"/>
                    <a:pt x="90" y="0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" name="Google Shape;301;p29"/>
            <p:cNvSpPr/>
            <p:nvPr/>
          </p:nvSpPr>
          <p:spPr>
            <a:xfrm>
              <a:off x="10240015" y="1140977"/>
              <a:ext cx="706981" cy="1093226"/>
            </a:xfrm>
            <a:custGeom>
              <a:avLst/>
              <a:gdLst/>
              <a:ahLst/>
              <a:cxnLst/>
              <a:rect l="l" t="t" r="r" b="b"/>
              <a:pathLst>
                <a:path w="7052" h="10905" extrusionOk="0">
                  <a:moveTo>
                    <a:pt x="6770" y="1"/>
                  </a:moveTo>
                  <a:cubicBezTo>
                    <a:pt x="6722" y="1"/>
                    <a:pt x="6671" y="14"/>
                    <a:pt x="6624" y="42"/>
                  </a:cubicBezTo>
                  <a:lnTo>
                    <a:pt x="418" y="3725"/>
                  </a:lnTo>
                  <a:cubicBezTo>
                    <a:pt x="159" y="3871"/>
                    <a:pt x="1" y="4153"/>
                    <a:pt x="1" y="4445"/>
                  </a:cubicBezTo>
                  <a:lnTo>
                    <a:pt x="1" y="10494"/>
                  </a:lnTo>
                  <a:cubicBezTo>
                    <a:pt x="1" y="10735"/>
                    <a:pt x="199" y="10904"/>
                    <a:pt x="408" y="10904"/>
                  </a:cubicBezTo>
                  <a:cubicBezTo>
                    <a:pt x="472" y="10904"/>
                    <a:pt x="537" y="10889"/>
                    <a:pt x="598" y="10854"/>
                  </a:cubicBezTo>
                  <a:lnTo>
                    <a:pt x="6534" y="7419"/>
                  </a:lnTo>
                  <a:cubicBezTo>
                    <a:pt x="6849" y="7228"/>
                    <a:pt x="7052" y="6878"/>
                    <a:pt x="7052" y="6507"/>
                  </a:cubicBezTo>
                  <a:lnTo>
                    <a:pt x="7052" y="278"/>
                  </a:lnTo>
                  <a:cubicBezTo>
                    <a:pt x="7052" y="117"/>
                    <a:pt x="6918" y="1"/>
                    <a:pt x="677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" name="Google Shape;302;p29"/>
            <p:cNvSpPr/>
            <p:nvPr/>
          </p:nvSpPr>
          <p:spPr>
            <a:xfrm>
              <a:off x="10240015" y="1140977"/>
              <a:ext cx="706981" cy="1093226"/>
            </a:xfrm>
            <a:custGeom>
              <a:avLst/>
              <a:gdLst/>
              <a:ahLst/>
              <a:cxnLst/>
              <a:rect l="l" t="t" r="r" b="b"/>
              <a:pathLst>
                <a:path w="7052" h="10905" extrusionOk="0">
                  <a:moveTo>
                    <a:pt x="6770" y="1"/>
                  </a:moveTo>
                  <a:cubicBezTo>
                    <a:pt x="6722" y="1"/>
                    <a:pt x="6671" y="14"/>
                    <a:pt x="6624" y="42"/>
                  </a:cubicBezTo>
                  <a:lnTo>
                    <a:pt x="418" y="3725"/>
                  </a:lnTo>
                  <a:cubicBezTo>
                    <a:pt x="159" y="3871"/>
                    <a:pt x="1" y="4153"/>
                    <a:pt x="1" y="4445"/>
                  </a:cubicBezTo>
                  <a:lnTo>
                    <a:pt x="1" y="10494"/>
                  </a:lnTo>
                  <a:cubicBezTo>
                    <a:pt x="1" y="10735"/>
                    <a:pt x="199" y="10904"/>
                    <a:pt x="408" y="10904"/>
                  </a:cubicBezTo>
                  <a:cubicBezTo>
                    <a:pt x="472" y="10904"/>
                    <a:pt x="537" y="10889"/>
                    <a:pt x="598" y="10854"/>
                  </a:cubicBezTo>
                  <a:lnTo>
                    <a:pt x="6534" y="7419"/>
                  </a:lnTo>
                  <a:cubicBezTo>
                    <a:pt x="6849" y="7228"/>
                    <a:pt x="7052" y="6878"/>
                    <a:pt x="7052" y="6507"/>
                  </a:cubicBezTo>
                  <a:lnTo>
                    <a:pt x="7052" y="278"/>
                  </a:lnTo>
                  <a:cubicBezTo>
                    <a:pt x="7052" y="117"/>
                    <a:pt x="6918" y="1"/>
                    <a:pt x="677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" name="Google Shape;303;p29"/>
            <p:cNvSpPr/>
            <p:nvPr/>
          </p:nvSpPr>
          <p:spPr>
            <a:xfrm>
              <a:off x="10240015" y="1133759"/>
              <a:ext cx="706981" cy="1110068"/>
            </a:xfrm>
            <a:custGeom>
              <a:avLst/>
              <a:gdLst/>
              <a:ahLst/>
              <a:cxnLst/>
              <a:rect l="l" t="t" r="r" b="b"/>
              <a:pathLst>
                <a:path w="7052" h="11073" fill="none" extrusionOk="0">
                  <a:moveTo>
                    <a:pt x="1" y="10577"/>
                  </a:moveTo>
                  <a:lnTo>
                    <a:pt x="1" y="4517"/>
                  </a:lnTo>
                  <a:cubicBezTo>
                    <a:pt x="1" y="4225"/>
                    <a:pt x="159" y="3943"/>
                    <a:pt x="418" y="3797"/>
                  </a:cubicBezTo>
                  <a:lnTo>
                    <a:pt x="6624" y="114"/>
                  </a:lnTo>
                  <a:cubicBezTo>
                    <a:pt x="6815" y="1"/>
                    <a:pt x="7052" y="136"/>
                    <a:pt x="7052" y="350"/>
                  </a:cubicBezTo>
                  <a:lnTo>
                    <a:pt x="7052" y="6579"/>
                  </a:lnTo>
                  <a:cubicBezTo>
                    <a:pt x="7052" y="6950"/>
                    <a:pt x="6849" y="7300"/>
                    <a:pt x="6534" y="7491"/>
                  </a:cubicBezTo>
                  <a:lnTo>
                    <a:pt x="598" y="10926"/>
                  </a:lnTo>
                  <a:cubicBezTo>
                    <a:pt x="339" y="11073"/>
                    <a:pt x="1" y="10881"/>
                    <a:pt x="1" y="10566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" name="Google Shape;304;p29"/>
            <p:cNvSpPr/>
            <p:nvPr/>
          </p:nvSpPr>
          <p:spPr>
            <a:xfrm>
              <a:off x="10240015" y="1133759"/>
              <a:ext cx="706981" cy="1110068"/>
            </a:xfrm>
            <a:custGeom>
              <a:avLst/>
              <a:gdLst/>
              <a:ahLst/>
              <a:cxnLst/>
              <a:rect l="l" t="t" r="r" b="b"/>
              <a:pathLst>
                <a:path w="7052" h="11073" fill="none" extrusionOk="0">
                  <a:moveTo>
                    <a:pt x="1" y="10577"/>
                  </a:moveTo>
                  <a:lnTo>
                    <a:pt x="1" y="4517"/>
                  </a:lnTo>
                  <a:cubicBezTo>
                    <a:pt x="1" y="4225"/>
                    <a:pt x="159" y="3943"/>
                    <a:pt x="418" y="3797"/>
                  </a:cubicBezTo>
                  <a:lnTo>
                    <a:pt x="6624" y="114"/>
                  </a:lnTo>
                  <a:cubicBezTo>
                    <a:pt x="6815" y="1"/>
                    <a:pt x="7052" y="136"/>
                    <a:pt x="7052" y="350"/>
                  </a:cubicBezTo>
                  <a:lnTo>
                    <a:pt x="7052" y="6579"/>
                  </a:lnTo>
                  <a:cubicBezTo>
                    <a:pt x="7052" y="6950"/>
                    <a:pt x="6849" y="7300"/>
                    <a:pt x="6534" y="7491"/>
                  </a:cubicBezTo>
                  <a:lnTo>
                    <a:pt x="598" y="10926"/>
                  </a:lnTo>
                  <a:cubicBezTo>
                    <a:pt x="339" y="11073"/>
                    <a:pt x="1" y="10881"/>
                    <a:pt x="1" y="10566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" name="Google Shape;305;p29"/>
            <p:cNvSpPr/>
            <p:nvPr/>
          </p:nvSpPr>
          <p:spPr>
            <a:xfrm>
              <a:off x="10724421" y="1304278"/>
              <a:ext cx="265469" cy="355386"/>
            </a:xfrm>
            <a:custGeom>
              <a:avLst/>
              <a:gdLst/>
              <a:ahLst/>
              <a:cxnLst/>
              <a:rect l="l" t="t" r="r" b="b"/>
              <a:pathLst>
                <a:path w="2648" h="3545" extrusionOk="0">
                  <a:moveTo>
                    <a:pt x="2648" y="1"/>
                  </a:moveTo>
                  <a:lnTo>
                    <a:pt x="271" y="1386"/>
                  </a:lnTo>
                  <a:cubicBezTo>
                    <a:pt x="102" y="1487"/>
                    <a:pt x="1" y="1668"/>
                    <a:pt x="1" y="1870"/>
                  </a:cubicBezTo>
                  <a:lnTo>
                    <a:pt x="1" y="3391"/>
                  </a:lnTo>
                  <a:cubicBezTo>
                    <a:pt x="1" y="3478"/>
                    <a:pt x="68" y="3545"/>
                    <a:pt x="145" y="3545"/>
                  </a:cubicBezTo>
                  <a:cubicBezTo>
                    <a:pt x="168" y="3545"/>
                    <a:pt x="192" y="3539"/>
                    <a:pt x="215" y="3526"/>
                  </a:cubicBezTo>
                  <a:lnTo>
                    <a:pt x="2648" y="2107"/>
                  </a:lnTo>
                  <a:lnTo>
                    <a:pt x="2648" y="1"/>
                  </a:ln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" name="Google Shape;306;p29"/>
            <p:cNvSpPr/>
            <p:nvPr/>
          </p:nvSpPr>
          <p:spPr>
            <a:xfrm>
              <a:off x="10724421" y="1304278"/>
              <a:ext cx="265469" cy="359196"/>
            </a:xfrm>
            <a:custGeom>
              <a:avLst/>
              <a:gdLst/>
              <a:ahLst/>
              <a:cxnLst/>
              <a:rect l="l" t="t" r="r" b="b"/>
              <a:pathLst>
                <a:path w="2648" h="3583" fill="none" extrusionOk="0">
                  <a:moveTo>
                    <a:pt x="1" y="3391"/>
                  </a:moveTo>
                  <a:lnTo>
                    <a:pt x="1" y="1870"/>
                  </a:lnTo>
                  <a:cubicBezTo>
                    <a:pt x="1" y="1668"/>
                    <a:pt x="102" y="1487"/>
                    <a:pt x="271" y="1386"/>
                  </a:cubicBezTo>
                  <a:lnTo>
                    <a:pt x="2648" y="1"/>
                  </a:lnTo>
                  <a:lnTo>
                    <a:pt x="2648" y="2107"/>
                  </a:lnTo>
                  <a:lnTo>
                    <a:pt x="215" y="3526"/>
                  </a:lnTo>
                  <a:cubicBezTo>
                    <a:pt x="113" y="3582"/>
                    <a:pt x="1" y="3504"/>
                    <a:pt x="1" y="3391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" name="Google Shape;307;p29"/>
            <p:cNvSpPr/>
            <p:nvPr/>
          </p:nvSpPr>
          <p:spPr>
            <a:xfrm>
              <a:off x="10776351" y="2085597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extrusionOk="0">
                  <a:moveTo>
                    <a:pt x="2546" y="1"/>
                  </a:moveTo>
                  <a:cubicBezTo>
                    <a:pt x="1578" y="1"/>
                    <a:pt x="733" y="373"/>
                    <a:pt x="305" y="924"/>
                  </a:cubicBezTo>
                  <a:lnTo>
                    <a:pt x="12" y="924"/>
                  </a:lnTo>
                  <a:lnTo>
                    <a:pt x="1" y="1679"/>
                  </a:lnTo>
                  <a:cubicBezTo>
                    <a:pt x="1" y="1702"/>
                    <a:pt x="1" y="1735"/>
                    <a:pt x="1" y="1758"/>
                  </a:cubicBezTo>
                  <a:cubicBezTo>
                    <a:pt x="1" y="2727"/>
                    <a:pt x="1139" y="3515"/>
                    <a:pt x="2546" y="3515"/>
                  </a:cubicBezTo>
                  <a:cubicBezTo>
                    <a:pt x="3943" y="3515"/>
                    <a:pt x="5081" y="2727"/>
                    <a:pt x="5081" y="1758"/>
                  </a:cubicBezTo>
                  <a:lnTo>
                    <a:pt x="5081" y="924"/>
                  </a:lnTo>
                  <a:lnTo>
                    <a:pt x="4777" y="924"/>
                  </a:lnTo>
                  <a:cubicBezTo>
                    <a:pt x="4349" y="373"/>
                    <a:pt x="3504" y="1"/>
                    <a:pt x="254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" name="Google Shape;308;p29"/>
            <p:cNvSpPr/>
            <p:nvPr/>
          </p:nvSpPr>
          <p:spPr>
            <a:xfrm>
              <a:off x="10776351" y="2085597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extrusionOk="0">
                  <a:moveTo>
                    <a:pt x="2535" y="1"/>
                  </a:moveTo>
                  <a:cubicBezTo>
                    <a:pt x="1139" y="1"/>
                    <a:pt x="1" y="789"/>
                    <a:pt x="1" y="1758"/>
                  </a:cubicBezTo>
                  <a:cubicBezTo>
                    <a:pt x="1" y="2727"/>
                    <a:pt x="1139" y="3515"/>
                    <a:pt x="2535" y="3515"/>
                  </a:cubicBezTo>
                  <a:cubicBezTo>
                    <a:pt x="3943" y="3515"/>
                    <a:pt x="5081" y="2727"/>
                    <a:pt x="5081" y="1758"/>
                  </a:cubicBezTo>
                  <a:cubicBezTo>
                    <a:pt x="5081" y="789"/>
                    <a:pt x="3943" y="1"/>
                    <a:pt x="2535" y="1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" name="Google Shape;309;p29"/>
            <p:cNvSpPr/>
            <p:nvPr/>
          </p:nvSpPr>
          <p:spPr>
            <a:xfrm>
              <a:off x="10776351" y="2085597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fill="none" extrusionOk="0">
                  <a:moveTo>
                    <a:pt x="4777" y="924"/>
                  </a:moveTo>
                  <a:cubicBezTo>
                    <a:pt x="4349" y="373"/>
                    <a:pt x="3504" y="1"/>
                    <a:pt x="2546" y="1"/>
                  </a:cubicBezTo>
                  <a:cubicBezTo>
                    <a:pt x="1578" y="1"/>
                    <a:pt x="733" y="373"/>
                    <a:pt x="305" y="924"/>
                  </a:cubicBezTo>
                  <a:lnTo>
                    <a:pt x="12" y="924"/>
                  </a:lnTo>
                  <a:lnTo>
                    <a:pt x="1" y="1679"/>
                  </a:lnTo>
                  <a:cubicBezTo>
                    <a:pt x="1" y="1702"/>
                    <a:pt x="1" y="1735"/>
                    <a:pt x="1" y="1758"/>
                  </a:cubicBezTo>
                  <a:cubicBezTo>
                    <a:pt x="1" y="2727"/>
                    <a:pt x="1139" y="3515"/>
                    <a:pt x="2546" y="3515"/>
                  </a:cubicBezTo>
                  <a:cubicBezTo>
                    <a:pt x="3943" y="3515"/>
                    <a:pt x="5081" y="2727"/>
                    <a:pt x="5081" y="1758"/>
                  </a:cubicBezTo>
                  <a:lnTo>
                    <a:pt x="5081" y="924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" name="Google Shape;310;p29"/>
            <p:cNvSpPr/>
            <p:nvPr/>
          </p:nvSpPr>
          <p:spPr>
            <a:xfrm>
              <a:off x="10776351" y="2085597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fill="none" extrusionOk="0">
                  <a:moveTo>
                    <a:pt x="5081" y="1758"/>
                  </a:moveTo>
                  <a:cubicBezTo>
                    <a:pt x="5081" y="2727"/>
                    <a:pt x="3943" y="3515"/>
                    <a:pt x="2535" y="3515"/>
                  </a:cubicBezTo>
                  <a:cubicBezTo>
                    <a:pt x="1139" y="3515"/>
                    <a:pt x="1" y="2727"/>
                    <a:pt x="1" y="1758"/>
                  </a:cubicBezTo>
                  <a:cubicBezTo>
                    <a:pt x="1" y="789"/>
                    <a:pt x="1139" y="1"/>
                    <a:pt x="2535" y="1"/>
                  </a:cubicBezTo>
                  <a:cubicBezTo>
                    <a:pt x="3943" y="1"/>
                    <a:pt x="5081" y="789"/>
                    <a:pt x="5081" y="1758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" name="Google Shape;311;p29"/>
            <p:cNvSpPr/>
            <p:nvPr/>
          </p:nvSpPr>
          <p:spPr>
            <a:xfrm>
              <a:off x="10776351" y="2002092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extrusionOk="0">
                  <a:moveTo>
                    <a:pt x="2535" y="0"/>
                  </a:moveTo>
                  <a:cubicBezTo>
                    <a:pt x="1139" y="0"/>
                    <a:pt x="1" y="789"/>
                    <a:pt x="1" y="1757"/>
                  </a:cubicBezTo>
                  <a:cubicBezTo>
                    <a:pt x="1" y="2726"/>
                    <a:pt x="1139" y="3515"/>
                    <a:pt x="2535" y="3515"/>
                  </a:cubicBezTo>
                  <a:cubicBezTo>
                    <a:pt x="3943" y="3515"/>
                    <a:pt x="5081" y="2726"/>
                    <a:pt x="5081" y="1757"/>
                  </a:cubicBezTo>
                  <a:cubicBezTo>
                    <a:pt x="5081" y="789"/>
                    <a:pt x="3943" y="0"/>
                    <a:pt x="253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" name="Google Shape;312;p29"/>
            <p:cNvSpPr/>
            <p:nvPr/>
          </p:nvSpPr>
          <p:spPr>
            <a:xfrm>
              <a:off x="10776351" y="2002092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fill="none" extrusionOk="0">
                  <a:moveTo>
                    <a:pt x="5081" y="1757"/>
                  </a:moveTo>
                  <a:cubicBezTo>
                    <a:pt x="5081" y="2726"/>
                    <a:pt x="3943" y="3515"/>
                    <a:pt x="2535" y="3515"/>
                  </a:cubicBezTo>
                  <a:cubicBezTo>
                    <a:pt x="1139" y="3515"/>
                    <a:pt x="1" y="2726"/>
                    <a:pt x="1" y="1757"/>
                  </a:cubicBezTo>
                  <a:cubicBezTo>
                    <a:pt x="1" y="789"/>
                    <a:pt x="1139" y="0"/>
                    <a:pt x="2535" y="0"/>
                  </a:cubicBezTo>
                  <a:cubicBezTo>
                    <a:pt x="3943" y="0"/>
                    <a:pt x="5081" y="789"/>
                    <a:pt x="5081" y="1757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" name="Google Shape;313;p29"/>
            <p:cNvSpPr/>
            <p:nvPr/>
          </p:nvSpPr>
          <p:spPr>
            <a:xfrm>
              <a:off x="11032689" y="2355460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1" y="823"/>
                  </a:moveTo>
                  <a:cubicBezTo>
                    <a:pt x="1" y="800"/>
                    <a:pt x="1" y="778"/>
                    <a:pt x="1" y="767"/>
                  </a:cubicBez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" name="Google Shape;314;p29"/>
            <p:cNvSpPr/>
            <p:nvPr/>
          </p:nvSpPr>
          <p:spPr>
            <a:xfrm>
              <a:off x="11088027" y="2350949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2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" name="Google Shape;315;p29"/>
            <p:cNvSpPr/>
            <p:nvPr/>
          </p:nvSpPr>
          <p:spPr>
            <a:xfrm>
              <a:off x="11139956" y="2338519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2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" name="Google Shape;316;p29"/>
            <p:cNvSpPr/>
            <p:nvPr/>
          </p:nvSpPr>
          <p:spPr>
            <a:xfrm>
              <a:off x="11188577" y="2319372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0" y="811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" name="Google Shape;317;p29"/>
            <p:cNvSpPr/>
            <p:nvPr/>
          </p:nvSpPr>
          <p:spPr>
            <a:xfrm>
              <a:off x="11230281" y="2291102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1" y="823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" name="Google Shape;318;p29"/>
            <p:cNvSpPr/>
            <p:nvPr/>
          </p:nvSpPr>
          <p:spPr>
            <a:xfrm>
              <a:off x="11267574" y="2244788"/>
              <a:ext cx="100" cy="82606"/>
            </a:xfrm>
            <a:custGeom>
              <a:avLst/>
              <a:gdLst/>
              <a:ahLst/>
              <a:cxnLst/>
              <a:rect l="l" t="t" r="r" b="b"/>
              <a:pathLst>
                <a:path w="1" h="824" fill="none" extrusionOk="0">
                  <a:moveTo>
                    <a:pt x="0" y="823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" name="Google Shape;319;p29"/>
            <p:cNvSpPr/>
            <p:nvPr/>
          </p:nvSpPr>
          <p:spPr>
            <a:xfrm>
              <a:off x="10976248" y="2350949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2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" name="Google Shape;320;p29"/>
            <p:cNvSpPr/>
            <p:nvPr/>
          </p:nvSpPr>
          <p:spPr>
            <a:xfrm>
              <a:off x="10923216" y="2338519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0" y="812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" name="Google Shape;321;p29"/>
            <p:cNvSpPr/>
            <p:nvPr/>
          </p:nvSpPr>
          <p:spPr>
            <a:xfrm>
              <a:off x="10874595" y="2319372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1"/>
                  </a:moveTo>
                  <a:lnTo>
                    <a:pt x="1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" name="Google Shape;322;p29"/>
            <p:cNvSpPr/>
            <p:nvPr/>
          </p:nvSpPr>
          <p:spPr>
            <a:xfrm>
              <a:off x="10833994" y="2291102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0" y="823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" name="Google Shape;323;p29"/>
            <p:cNvSpPr/>
            <p:nvPr/>
          </p:nvSpPr>
          <p:spPr>
            <a:xfrm>
              <a:off x="10795599" y="2244788"/>
              <a:ext cx="100" cy="82606"/>
            </a:xfrm>
            <a:custGeom>
              <a:avLst/>
              <a:gdLst/>
              <a:ahLst/>
              <a:cxnLst/>
              <a:rect l="l" t="t" r="r" b="b"/>
              <a:pathLst>
                <a:path w="1" h="824" fill="none" extrusionOk="0">
                  <a:moveTo>
                    <a:pt x="0" y="823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" name="Google Shape;324;p29"/>
            <p:cNvSpPr/>
            <p:nvPr/>
          </p:nvSpPr>
          <p:spPr>
            <a:xfrm>
              <a:off x="10833994" y="2041589"/>
              <a:ext cx="394193" cy="273382"/>
            </a:xfrm>
            <a:custGeom>
              <a:avLst/>
              <a:gdLst/>
              <a:ahLst/>
              <a:cxnLst/>
              <a:rect l="l" t="t" r="r" b="b"/>
              <a:pathLst>
                <a:path w="3932" h="2727" extrusionOk="0">
                  <a:moveTo>
                    <a:pt x="1960" y="1"/>
                  </a:moveTo>
                  <a:cubicBezTo>
                    <a:pt x="879" y="1"/>
                    <a:pt x="0" y="609"/>
                    <a:pt x="0" y="1363"/>
                  </a:cubicBezTo>
                  <a:cubicBezTo>
                    <a:pt x="0" y="2118"/>
                    <a:pt x="879" y="2726"/>
                    <a:pt x="1960" y="2726"/>
                  </a:cubicBezTo>
                  <a:cubicBezTo>
                    <a:pt x="3053" y="2726"/>
                    <a:pt x="3931" y="2118"/>
                    <a:pt x="3931" y="1363"/>
                  </a:cubicBezTo>
                  <a:cubicBezTo>
                    <a:pt x="3931" y="609"/>
                    <a:pt x="3053" y="1"/>
                    <a:pt x="19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" name="Google Shape;325;p29"/>
            <p:cNvSpPr/>
            <p:nvPr/>
          </p:nvSpPr>
          <p:spPr>
            <a:xfrm>
              <a:off x="10833994" y="2041589"/>
              <a:ext cx="394193" cy="273382"/>
            </a:xfrm>
            <a:custGeom>
              <a:avLst/>
              <a:gdLst/>
              <a:ahLst/>
              <a:cxnLst/>
              <a:rect l="l" t="t" r="r" b="b"/>
              <a:pathLst>
                <a:path w="3932" h="2727" fill="none" extrusionOk="0">
                  <a:moveTo>
                    <a:pt x="3931" y="1363"/>
                  </a:moveTo>
                  <a:cubicBezTo>
                    <a:pt x="3931" y="2118"/>
                    <a:pt x="3053" y="2726"/>
                    <a:pt x="1960" y="2726"/>
                  </a:cubicBezTo>
                  <a:cubicBezTo>
                    <a:pt x="879" y="2726"/>
                    <a:pt x="0" y="2118"/>
                    <a:pt x="0" y="1363"/>
                  </a:cubicBezTo>
                  <a:cubicBezTo>
                    <a:pt x="0" y="609"/>
                    <a:pt x="879" y="1"/>
                    <a:pt x="1960" y="1"/>
                  </a:cubicBezTo>
                  <a:cubicBezTo>
                    <a:pt x="3053" y="1"/>
                    <a:pt x="3931" y="609"/>
                    <a:pt x="3931" y="1363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" name="Google Shape;326;p29"/>
            <p:cNvSpPr/>
            <p:nvPr/>
          </p:nvSpPr>
          <p:spPr>
            <a:xfrm>
              <a:off x="10887026" y="2101436"/>
              <a:ext cx="288025" cy="153683"/>
            </a:xfrm>
            <a:custGeom>
              <a:avLst/>
              <a:gdLst/>
              <a:ahLst/>
              <a:cxnLst/>
              <a:rect l="l" t="t" r="r" b="b"/>
              <a:pathLst>
                <a:path w="2873" h="1533" extrusionOk="0">
                  <a:moveTo>
                    <a:pt x="282" y="1"/>
                  </a:moveTo>
                  <a:lnTo>
                    <a:pt x="57" y="102"/>
                  </a:lnTo>
                  <a:lnTo>
                    <a:pt x="226" y="192"/>
                  </a:lnTo>
                  <a:cubicBezTo>
                    <a:pt x="80" y="282"/>
                    <a:pt x="1" y="361"/>
                    <a:pt x="12" y="451"/>
                  </a:cubicBezTo>
                  <a:cubicBezTo>
                    <a:pt x="12" y="541"/>
                    <a:pt x="102" y="620"/>
                    <a:pt x="260" y="710"/>
                  </a:cubicBezTo>
                  <a:cubicBezTo>
                    <a:pt x="372" y="778"/>
                    <a:pt x="496" y="823"/>
                    <a:pt x="620" y="857"/>
                  </a:cubicBezTo>
                  <a:cubicBezTo>
                    <a:pt x="755" y="890"/>
                    <a:pt x="868" y="913"/>
                    <a:pt x="969" y="913"/>
                  </a:cubicBezTo>
                  <a:lnTo>
                    <a:pt x="1521" y="913"/>
                  </a:lnTo>
                  <a:cubicBezTo>
                    <a:pt x="1564" y="910"/>
                    <a:pt x="1603" y="908"/>
                    <a:pt x="1638" y="908"/>
                  </a:cubicBezTo>
                  <a:cubicBezTo>
                    <a:pt x="1736" y="908"/>
                    <a:pt x="1810" y="919"/>
                    <a:pt x="1859" y="935"/>
                  </a:cubicBezTo>
                  <a:cubicBezTo>
                    <a:pt x="1927" y="958"/>
                    <a:pt x="2017" y="1003"/>
                    <a:pt x="2141" y="1071"/>
                  </a:cubicBezTo>
                  <a:cubicBezTo>
                    <a:pt x="2197" y="1093"/>
                    <a:pt x="2220" y="1127"/>
                    <a:pt x="2231" y="1138"/>
                  </a:cubicBezTo>
                  <a:cubicBezTo>
                    <a:pt x="2231" y="1161"/>
                    <a:pt x="2220" y="1183"/>
                    <a:pt x="2186" y="1194"/>
                  </a:cubicBezTo>
                  <a:cubicBezTo>
                    <a:pt x="2166" y="1201"/>
                    <a:pt x="2143" y="1207"/>
                    <a:pt x="2118" y="1207"/>
                  </a:cubicBezTo>
                  <a:cubicBezTo>
                    <a:pt x="2100" y="1207"/>
                    <a:pt x="2081" y="1204"/>
                    <a:pt x="2062" y="1194"/>
                  </a:cubicBezTo>
                  <a:cubicBezTo>
                    <a:pt x="2017" y="1183"/>
                    <a:pt x="1916" y="1138"/>
                    <a:pt x="1769" y="1048"/>
                  </a:cubicBezTo>
                  <a:lnTo>
                    <a:pt x="1634" y="980"/>
                  </a:lnTo>
                  <a:lnTo>
                    <a:pt x="1127" y="1194"/>
                  </a:lnTo>
                  <a:lnTo>
                    <a:pt x="1228" y="1251"/>
                  </a:lnTo>
                  <a:cubicBezTo>
                    <a:pt x="1476" y="1386"/>
                    <a:pt x="1690" y="1454"/>
                    <a:pt x="1893" y="1465"/>
                  </a:cubicBezTo>
                  <a:cubicBezTo>
                    <a:pt x="1939" y="1467"/>
                    <a:pt x="1983" y="1469"/>
                    <a:pt x="2026" y="1469"/>
                  </a:cubicBezTo>
                  <a:cubicBezTo>
                    <a:pt x="2175" y="1469"/>
                    <a:pt x="2309" y="1452"/>
                    <a:pt x="2422" y="1408"/>
                  </a:cubicBezTo>
                  <a:lnTo>
                    <a:pt x="2636" y="1532"/>
                  </a:lnTo>
                  <a:lnTo>
                    <a:pt x="2873" y="1431"/>
                  </a:lnTo>
                  <a:lnTo>
                    <a:pt x="2659" y="1318"/>
                  </a:lnTo>
                  <a:cubicBezTo>
                    <a:pt x="2817" y="1228"/>
                    <a:pt x="2873" y="1138"/>
                    <a:pt x="2850" y="1048"/>
                  </a:cubicBezTo>
                  <a:cubicBezTo>
                    <a:pt x="2828" y="947"/>
                    <a:pt x="2726" y="845"/>
                    <a:pt x="2524" y="733"/>
                  </a:cubicBezTo>
                  <a:cubicBezTo>
                    <a:pt x="2411" y="665"/>
                    <a:pt x="2287" y="620"/>
                    <a:pt x="2175" y="586"/>
                  </a:cubicBezTo>
                  <a:cubicBezTo>
                    <a:pt x="2062" y="552"/>
                    <a:pt x="1961" y="541"/>
                    <a:pt x="1870" y="530"/>
                  </a:cubicBezTo>
                  <a:cubicBezTo>
                    <a:pt x="1780" y="530"/>
                    <a:pt x="1623" y="530"/>
                    <a:pt x="1409" y="541"/>
                  </a:cubicBezTo>
                  <a:lnTo>
                    <a:pt x="936" y="541"/>
                  </a:lnTo>
                  <a:cubicBezTo>
                    <a:pt x="868" y="530"/>
                    <a:pt x="789" y="507"/>
                    <a:pt x="710" y="462"/>
                  </a:cubicBezTo>
                  <a:cubicBezTo>
                    <a:pt x="654" y="429"/>
                    <a:pt x="620" y="406"/>
                    <a:pt x="620" y="383"/>
                  </a:cubicBezTo>
                  <a:cubicBezTo>
                    <a:pt x="609" y="361"/>
                    <a:pt x="620" y="350"/>
                    <a:pt x="643" y="338"/>
                  </a:cubicBezTo>
                  <a:cubicBezTo>
                    <a:pt x="669" y="325"/>
                    <a:pt x="696" y="320"/>
                    <a:pt x="720" y="320"/>
                  </a:cubicBezTo>
                  <a:cubicBezTo>
                    <a:pt x="737" y="320"/>
                    <a:pt x="753" y="323"/>
                    <a:pt x="767" y="327"/>
                  </a:cubicBezTo>
                  <a:cubicBezTo>
                    <a:pt x="812" y="338"/>
                    <a:pt x="879" y="372"/>
                    <a:pt x="969" y="429"/>
                  </a:cubicBezTo>
                  <a:lnTo>
                    <a:pt x="1060" y="474"/>
                  </a:lnTo>
                  <a:lnTo>
                    <a:pt x="1578" y="271"/>
                  </a:lnTo>
                  <a:cubicBezTo>
                    <a:pt x="1533" y="237"/>
                    <a:pt x="1499" y="215"/>
                    <a:pt x="1476" y="203"/>
                  </a:cubicBezTo>
                  <a:cubicBezTo>
                    <a:pt x="1319" y="113"/>
                    <a:pt x="1150" y="68"/>
                    <a:pt x="981" y="46"/>
                  </a:cubicBezTo>
                  <a:cubicBezTo>
                    <a:pt x="937" y="40"/>
                    <a:pt x="893" y="37"/>
                    <a:pt x="850" y="37"/>
                  </a:cubicBezTo>
                  <a:cubicBezTo>
                    <a:pt x="724" y="37"/>
                    <a:pt x="596" y="60"/>
                    <a:pt x="463" y="102"/>
                  </a:cubicBezTo>
                  <a:lnTo>
                    <a:pt x="2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" name="Google Shape;327;p29"/>
            <p:cNvSpPr/>
            <p:nvPr/>
          </p:nvSpPr>
          <p:spPr>
            <a:xfrm>
              <a:off x="10887026" y="2101436"/>
              <a:ext cx="288025" cy="153683"/>
            </a:xfrm>
            <a:custGeom>
              <a:avLst/>
              <a:gdLst/>
              <a:ahLst/>
              <a:cxnLst/>
              <a:rect l="l" t="t" r="r" b="b"/>
              <a:pathLst>
                <a:path w="2873" h="1533" fill="none" extrusionOk="0">
                  <a:moveTo>
                    <a:pt x="1578" y="271"/>
                  </a:moveTo>
                  <a:lnTo>
                    <a:pt x="1060" y="474"/>
                  </a:lnTo>
                  <a:lnTo>
                    <a:pt x="969" y="429"/>
                  </a:lnTo>
                  <a:cubicBezTo>
                    <a:pt x="879" y="372"/>
                    <a:pt x="812" y="338"/>
                    <a:pt x="767" y="327"/>
                  </a:cubicBezTo>
                  <a:cubicBezTo>
                    <a:pt x="733" y="316"/>
                    <a:pt x="688" y="316"/>
                    <a:pt x="643" y="338"/>
                  </a:cubicBezTo>
                  <a:cubicBezTo>
                    <a:pt x="620" y="350"/>
                    <a:pt x="609" y="361"/>
                    <a:pt x="620" y="383"/>
                  </a:cubicBezTo>
                  <a:cubicBezTo>
                    <a:pt x="620" y="406"/>
                    <a:pt x="654" y="429"/>
                    <a:pt x="710" y="462"/>
                  </a:cubicBezTo>
                  <a:cubicBezTo>
                    <a:pt x="789" y="507"/>
                    <a:pt x="868" y="530"/>
                    <a:pt x="936" y="541"/>
                  </a:cubicBezTo>
                  <a:cubicBezTo>
                    <a:pt x="1003" y="541"/>
                    <a:pt x="1161" y="541"/>
                    <a:pt x="1409" y="541"/>
                  </a:cubicBezTo>
                  <a:cubicBezTo>
                    <a:pt x="1623" y="530"/>
                    <a:pt x="1780" y="530"/>
                    <a:pt x="1870" y="530"/>
                  </a:cubicBezTo>
                  <a:cubicBezTo>
                    <a:pt x="1961" y="541"/>
                    <a:pt x="2062" y="552"/>
                    <a:pt x="2175" y="586"/>
                  </a:cubicBezTo>
                  <a:cubicBezTo>
                    <a:pt x="2287" y="620"/>
                    <a:pt x="2411" y="665"/>
                    <a:pt x="2524" y="733"/>
                  </a:cubicBezTo>
                  <a:cubicBezTo>
                    <a:pt x="2726" y="845"/>
                    <a:pt x="2828" y="947"/>
                    <a:pt x="2850" y="1048"/>
                  </a:cubicBezTo>
                  <a:cubicBezTo>
                    <a:pt x="2873" y="1138"/>
                    <a:pt x="2817" y="1228"/>
                    <a:pt x="2659" y="1318"/>
                  </a:cubicBezTo>
                  <a:lnTo>
                    <a:pt x="2873" y="1431"/>
                  </a:lnTo>
                  <a:lnTo>
                    <a:pt x="2636" y="1532"/>
                  </a:lnTo>
                  <a:lnTo>
                    <a:pt x="2422" y="1408"/>
                  </a:lnTo>
                  <a:cubicBezTo>
                    <a:pt x="2276" y="1465"/>
                    <a:pt x="2096" y="1476"/>
                    <a:pt x="1893" y="1465"/>
                  </a:cubicBezTo>
                  <a:cubicBezTo>
                    <a:pt x="1690" y="1454"/>
                    <a:pt x="1476" y="1386"/>
                    <a:pt x="1228" y="1251"/>
                  </a:cubicBezTo>
                  <a:lnTo>
                    <a:pt x="1127" y="1194"/>
                  </a:lnTo>
                  <a:lnTo>
                    <a:pt x="1634" y="980"/>
                  </a:lnTo>
                  <a:lnTo>
                    <a:pt x="1769" y="1048"/>
                  </a:lnTo>
                  <a:cubicBezTo>
                    <a:pt x="1916" y="1138"/>
                    <a:pt x="2017" y="1183"/>
                    <a:pt x="2062" y="1194"/>
                  </a:cubicBezTo>
                  <a:cubicBezTo>
                    <a:pt x="2107" y="1217"/>
                    <a:pt x="2152" y="1206"/>
                    <a:pt x="2186" y="1194"/>
                  </a:cubicBezTo>
                  <a:cubicBezTo>
                    <a:pt x="2220" y="1183"/>
                    <a:pt x="2231" y="1161"/>
                    <a:pt x="2231" y="1138"/>
                  </a:cubicBezTo>
                  <a:cubicBezTo>
                    <a:pt x="2220" y="1127"/>
                    <a:pt x="2197" y="1093"/>
                    <a:pt x="2141" y="1071"/>
                  </a:cubicBezTo>
                  <a:cubicBezTo>
                    <a:pt x="2017" y="1003"/>
                    <a:pt x="1927" y="958"/>
                    <a:pt x="1859" y="935"/>
                  </a:cubicBezTo>
                  <a:cubicBezTo>
                    <a:pt x="1792" y="913"/>
                    <a:pt x="1679" y="902"/>
                    <a:pt x="1521" y="913"/>
                  </a:cubicBezTo>
                  <a:cubicBezTo>
                    <a:pt x="1262" y="913"/>
                    <a:pt x="1082" y="913"/>
                    <a:pt x="969" y="913"/>
                  </a:cubicBezTo>
                  <a:cubicBezTo>
                    <a:pt x="868" y="913"/>
                    <a:pt x="755" y="890"/>
                    <a:pt x="620" y="857"/>
                  </a:cubicBezTo>
                  <a:cubicBezTo>
                    <a:pt x="496" y="823"/>
                    <a:pt x="372" y="778"/>
                    <a:pt x="260" y="710"/>
                  </a:cubicBezTo>
                  <a:cubicBezTo>
                    <a:pt x="102" y="620"/>
                    <a:pt x="12" y="541"/>
                    <a:pt x="12" y="451"/>
                  </a:cubicBezTo>
                  <a:cubicBezTo>
                    <a:pt x="1" y="361"/>
                    <a:pt x="80" y="282"/>
                    <a:pt x="226" y="192"/>
                  </a:cubicBezTo>
                  <a:lnTo>
                    <a:pt x="57" y="102"/>
                  </a:lnTo>
                  <a:lnTo>
                    <a:pt x="282" y="1"/>
                  </a:lnTo>
                  <a:lnTo>
                    <a:pt x="463" y="102"/>
                  </a:lnTo>
                  <a:cubicBezTo>
                    <a:pt x="643" y="46"/>
                    <a:pt x="812" y="23"/>
                    <a:pt x="981" y="46"/>
                  </a:cubicBezTo>
                  <a:cubicBezTo>
                    <a:pt x="1150" y="68"/>
                    <a:pt x="1319" y="113"/>
                    <a:pt x="1476" y="203"/>
                  </a:cubicBezTo>
                  <a:cubicBezTo>
                    <a:pt x="1499" y="215"/>
                    <a:pt x="1533" y="237"/>
                    <a:pt x="1578" y="271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" name="Google Shape;328;p29"/>
            <p:cNvSpPr/>
            <p:nvPr/>
          </p:nvSpPr>
          <p:spPr>
            <a:xfrm>
              <a:off x="10776351" y="1935428"/>
              <a:ext cx="509383" cy="353582"/>
            </a:xfrm>
            <a:custGeom>
              <a:avLst/>
              <a:gdLst/>
              <a:ahLst/>
              <a:cxnLst/>
              <a:rect l="l" t="t" r="r" b="b"/>
              <a:pathLst>
                <a:path w="5081" h="3527" extrusionOk="0">
                  <a:moveTo>
                    <a:pt x="2546" y="1"/>
                  </a:moveTo>
                  <a:cubicBezTo>
                    <a:pt x="1578" y="1"/>
                    <a:pt x="733" y="384"/>
                    <a:pt x="305" y="936"/>
                  </a:cubicBezTo>
                  <a:lnTo>
                    <a:pt x="12" y="936"/>
                  </a:lnTo>
                  <a:lnTo>
                    <a:pt x="1" y="1690"/>
                  </a:lnTo>
                  <a:cubicBezTo>
                    <a:pt x="1" y="1713"/>
                    <a:pt x="1" y="1735"/>
                    <a:pt x="1" y="1769"/>
                  </a:cubicBezTo>
                  <a:cubicBezTo>
                    <a:pt x="1" y="2738"/>
                    <a:pt x="1139" y="3526"/>
                    <a:pt x="2546" y="3526"/>
                  </a:cubicBezTo>
                  <a:cubicBezTo>
                    <a:pt x="3943" y="3526"/>
                    <a:pt x="5081" y="2738"/>
                    <a:pt x="5081" y="1769"/>
                  </a:cubicBezTo>
                  <a:lnTo>
                    <a:pt x="5081" y="936"/>
                  </a:lnTo>
                  <a:lnTo>
                    <a:pt x="4777" y="936"/>
                  </a:lnTo>
                  <a:cubicBezTo>
                    <a:pt x="4349" y="384"/>
                    <a:pt x="3504" y="1"/>
                    <a:pt x="254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" name="Google Shape;329;p29"/>
            <p:cNvSpPr/>
            <p:nvPr/>
          </p:nvSpPr>
          <p:spPr>
            <a:xfrm>
              <a:off x="10776351" y="1935428"/>
              <a:ext cx="509383" cy="353582"/>
            </a:xfrm>
            <a:custGeom>
              <a:avLst/>
              <a:gdLst/>
              <a:ahLst/>
              <a:cxnLst/>
              <a:rect l="l" t="t" r="r" b="b"/>
              <a:pathLst>
                <a:path w="5081" h="3527" extrusionOk="0">
                  <a:moveTo>
                    <a:pt x="2535" y="1"/>
                  </a:moveTo>
                  <a:cubicBezTo>
                    <a:pt x="1139" y="1"/>
                    <a:pt x="1" y="789"/>
                    <a:pt x="1" y="1758"/>
                  </a:cubicBezTo>
                  <a:cubicBezTo>
                    <a:pt x="1" y="2738"/>
                    <a:pt x="1139" y="3526"/>
                    <a:pt x="2535" y="3526"/>
                  </a:cubicBezTo>
                  <a:cubicBezTo>
                    <a:pt x="3943" y="3526"/>
                    <a:pt x="5081" y="2738"/>
                    <a:pt x="5081" y="1758"/>
                  </a:cubicBezTo>
                  <a:cubicBezTo>
                    <a:pt x="5081" y="789"/>
                    <a:pt x="3943" y="1"/>
                    <a:pt x="2535" y="1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" name="Google Shape;330;p29"/>
            <p:cNvSpPr/>
            <p:nvPr/>
          </p:nvSpPr>
          <p:spPr>
            <a:xfrm>
              <a:off x="10776351" y="1935428"/>
              <a:ext cx="509383" cy="353582"/>
            </a:xfrm>
            <a:custGeom>
              <a:avLst/>
              <a:gdLst/>
              <a:ahLst/>
              <a:cxnLst/>
              <a:rect l="l" t="t" r="r" b="b"/>
              <a:pathLst>
                <a:path w="5081" h="3527" fill="none" extrusionOk="0">
                  <a:moveTo>
                    <a:pt x="4777" y="936"/>
                  </a:moveTo>
                  <a:cubicBezTo>
                    <a:pt x="4349" y="384"/>
                    <a:pt x="3504" y="1"/>
                    <a:pt x="2546" y="1"/>
                  </a:cubicBezTo>
                  <a:cubicBezTo>
                    <a:pt x="1578" y="1"/>
                    <a:pt x="733" y="384"/>
                    <a:pt x="305" y="936"/>
                  </a:cubicBezTo>
                  <a:lnTo>
                    <a:pt x="12" y="936"/>
                  </a:lnTo>
                  <a:lnTo>
                    <a:pt x="1" y="1690"/>
                  </a:lnTo>
                  <a:cubicBezTo>
                    <a:pt x="1" y="1713"/>
                    <a:pt x="1" y="1735"/>
                    <a:pt x="1" y="1769"/>
                  </a:cubicBezTo>
                  <a:cubicBezTo>
                    <a:pt x="1" y="2738"/>
                    <a:pt x="1139" y="3526"/>
                    <a:pt x="2546" y="3526"/>
                  </a:cubicBezTo>
                  <a:cubicBezTo>
                    <a:pt x="3943" y="3526"/>
                    <a:pt x="5081" y="2738"/>
                    <a:pt x="5081" y="1769"/>
                  </a:cubicBezTo>
                  <a:lnTo>
                    <a:pt x="5081" y="936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" name="Google Shape;331;p29"/>
            <p:cNvSpPr/>
            <p:nvPr/>
          </p:nvSpPr>
          <p:spPr>
            <a:xfrm>
              <a:off x="10776351" y="1935428"/>
              <a:ext cx="509383" cy="353582"/>
            </a:xfrm>
            <a:custGeom>
              <a:avLst/>
              <a:gdLst/>
              <a:ahLst/>
              <a:cxnLst/>
              <a:rect l="l" t="t" r="r" b="b"/>
              <a:pathLst>
                <a:path w="5081" h="3527" fill="none" extrusionOk="0">
                  <a:moveTo>
                    <a:pt x="5081" y="1758"/>
                  </a:moveTo>
                  <a:cubicBezTo>
                    <a:pt x="5081" y="2738"/>
                    <a:pt x="3943" y="3526"/>
                    <a:pt x="2535" y="3526"/>
                  </a:cubicBezTo>
                  <a:cubicBezTo>
                    <a:pt x="1139" y="3526"/>
                    <a:pt x="1" y="2738"/>
                    <a:pt x="1" y="1758"/>
                  </a:cubicBezTo>
                  <a:cubicBezTo>
                    <a:pt x="1" y="789"/>
                    <a:pt x="1139" y="1"/>
                    <a:pt x="2535" y="1"/>
                  </a:cubicBezTo>
                  <a:cubicBezTo>
                    <a:pt x="3943" y="1"/>
                    <a:pt x="5081" y="789"/>
                    <a:pt x="5081" y="1758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" name="Google Shape;332;p29"/>
            <p:cNvSpPr/>
            <p:nvPr/>
          </p:nvSpPr>
          <p:spPr>
            <a:xfrm>
              <a:off x="10776351" y="1851923"/>
              <a:ext cx="509383" cy="353481"/>
            </a:xfrm>
            <a:custGeom>
              <a:avLst/>
              <a:gdLst/>
              <a:ahLst/>
              <a:cxnLst/>
              <a:rect l="l" t="t" r="r" b="b"/>
              <a:pathLst>
                <a:path w="5081" h="3526" extrusionOk="0">
                  <a:moveTo>
                    <a:pt x="2535" y="0"/>
                  </a:moveTo>
                  <a:cubicBezTo>
                    <a:pt x="1139" y="0"/>
                    <a:pt x="1" y="789"/>
                    <a:pt x="1" y="1757"/>
                  </a:cubicBezTo>
                  <a:cubicBezTo>
                    <a:pt x="1" y="2737"/>
                    <a:pt x="1139" y="3526"/>
                    <a:pt x="2535" y="3526"/>
                  </a:cubicBezTo>
                  <a:cubicBezTo>
                    <a:pt x="3943" y="3526"/>
                    <a:pt x="5081" y="2737"/>
                    <a:pt x="5081" y="1757"/>
                  </a:cubicBezTo>
                  <a:cubicBezTo>
                    <a:pt x="5081" y="789"/>
                    <a:pt x="3943" y="0"/>
                    <a:pt x="253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" name="Google Shape;333;p29"/>
            <p:cNvSpPr/>
            <p:nvPr/>
          </p:nvSpPr>
          <p:spPr>
            <a:xfrm>
              <a:off x="10776351" y="1851923"/>
              <a:ext cx="509383" cy="353481"/>
            </a:xfrm>
            <a:custGeom>
              <a:avLst/>
              <a:gdLst/>
              <a:ahLst/>
              <a:cxnLst/>
              <a:rect l="l" t="t" r="r" b="b"/>
              <a:pathLst>
                <a:path w="5081" h="3526" fill="none" extrusionOk="0">
                  <a:moveTo>
                    <a:pt x="5081" y="1757"/>
                  </a:moveTo>
                  <a:cubicBezTo>
                    <a:pt x="5081" y="2737"/>
                    <a:pt x="3943" y="3526"/>
                    <a:pt x="2535" y="3526"/>
                  </a:cubicBezTo>
                  <a:cubicBezTo>
                    <a:pt x="1139" y="3526"/>
                    <a:pt x="1" y="2737"/>
                    <a:pt x="1" y="1757"/>
                  </a:cubicBezTo>
                  <a:cubicBezTo>
                    <a:pt x="1" y="789"/>
                    <a:pt x="1139" y="0"/>
                    <a:pt x="2535" y="0"/>
                  </a:cubicBezTo>
                  <a:cubicBezTo>
                    <a:pt x="3943" y="0"/>
                    <a:pt x="5081" y="789"/>
                    <a:pt x="5081" y="1757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" name="Google Shape;334;p29"/>
            <p:cNvSpPr/>
            <p:nvPr/>
          </p:nvSpPr>
          <p:spPr>
            <a:xfrm>
              <a:off x="11032689" y="2205291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1" y="823"/>
                  </a:moveTo>
                  <a:cubicBezTo>
                    <a:pt x="1" y="812"/>
                    <a:pt x="1" y="789"/>
                    <a:pt x="1" y="767"/>
                  </a:cubicBez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" name="Google Shape;335;p29"/>
            <p:cNvSpPr/>
            <p:nvPr/>
          </p:nvSpPr>
          <p:spPr>
            <a:xfrm>
              <a:off x="11088027" y="2200780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2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" name="Google Shape;336;p29"/>
            <p:cNvSpPr/>
            <p:nvPr/>
          </p:nvSpPr>
          <p:spPr>
            <a:xfrm>
              <a:off x="11139956" y="2189553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1"/>
                  </a:moveTo>
                  <a:lnTo>
                    <a:pt x="1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" name="Google Shape;337;p29"/>
            <p:cNvSpPr/>
            <p:nvPr/>
          </p:nvSpPr>
          <p:spPr>
            <a:xfrm>
              <a:off x="11188577" y="2169203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0" y="823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" name="Google Shape;338;p29"/>
            <p:cNvSpPr/>
            <p:nvPr/>
          </p:nvSpPr>
          <p:spPr>
            <a:xfrm>
              <a:off x="11230281" y="2140933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1" y="823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" name="Google Shape;339;p29"/>
            <p:cNvSpPr/>
            <p:nvPr/>
          </p:nvSpPr>
          <p:spPr>
            <a:xfrm>
              <a:off x="11267574" y="2095822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0" y="811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" name="Google Shape;340;p29"/>
            <p:cNvSpPr/>
            <p:nvPr/>
          </p:nvSpPr>
          <p:spPr>
            <a:xfrm>
              <a:off x="10976248" y="2200780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2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" name="Google Shape;341;p29"/>
            <p:cNvSpPr/>
            <p:nvPr/>
          </p:nvSpPr>
          <p:spPr>
            <a:xfrm>
              <a:off x="10923216" y="2189553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0" y="811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" name="Google Shape;342;p29"/>
            <p:cNvSpPr/>
            <p:nvPr/>
          </p:nvSpPr>
          <p:spPr>
            <a:xfrm>
              <a:off x="10874595" y="2169203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1" y="823"/>
                  </a:moveTo>
                  <a:lnTo>
                    <a:pt x="1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" name="Google Shape;343;p29"/>
            <p:cNvSpPr/>
            <p:nvPr/>
          </p:nvSpPr>
          <p:spPr>
            <a:xfrm>
              <a:off x="10833994" y="2140933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0" y="823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" name="Google Shape;344;p29"/>
            <p:cNvSpPr/>
            <p:nvPr/>
          </p:nvSpPr>
          <p:spPr>
            <a:xfrm>
              <a:off x="10795599" y="2095822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0" y="811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" name="Google Shape;345;p29"/>
            <p:cNvSpPr/>
            <p:nvPr/>
          </p:nvSpPr>
          <p:spPr>
            <a:xfrm>
              <a:off x="10833994" y="1892523"/>
              <a:ext cx="394193" cy="272279"/>
            </a:xfrm>
            <a:custGeom>
              <a:avLst/>
              <a:gdLst/>
              <a:ahLst/>
              <a:cxnLst/>
              <a:rect l="l" t="t" r="r" b="b"/>
              <a:pathLst>
                <a:path w="3932" h="2716" extrusionOk="0">
                  <a:moveTo>
                    <a:pt x="1960" y="1"/>
                  </a:moveTo>
                  <a:cubicBezTo>
                    <a:pt x="879" y="1"/>
                    <a:pt x="0" y="609"/>
                    <a:pt x="0" y="1352"/>
                  </a:cubicBezTo>
                  <a:cubicBezTo>
                    <a:pt x="0" y="2107"/>
                    <a:pt x="879" y="2715"/>
                    <a:pt x="1960" y="2715"/>
                  </a:cubicBezTo>
                  <a:cubicBezTo>
                    <a:pt x="3053" y="2715"/>
                    <a:pt x="3931" y="2107"/>
                    <a:pt x="3931" y="1352"/>
                  </a:cubicBezTo>
                  <a:cubicBezTo>
                    <a:pt x="3931" y="609"/>
                    <a:pt x="3053" y="1"/>
                    <a:pt x="19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" name="Google Shape;346;p29"/>
            <p:cNvSpPr/>
            <p:nvPr/>
          </p:nvSpPr>
          <p:spPr>
            <a:xfrm>
              <a:off x="10833994" y="1892523"/>
              <a:ext cx="394193" cy="272279"/>
            </a:xfrm>
            <a:custGeom>
              <a:avLst/>
              <a:gdLst/>
              <a:ahLst/>
              <a:cxnLst/>
              <a:rect l="l" t="t" r="r" b="b"/>
              <a:pathLst>
                <a:path w="3932" h="2716" fill="none" extrusionOk="0">
                  <a:moveTo>
                    <a:pt x="3931" y="1352"/>
                  </a:moveTo>
                  <a:cubicBezTo>
                    <a:pt x="3931" y="2107"/>
                    <a:pt x="3053" y="2715"/>
                    <a:pt x="1960" y="2715"/>
                  </a:cubicBezTo>
                  <a:cubicBezTo>
                    <a:pt x="879" y="2715"/>
                    <a:pt x="0" y="2107"/>
                    <a:pt x="0" y="1352"/>
                  </a:cubicBezTo>
                  <a:cubicBezTo>
                    <a:pt x="0" y="609"/>
                    <a:pt x="879" y="1"/>
                    <a:pt x="1960" y="1"/>
                  </a:cubicBezTo>
                  <a:cubicBezTo>
                    <a:pt x="3053" y="1"/>
                    <a:pt x="3931" y="609"/>
                    <a:pt x="3931" y="1352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" name="Google Shape;347;p29"/>
            <p:cNvSpPr/>
            <p:nvPr/>
          </p:nvSpPr>
          <p:spPr>
            <a:xfrm>
              <a:off x="10887026" y="1952370"/>
              <a:ext cx="288025" cy="152581"/>
            </a:xfrm>
            <a:custGeom>
              <a:avLst/>
              <a:gdLst/>
              <a:ahLst/>
              <a:cxnLst/>
              <a:rect l="l" t="t" r="r" b="b"/>
              <a:pathLst>
                <a:path w="2873" h="1522" extrusionOk="0">
                  <a:moveTo>
                    <a:pt x="282" y="1"/>
                  </a:moveTo>
                  <a:lnTo>
                    <a:pt x="57" y="91"/>
                  </a:lnTo>
                  <a:lnTo>
                    <a:pt x="226" y="192"/>
                  </a:lnTo>
                  <a:cubicBezTo>
                    <a:pt x="80" y="271"/>
                    <a:pt x="1" y="361"/>
                    <a:pt x="12" y="440"/>
                  </a:cubicBezTo>
                  <a:cubicBezTo>
                    <a:pt x="12" y="530"/>
                    <a:pt x="102" y="620"/>
                    <a:pt x="260" y="710"/>
                  </a:cubicBezTo>
                  <a:cubicBezTo>
                    <a:pt x="372" y="778"/>
                    <a:pt x="496" y="823"/>
                    <a:pt x="620" y="857"/>
                  </a:cubicBezTo>
                  <a:cubicBezTo>
                    <a:pt x="755" y="891"/>
                    <a:pt x="868" y="902"/>
                    <a:pt x="969" y="913"/>
                  </a:cubicBezTo>
                  <a:cubicBezTo>
                    <a:pt x="1082" y="913"/>
                    <a:pt x="1262" y="913"/>
                    <a:pt x="1521" y="902"/>
                  </a:cubicBezTo>
                  <a:cubicBezTo>
                    <a:pt x="1679" y="902"/>
                    <a:pt x="1792" y="913"/>
                    <a:pt x="1859" y="936"/>
                  </a:cubicBezTo>
                  <a:cubicBezTo>
                    <a:pt x="1927" y="958"/>
                    <a:pt x="2017" y="1003"/>
                    <a:pt x="2141" y="1071"/>
                  </a:cubicBezTo>
                  <a:cubicBezTo>
                    <a:pt x="2197" y="1093"/>
                    <a:pt x="2220" y="1116"/>
                    <a:pt x="2231" y="1138"/>
                  </a:cubicBezTo>
                  <a:cubicBezTo>
                    <a:pt x="2231" y="1161"/>
                    <a:pt x="2220" y="1172"/>
                    <a:pt x="2186" y="1195"/>
                  </a:cubicBezTo>
                  <a:cubicBezTo>
                    <a:pt x="2169" y="1200"/>
                    <a:pt x="2149" y="1203"/>
                    <a:pt x="2128" y="1203"/>
                  </a:cubicBezTo>
                  <a:cubicBezTo>
                    <a:pt x="2107" y="1203"/>
                    <a:pt x="2084" y="1200"/>
                    <a:pt x="2062" y="1195"/>
                  </a:cubicBezTo>
                  <a:cubicBezTo>
                    <a:pt x="2017" y="1172"/>
                    <a:pt x="1916" y="1127"/>
                    <a:pt x="1769" y="1048"/>
                  </a:cubicBezTo>
                  <a:lnTo>
                    <a:pt x="1634" y="969"/>
                  </a:lnTo>
                  <a:lnTo>
                    <a:pt x="1127" y="1183"/>
                  </a:lnTo>
                  <a:lnTo>
                    <a:pt x="1228" y="1240"/>
                  </a:lnTo>
                  <a:cubicBezTo>
                    <a:pt x="1476" y="1375"/>
                    <a:pt x="1690" y="1454"/>
                    <a:pt x="1893" y="1465"/>
                  </a:cubicBezTo>
                  <a:cubicBezTo>
                    <a:pt x="1928" y="1467"/>
                    <a:pt x="1962" y="1468"/>
                    <a:pt x="1995" y="1468"/>
                  </a:cubicBezTo>
                  <a:cubicBezTo>
                    <a:pt x="2157" y="1468"/>
                    <a:pt x="2301" y="1446"/>
                    <a:pt x="2422" y="1409"/>
                  </a:cubicBezTo>
                  <a:lnTo>
                    <a:pt x="2636" y="1521"/>
                  </a:lnTo>
                  <a:lnTo>
                    <a:pt x="2873" y="1431"/>
                  </a:lnTo>
                  <a:lnTo>
                    <a:pt x="2659" y="1319"/>
                  </a:lnTo>
                  <a:cubicBezTo>
                    <a:pt x="2817" y="1228"/>
                    <a:pt x="2873" y="1138"/>
                    <a:pt x="2850" y="1037"/>
                  </a:cubicBezTo>
                  <a:cubicBezTo>
                    <a:pt x="2828" y="947"/>
                    <a:pt x="2726" y="834"/>
                    <a:pt x="2524" y="733"/>
                  </a:cubicBezTo>
                  <a:cubicBezTo>
                    <a:pt x="2411" y="665"/>
                    <a:pt x="2287" y="620"/>
                    <a:pt x="2175" y="586"/>
                  </a:cubicBezTo>
                  <a:cubicBezTo>
                    <a:pt x="2062" y="553"/>
                    <a:pt x="1961" y="530"/>
                    <a:pt x="1870" y="530"/>
                  </a:cubicBezTo>
                  <a:cubicBezTo>
                    <a:pt x="1840" y="526"/>
                    <a:pt x="1803" y="525"/>
                    <a:pt x="1758" y="525"/>
                  </a:cubicBezTo>
                  <a:cubicBezTo>
                    <a:pt x="1669" y="525"/>
                    <a:pt x="1551" y="530"/>
                    <a:pt x="1409" y="530"/>
                  </a:cubicBezTo>
                  <a:cubicBezTo>
                    <a:pt x="1285" y="536"/>
                    <a:pt x="1183" y="539"/>
                    <a:pt x="1105" y="539"/>
                  </a:cubicBezTo>
                  <a:cubicBezTo>
                    <a:pt x="1026" y="539"/>
                    <a:pt x="969" y="536"/>
                    <a:pt x="936" y="530"/>
                  </a:cubicBezTo>
                  <a:cubicBezTo>
                    <a:pt x="868" y="530"/>
                    <a:pt x="789" y="508"/>
                    <a:pt x="710" y="451"/>
                  </a:cubicBezTo>
                  <a:cubicBezTo>
                    <a:pt x="654" y="429"/>
                    <a:pt x="620" y="406"/>
                    <a:pt x="620" y="384"/>
                  </a:cubicBezTo>
                  <a:cubicBezTo>
                    <a:pt x="609" y="361"/>
                    <a:pt x="620" y="350"/>
                    <a:pt x="643" y="327"/>
                  </a:cubicBezTo>
                  <a:cubicBezTo>
                    <a:pt x="665" y="322"/>
                    <a:pt x="688" y="319"/>
                    <a:pt x="709" y="319"/>
                  </a:cubicBezTo>
                  <a:cubicBezTo>
                    <a:pt x="730" y="319"/>
                    <a:pt x="750" y="322"/>
                    <a:pt x="767" y="327"/>
                  </a:cubicBezTo>
                  <a:cubicBezTo>
                    <a:pt x="812" y="339"/>
                    <a:pt x="879" y="372"/>
                    <a:pt x="969" y="418"/>
                  </a:cubicBezTo>
                  <a:lnTo>
                    <a:pt x="1060" y="474"/>
                  </a:lnTo>
                  <a:lnTo>
                    <a:pt x="1578" y="260"/>
                  </a:lnTo>
                  <a:cubicBezTo>
                    <a:pt x="1533" y="237"/>
                    <a:pt x="1499" y="215"/>
                    <a:pt x="1476" y="204"/>
                  </a:cubicBezTo>
                  <a:cubicBezTo>
                    <a:pt x="1319" y="113"/>
                    <a:pt x="1150" y="57"/>
                    <a:pt x="981" y="46"/>
                  </a:cubicBezTo>
                  <a:cubicBezTo>
                    <a:pt x="927" y="39"/>
                    <a:pt x="874" y="35"/>
                    <a:pt x="820" y="35"/>
                  </a:cubicBezTo>
                  <a:cubicBezTo>
                    <a:pt x="704" y="35"/>
                    <a:pt x="586" y="52"/>
                    <a:pt x="463" y="91"/>
                  </a:cubicBezTo>
                  <a:lnTo>
                    <a:pt x="2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" name="Google Shape;348;p29"/>
            <p:cNvSpPr/>
            <p:nvPr/>
          </p:nvSpPr>
          <p:spPr>
            <a:xfrm>
              <a:off x="10887026" y="1952370"/>
              <a:ext cx="288025" cy="152581"/>
            </a:xfrm>
            <a:custGeom>
              <a:avLst/>
              <a:gdLst/>
              <a:ahLst/>
              <a:cxnLst/>
              <a:rect l="l" t="t" r="r" b="b"/>
              <a:pathLst>
                <a:path w="2873" h="1522" fill="none" extrusionOk="0">
                  <a:moveTo>
                    <a:pt x="1578" y="260"/>
                  </a:moveTo>
                  <a:lnTo>
                    <a:pt x="1060" y="474"/>
                  </a:lnTo>
                  <a:lnTo>
                    <a:pt x="969" y="418"/>
                  </a:lnTo>
                  <a:cubicBezTo>
                    <a:pt x="879" y="372"/>
                    <a:pt x="812" y="339"/>
                    <a:pt x="767" y="327"/>
                  </a:cubicBezTo>
                  <a:cubicBezTo>
                    <a:pt x="733" y="316"/>
                    <a:pt x="688" y="316"/>
                    <a:pt x="643" y="327"/>
                  </a:cubicBezTo>
                  <a:cubicBezTo>
                    <a:pt x="620" y="350"/>
                    <a:pt x="609" y="361"/>
                    <a:pt x="620" y="384"/>
                  </a:cubicBezTo>
                  <a:cubicBezTo>
                    <a:pt x="620" y="406"/>
                    <a:pt x="654" y="429"/>
                    <a:pt x="710" y="451"/>
                  </a:cubicBezTo>
                  <a:cubicBezTo>
                    <a:pt x="789" y="508"/>
                    <a:pt x="868" y="530"/>
                    <a:pt x="936" y="530"/>
                  </a:cubicBezTo>
                  <a:cubicBezTo>
                    <a:pt x="1003" y="541"/>
                    <a:pt x="1161" y="541"/>
                    <a:pt x="1409" y="530"/>
                  </a:cubicBezTo>
                  <a:cubicBezTo>
                    <a:pt x="1623" y="530"/>
                    <a:pt x="1780" y="519"/>
                    <a:pt x="1870" y="530"/>
                  </a:cubicBezTo>
                  <a:cubicBezTo>
                    <a:pt x="1961" y="530"/>
                    <a:pt x="2062" y="553"/>
                    <a:pt x="2175" y="586"/>
                  </a:cubicBezTo>
                  <a:cubicBezTo>
                    <a:pt x="2287" y="620"/>
                    <a:pt x="2411" y="665"/>
                    <a:pt x="2524" y="733"/>
                  </a:cubicBezTo>
                  <a:cubicBezTo>
                    <a:pt x="2726" y="834"/>
                    <a:pt x="2828" y="947"/>
                    <a:pt x="2850" y="1037"/>
                  </a:cubicBezTo>
                  <a:cubicBezTo>
                    <a:pt x="2873" y="1138"/>
                    <a:pt x="2817" y="1228"/>
                    <a:pt x="2659" y="1319"/>
                  </a:cubicBezTo>
                  <a:lnTo>
                    <a:pt x="2873" y="1431"/>
                  </a:lnTo>
                  <a:lnTo>
                    <a:pt x="2636" y="1521"/>
                  </a:lnTo>
                  <a:lnTo>
                    <a:pt x="2422" y="1409"/>
                  </a:lnTo>
                  <a:cubicBezTo>
                    <a:pt x="2276" y="1454"/>
                    <a:pt x="2096" y="1476"/>
                    <a:pt x="1893" y="1465"/>
                  </a:cubicBezTo>
                  <a:cubicBezTo>
                    <a:pt x="1690" y="1454"/>
                    <a:pt x="1476" y="1375"/>
                    <a:pt x="1228" y="1240"/>
                  </a:cubicBezTo>
                  <a:lnTo>
                    <a:pt x="1127" y="1183"/>
                  </a:lnTo>
                  <a:lnTo>
                    <a:pt x="1634" y="969"/>
                  </a:lnTo>
                  <a:lnTo>
                    <a:pt x="1769" y="1048"/>
                  </a:lnTo>
                  <a:cubicBezTo>
                    <a:pt x="1916" y="1127"/>
                    <a:pt x="2017" y="1172"/>
                    <a:pt x="2062" y="1195"/>
                  </a:cubicBezTo>
                  <a:cubicBezTo>
                    <a:pt x="2107" y="1206"/>
                    <a:pt x="2152" y="1206"/>
                    <a:pt x="2186" y="1195"/>
                  </a:cubicBezTo>
                  <a:cubicBezTo>
                    <a:pt x="2220" y="1172"/>
                    <a:pt x="2231" y="1161"/>
                    <a:pt x="2231" y="1138"/>
                  </a:cubicBezTo>
                  <a:cubicBezTo>
                    <a:pt x="2220" y="1116"/>
                    <a:pt x="2197" y="1093"/>
                    <a:pt x="2141" y="1071"/>
                  </a:cubicBezTo>
                  <a:cubicBezTo>
                    <a:pt x="2017" y="1003"/>
                    <a:pt x="1927" y="958"/>
                    <a:pt x="1859" y="936"/>
                  </a:cubicBezTo>
                  <a:cubicBezTo>
                    <a:pt x="1792" y="913"/>
                    <a:pt x="1679" y="902"/>
                    <a:pt x="1521" y="902"/>
                  </a:cubicBezTo>
                  <a:cubicBezTo>
                    <a:pt x="1262" y="913"/>
                    <a:pt x="1082" y="913"/>
                    <a:pt x="969" y="913"/>
                  </a:cubicBezTo>
                  <a:cubicBezTo>
                    <a:pt x="868" y="902"/>
                    <a:pt x="755" y="891"/>
                    <a:pt x="620" y="857"/>
                  </a:cubicBezTo>
                  <a:cubicBezTo>
                    <a:pt x="496" y="823"/>
                    <a:pt x="372" y="778"/>
                    <a:pt x="260" y="710"/>
                  </a:cubicBezTo>
                  <a:cubicBezTo>
                    <a:pt x="102" y="620"/>
                    <a:pt x="12" y="530"/>
                    <a:pt x="12" y="440"/>
                  </a:cubicBezTo>
                  <a:cubicBezTo>
                    <a:pt x="1" y="361"/>
                    <a:pt x="80" y="271"/>
                    <a:pt x="226" y="192"/>
                  </a:cubicBezTo>
                  <a:lnTo>
                    <a:pt x="57" y="91"/>
                  </a:lnTo>
                  <a:lnTo>
                    <a:pt x="282" y="1"/>
                  </a:lnTo>
                  <a:lnTo>
                    <a:pt x="463" y="91"/>
                  </a:lnTo>
                  <a:cubicBezTo>
                    <a:pt x="643" y="35"/>
                    <a:pt x="812" y="23"/>
                    <a:pt x="981" y="46"/>
                  </a:cubicBezTo>
                  <a:cubicBezTo>
                    <a:pt x="1150" y="57"/>
                    <a:pt x="1319" y="113"/>
                    <a:pt x="1476" y="204"/>
                  </a:cubicBezTo>
                  <a:cubicBezTo>
                    <a:pt x="1499" y="215"/>
                    <a:pt x="1533" y="237"/>
                    <a:pt x="1578" y="260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" name="Google Shape;349;p29"/>
            <p:cNvSpPr/>
            <p:nvPr/>
          </p:nvSpPr>
          <p:spPr>
            <a:xfrm>
              <a:off x="10776351" y="1786463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extrusionOk="0">
                  <a:moveTo>
                    <a:pt x="2546" y="0"/>
                  </a:moveTo>
                  <a:cubicBezTo>
                    <a:pt x="1578" y="0"/>
                    <a:pt x="733" y="372"/>
                    <a:pt x="305" y="924"/>
                  </a:cubicBezTo>
                  <a:lnTo>
                    <a:pt x="12" y="924"/>
                  </a:lnTo>
                  <a:lnTo>
                    <a:pt x="1" y="1678"/>
                  </a:lnTo>
                  <a:cubicBezTo>
                    <a:pt x="1" y="1712"/>
                    <a:pt x="1" y="1735"/>
                    <a:pt x="1" y="1757"/>
                  </a:cubicBezTo>
                  <a:cubicBezTo>
                    <a:pt x="1" y="2726"/>
                    <a:pt x="1139" y="3514"/>
                    <a:pt x="2546" y="3514"/>
                  </a:cubicBezTo>
                  <a:cubicBezTo>
                    <a:pt x="3943" y="3514"/>
                    <a:pt x="5081" y="2726"/>
                    <a:pt x="5081" y="1757"/>
                  </a:cubicBezTo>
                  <a:lnTo>
                    <a:pt x="5081" y="924"/>
                  </a:lnTo>
                  <a:lnTo>
                    <a:pt x="4777" y="924"/>
                  </a:lnTo>
                  <a:cubicBezTo>
                    <a:pt x="4349" y="372"/>
                    <a:pt x="3504" y="0"/>
                    <a:pt x="25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" name="Google Shape;350;p29"/>
            <p:cNvSpPr/>
            <p:nvPr/>
          </p:nvSpPr>
          <p:spPr>
            <a:xfrm>
              <a:off x="10776351" y="1786463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extrusionOk="0">
                  <a:moveTo>
                    <a:pt x="2535" y="0"/>
                  </a:moveTo>
                  <a:cubicBezTo>
                    <a:pt x="1139" y="0"/>
                    <a:pt x="1" y="789"/>
                    <a:pt x="1" y="1757"/>
                  </a:cubicBezTo>
                  <a:cubicBezTo>
                    <a:pt x="1" y="2726"/>
                    <a:pt x="1139" y="3514"/>
                    <a:pt x="2535" y="3514"/>
                  </a:cubicBezTo>
                  <a:cubicBezTo>
                    <a:pt x="3943" y="3514"/>
                    <a:pt x="5081" y="2726"/>
                    <a:pt x="5081" y="1757"/>
                  </a:cubicBezTo>
                  <a:cubicBezTo>
                    <a:pt x="5081" y="789"/>
                    <a:pt x="3943" y="0"/>
                    <a:pt x="2535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" name="Google Shape;351;p29"/>
            <p:cNvSpPr/>
            <p:nvPr/>
          </p:nvSpPr>
          <p:spPr>
            <a:xfrm>
              <a:off x="10776351" y="1786463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fill="none" extrusionOk="0">
                  <a:moveTo>
                    <a:pt x="4777" y="924"/>
                  </a:moveTo>
                  <a:cubicBezTo>
                    <a:pt x="4349" y="372"/>
                    <a:pt x="3504" y="0"/>
                    <a:pt x="2546" y="0"/>
                  </a:cubicBezTo>
                  <a:cubicBezTo>
                    <a:pt x="1578" y="0"/>
                    <a:pt x="733" y="372"/>
                    <a:pt x="305" y="924"/>
                  </a:cubicBezTo>
                  <a:lnTo>
                    <a:pt x="12" y="924"/>
                  </a:lnTo>
                  <a:lnTo>
                    <a:pt x="1" y="1678"/>
                  </a:lnTo>
                  <a:cubicBezTo>
                    <a:pt x="1" y="1712"/>
                    <a:pt x="1" y="1735"/>
                    <a:pt x="1" y="1757"/>
                  </a:cubicBezTo>
                  <a:cubicBezTo>
                    <a:pt x="1" y="2726"/>
                    <a:pt x="1139" y="3514"/>
                    <a:pt x="2546" y="3514"/>
                  </a:cubicBezTo>
                  <a:cubicBezTo>
                    <a:pt x="3943" y="3514"/>
                    <a:pt x="5081" y="2726"/>
                    <a:pt x="5081" y="1757"/>
                  </a:cubicBezTo>
                  <a:lnTo>
                    <a:pt x="5081" y="924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" name="Google Shape;352;p29"/>
            <p:cNvSpPr/>
            <p:nvPr/>
          </p:nvSpPr>
          <p:spPr>
            <a:xfrm>
              <a:off x="10776351" y="1786463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fill="none" extrusionOk="0">
                  <a:moveTo>
                    <a:pt x="5081" y="1757"/>
                  </a:moveTo>
                  <a:cubicBezTo>
                    <a:pt x="5081" y="2726"/>
                    <a:pt x="3943" y="3514"/>
                    <a:pt x="2535" y="3514"/>
                  </a:cubicBezTo>
                  <a:cubicBezTo>
                    <a:pt x="1139" y="3514"/>
                    <a:pt x="1" y="2726"/>
                    <a:pt x="1" y="1757"/>
                  </a:cubicBezTo>
                  <a:cubicBezTo>
                    <a:pt x="1" y="789"/>
                    <a:pt x="1139" y="0"/>
                    <a:pt x="2535" y="0"/>
                  </a:cubicBezTo>
                  <a:cubicBezTo>
                    <a:pt x="3943" y="0"/>
                    <a:pt x="5081" y="789"/>
                    <a:pt x="5081" y="1757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" name="Google Shape;353;p29"/>
            <p:cNvSpPr/>
            <p:nvPr/>
          </p:nvSpPr>
          <p:spPr>
            <a:xfrm>
              <a:off x="10776351" y="1702857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extrusionOk="0">
                  <a:moveTo>
                    <a:pt x="2535" y="1"/>
                  </a:moveTo>
                  <a:cubicBezTo>
                    <a:pt x="1139" y="1"/>
                    <a:pt x="1" y="789"/>
                    <a:pt x="1" y="1758"/>
                  </a:cubicBezTo>
                  <a:cubicBezTo>
                    <a:pt x="1" y="2726"/>
                    <a:pt x="1139" y="3515"/>
                    <a:pt x="2535" y="3515"/>
                  </a:cubicBezTo>
                  <a:cubicBezTo>
                    <a:pt x="3943" y="3515"/>
                    <a:pt x="5081" y="2726"/>
                    <a:pt x="5081" y="1758"/>
                  </a:cubicBezTo>
                  <a:cubicBezTo>
                    <a:pt x="5081" y="789"/>
                    <a:pt x="3943" y="1"/>
                    <a:pt x="253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" name="Google Shape;354;p29"/>
            <p:cNvSpPr/>
            <p:nvPr/>
          </p:nvSpPr>
          <p:spPr>
            <a:xfrm>
              <a:off x="10776351" y="1702857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fill="none" extrusionOk="0">
                  <a:moveTo>
                    <a:pt x="5081" y="1758"/>
                  </a:moveTo>
                  <a:cubicBezTo>
                    <a:pt x="5081" y="2726"/>
                    <a:pt x="3943" y="3515"/>
                    <a:pt x="2535" y="3515"/>
                  </a:cubicBezTo>
                  <a:cubicBezTo>
                    <a:pt x="1139" y="3515"/>
                    <a:pt x="1" y="2726"/>
                    <a:pt x="1" y="1758"/>
                  </a:cubicBezTo>
                  <a:cubicBezTo>
                    <a:pt x="1" y="789"/>
                    <a:pt x="1139" y="1"/>
                    <a:pt x="2535" y="1"/>
                  </a:cubicBezTo>
                  <a:cubicBezTo>
                    <a:pt x="3943" y="1"/>
                    <a:pt x="5081" y="789"/>
                    <a:pt x="5081" y="1758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" name="Google Shape;355;p29"/>
            <p:cNvSpPr/>
            <p:nvPr/>
          </p:nvSpPr>
          <p:spPr>
            <a:xfrm>
              <a:off x="11032689" y="2056325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1" y="822"/>
                  </a:moveTo>
                  <a:cubicBezTo>
                    <a:pt x="1" y="800"/>
                    <a:pt x="1" y="777"/>
                    <a:pt x="1" y="766"/>
                  </a:cubicBezTo>
                  <a:lnTo>
                    <a:pt x="1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" name="Google Shape;356;p29"/>
            <p:cNvSpPr/>
            <p:nvPr/>
          </p:nvSpPr>
          <p:spPr>
            <a:xfrm>
              <a:off x="11088027" y="2051714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2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" name="Google Shape;357;p29"/>
            <p:cNvSpPr/>
            <p:nvPr/>
          </p:nvSpPr>
          <p:spPr>
            <a:xfrm>
              <a:off x="11139956" y="2039384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1" y="822"/>
                  </a:moveTo>
                  <a:lnTo>
                    <a:pt x="1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" name="Google Shape;358;p29"/>
            <p:cNvSpPr/>
            <p:nvPr/>
          </p:nvSpPr>
          <p:spPr>
            <a:xfrm>
              <a:off x="11188577" y="2020136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0" y="812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" name="Google Shape;359;p29"/>
            <p:cNvSpPr/>
            <p:nvPr/>
          </p:nvSpPr>
          <p:spPr>
            <a:xfrm>
              <a:off x="11230281" y="1991967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1" y="822"/>
                  </a:moveTo>
                  <a:lnTo>
                    <a:pt x="1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" name="Google Shape;360;p29"/>
            <p:cNvSpPr/>
            <p:nvPr/>
          </p:nvSpPr>
          <p:spPr>
            <a:xfrm>
              <a:off x="11267574" y="1945654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0" y="822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" name="Google Shape;361;p29"/>
            <p:cNvSpPr/>
            <p:nvPr/>
          </p:nvSpPr>
          <p:spPr>
            <a:xfrm>
              <a:off x="10976248" y="2051714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2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" name="Google Shape;362;p29"/>
            <p:cNvSpPr/>
            <p:nvPr/>
          </p:nvSpPr>
          <p:spPr>
            <a:xfrm>
              <a:off x="10923216" y="2039384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0" y="822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3" name="Google Shape;363;p29"/>
            <p:cNvSpPr/>
            <p:nvPr/>
          </p:nvSpPr>
          <p:spPr>
            <a:xfrm>
              <a:off x="10874595" y="2020136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2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4" name="Google Shape;364;p29"/>
            <p:cNvSpPr/>
            <p:nvPr/>
          </p:nvSpPr>
          <p:spPr>
            <a:xfrm>
              <a:off x="10833994" y="1991967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0" y="822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5" name="Google Shape;365;p29"/>
            <p:cNvSpPr/>
            <p:nvPr/>
          </p:nvSpPr>
          <p:spPr>
            <a:xfrm>
              <a:off x="10795599" y="1945654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0" y="822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6" name="Google Shape;366;p29"/>
            <p:cNvSpPr/>
            <p:nvPr/>
          </p:nvSpPr>
          <p:spPr>
            <a:xfrm>
              <a:off x="10833994" y="1742354"/>
              <a:ext cx="394193" cy="273382"/>
            </a:xfrm>
            <a:custGeom>
              <a:avLst/>
              <a:gdLst/>
              <a:ahLst/>
              <a:cxnLst/>
              <a:rect l="l" t="t" r="r" b="b"/>
              <a:pathLst>
                <a:path w="3932" h="2727" extrusionOk="0">
                  <a:moveTo>
                    <a:pt x="1960" y="1"/>
                  </a:moveTo>
                  <a:cubicBezTo>
                    <a:pt x="879" y="1"/>
                    <a:pt x="0" y="609"/>
                    <a:pt x="0" y="1364"/>
                  </a:cubicBezTo>
                  <a:cubicBezTo>
                    <a:pt x="0" y="2118"/>
                    <a:pt x="879" y="2727"/>
                    <a:pt x="1960" y="2727"/>
                  </a:cubicBezTo>
                  <a:cubicBezTo>
                    <a:pt x="3053" y="2727"/>
                    <a:pt x="3931" y="2118"/>
                    <a:pt x="3931" y="1364"/>
                  </a:cubicBezTo>
                  <a:cubicBezTo>
                    <a:pt x="3931" y="609"/>
                    <a:pt x="3053" y="1"/>
                    <a:pt x="19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" name="Google Shape;367;p29"/>
            <p:cNvSpPr/>
            <p:nvPr/>
          </p:nvSpPr>
          <p:spPr>
            <a:xfrm>
              <a:off x="10833994" y="1742354"/>
              <a:ext cx="394193" cy="273382"/>
            </a:xfrm>
            <a:custGeom>
              <a:avLst/>
              <a:gdLst/>
              <a:ahLst/>
              <a:cxnLst/>
              <a:rect l="l" t="t" r="r" b="b"/>
              <a:pathLst>
                <a:path w="3932" h="2727" fill="none" extrusionOk="0">
                  <a:moveTo>
                    <a:pt x="3931" y="1364"/>
                  </a:moveTo>
                  <a:cubicBezTo>
                    <a:pt x="3931" y="2118"/>
                    <a:pt x="3053" y="2727"/>
                    <a:pt x="1960" y="2727"/>
                  </a:cubicBezTo>
                  <a:cubicBezTo>
                    <a:pt x="879" y="2727"/>
                    <a:pt x="0" y="2118"/>
                    <a:pt x="0" y="1364"/>
                  </a:cubicBezTo>
                  <a:cubicBezTo>
                    <a:pt x="0" y="609"/>
                    <a:pt x="879" y="1"/>
                    <a:pt x="1960" y="1"/>
                  </a:cubicBezTo>
                  <a:cubicBezTo>
                    <a:pt x="3053" y="1"/>
                    <a:pt x="3931" y="609"/>
                    <a:pt x="3931" y="1364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" name="Google Shape;368;p29"/>
            <p:cNvSpPr/>
            <p:nvPr/>
          </p:nvSpPr>
          <p:spPr>
            <a:xfrm>
              <a:off x="10887026" y="1802201"/>
              <a:ext cx="288025" cy="153683"/>
            </a:xfrm>
            <a:custGeom>
              <a:avLst/>
              <a:gdLst/>
              <a:ahLst/>
              <a:cxnLst/>
              <a:rect l="l" t="t" r="r" b="b"/>
              <a:pathLst>
                <a:path w="2873" h="1533" extrusionOk="0">
                  <a:moveTo>
                    <a:pt x="282" y="1"/>
                  </a:moveTo>
                  <a:lnTo>
                    <a:pt x="57" y="102"/>
                  </a:lnTo>
                  <a:lnTo>
                    <a:pt x="226" y="192"/>
                  </a:lnTo>
                  <a:cubicBezTo>
                    <a:pt x="80" y="282"/>
                    <a:pt x="1" y="361"/>
                    <a:pt x="12" y="451"/>
                  </a:cubicBezTo>
                  <a:cubicBezTo>
                    <a:pt x="12" y="541"/>
                    <a:pt x="102" y="632"/>
                    <a:pt x="260" y="722"/>
                  </a:cubicBezTo>
                  <a:cubicBezTo>
                    <a:pt x="372" y="778"/>
                    <a:pt x="496" y="823"/>
                    <a:pt x="620" y="857"/>
                  </a:cubicBezTo>
                  <a:cubicBezTo>
                    <a:pt x="755" y="891"/>
                    <a:pt x="868" y="913"/>
                    <a:pt x="969" y="913"/>
                  </a:cubicBezTo>
                  <a:cubicBezTo>
                    <a:pt x="1007" y="917"/>
                    <a:pt x="1052" y="918"/>
                    <a:pt x="1105" y="918"/>
                  </a:cubicBezTo>
                  <a:cubicBezTo>
                    <a:pt x="1211" y="918"/>
                    <a:pt x="1349" y="913"/>
                    <a:pt x="1521" y="913"/>
                  </a:cubicBezTo>
                  <a:cubicBezTo>
                    <a:pt x="1564" y="910"/>
                    <a:pt x="1603" y="909"/>
                    <a:pt x="1638" y="909"/>
                  </a:cubicBezTo>
                  <a:cubicBezTo>
                    <a:pt x="1736" y="909"/>
                    <a:pt x="1810" y="919"/>
                    <a:pt x="1859" y="936"/>
                  </a:cubicBezTo>
                  <a:cubicBezTo>
                    <a:pt x="1927" y="958"/>
                    <a:pt x="2017" y="1003"/>
                    <a:pt x="2141" y="1071"/>
                  </a:cubicBezTo>
                  <a:cubicBezTo>
                    <a:pt x="2197" y="1105"/>
                    <a:pt x="2220" y="1127"/>
                    <a:pt x="2231" y="1138"/>
                  </a:cubicBezTo>
                  <a:cubicBezTo>
                    <a:pt x="2231" y="1161"/>
                    <a:pt x="2220" y="1183"/>
                    <a:pt x="2186" y="1195"/>
                  </a:cubicBezTo>
                  <a:cubicBezTo>
                    <a:pt x="2169" y="1206"/>
                    <a:pt x="2149" y="1212"/>
                    <a:pt x="2128" y="1212"/>
                  </a:cubicBezTo>
                  <a:cubicBezTo>
                    <a:pt x="2107" y="1212"/>
                    <a:pt x="2084" y="1206"/>
                    <a:pt x="2062" y="1195"/>
                  </a:cubicBezTo>
                  <a:cubicBezTo>
                    <a:pt x="2017" y="1183"/>
                    <a:pt x="1916" y="1138"/>
                    <a:pt x="1769" y="1048"/>
                  </a:cubicBezTo>
                  <a:lnTo>
                    <a:pt x="1634" y="981"/>
                  </a:lnTo>
                  <a:lnTo>
                    <a:pt x="1127" y="1195"/>
                  </a:lnTo>
                  <a:lnTo>
                    <a:pt x="1228" y="1251"/>
                  </a:lnTo>
                  <a:cubicBezTo>
                    <a:pt x="1476" y="1386"/>
                    <a:pt x="1690" y="1454"/>
                    <a:pt x="1893" y="1465"/>
                  </a:cubicBezTo>
                  <a:cubicBezTo>
                    <a:pt x="1941" y="1468"/>
                    <a:pt x="1987" y="1469"/>
                    <a:pt x="2033" y="1469"/>
                  </a:cubicBezTo>
                  <a:cubicBezTo>
                    <a:pt x="2179" y="1469"/>
                    <a:pt x="2311" y="1454"/>
                    <a:pt x="2422" y="1420"/>
                  </a:cubicBezTo>
                  <a:lnTo>
                    <a:pt x="2636" y="1533"/>
                  </a:lnTo>
                  <a:lnTo>
                    <a:pt x="2873" y="1431"/>
                  </a:lnTo>
                  <a:lnTo>
                    <a:pt x="2659" y="1319"/>
                  </a:lnTo>
                  <a:cubicBezTo>
                    <a:pt x="2817" y="1240"/>
                    <a:pt x="2873" y="1138"/>
                    <a:pt x="2850" y="1048"/>
                  </a:cubicBezTo>
                  <a:cubicBezTo>
                    <a:pt x="2828" y="947"/>
                    <a:pt x="2726" y="846"/>
                    <a:pt x="2524" y="733"/>
                  </a:cubicBezTo>
                  <a:cubicBezTo>
                    <a:pt x="2411" y="677"/>
                    <a:pt x="2287" y="620"/>
                    <a:pt x="2175" y="586"/>
                  </a:cubicBezTo>
                  <a:cubicBezTo>
                    <a:pt x="2062" y="564"/>
                    <a:pt x="1961" y="541"/>
                    <a:pt x="1870" y="530"/>
                  </a:cubicBezTo>
                  <a:cubicBezTo>
                    <a:pt x="1780" y="530"/>
                    <a:pt x="1623" y="530"/>
                    <a:pt x="1409" y="541"/>
                  </a:cubicBezTo>
                  <a:lnTo>
                    <a:pt x="936" y="541"/>
                  </a:lnTo>
                  <a:cubicBezTo>
                    <a:pt x="868" y="530"/>
                    <a:pt x="789" y="508"/>
                    <a:pt x="710" y="463"/>
                  </a:cubicBezTo>
                  <a:cubicBezTo>
                    <a:pt x="654" y="429"/>
                    <a:pt x="620" y="406"/>
                    <a:pt x="620" y="384"/>
                  </a:cubicBezTo>
                  <a:cubicBezTo>
                    <a:pt x="609" y="372"/>
                    <a:pt x="620" y="350"/>
                    <a:pt x="643" y="339"/>
                  </a:cubicBezTo>
                  <a:cubicBezTo>
                    <a:pt x="669" y="325"/>
                    <a:pt x="696" y="320"/>
                    <a:pt x="720" y="320"/>
                  </a:cubicBezTo>
                  <a:cubicBezTo>
                    <a:pt x="737" y="320"/>
                    <a:pt x="753" y="323"/>
                    <a:pt x="767" y="327"/>
                  </a:cubicBezTo>
                  <a:cubicBezTo>
                    <a:pt x="812" y="339"/>
                    <a:pt x="879" y="372"/>
                    <a:pt x="969" y="429"/>
                  </a:cubicBezTo>
                  <a:lnTo>
                    <a:pt x="1060" y="474"/>
                  </a:lnTo>
                  <a:lnTo>
                    <a:pt x="1578" y="271"/>
                  </a:lnTo>
                  <a:cubicBezTo>
                    <a:pt x="1533" y="237"/>
                    <a:pt x="1499" y="215"/>
                    <a:pt x="1476" y="204"/>
                  </a:cubicBezTo>
                  <a:cubicBezTo>
                    <a:pt x="1319" y="113"/>
                    <a:pt x="1150" y="68"/>
                    <a:pt x="981" y="46"/>
                  </a:cubicBezTo>
                  <a:cubicBezTo>
                    <a:pt x="937" y="40"/>
                    <a:pt x="893" y="37"/>
                    <a:pt x="850" y="37"/>
                  </a:cubicBezTo>
                  <a:cubicBezTo>
                    <a:pt x="724" y="37"/>
                    <a:pt x="596" y="60"/>
                    <a:pt x="463" y="102"/>
                  </a:cubicBezTo>
                  <a:lnTo>
                    <a:pt x="282" y="1"/>
                  </a:ln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" name="Google Shape;369;p29"/>
            <p:cNvSpPr/>
            <p:nvPr/>
          </p:nvSpPr>
          <p:spPr>
            <a:xfrm>
              <a:off x="10887026" y="1802201"/>
              <a:ext cx="288025" cy="153683"/>
            </a:xfrm>
            <a:custGeom>
              <a:avLst/>
              <a:gdLst/>
              <a:ahLst/>
              <a:cxnLst/>
              <a:rect l="l" t="t" r="r" b="b"/>
              <a:pathLst>
                <a:path w="2873" h="1533" fill="none" extrusionOk="0">
                  <a:moveTo>
                    <a:pt x="1578" y="271"/>
                  </a:moveTo>
                  <a:lnTo>
                    <a:pt x="1060" y="474"/>
                  </a:lnTo>
                  <a:lnTo>
                    <a:pt x="969" y="429"/>
                  </a:lnTo>
                  <a:cubicBezTo>
                    <a:pt x="879" y="372"/>
                    <a:pt x="812" y="339"/>
                    <a:pt x="767" y="327"/>
                  </a:cubicBezTo>
                  <a:cubicBezTo>
                    <a:pt x="733" y="316"/>
                    <a:pt x="688" y="316"/>
                    <a:pt x="643" y="339"/>
                  </a:cubicBezTo>
                  <a:cubicBezTo>
                    <a:pt x="620" y="350"/>
                    <a:pt x="609" y="372"/>
                    <a:pt x="620" y="384"/>
                  </a:cubicBezTo>
                  <a:cubicBezTo>
                    <a:pt x="620" y="406"/>
                    <a:pt x="654" y="429"/>
                    <a:pt x="710" y="463"/>
                  </a:cubicBezTo>
                  <a:cubicBezTo>
                    <a:pt x="789" y="508"/>
                    <a:pt x="868" y="530"/>
                    <a:pt x="936" y="541"/>
                  </a:cubicBezTo>
                  <a:cubicBezTo>
                    <a:pt x="1003" y="541"/>
                    <a:pt x="1161" y="541"/>
                    <a:pt x="1409" y="541"/>
                  </a:cubicBezTo>
                  <a:cubicBezTo>
                    <a:pt x="1623" y="530"/>
                    <a:pt x="1780" y="530"/>
                    <a:pt x="1870" y="530"/>
                  </a:cubicBezTo>
                  <a:cubicBezTo>
                    <a:pt x="1961" y="541"/>
                    <a:pt x="2062" y="564"/>
                    <a:pt x="2175" y="586"/>
                  </a:cubicBezTo>
                  <a:cubicBezTo>
                    <a:pt x="2287" y="620"/>
                    <a:pt x="2411" y="677"/>
                    <a:pt x="2524" y="733"/>
                  </a:cubicBezTo>
                  <a:cubicBezTo>
                    <a:pt x="2726" y="846"/>
                    <a:pt x="2828" y="947"/>
                    <a:pt x="2850" y="1048"/>
                  </a:cubicBezTo>
                  <a:cubicBezTo>
                    <a:pt x="2873" y="1138"/>
                    <a:pt x="2817" y="1240"/>
                    <a:pt x="2659" y="1319"/>
                  </a:cubicBezTo>
                  <a:lnTo>
                    <a:pt x="2873" y="1431"/>
                  </a:lnTo>
                  <a:lnTo>
                    <a:pt x="2636" y="1533"/>
                  </a:lnTo>
                  <a:lnTo>
                    <a:pt x="2422" y="1420"/>
                  </a:lnTo>
                  <a:cubicBezTo>
                    <a:pt x="2276" y="1465"/>
                    <a:pt x="2096" y="1476"/>
                    <a:pt x="1893" y="1465"/>
                  </a:cubicBezTo>
                  <a:cubicBezTo>
                    <a:pt x="1690" y="1454"/>
                    <a:pt x="1476" y="1386"/>
                    <a:pt x="1228" y="1251"/>
                  </a:cubicBezTo>
                  <a:lnTo>
                    <a:pt x="1127" y="1195"/>
                  </a:lnTo>
                  <a:lnTo>
                    <a:pt x="1634" y="981"/>
                  </a:lnTo>
                  <a:lnTo>
                    <a:pt x="1769" y="1048"/>
                  </a:lnTo>
                  <a:cubicBezTo>
                    <a:pt x="1916" y="1138"/>
                    <a:pt x="2017" y="1183"/>
                    <a:pt x="2062" y="1195"/>
                  </a:cubicBezTo>
                  <a:cubicBezTo>
                    <a:pt x="2107" y="1217"/>
                    <a:pt x="2152" y="1217"/>
                    <a:pt x="2186" y="1195"/>
                  </a:cubicBezTo>
                  <a:cubicBezTo>
                    <a:pt x="2220" y="1183"/>
                    <a:pt x="2231" y="1161"/>
                    <a:pt x="2231" y="1138"/>
                  </a:cubicBezTo>
                  <a:cubicBezTo>
                    <a:pt x="2220" y="1127"/>
                    <a:pt x="2197" y="1105"/>
                    <a:pt x="2141" y="1071"/>
                  </a:cubicBezTo>
                  <a:cubicBezTo>
                    <a:pt x="2017" y="1003"/>
                    <a:pt x="1927" y="958"/>
                    <a:pt x="1859" y="936"/>
                  </a:cubicBezTo>
                  <a:cubicBezTo>
                    <a:pt x="1792" y="913"/>
                    <a:pt x="1679" y="902"/>
                    <a:pt x="1521" y="913"/>
                  </a:cubicBezTo>
                  <a:cubicBezTo>
                    <a:pt x="1262" y="913"/>
                    <a:pt x="1082" y="924"/>
                    <a:pt x="969" y="913"/>
                  </a:cubicBezTo>
                  <a:cubicBezTo>
                    <a:pt x="868" y="913"/>
                    <a:pt x="755" y="891"/>
                    <a:pt x="620" y="857"/>
                  </a:cubicBezTo>
                  <a:cubicBezTo>
                    <a:pt x="496" y="823"/>
                    <a:pt x="372" y="778"/>
                    <a:pt x="260" y="722"/>
                  </a:cubicBezTo>
                  <a:cubicBezTo>
                    <a:pt x="102" y="632"/>
                    <a:pt x="12" y="541"/>
                    <a:pt x="12" y="451"/>
                  </a:cubicBezTo>
                  <a:cubicBezTo>
                    <a:pt x="1" y="361"/>
                    <a:pt x="80" y="282"/>
                    <a:pt x="226" y="192"/>
                  </a:cubicBezTo>
                  <a:lnTo>
                    <a:pt x="57" y="102"/>
                  </a:lnTo>
                  <a:lnTo>
                    <a:pt x="282" y="1"/>
                  </a:lnTo>
                  <a:lnTo>
                    <a:pt x="463" y="102"/>
                  </a:lnTo>
                  <a:cubicBezTo>
                    <a:pt x="643" y="46"/>
                    <a:pt x="812" y="23"/>
                    <a:pt x="981" y="46"/>
                  </a:cubicBezTo>
                  <a:cubicBezTo>
                    <a:pt x="1150" y="68"/>
                    <a:pt x="1319" y="113"/>
                    <a:pt x="1476" y="204"/>
                  </a:cubicBezTo>
                  <a:cubicBezTo>
                    <a:pt x="1499" y="215"/>
                    <a:pt x="1533" y="237"/>
                    <a:pt x="1578" y="271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70" name="Google Shape;370;p29"/>
          <p:cNvGrpSpPr/>
          <p:nvPr/>
        </p:nvGrpSpPr>
        <p:grpSpPr>
          <a:xfrm>
            <a:off x="7649815" y="3789985"/>
            <a:ext cx="1226139" cy="1052197"/>
            <a:chOff x="3337647" y="-19723"/>
            <a:chExt cx="543453" cy="466358"/>
          </a:xfrm>
        </p:grpSpPr>
        <p:grpSp>
          <p:nvGrpSpPr>
            <p:cNvPr id="371" name="Google Shape;371;p29"/>
            <p:cNvGrpSpPr/>
            <p:nvPr/>
          </p:nvGrpSpPr>
          <p:grpSpPr>
            <a:xfrm>
              <a:off x="3337647" y="-19723"/>
              <a:ext cx="543453" cy="466358"/>
              <a:chOff x="3670072" y="965127"/>
              <a:chExt cx="543453" cy="466358"/>
            </a:xfrm>
          </p:grpSpPr>
          <p:sp>
            <p:nvSpPr>
              <p:cNvPr id="372" name="Google Shape;372;p29"/>
              <p:cNvSpPr/>
              <p:nvPr/>
            </p:nvSpPr>
            <p:spPr>
              <a:xfrm>
                <a:off x="3670077" y="1171687"/>
                <a:ext cx="543449" cy="259798"/>
              </a:xfrm>
              <a:custGeom>
                <a:avLst/>
                <a:gdLst/>
                <a:ahLst/>
                <a:cxnLst/>
                <a:rect l="l" t="t" r="r" b="b"/>
                <a:pathLst>
                  <a:path w="15556" h="6748" extrusionOk="0">
                    <a:moveTo>
                      <a:pt x="23" y="1"/>
                    </a:moveTo>
                    <a:cubicBezTo>
                      <a:pt x="35" y="46"/>
                      <a:pt x="35" y="80"/>
                      <a:pt x="46" y="125"/>
                    </a:cubicBezTo>
                    <a:cubicBezTo>
                      <a:pt x="12" y="249"/>
                      <a:pt x="1" y="372"/>
                      <a:pt x="1" y="508"/>
                    </a:cubicBezTo>
                    <a:cubicBezTo>
                      <a:pt x="1" y="586"/>
                      <a:pt x="1" y="654"/>
                      <a:pt x="12" y="733"/>
                    </a:cubicBezTo>
                    <a:lnTo>
                      <a:pt x="1" y="1397"/>
                    </a:lnTo>
                    <a:cubicBezTo>
                      <a:pt x="1" y="1454"/>
                      <a:pt x="1" y="1499"/>
                      <a:pt x="1" y="1544"/>
                    </a:cubicBezTo>
                    <a:cubicBezTo>
                      <a:pt x="1" y="1916"/>
                      <a:pt x="125" y="2265"/>
                      <a:pt x="361" y="2569"/>
                    </a:cubicBezTo>
                    <a:cubicBezTo>
                      <a:pt x="372" y="2580"/>
                      <a:pt x="384" y="2591"/>
                      <a:pt x="395" y="2614"/>
                    </a:cubicBezTo>
                    <a:cubicBezTo>
                      <a:pt x="936" y="3290"/>
                      <a:pt x="1983" y="3740"/>
                      <a:pt x="3177" y="3740"/>
                    </a:cubicBezTo>
                    <a:cubicBezTo>
                      <a:pt x="3898" y="3740"/>
                      <a:pt x="4551" y="3582"/>
                      <a:pt x="5092" y="3301"/>
                    </a:cubicBezTo>
                    <a:lnTo>
                      <a:pt x="5092" y="3301"/>
                    </a:lnTo>
                    <a:cubicBezTo>
                      <a:pt x="5081" y="3368"/>
                      <a:pt x="5069" y="3436"/>
                      <a:pt x="5069" y="3504"/>
                    </a:cubicBezTo>
                    <a:cubicBezTo>
                      <a:pt x="5069" y="3582"/>
                      <a:pt x="5081" y="3661"/>
                      <a:pt x="5092" y="3740"/>
                    </a:cubicBezTo>
                    <a:lnTo>
                      <a:pt x="5081" y="4405"/>
                    </a:lnTo>
                    <a:cubicBezTo>
                      <a:pt x="5081" y="4450"/>
                      <a:pt x="5069" y="4506"/>
                      <a:pt x="5069" y="4551"/>
                    </a:cubicBezTo>
                    <a:cubicBezTo>
                      <a:pt x="5069" y="4698"/>
                      <a:pt x="5092" y="4844"/>
                      <a:pt x="5137" y="4990"/>
                    </a:cubicBezTo>
                    <a:cubicBezTo>
                      <a:pt x="5430" y="5993"/>
                      <a:pt x="6714" y="6747"/>
                      <a:pt x="8257" y="6747"/>
                    </a:cubicBezTo>
                    <a:cubicBezTo>
                      <a:pt x="9000" y="6747"/>
                      <a:pt x="9687" y="6567"/>
                      <a:pt x="10239" y="6274"/>
                    </a:cubicBezTo>
                    <a:cubicBezTo>
                      <a:pt x="10262" y="6252"/>
                      <a:pt x="10295" y="6241"/>
                      <a:pt x="10318" y="6218"/>
                    </a:cubicBezTo>
                    <a:cubicBezTo>
                      <a:pt x="10611" y="6049"/>
                      <a:pt x="10847" y="5846"/>
                      <a:pt x="11039" y="5610"/>
                    </a:cubicBezTo>
                    <a:cubicBezTo>
                      <a:pt x="11050" y="5599"/>
                      <a:pt x="11061" y="5587"/>
                      <a:pt x="11073" y="5576"/>
                    </a:cubicBezTo>
                    <a:cubicBezTo>
                      <a:pt x="11208" y="5396"/>
                      <a:pt x="11309" y="5193"/>
                      <a:pt x="11365" y="4990"/>
                    </a:cubicBezTo>
                    <a:cubicBezTo>
                      <a:pt x="11411" y="4844"/>
                      <a:pt x="11433" y="4698"/>
                      <a:pt x="11433" y="4551"/>
                    </a:cubicBezTo>
                    <a:lnTo>
                      <a:pt x="11433" y="4258"/>
                    </a:lnTo>
                    <a:cubicBezTo>
                      <a:pt x="11726" y="4326"/>
                      <a:pt x="12041" y="4360"/>
                      <a:pt x="12368" y="4360"/>
                    </a:cubicBezTo>
                    <a:cubicBezTo>
                      <a:pt x="13123" y="4360"/>
                      <a:pt x="13810" y="4179"/>
                      <a:pt x="14350" y="3875"/>
                    </a:cubicBezTo>
                    <a:cubicBezTo>
                      <a:pt x="14384" y="3864"/>
                      <a:pt x="14407" y="3842"/>
                      <a:pt x="14440" y="3830"/>
                    </a:cubicBezTo>
                    <a:cubicBezTo>
                      <a:pt x="14722" y="3661"/>
                      <a:pt x="14970" y="3447"/>
                      <a:pt x="15150" y="3222"/>
                    </a:cubicBezTo>
                    <a:cubicBezTo>
                      <a:pt x="15161" y="3211"/>
                      <a:pt x="15172" y="3188"/>
                      <a:pt x="15184" y="3177"/>
                    </a:cubicBezTo>
                    <a:cubicBezTo>
                      <a:pt x="15319" y="2997"/>
                      <a:pt x="15432" y="2805"/>
                      <a:pt x="15488" y="2603"/>
                    </a:cubicBezTo>
                    <a:cubicBezTo>
                      <a:pt x="15533" y="2456"/>
                      <a:pt x="15555" y="2310"/>
                      <a:pt x="15555" y="2152"/>
                    </a:cubicBezTo>
                    <a:lnTo>
                      <a:pt x="15555" y="1116"/>
                    </a:lnTo>
                    <a:cubicBezTo>
                      <a:pt x="15555" y="981"/>
                      <a:pt x="15533" y="857"/>
                      <a:pt x="15499" y="733"/>
                    </a:cubicBezTo>
                    <a:cubicBezTo>
                      <a:pt x="15533" y="609"/>
                      <a:pt x="15555" y="485"/>
                      <a:pt x="15555" y="350"/>
                    </a:cubicBezTo>
                    <a:lnTo>
                      <a:pt x="15555" y="1"/>
                    </a:lnTo>
                    <a:close/>
                  </a:path>
                </a:pathLst>
              </a:custGeom>
              <a:solidFill>
                <a:srgbClr val="000000">
                  <a:alpha val="126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3" name="Google Shape;373;p29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lnTo>
                      <a:pt x="5981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4" name="Google Shape;374;p29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5" name="Google Shape;375;p29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fill="none" extrusionOk="0">
                    <a:moveTo>
                      <a:pt x="5981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6" name="Google Shape;376;p29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7" name="Google Shape;377;p29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64" y="3413"/>
                      <a:pt x="6364" y="2197"/>
                    </a:cubicBezTo>
                    <a:cubicBezTo>
                      <a:pt x="6364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8" name="Google Shape;378;p29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9" name="Google Shape;379;p29"/>
              <p:cNvSpPr/>
              <p:nvPr/>
            </p:nvSpPr>
            <p:spPr>
              <a:xfrm>
                <a:off x="4102903" y="127478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cubicBezTo>
                      <a:pt x="0" y="1003"/>
                      <a:pt x="0" y="981"/>
                      <a:pt x="0" y="947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0" name="Google Shape;380;p29"/>
              <p:cNvSpPr/>
              <p:nvPr/>
            </p:nvSpPr>
            <p:spPr>
              <a:xfrm>
                <a:off x="4078100" y="127244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1" name="Google Shape;381;p29"/>
              <p:cNvSpPr/>
              <p:nvPr/>
            </p:nvSpPr>
            <p:spPr>
              <a:xfrm>
                <a:off x="4055288" y="126730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2" name="Google Shape;382;p29"/>
              <p:cNvSpPr/>
              <p:nvPr/>
            </p:nvSpPr>
            <p:spPr>
              <a:xfrm>
                <a:off x="4034048" y="125864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3" name="Google Shape;383;p29"/>
              <p:cNvSpPr/>
              <p:nvPr/>
            </p:nvSpPr>
            <p:spPr>
              <a:xfrm>
                <a:off x="4016337" y="124645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4" name="Google Shape;384;p29"/>
              <p:cNvSpPr/>
              <p:nvPr/>
            </p:nvSpPr>
            <p:spPr>
              <a:xfrm>
                <a:off x="3999813" y="122639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5" name="Google Shape;385;p29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23" y="2647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6" name="Google Shape;386;p29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7" name="Google Shape;387;p29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37"/>
                    </a:lnTo>
                    <a:cubicBezTo>
                      <a:pt x="90" y="350"/>
                      <a:pt x="0" y="451"/>
                      <a:pt x="11" y="564"/>
                    </a:cubicBezTo>
                    <a:cubicBezTo>
                      <a:pt x="11" y="665"/>
                      <a:pt x="124" y="778"/>
                      <a:pt x="327" y="891"/>
                    </a:cubicBezTo>
                    <a:cubicBezTo>
                      <a:pt x="462" y="969"/>
                      <a:pt x="620" y="1026"/>
                      <a:pt x="777" y="1071"/>
                    </a:cubicBezTo>
                    <a:cubicBezTo>
                      <a:pt x="935" y="1105"/>
                      <a:pt x="1081" y="1138"/>
                      <a:pt x="1216" y="1138"/>
                    </a:cubicBezTo>
                    <a:cubicBezTo>
                      <a:pt x="1352" y="1138"/>
                      <a:pt x="1577" y="1138"/>
                      <a:pt x="1904" y="1127"/>
                    </a:cubicBezTo>
                    <a:cubicBezTo>
                      <a:pt x="2095" y="1127"/>
                      <a:pt x="2241" y="1138"/>
                      <a:pt x="2320" y="1161"/>
                    </a:cubicBezTo>
                    <a:cubicBezTo>
                      <a:pt x="2410" y="1195"/>
                      <a:pt x="2534" y="1251"/>
                      <a:pt x="2681" y="1330"/>
                    </a:cubicBezTo>
                    <a:cubicBezTo>
                      <a:pt x="2737" y="1364"/>
                      <a:pt x="2782" y="1397"/>
                      <a:pt x="2782" y="1420"/>
                    </a:cubicBezTo>
                    <a:cubicBezTo>
                      <a:pt x="2793" y="1454"/>
                      <a:pt x="2782" y="1476"/>
                      <a:pt x="2737" y="1487"/>
                    </a:cubicBezTo>
                    <a:cubicBezTo>
                      <a:pt x="2709" y="1499"/>
                      <a:pt x="2684" y="1504"/>
                      <a:pt x="2658" y="1504"/>
                    </a:cubicBezTo>
                    <a:cubicBezTo>
                      <a:pt x="2633" y="1504"/>
                      <a:pt x="2608" y="1499"/>
                      <a:pt x="2579" y="1487"/>
                    </a:cubicBezTo>
                    <a:cubicBezTo>
                      <a:pt x="2512" y="1476"/>
                      <a:pt x="2399" y="1409"/>
                      <a:pt x="2219" y="1307"/>
                    </a:cubicBezTo>
                    <a:lnTo>
                      <a:pt x="2050" y="1217"/>
                    </a:lnTo>
                    <a:lnTo>
                      <a:pt x="1408" y="1487"/>
                    </a:lnTo>
                    <a:lnTo>
                      <a:pt x="1543" y="1555"/>
                    </a:lnTo>
                    <a:cubicBezTo>
                      <a:pt x="1847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4" y="1834"/>
                      <a:pt x="2886" y="1809"/>
                      <a:pt x="3030" y="1758"/>
                    </a:cubicBezTo>
                    <a:lnTo>
                      <a:pt x="3289" y="1904"/>
                    </a:lnTo>
                    <a:lnTo>
                      <a:pt x="3582" y="1792"/>
                    </a:lnTo>
                    <a:lnTo>
                      <a:pt x="3334" y="1645"/>
                    </a:lnTo>
                    <a:cubicBezTo>
                      <a:pt x="3514" y="1533"/>
                      <a:pt x="3593" y="1420"/>
                      <a:pt x="3571" y="1296"/>
                    </a:cubicBezTo>
                    <a:cubicBezTo>
                      <a:pt x="3537" y="1172"/>
                      <a:pt x="3402" y="1048"/>
                      <a:pt x="3165" y="913"/>
                    </a:cubicBezTo>
                    <a:cubicBezTo>
                      <a:pt x="3007" y="834"/>
                      <a:pt x="2861" y="767"/>
                      <a:pt x="2726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3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5" y="671"/>
                      <a:pt x="1478" y="674"/>
                      <a:pt x="1380" y="674"/>
                    </a:cubicBezTo>
                    <a:cubicBezTo>
                      <a:pt x="1281" y="674"/>
                      <a:pt x="1211" y="671"/>
                      <a:pt x="1171" y="665"/>
                    </a:cubicBezTo>
                    <a:cubicBezTo>
                      <a:pt x="1081" y="665"/>
                      <a:pt x="991" y="631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7" y="404"/>
                      <a:pt x="868" y="399"/>
                      <a:pt x="897" y="399"/>
                    </a:cubicBezTo>
                    <a:cubicBezTo>
                      <a:pt x="918" y="399"/>
                      <a:pt x="939" y="402"/>
                      <a:pt x="957" y="406"/>
                    </a:cubicBezTo>
                    <a:cubicBezTo>
                      <a:pt x="1014" y="417"/>
                      <a:pt x="1093" y="463"/>
                      <a:pt x="1216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81" y="271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8" name="Google Shape;388;p29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6" y="530"/>
                    </a:lnTo>
                    <a:cubicBezTo>
                      <a:pt x="1093" y="463"/>
                      <a:pt x="1014" y="417"/>
                      <a:pt x="957" y="406"/>
                    </a:cubicBezTo>
                    <a:cubicBezTo>
                      <a:pt x="912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31"/>
                      <a:pt x="1081" y="665"/>
                      <a:pt x="1171" y="665"/>
                    </a:cubicBezTo>
                    <a:cubicBezTo>
                      <a:pt x="1250" y="677"/>
                      <a:pt x="1453" y="677"/>
                      <a:pt x="1757" y="665"/>
                    </a:cubicBezTo>
                    <a:cubicBezTo>
                      <a:pt x="2027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26" y="733"/>
                    </a:cubicBezTo>
                    <a:cubicBezTo>
                      <a:pt x="2861" y="767"/>
                      <a:pt x="3007" y="834"/>
                      <a:pt x="3165" y="913"/>
                    </a:cubicBezTo>
                    <a:cubicBezTo>
                      <a:pt x="3402" y="1048"/>
                      <a:pt x="3537" y="1172"/>
                      <a:pt x="3571" y="1296"/>
                    </a:cubicBezTo>
                    <a:cubicBezTo>
                      <a:pt x="3593" y="1420"/>
                      <a:pt x="3514" y="1533"/>
                      <a:pt x="3334" y="1645"/>
                    </a:cubicBezTo>
                    <a:lnTo>
                      <a:pt x="3582" y="1792"/>
                    </a:lnTo>
                    <a:lnTo>
                      <a:pt x="3289" y="1904"/>
                    </a:lnTo>
                    <a:lnTo>
                      <a:pt x="3030" y="1758"/>
                    </a:lnTo>
                    <a:cubicBezTo>
                      <a:pt x="2838" y="1825"/>
                      <a:pt x="2613" y="1848"/>
                      <a:pt x="2365" y="1825"/>
                    </a:cubicBezTo>
                    <a:cubicBezTo>
                      <a:pt x="2118" y="1814"/>
                      <a:pt x="1847" y="1724"/>
                      <a:pt x="1543" y="1555"/>
                    </a:cubicBezTo>
                    <a:lnTo>
                      <a:pt x="1408" y="1487"/>
                    </a:lnTo>
                    <a:lnTo>
                      <a:pt x="2050" y="1217"/>
                    </a:lnTo>
                    <a:lnTo>
                      <a:pt x="2219" y="1307"/>
                    </a:lnTo>
                    <a:cubicBezTo>
                      <a:pt x="2399" y="1409"/>
                      <a:pt x="2512" y="1476"/>
                      <a:pt x="2579" y="1487"/>
                    </a:cubicBezTo>
                    <a:cubicBezTo>
                      <a:pt x="2636" y="1510"/>
                      <a:pt x="2681" y="1510"/>
                      <a:pt x="2737" y="1487"/>
                    </a:cubicBezTo>
                    <a:cubicBezTo>
                      <a:pt x="2782" y="1476"/>
                      <a:pt x="2793" y="1454"/>
                      <a:pt x="2782" y="1420"/>
                    </a:cubicBezTo>
                    <a:cubicBezTo>
                      <a:pt x="2782" y="1397"/>
                      <a:pt x="2737" y="1364"/>
                      <a:pt x="2681" y="1330"/>
                    </a:cubicBezTo>
                    <a:cubicBezTo>
                      <a:pt x="2534" y="1251"/>
                      <a:pt x="2410" y="1195"/>
                      <a:pt x="2320" y="1161"/>
                    </a:cubicBezTo>
                    <a:cubicBezTo>
                      <a:pt x="2241" y="1138"/>
                      <a:pt x="2095" y="1127"/>
                      <a:pt x="1904" y="1127"/>
                    </a:cubicBezTo>
                    <a:cubicBezTo>
                      <a:pt x="1577" y="1138"/>
                      <a:pt x="1352" y="1138"/>
                      <a:pt x="1216" y="1138"/>
                    </a:cubicBezTo>
                    <a:cubicBezTo>
                      <a:pt x="1081" y="1138"/>
                      <a:pt x="935" y="1105"/>
                      <a:pt x="777" y="1071"/>
                    </a:cubicBezTo>
                    <a:cubicBezTo>
                      <a:pt x="620" y="1026"/>
                      <a:pt x="462" y="969"/>
                      <a:pt x="327" y="891"/>
                    </a:cubicBezTo>
                    <a:cubicBezTo>
                      <a:pt x="124" y="778"/>
                      <a:pt x="11" y="665"/>
                      <a:pt x="11" y="564"/>
                    </a:cubicBezTo>
                    <a:cubicBezTo>
                      <a:pt x="0" y="451"/>
                      <a:pt x="90" y="350"/>
                      <a:pt x="282" y="237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9" name="Google Shape;389;p29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0" name="Google Shape;390;p29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1" name="Google Shape;391;p29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2" name="Google Shape;392;p29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3" name="Google Shape;393;p29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7"/>
                    </a:cubicBezTo>
                    <a:cubicBezTo>
                      <a:pt x="6364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4" name="Google Shape;394;p29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3"/>
                      <a:pt x="4934" y="4393"/>
                      <a:pt x="3177" y="4393"/>
                    </a:cubicBezTo>
                    <a:cubicBezTo>
                      <a:pt x="1420" y="4393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5" name="Google Shape;395;p29"/>
              <p:cNvSpPr/>
              <p:nvPr/>
            </p:nvSpPr>
            <p:spPr>
              <a:xfrm>
                <a:off x="4102903" y="121144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0" y="958"/>
                    </a:cubicBez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6" name="Google Shape;396;p29"/>
              <p:cNvSpPr/>
              <p:nvPr/>
            </p:nvSpPr>
            <p:spPr>
              <a:xfrm>
                <a:off x="4078100" y="1209490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7" name="Google Shape;397;p29"/>
              <p:cNvSpPr/>
              <p:nvPr/>
            </p:nvSpPr>
            <p:spPr>
              <a:xfrm>
                <a:off x="4055288" y="1204354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8" name="Google Shape;398;p29"/>
              <p:cNvSpPr/>
              <p:nvPr/>
            </p:nvSpPr>
            <p:spPr>
              <a:xfrm>
                <a:off x="4034048" y="119569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9" name="Google Shape;399;p29"/>
              <p:cNvSpPr/>
              <p:nvPr/>
            </p:nvSpPr>
            <p:spPr>
              <a:xfrm>
                <a:off x="4016337" y="118349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0" name="Google Shape;400;p29"/>
              <p:cNvSpPr/>
              <p:nvPr/>
            </p:nvSpPr>
            <p:spPr>
              <a:xfrm>
                <a:off x="3999813" y="116344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1" name="Google Shape;401;p29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37"/>
                      <a:pt x="1104" y="3402"/>
                      <a:pt x="2456" y="3402"/>
                    </a:cubicBezTo>
                    <a:cubicBezTo>
                      <a:pt x="3819" y="3402"/>
                      <a:pt x="4923" y="2637"/>
                      <a:pt x="4923" y="1702"/>
                    </a:cubicBezTo>
                    <a:cubicBezTo>
                      <a:pt x="4923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2" name="Google Shape;402;p29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fill="none" extrusionOk="0">
                    <a:moveTo>
                      <a:pt x="4923" y="1702"/>
                    </a:moveTo>
                    <a:cubicBezTo>
                      <a:pt x="4923" y="2637"/>
                      <a:pt x="3819" y="3402"/>
                      <a:pt x="2456" y="3402"/>
                    </a:cubicBezTo>
                    <a:cubicBezTo>
                      <a:pt x="1104" y="3402"/>
                      <a:pt x="1" y="2637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23" y="767"/>
                      <a:pt x="4923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3" name="Google Shape;403;p29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90" y="350"/>
                      <a:pt x="0" y="462"/>
                      <a:pt x="11" y="564"/>
                    </a:cubicBezTo>
                    <a:cubicBezTo>
                      <a:pt x="11" y="676"/>
                      <a:pt x="124" y="789"/>
                      <a:pt x="327" y="901"/>
                    </a:cubicBezTo>
                    <a:cubicBezTo>
                      <a:pt x="462" y="980"/>
                      <a:pt x="620" y="1037"/>
                      <a:pt x="777" y="1082"/>
                    </a:cubicBezTo>
                    <a:cubicBezTo>
                      <a:pt x="935" y="1115"/>
                      <a:pt x="1081" y="1138"/>
                      <a:pt x="1216" y="1149"/>
                    </a:cubicBezTo>
                    <a:cubicBezTo>
                      <a:pt x="1352" y="1149"/>
                      <a:pt x="1577" y="1149"/>
                      <a:pt x="1904" y="1138"/>
                    </a:cubicBezTo>
                    <a:cubicBezTo>
                      <a:pt x="2095" y="1138"/>
                      <a:pt x="2241" y="1149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4"/>
                      <a:pt x="2782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10"/>
                      <a:pt x="2684" y="1515"/>
                      <a:pt x="2658" y="1515"/>
                    </a:cubicBezTo>
                    <a:cubicBezTo>
                      <a:pt x="2633" y="1515"/>
                      <a:pt x="2608" y="1510"/>
                      <a:pt x="2579" y="1498"/>
                    </a:cubicBezTo>
                    <a:cubicBezTo>
                      <a:pt x="2512" y="1487"/>
                      <a:pt x="2399" y="1420"/>
                      <a:pt x="2219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34" y="1656"/>
                    </a:lnTo>
                    <a:cubicBezTo>
                      <a:pt x="3514" y="1543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2"/>
                    </a:cubicBezTo>
                    <a:cubicBezTo>
                      <a:pt x="2579" y="699"/>
                      <a:pt x="2444" y="676"/>
                      <a:pt x="2332" y="665"/>
                    </a:cubicBezTo>
                    <a:cubicBezTo>
                      <a:pt x="2219" y="665"/>
                      <a:pt x="2027" y="665"/>
                      <a:pt x="1757" y="676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5"/>
                    </a:cubicBezTo>
                    <a:cubicBezTo>
                      <a:pt x="755" y="462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8"/>
                      <a:pt x="1093" y="473"/>
                      <a:pt x="1216" y="530"/>
                    </a:cubicBezTo>
                    <a:lnTo>
                      <a:pt x="1329" y="597"/>
                    </a:lnTo>
                    <a:lnTo>
                      <a:pt x="1971" y="338"/>
                    </a:lnTo>
                    <a:cubicBezTo>
                      <a:pt x="1915" y="304"/>
                      <a:pt x="1881" y="282"/>
                      <a:pt x="1847" y="259"/>
                    </a:cubicBezTo>
                    <a:cubicBezTo>
                      <a:pt x="1644" y="147"/>
                      <a:pt x="1442" y="79"/>
                      <a:pt x="1228" y="57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3" y="74"/>
                      <a:pt x="574" y="124"/>
                    </a:cubicBezTo>
                    <a:lnTo>
                      <a:pt x="3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4" name="Google Shape;404;p29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8"/>
                    </a:moveTo>
                    <a:lnTo>
                      <a:pt x="1329" y="597"/>
                    </a:lnTo>
                    <a:lnTo>
                      <a:pt x="1216" y="530"/>
                    </a:lnTo>
                    <a:cubicBezTo>
                      <a:pt x="1093" y="473"/>
                      <a:pt x="1014" y="428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2"/>
                      <a:pt x="766" y="485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6"/>
                    </a:cubicBezTo>
                    <a:cubicBezTo>
                      <a:pt x="1250" y="687"/>
                      <a:pt x="1453" y="687"/>
                      <a:pt x="1757" y="676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6"/>
                      <a:pt x="2579" y="699"/>
                      <a:pt x="2726" y="732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3"/>
                      <a:pt x="3334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6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8"/>
                    </a:lnTo>
                    <a:cubicBezTo>
                      <a:pt x="2399" y="1420"/>
                      <a:pt x="2512" y="1487"/>
                      <a:pt x="2579" y="1498"/>
                    </a:cubicBezTo>
                    <a:cubicBezTo>
                      <a:pt x="2636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82" y="1408"/>
                      <a:pt x="2737" y="1374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49"/>
                      <a:pt x="2095" y="1138"/>
                      <a:pt x="1904" y="1138"/>
                    </a:cubicBezTo>
                    <a:cubicBezTo>
                      <a:pt x="1577" y="1149"/>
                      <a:pt x="1352" y="1149"/>
                      <a:pt x="1216" y="1149"/>
                    </a:cubicBezTo>
                    <a:cubicBezTo>
                      <a:pt x="1081" y="1138"/>
                      <a:pt x="935" y="1115"/>
                      <a:pt x="777" y="1082"/>
                    </a:cubicBezTo>
                    <a:cubicBezTo>
                      <a:pt x="620" y="1037"/>
                      <a:pt x="462" y="980"/>
                      <a:pt x="327" y="901"/>
                    </a:cubicBezTo>
                    <a:cubicBezTo>
                      <a:pt x="124" y="789"/>
                      <a:pt x="11" y="676"/>
                      <a:pt x="11" y="564"/>
                    </a:cubicBezTo>
                    <a:cubicBezTo>
                      <a:pt x="0" y="462"/>
                      <a:pt x="90" y="350"/>
                      <a:pt x="282" y="248"/>
                    </a:cubicBezTo>
                    <a:lnTo>
                      <a:pt x="68" y="124"/>
                    </a:lnTo>
                    <a:lnTo>
                      <a:pt x="360" y="0"/>
                    </a:lnTo>
                    <a:lnTo>
                      <a:pt x="574" y="124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4" y="147"/>
                      <a:pt x="1847" y="259"/>
                    </a:cubicBezTo>
                    <a:cubicBezTo>
                      <a:pt x="1881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5" name="Google Shape;405;p29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6" name="Google Shape;406;p29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7" name="Google Shape;407;p29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8" name="Google Shape;408;p29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9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9" name="Google Shape;409;p29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1"/>
                    </a:moveTo>
                    <a:cubicBezTo>
                      <a:pt x="1420" y="1"/>
                      <a:pt x="1" y="981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64" y="3414"/>
                      <a:pt x="6364" y="2197"/>
                    </a:cubicBezTo>
                    <a:cubicBezTo>
                      <a:pt x="6364" y="981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0" name="Google Shape;410;p29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4"/>
                      <a:pt x="4934" y="4393"/>
                      <a:pt x="3177" y="4393"/>
                    </a:cubicBezTo>
                    <a:cubicBezTo>
                      <a:pt x="1420" y="4393"/>
                      <a:pt x="1" y="3414"/>
                      <a:pt x="1" y="2197"/>
                    </a:cubicBezTo>
                    <a:cubicBezTo>
                      <a:pt x="1" y="981"/>
                      <a:pt x="1420" y="1"/>
                      <a:pt x="3177" y="1"/>
                    </a:cubicBezTo>
                    <a:cubicBezTo>
                      <a:pt x="4934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1" name="Google Shape;411;p29"/>
              <p:cNvSpPr/>
              <p:nvPr/>
            </p:nvSpPr>
            <p:spPr>
              <a:xfrm>
                <a:off x="4102903" y="1147692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1"/>
                      <a:pt x="0" y="958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2" name="Google Shape;412;p29"/>
              <p:cNvSpPr/>
              <p:nvPr/>
            </p:nvSpPr>
            <p:spPr>
              <a:xfrm>
                <a:off x="4078100" y="114573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3" name="Google Shape;413;p29"/>
              <p:cNvSpPr/>
              <p:nvPr/>
            </p:nvSpPr>
            <p:spPr>
              <a:xfrm>
                <a:off x="4055288" y="1140600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4" name="Google Shape;414;p29"/>
              <p:cNvSpPr/>
              <p:nvPr/>
            </p:nvSpPr>
            <p:spPr>
              <a:xfrm>
                <a:off x="4034048" y="113197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5" name="Google Shape;415;p29"/>
              <p:cNvSpPr/>
              <p:nvPr/>
            </p:nvSpPr>
            <p:spPr>
              <a:xfrm>
                <a:off x="4016337" y="111974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6" name="Google Shape;416;p29"/>
              <p:cNvSpPr/>
              <p:nvPr/>
            </p:nvSpPr>
            <p:spPr>
              <a:xfrm>
                <a:off x="3999813" y="109969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7" name="Google Shape;417;p29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23" y="2636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8" name="Google Shape;418;p29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9" name="Google Shape;419;p29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49"/>
                    </a:lnTo>
                    <a:cubicBezTo>
                      <a:pt x="90" y="350"/>
                      <a:pt x="0" y="463"/>
                      <a:pt x="11" y="564"/>
                    </a:cubicBezTo>
                    <a:cubicBezTo>
                      <a:pt x="11" y="677"/>
                      <a:pt x="124" y="789"/>
                      <a:pt x="327" y="902"/>
                    </a:cubicBezTo>
                    <a:cubicBezTo>
                      <a:pt x="462" y="981"/>
                      <a:pt x="620" y="1037"/>
                      <a:pt x="777" y="1082"/>
                    </a:cubicBezTo>
                    <a:cubicBezTo>
                      <a:pt x="935" y="1116"/>
                      <a:pt x="1081" y="1138"/>
                      <a:pt x="1216" y="1150"/>
                    </a:cubicBezTo>
                    <a:cubicBezTo>
                      <a:pt x="1352" y="1150"/>
                      <a:pt x="1577" y="1150"/>
                      <a:pt x="1904" y="1138"/>
                    </a:cubicBezTo>
                    <a:cubicBezTo>
                      <a:pt x="2095" y="1138"/>
                      <a:pt x="2241" y="1150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5"/>
                      <a:pt x="2782" y="1409"/>
                      <a:pt x="2782" y="1431"/>
                    </a:cubicBezTo>
                    <a:cubicBezTo>
                      <a:pt x="2793" y="1454"/>
                      <a:pt x="2782" y="1476"/>
                      <a:pt x="2737" y="1499"/>
                    </a:cubicBezTo>
                    <a:cubicBezTo>
                      <a:pt x="2709" y="1510"/>
                      <a:pt x="2684" y="1516"/>
                      <a:pt x="2658" y="1516"/>
                    </a:cubicBezTo>
                    <a:cubicBezTo>
                      <a:pt x="2633" y="1516"/>
                      <a:pt x="2608" y="1510"/>
                      <a:pt x="2579" y="1499"/>
                    </a:cubicBezTo>
                    <a:cubicBezTo>
                      <a:pt x="2512" y="1487"/>
                      <a:pt x="2399" y="1420"/>
                      <a:pt x="2219" y="1319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7"/>
                    </a:cubicBezTo>
                    <a:cubicBezTo>
                      <a:pt x="2407" y="1839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2"/>
                    </a:lnTo>
                    <a:lnTo>
                      <a:pt x="3334" y="1656"/>
                    </a:lnTo>
                    <a:cubicBezTo>
                      <a:pt x="3514" y="1544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3"/>
                    </a:cubicBezTo>
                    <a:cubicBezTo>
                      <a:pt x="2579" y="699"/>
                      <a:pt x="2444" y="677"/>
                      <a:pt x="2332" y="665"/>
                    </a:cubicBezTo>
                    <a:cubicBezTo>
                      <a:pt x="2219" y="665"/>
                      <a:pt x="2027" y="665"/>
                      <a:pt x="1757" y="677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7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8"/>
                      <a:pt x="766" y="485"/>
                    </a:cubicBezTo>
                    <a:cubicBezTo>
                      <a:pt x="755" y="463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9"/>
                      <a:pt x="1093" y="474"/>
                      <a:pt x="1216" y="530"/>
                    </a:cubicBezTo>
                    <a:lnTo>
                      <a:pt x="1329" y="598"/>
                    </a:lnTo>
                    <a:lnTo>
                      <a:pt x="1971" y="339"/>
                    </a:lnTo>
                    <a:cubicBezTo>
                      <a:pt x="1915" y="305"/>
                      <a:pt x="1881" y="282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0" name="Google Shape;420;p29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9"/>
                    </a:moveTo>
                    <a:lnTo>
                      <a:pt x="1329" y="598"/>
                    </a:lnTo>
                    <a:lnTo>
                      <a:pt x="1216" y="530"/>
                    </a:lnTo>
                    <a:cubicBezTo>
                      <a:pt x="1093" y="474"/>
                      <a:pt x="1014" y="429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3"/>
                      <a:pt x="766" y="485"/>
                    </a:cubicBezTo>
                    <a:cubicBezTo>
                      <a:pt x="777" y="508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7"/>
                    </a:cubicBezTo>
                    <a:cubicBezTo>
                      <a:pt x="1250" y="688"/>
                      <a:pt x="1453" y="688"/>
                      <a:pt x="1757" y="677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7"/>
                      <a:pt x="2579" y="699"/>
                      <a:pt x="2726" y="733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4"/>
                      <a:pt x="3334" y="1656"/>
                    </a:cubicBezTo>
                    <a:lnTo>
                      <a:pt x="3582" y="1792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7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9"/>
                    </a:lnTo>
                    <a:cubicBezTo>
                      <a:pt x="2399" y="1420"/>
                      <a:pt x="2512" y="1487"/>
                      <a:pt x="2579" y="1499"/>
                    </a:cubicBezTo>
                    <a:cubicBezTo>
                      <a:pt x="2636" y="1521"/>
                      <a:pt x="2681" y="1521"/>
                      <a:pt x="2737" y="1499"/>
                    </a:cubicBezTo>
                    <a:cubicBezTo>
                      <a:pt x="2782" y="1476"/>
                      <a:pt x="2793" y="1454"/>
                      <a:pt x="2782" y="1431"/>
                    </a:cubicBezTo>
                    <a:cubicBezTo>
                      <a:pt x="2782" y="1409"/>
                      <a:pt x="2737" y="1375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50"/>
                      <a:pt x="2095" y="1138"/>
                      <a:pt x="1904" y="1138"/>
                    </a:cubicBezTo>
                    <a:cubicBezTo>
                      <a:pt x="1577" y="1150"/>
                      <a:pt x="1352" y="1150"/>
                      <a:pt x="1216" y="1150"/>
                    </a:cubicBezTo>
                    <a:cubicBezTo>
                      <a:pt x="1081" y="1138"/>
                      <a:pt x="935" y="1116"/>
                      <a:pt x="777" y="1082"/>
                    </a:cubicBezTo>
                    <a:cubicBezTo>
                      <a:pt x="620" y="1037"/>
                      <a:pt x="462" y="981"/>
                      <a:pt x="327" y="902"/>
                    </a:cubicBezTo>
                    <a:cubicBezTo>
                      <a:pt x="124" y="789"/>
                      <a:pt x="11" y="677"/>
                      <a:pt x="11" y="564"/>
                    </a:cubicBezTo>
                    <a:cubicBezTo>
                      <a:pt x="0" y="463"/>
                      <a:pt x="90" y="350"/>
                      <a:pt x="282" y="249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82"/>
                      <a:pt x="1915" y="305"/>
                      <a:pt x="1971" y="33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1" name="Google Shape;421;p29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extrusionOk="0">
                    <a:moveTo>
                      <a:pt x="3177" y="1"/>
                    </a:move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lnTo>
                      <a:pt x="5982" y="1150"/>
                    </a:lnTo>
                    <a:cubicBezTo>
                      <a:pt x="5441" y="463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2" name="Google Shape;422;p29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4"/>
                      <a:pt x="3177" y="4404"/>
                    </a:cubicBezTo>
                    <a:cubicBezTo>
                      <a:pt x="4934" y="4404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3" name="Google Shape;423;p29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fill="none" extrusionOk="0">
                    <a:moveTo>
                      <a:pt x="5982" y="1150"/>
                    </a:moveTo>
                    <a:cubicBezTo>
                      <a:pt x="5441" y="463"/>
                      <a:pt x="4393" y="1"/>
                      <a:pt x="3177" y="1"/>
                    </a:cubicBez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4" name="Google Shape;424;p29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4"/>
                      <a:pt x="3177" y="4404"/>
                    </a:cubicBezTo>
                    <a:cubicBezTo>
                      <a:pt x="1420" y="4404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5" name="Google Shape;425;p29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6" name="Google Shape;426;p29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7" name="Google Shape;427;p29"/>
              <p:cNvSpPr/>
              <p:nvPr/>
            </p:nvSpPr>
            <p:spPr>
              <a:xfrm>
                <a:off x="3781826" y="1253157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14"/>
                      <a:pt x="1" y="980"/>
                      <a:pt x="1" y="958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8" name="Google Shape;428;p29"/>
              <p:cNvSpPr/>
              <p:nvPr/>
            </p:nvSpPr>
            <p:spPr>
              <a:xfrm>
                <a:off x="3805825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9" name="Google Shape;429;p29"/>
              <p:cNvSpPr/>
              <p:nvPr/>
            </p:nvSpPr>
            <p:spPr>
              <a:xfrm>
                <a:off x="3828637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0" name="Google Shape;430;p29"/>
              <p:cNvSpPr/>
              <p:nvPr/>
            </p:nvSpPr>
            <p:spPr>
              <a:xfrm>
                <a:off x="3849912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1" name="Google Shape;431;p29"/>
              <p:cNvSpPr/>
              <p:nvPr/>
            </p:nvSpPr>
            <p:spPr>
              <a:xfrm>
                <a:off x="3868008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2" name="Google Shape;432;p29"/>
              <p:cNvSpPr/>
              <p:nvPr/>
            </p:nvSpPr>
            <p:spPr>
              <a:xfrm>
                <a:off x="3884147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3" name="Google Shape;433;p29"/>
              <p:cNvSpPr/>
              <p:nvPr/>
            </p:nvSpPr>
            <p:spPr>
              <a:xfrm>
                <a:off x="3757023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4" name="Google Shape;434;p29"/>
              <p:cNvSpPr/>
              <p:nvPr/>
            </p:nvSpPr>
            <p:spPr>
              <a:xfrm>
                <a:off x="3734211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5" name="Google Shape;435;p29"/>
              <p:cNvSpPr/>
              <p:nvPr/>
            </p:nvSpPr>
            <p:spPr>
              <a:xfrm>
                <a:off x="3712971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6" name="Google Shape;436;p29"/>
              <p:cNvSpPr/>
              <p:nvPr/>
            </p:nvSpPr>
            <p:spPr>
              <a:xfrm>
                <a:off x="3694876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7" name="Google Shape;437;p29"/>
              <p:cNvSpPr/>
              <p:nvPr/>
            </p:nvSpPr>
            <p:spPr>
              <a:xfrm>
                <a:off x="3678736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8" name="Google Shape;438;p29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48"/>
                      <a:pt x="1104" y="3402"/>
                      <a:pt x="2456" y="3402"/>
                    </a:cubicBezTo>
                    <a:cubicBezTo>
                      <a:pt x="3819" y="3402"/>
                      <a:pt x="4911" y="2648"/>
                      <a:pt x="4911" y="1702"/>
                    </a:cubicBezTo>
                    <a:cubicBezTo>
                      <a:pt x="4911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9" name="Google Shape;439;p29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48"/>
                      <a:pt x="3819" y="3402"/>
                      <a:pt x="2456" y="3402"/>
                    </a:cubicBezTo>
                    <a:cubicBezTo>
                      <a:pt x="1104" y="3402"/>
                      <a:pt x="1" y="2648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11" y="767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0" name="Google Shape;440;p29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8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0"/>
                    </a:cubicBezTo>
                    <a:cubicBezTo>
                      <a:pt x="462" y="969"/>
                      <a:pt x="608" y="1025"/>
                      <a:pt x="777" y="1071"/>
                    </a:cubicBezTo>
                    <a:cubicBezTo>
                      <a:pt x="935" y="1104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4"/>
                      <a:pt x="2523" y="1251"/>
                      <a:pt x="2681" y="1330"/>
                    </a:cubicBezTo>
                    <a:cubicBezTo>
                      <a:pt x="2737" y="1363"/>
                      <a:pt x="2771" y="1397"/>
                      <a:pt x="2782" y="1420"/>
                    </a:cubicBezTo>
                    <a:cubicBezTo>
                      <a:pt x="2793" y="1453"/>
                      <a:pt x="2782" y="1465"/>
                      <a:pt x="2737" y="1487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7"/>
                    </a:cubicBezTo>
                    <a:cubicBezTo>
                      <a:pt x="2512" y="1476"/>
                      <a:pt x="2399" y="1408"/>
                      <a:pt x="2208" y="1307"/>
                    </a:cubicBezTo>
                    <a:lnTo>
                      <a:pt x="2050" y="1217"/>
                    </a:lnTo>
                    <a:lnTo>
                      <a:pt x="1408" y="1476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19" y="1828"/>
                      <a:pt x="2471" y="1829"/>
                      <a:pt x="2522" y="1829"/>
                    </a:cubicBezTo>
                    <a:cubicBezTo>
                      <a:pt x="2708" y="1829"/>
                      <a:pt x="2877" y="1811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2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6"/>
                      <a:pt x="2715" y="733"/>
                    </a:cubicBezTo>
                    <a:cubicBezTo>
                      <a:pt x="2579" y="688"/>
                      <a:pt x="2444" y="665"/>
                      <a:pt x="2332" y="654"/>
                    </a:cubicBezTo>
                    <a:cubicBezTo>
                      <a:pt x="2219" y="654"/>
                      <a:pt x="2028" y="654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20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1"/>
                      <a:pt x="958" y="406"/>
                    </a:cubicBezTo>
                    <a:cubicBezTo>
                      <a:pt x="1014" y="417"/>
                      <a:pt x="1093" y="462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3"/>
                      <a:pt x="1870" y="271"/>
                      <a:pt x="1847" y="248"/>
                    </a:cubicBezTo>
                    <a:cubicBezTo>
                      <a:pt x="1645" y="147"/>
                      <a:pt x="1442" y="79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1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1" name="Google Shape;441;p29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2"/>
                      <a:pt x="1014" y="417"/>
                      <a:pt x="958" y="406"/>
                    </a:cubicBezTo>
                    <a:cubicBezTo>
                      <a:pt x="901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20"/>
                      <a:pt x="1081" y="665"/>
                      <a:pt x="1160" y="665"/>
                    </a:cubicBezTo>
                    <a:cubicBezTo>
                      <a:pt x="1250" y="676"/>
                      <a:pt x="1442" y="676"/>
                      <a:pt x="1757" y="665"/>
                    </a:cubicBezTo>
                    <a:cubicBezTo>
                      <a:pt x="2028" y="654"/>
                      <a:pt x="2219" y="654"/>
                      <a:pt x="2332" y="654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6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2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36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76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8"/>
                      <a:pt x="2512" y="1476"/>
                      <a:pt x="2568" y="1487"/>
                    </a:cubicBezTo>
                    <a:cubicBezTo>
                      <a:pt x="2625" y="1510"/>
                      <a:pt x="2681" y="1510"/>
                      <a:pt x="2737" y="1487"/>
                    </a:cubicBezTo>
                    <a:cubicBezTo>
                      <a:pt x="2782" y="1465"/>
                      <a:pt x="2793" y="1453"/>
                      <a:pt x="2782" y="1420"/>
                    </a:cubicBezTo>
                    <a:cubicBezTo>
                      <a:pt x="2771" y="1397"/>
                      <a:pt x="2737" y="1363"/>
                      <a:pt x="2681" y="1330"/>
                    </a:cubicBezTo>
                    <a:cubicBezTo>
                      <a:pt x="2523" y="1251"/>
                      <a:pt x="2411" y="1194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4"/>
                      <a:pt x="777" y="1071"/>
                    </a:cubicBezTo>
                    <a:cubicBezTo>
                      <a:pt x="608" y="1025"/>
                      <a:pt x="462" y="969"/>
                      <a:pt x="316" y="890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8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5" y="147"/>
                      <a:pt x="1847" y="248"/>
                    </a:cubicBezTo>
                    <a:cubicBezTo>
                      <a:pt x="1870" y="271"/>
                      <a:pt x="1915" y="293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2" name="Google Shape;442;p29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lnTo>
                      <a:pt x="5982" y="1161"/>
                    </a:lnTo>
                    <a:cubicBezTo>
                      <a:pt x="5441" y="473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3" name="Google Shape;443;p29"/>
              <p:cNvSpPr/>
              <p:nvPr/>
            </p:nvSpPr>
            <p:spPr>
              <a:xfrm>
                <a:off x="3674793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92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92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4" name="Google Shape;444;p29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5982" y="1161"/>
                    </a:moveTo>
                    <a:cubicBezTo>
                      <a:pt x="5441" y="473"/>
                      <a:pt x="4393" y="0"/>
                      <a:pt x="3177" y="0"/>
                    </a:cubicBez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5" name="Google Shape;445;p29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92"/>
                      <a:pt x="1420" y="0"/>
                      <a:pt x="3177" y="0"/>
                    </a:cubicBezTo>
                    <a:cubicBezTo>
                      <a:pt x="4934" y="0"/>
                      <a:pt x="6353" y="992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6" name="Google Shape;446;p29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9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7" name="Google Shape;447;p29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9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8" name="Google Shape;448;p29"/>
              <p:cNvSpPr/>
              <p:nvPr/>
            </p:nvSpPr>
            <p:spPr>
              <a:xfrm>
                <a:off x="3781826" y="119020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03"/>
                      <a:pt x="1" y="980"/>
                      <a:pt x="1" y="957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9" name="Google Shape;449;p29"/>
              <p:cNvSpPr/>
              <p:nvPr/>
            </p:nvSpPr>
            <p:spPr>
              <a:xfrm>
                <a:off x="3805825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0" name="Google Shape;450;p29"/>
              <p:cNvSpPr/>
              <p:nvPr/>
            </p:nvSpPr>
            <p:spPr>
              <a:xfrm>
                <a:off x="3828637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1" name="Google Shape;451;p29"/>
              <p:cNvSpPr/>
              <p:nvPr/>
            </p:nvSpPr>
            <p:spPr>
              <a:xfrm>
                <a:off x="3849912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2" name="Google Shape;452;p29"/>
              <p:cNvSpPr/>
              <p:nvPr/>
            </p:nvSpPr>
            <p:spPr>
              <a:xfrm>
                <a:off x="3868008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3" name="Google Shape;453;p29"/>
              <p:cNvSpPr/>
              <p:nvPr/>
            </p:nvSpPr>
            <p:spPr>
              <a:xfrm>
                <a:off x="3884147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4" name="Google Shape;454;p29"/>
              <p:cNvSpPr/>
              <p:nvPr/>
            </p:nvSpPr>
            <p:spPr>
              <a:xfrm>
                <a:off x="3757023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5" name="Google Shape;455;p29"/>
              <p:cNvSpPr/>
              <p:nvPr/>
            </p:nvSpPr>
            <p:spPr>
              <a:xfrm>
                <a:off x="3734211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6" name="Google Shape;456;p29"/>
              <p:cNvSpPr/>
              <p:nvPr/>
            </p:nvSpPr>
            <p:spPr>
              <a:xfrm>
                <a:off x="3712971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7" name="Google Shape;457;p29"/>
              <p:cNvSpPr/>
              <p:nvPr/>
            </p:nvSpPr>
            <p:spPr>
              <a:xfrm>
                <a:off x="3694876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8" name="Google Shape;458;p29"/>
              <p:cNvSpPr/>
              <p:nvPr/>
            </p:nvSpPr>
            <p:spPr>
              <a:xfrm>
                <a:off x="3678736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9" name="Google Shape;459;p29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55"/>
                      <a:pt x="1" y="1702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11" y="2636"/>
                      <a:pt x="4911" y="1702"/>
                    </a:cubicBezTo>
                    <a:cubicBezTo>
                      <a:pt x="4911" y="755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0" name="Google Shape;460;p29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2"/>
                    </a:cubicBezTo>
                    <a:cubicBezTo>
                      <a:pt x="1" y="755"/>
                      <a:pt x="1104" y="1"/>
                      <a:pt x="2456" y="1"/>
                    </a:cubicBezTo>
                    <a:cubicBezTo>
                      <a:pt x="3819" y="1"/>
                      <a:pt x="4911" y="755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1" name="Google Shape;461;p29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extrusionOk="0">
                    <a:moveTo>
                      <a:pt x="361" y="0"/>
                    </a:moveTo>
                    <a:lnTo>
                      <a:pt x="57" y="124"/>
                    </a:lnTo>
                    <a:lnTo>
                      <a:pt x="282" y="248"/>
                    </a:lnTo>
                    <a:cubicBezTo>
                      <a:pt x="90" y="349"/>
                      <a:pt x="0" y="462"/>
                      <a:pt x="0" y="563"/>
                    </a:cubicBezTo>
                    <a:cubicBezTo>
                      <a:pt x="11" y="676"/>
                      <a:pt x="113" y="789"/>
                      <a:pt x="316" y="901"/>
                    </a:cubicBezTo>
                    <a:cubicBezTo>
                      <a:pt x="462" y="980"/>
                      <a:pt x="608" y="1036"/>
                      <a:pt x="777" y="1081"/>
                    </a:cubicBezTo>
                    <a:cubicBezTo>
                      <a:pt x="935" y="1115"/>
                      <a:pt x="1081" y="1138"/>
                      <a:pt x="1217" y="1149"/>
                    </a:cubicBezTo>
                    <a:cubicBezTo>
                      <a:pt x="1341" y="1149"/>
                      <a:pt x="1577" y="1149"/>
                      <a:pt x="1904" y="1138"/>
                    </a:cubicBezTo>
                    <a:cubicBezTo>
                      <a:pt x="2095" y="1138"/>
                      <a:pt x="2230" y="1149"/>
                      <a:pt x="2320" y="1172"/>
                    </a:cubicBezTo>
                    <a:cubicBezTo>
                      <a:pt x="2411" y="1205"/>
                      <a:pt x="2523" y="1262"/>
                      <a:pt x="2681" y="1340"/>
                    </a:cubicBezTo>
                    <a:cubicBezTo>
                      <a:pt x="2737" y="1374"/>
                      <a:pt x="2771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09"/>
                      <a:pt x="2681" y="1515"/>
                      <a:pt x="2653" y="1515"/>
                    </a:cubicBezTo>
                    <a:cubicBezTo>
                      <a:pt x="2625" y="1515"/>
                      <a:pt x="2596" y="1509"/>
                      <a:pt x="2568" y="1498"/>
                    </a:cubicBezTo>
                    <a:cubicBezTo>
                      <a:pt x="2512" y="1476"/>
                      <a:pt x="2399" y="1419"/>
                      <a:pt x="2208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32" y="1566"/>
                    </a:lnTo>
                    <a:cubicBezTo>
                      <a:pt x="1836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69" y="1815"/>
                      <a:pt x="3019" y="1768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23" y="1656"/>
                    </a:lnTo>
                    <a:cubicBezTo>
                      <a:pt x="3514" y="1543"/>
                      <a:pt x="3593" y="1431"/>
                      <a:pt x="3559" y="1307"/>
                    </a:cubicBezTo>
                    <a:cubicBezTo>
                      <a:pt x="3537" y="1183"/>
                      <a:pt x="3402" y="1059"/>
                      <a:pt x="3154" y="924"/>
                    </a:cubicBezTo>
                    <a:cubicBezTo>
                      <a:pt x="3007" y="834"/>
                      <a:pt x="2861" y="777"/>
                      <a:pt x="2715" y="732"/>
                    </a:cubicBezTo>
                    <a:cubicBezTo>
                      <a:pt x="2579" y="698"/>
                      <a:pt x="2444" y="676"/>
                      <a:pt x="2332" y="665"/>
                    </a:cubicBezTo>
                    <a:cubicBezTo>
                      <a:pt x="2219" y="665"/>
                      <a:pt x="2028" y="665"/>
                      <a:pt x="1757" y="676"/>
                    </a:cubicBezTo>
                    <a:cubicBezTo>
                      <a:pt x="1547" y="676"/>
                      <a:pt x="1392" y="681"/>
                      <a:pt x="1285" y="681"/>
                    </a:cubicBezTo>
                    <a:cubicBezTo>
                      <a:pt x="1232" y="681"/>
                      <a:pt x="1190" y="680"/>
                      <a:pt x="1160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4"/>
                    </a:cubicBezTo>
                    <a:cubicBezTo>
                      <a:pt x="755" y="462"/>
                      <a:pt x="766" y="439"/>
                      <a:pt x="811" y="417"/>
                    </a:cubicBezTo>
                    <a:cubicBezTo>
                      <a:pt x="837" y="410"/>
                      <a:pt x="863" y="404"/>
                      <a:pt x="891" y="404"/>
                    </a:cubicBezTo>
                    <a:cubicBezTo>
                      <a:pt x="912" y="404"/>
                      <a:pt x="934" y="407"/>
                      <a:pt x="958" y="417"/>
                    </a:cubicBezTo>
                    <a:cubicBezTo>
                      <a:pt x="1014" y="428"/>
                      <a:pt x="1093" y="462"/>
                      <a:pt x="1217" y="530"/>
                    </a:cubicBezTo>
                    <a:lnTo>
                      <a:pt x="1329" y="59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64" y="334"/>
                      <a:pt x="1968" y="336"/>
                      <a:pt x="1971" y="338"/>
                    </a:cubicBezTo>
                    <a:lnTo>
                      <a:pt x="1971" y="32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09" y="301"/>
                      <a:pt x="1868" y="280"/>
                      <a:pt x="1847" y="259"/>
                    </a:cubicBezTo>
                    <a:cubicBezTo>
                      <a:pt x="1645" y="147"/>
                      <a:pt x="1442" y="79"/>
                      <a:pt x="1228" y="56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4" y="73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2" name="Google Shape;462;p29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fill="none" extrusionOk="0">
                    <a:moveTo>
                      <a:pt x="1971" y="327"/>
                    </a:moveTo>
                    <a:lnTo>
                      <a:pt x="1329" y="597"/>
                    </a:lnTo>
                    <a:lnTo>
                      <a:pt x="1217" y="530"/>
                    </a:lnTo>
                    <a:cubicBezTo>
                      <a:pt x="1093" y="462"/>
                      <a:pt x="1014" y="428"/>
                      <a:pt x="958" y="417"/>
                    </a:cubicBezTo>
                    <a:cubicBezTo>
                      <a:pt x="901" y="394"/>
                      <a:pt x="856" y="406"/>
                      <a:pt x="811" y="417"/>
                    </a:cubicBezTo>
                    <a:cubicBezTo>
                      <a:pt x="766" y="439"/>
                      <a:pt x="755" y="462"/>
                      <a:pt x="766" y="484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60" y="676"/>
                    </a:cubicBezTo>
                    <a:cubicBezTo>
                      <a:pt x="1250" y="687"/>
                      <a:pt x="1442" y="676"/>
                      <a:pt x="1757" y="676"/>
                    </a:cubicBezTo>
                    <a:cubicBezTo>
                      <a:pt x="2028" y="665"/>
                      <a:pt x="2219" y="665"/>
                      <a:pt x="2332" y="665"/>
                    </a:cubicBezTo>
                    <a:cubicBezTo>
                      <a:pt x="2444" y="676"/>
                      <a:pt x="2579" y="698"/>
                      <a:pt x="2715" y="732"/>
                    </a:cubicBezTo>
                    <a:cubicBezTo>
                      <a:pt x="2861" y="777"/>
                      <a:pt x="3007" y="834"/>
                      <a:pt x="3154" y="924"/>
                    </a:cubicBezTo>
                    <a:cubicBezTo>
                      <a:pt x="3402" y="1059"/>
                      <a:pt x="3537" y="1183"/>
                      <a:pt x="3559" y="1307"/>
                    </a:cubicBezTo>
                    <a:cubicBezTo>
                      <a:pt x="3593" y="1431"/>
                      <a:pt x="3514" y="1543"/>
                      <a:pt x="3323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19" y="1768"/>
                    </a:lnTo>
                    <a:cubicBezTo>
                      <a:pt x="2839" y="1825"/>
                      <a:pt x="2613" y="1847"/>
                      <a:pt x="2365" y="1836"/>
                    </a:cubicBezTo>
                    <a:cubicBezTo>
                      <a:pt x="2118" y="1825"/>
                      <a:pt x="1836" y="1735"/>
                      <a:pt x="1532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08" y="1318"/>
                    </a:lnTo>
                    <a:cubicBezTo>
                      <a:pt x="2399" y="1419"/>
                      <a:pt x="2512" y="1476"/>
                      <a:pt x="2568" y="1498"/>
                    </a:cubicBezTo>
                    <a:cubicBezTo>
                      <a:pt x="2625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71" y="1408"/>
                      <a:pt x="2737" y="1374"/>
                      <a:pt x="2681" y="1340"/>
                    </a:cubicBezTo>
                    <a:cubicBezTo>
                      <a:pt x="2523" y="1262"/>
                      <a:pt x="2411" y="1205"/>
                      <a:pt x="2320" y="1172"/>
                    </a:cubicBezTo>
                    <a:cubicBezTo>
                      <a:pt x="2230" y="1149"/>
                      <a:pt x="2095" y="1138"/>
                      <a:pt x="1904" y="1138"/>
                    </a:cubicBezTo>
                    <a:cubicBezTo>
                      <a:pt x="1577" y="1149"/>
                      <a:pt x="1341" y="1149"/>
                      <a:pt x="1217" y="1149"/>
                    </a:cubicBezTo>
                    <a:cubicBezTo>
                      <a:pt x="1081" y="1138"/>
                      <a:pt x="935" y="1115"/>
                      <a:pt x="777" y="1081"/>
                    </a:cubicBezTo>
                    <a:cubicBezTo>
                      <a:pt x="608" y="1036"/>
                      <a:pt x="462" y="980"/>
                      <a:pt x="316" y="901"/>
                    </a:cubicBezTo>
                    <a:cubicBezTo>
                      <a:pt x="113" y="789"/>
                      <a:pt x="11" y="676"/>
                      <a:pt x="0" y="563"/>
                    </a:cubicBezTo>
                    <a:cubicBezTo>
                      <a:pt x="0" y="462"/>
                      <a:pt x="90" y="349"/>
                      <a:pt x="282" y="248"/>
                    </a:cubicBezTo>
                    <a:lnTo>
                      <a:pt x="57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6"/>
                      <a:pt x="1014" y="34"/>
                      <a:pt x="1228" y="56"/>
                    </a:cubicBezTo>
                    <a:cubicBezTo>
                      <a:pt x="1442" y="79"/>
                      <a:pt x="1645" y="147"/>
                      <a:pt x="1847" y="259"/>
                    </a:cubicBezTo>
                    <a:cubicBezTo>
                      <a:pt x="1870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3" name="Google Shape;463;p29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lnTo>
                      <a:pt x="5982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4" name="Google Shape;464;p29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5" name="Google Shape;465;p29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fill="none" extrusionOk="0">
                    <a:moveTo>
                      <a:pt x="5982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6" name="Google Shape;466;p29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7" name="Google Shape;467;p29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8" name="Google Shape;468;p29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9" name="Google Shape;469;p29"/>
              <p:cNvSpPr/>
              <p:nvPr/>
            </p:nvSpPr>
            <p:spPr>
              <a:xfrm>
                <a:off x="3781826" y="111936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cubicBezTo>
                      <a:pt x="1" y="1003"/>
                      <a:pt x="1" y="981"/>
                      <a:pt x="1" y="947"/>
                    </a:cubicBez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0" name="Google Shape;470;p29"/>
              <p:cNvSpPr/>
              <p:nvPr/>
            </p:nvSpPr>
            <p:spPr>
              <a:xfrm>
                <a:off x="3805825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1" name="Google Shape;471;p29"/>
              <p:cNvSpPr/>
              <p:nvPr/>
            </p:nvSpPr>
            <p:spPr>
              <a:xfrm>
                <a:off x="3828637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2" name="Google Shape;472;p29"/>
              <p:cNvSpPr/>
              <p:nvPr/>
            </p:nvSpPr>
            <p:spPr>
              <a:xfrm>
                <a:off x="3849912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3" name="Google Shape;473;p29"/>
              <p:cNvSpPr/>
              <p:nvPr/>
            </p:nvSpPr>
            <p:spPr>
              <a:xfrm>
                <a:off x="3868008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4" name="Google Shape;474;p29"/>
              <p:cNvSpPr/>
              <p:nvPr/>
            </p:nvSpPr>
            <p:spPr>
              <a:xfrm>
                <a:off x="3884147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5" name="Google Shape;475;p29"/>
              <p:cNvSpPr/>
              <p:nvPr/>
            </p:nvSpPr>
            <p:spPr>
              <a:xfrm>
                <a:off x="3757023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6" name="Google Shape;476;p29"/>
              <p:cNvSpPr/>
              <p:nvPr/>
            </p:nvSpPr>
            <p:spPr>
              <a:xfrm>
                <a:off x="3734211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7" name="Google Shape;477;p29"/>
              <p:cNvSpPr/>
              <p:nvPr/>
            </p:nvSpPr>
            <p:spPr>
              <a:xfrm>
                <a:off x="3712971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8" name="Google Shape;478;p29"/>
              <p:cNvSpPr/>
              <p:nvPr/>
            </p:nvSpPr>
            <p:spPr>
              <a:xfrm>
                <a:off x="3694876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9" name="Google Shape;479;p29"/>
              <p:cNvSpPr/>
              <p:nvPr/>
            </p:nvSpPr>
            <p:spPr>
              <a:xfrm>
                <a:off x="3678736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0" name="Google Shape;480;p29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11" y="2647"/>
                      <a:pt x="4911" y="1701"/>
                    </a:cubicBezTo>
                    <a:cubicBezTo>
                      <a:pt x="4911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1" name="Google Shape;481;p29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fill="none" extrusionOk="0">
                    <a:moveTo>
                      <a:pt x="4911" y="1701"/>
                    </a:moveTo>
                    <a:cubicBezTo>
                      <a:pt x="4911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11" y="766"/>
                      <a:pt x="4911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2" name="Google Shape;482;p29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9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1"/>
                    </a:cubicBezTo>
                    <a:cubicBezTo>
                      <a:pt x="462" y="969"/>
                      <a:pt x="608" y="1026"/>
                      <a:pt x="777" y="1071"/>
                    </a:cubicBezTo>
                    <a:cubicBezTo>
                      <a:pt x="935" y="1105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5"/>
                      <a:pt x="2523" y="1251"/>
                      <a:pt x="2681" y="1330"/>
                    </a:cubicBezTo>
                    <a:cubicBezTo>
                      <a:pt x="2737" y="1364"/>
                      <a:pt x="2771" y="1397"/>
                      <a:pt x="2782" y="1420"/>
                    </a:cubicBezTo>
                    <a:cubicBezTo>
                      <a:pt x="2793" y="1454"/>
                      <a:pt x="2782" y="1465"/>
                      <a:pt x="2737" y="1488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8"/>
                    </a:cubicBezTo>
                    <a:cubicBezTo>
                      <a:pt x="2512" y="1476"/>
                      <a:pt x="2399" y="1409"/>
                      <a:pt x="2208" y="1307"/>
                    </a:cubicBezTo>
                    <a:lnTo>
                      <a:pt x="2050" y="1217"/>
                    </a:lnTo>
                    <a:lnTo>
                      <a:pt x="1408" y="1488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3" y="1834"/>
                      <a:pt x="2884" y="1809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3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7"/>
                      <a:pt x="2715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4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32"/>
                      <a:pt x="879" y="564"/>
                    </a:cubicBezTo>
                    <a:cubicBezTo>
                      <a:pt x="822" y="530"/>
                      <a:pt x="777" y="508"/>
                      <a:pt x="766" y="474"/>
                    </a:cubicBezTo>
                    <a:cubicBezTo>
                      <a:pt x="755" y="451"/>
                      <a:pt x="766" y="429"/>
                      <a:pt x="811" y="418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2"/>
                      <a:pt x="958" y="406"/>
                    </a:cubicBezTo>
                    <a:cubicBezTo>
                      <a:pt x="1014" y="418"/>
                      <a:pt x="1093" y="463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70" y="271"/>
                      <a:pt x="1847" y="249"/>
                    </a:cubicBezTo>
                    <a:cubicBezTo>
                      <a:pt x="1645" y="147"/>
                      <a:pt x="1442" y="80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2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3" name="Google Shape;483;p29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3"/>
                      <a:pt x="1014" y="418"/>
                      <a:pt x="958" y="406"/>
                    </a:cubicBezTo>
                    <a:cubicBezTo>
                      <a:pt x="901" y="395"/>
                      <a:pt x="856" y="395"/>
                      <a:pt x="811" y="418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508"/>
                      <a:pt x="822" y="530"/>
                      <a:pt x="879" y="564"/>
                    </a:cubicBezTo>
                    <a:cubicBezTo>
                      <a:pt x="991" y="632"/>
                      <a:pt x="1081" y="665"/>
                      <a:pt x="1160" y="665"/>
                    </a:cubicBezTo>
                    <a:cubicBezTo>
                      <a:pt x="1250" y="677"/>
                      <a:pt x="1442" y="677"/>
                      <a:pt x="1757" y="665"/>
                    </a:cubicBezTo>
                    <a:cubicBezTo>
                      <a:pt x="2028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7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3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48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88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9"/>
                      <a:pt x="2512" y="1476"/>
                      <a:pt x="2568" y="1488"/>
                    </a:cubicBezTo>
                    <a:cubicBezTo>
                      <a:pt x="2625" y="1510"/>
                      <a:pt x="2681" y="1510"/>
                      <a:pt x="2737" y="1488"/>
                    </a:cubicBezTo>
                    <a:cubicBezTo>
                      <a:pt x="2782" y="1465"/>
                      <a:pt x="2793" y="1454"/>
                      <a:pt x="2782" y="1420"/>
                    </a:cubicBezTo>
                    <a:cubicBezTo>
                      <a:pt x="2771" y="1397"/>
                      <a:pt x="2737" y="1364"/>
                      <a:pt x="2681" y="1330"/>
                    </a:cubicBezTo>
                    <a:cubicBezTo>
                      <a:pt x="2523" y="1251"/>
                      <a:pt x="2411" y="1195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5"/>
                      <a:pt x="777" y="1071"/>
                    </a:cubicBezTo>
                    <a:cubicBezTo>
                      <a:pt x="608" y="1026"/>
                      <a:pt x="462" y="969"/>
                      <a:pt x="316" y="891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9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5" y="147"/>
                      <a:pt x="1847" y="249"/>
                    </a:cubicBezTo>
                    <a:cubicBezTo>
                      <a:pt x="1870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4" name="Google Shape;484;p29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74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5" name="Google Shape;485;p29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6" name="Google Shape;486;p29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74"/>
                      <a:pt x="4393" y="1"/>
                      <a:pt x="3188" y="1"/>
                    </a:cubicBez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7" name="Google Shape;487;p29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4"/>
                      <a:pt x="4945" y="4405"/>
                      <a:pt x="3188" y="4405"/>
                    </a:cubicBezTo>
                    <a:cubicBezTo>
                      <a:pt x="1431" y="4405"/>
                      <a:pt x="0" y="3414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8" name="Google Shape;488;p29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2"/>
                      <a:pt x="0" y="2208"/>
                    </a:cubicBezTo>
                    <a:cubicBezTo>
                      <a:pt x="0" y="3424"/>
                      <a:pt x="1431" y="4404"/>
                      <a:pt x="3188" y="4404"/>
                    </a:cubicBezTo>
                    <a:cubicBezTo>
                      <a:pt x="4945" y="4404"/>
                      <a:pt x="6364" y="3424"/>
                      <a:pt x="6364" y="2208"/>
                    </a:cubicBezTo>
                    <a:cubicBezTo>
                      <a:pt x="6364" y="992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9" name="Google Shape;489;p29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4"/>
                      <a:pt x="4945" y="4404"/>
                      <a:pt x="3188" y="4404"/>
                    </a:cubicBezTo>
                    <a:cubicBezTo>
                      <a:pt x="1431" y="4404"/>
                      <a:pt x="0" y="3424"/>
                      <a:pt x="0" y="2208"/>
                    </a:cubicBezTo>
                    <a:cubicBezTo>
                      <a:pt x="0" y="992"/>
                      <a:pt x="1431" y="0"/>
                      <a:pt x="3188" y="0"/>
                    </a:cubicBezTo>
                    <a:cubicBezTo>
                      <a:pt x="4945" y="0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0" name="Google Shape;490;p29"/>
              <p:cNvSpPr/>
              <p:nvPr/>
            </p:nvSpPr>
            <p:spPr>
              <a:xfrm>
                <a:off x="3958905" y="1358203"/>
                <a:ext cx="419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11" y="958"/>
                    </a:cubicBezTo>
                    <a:lnTo>
                      <a:pt x="1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1" name="Google Shape;491;p29"/>
              <p:cNvSpPr/>
              <p:nvPr/>
            </p:nvSpPr>
            <p:spPr>
              <a:xfrm>
                <a:off x="3983289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2" name="Google Shape;492;p29"/>
              <p:cNvSpPr/>
              <p:nvPr/>
            </p:nvSpPr>
            <p:spPr>
              <a:xfrm>
                <a:off x="400610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3" name="Google Shape;493;p29"/>
              <p:cNvSpPr/>
              <p:nvPr/>
            </p:nvSpPr>
            <p:spPr>
              <a:xfrm>
                <a:off x="4027341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4" name="Google Shape;494;p29"/>
              <p:cNvSpPr/>
              <p:nvPr/>
            </p:nvSpPr>
            <p:spPr>
              <a:xfrm>
                <a:off x="4045052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5" name="Google Shape;495;p29"/>
              <p:cNvSpPr/>
              <p:nvPr/>
            </p:nvSpPr>
            <p:spPr>
              <a:xfrm>
                <a:off x="406157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6" name="Google Shape;496;p29"/>
              <p:cNvSpPr/>
              <p:nvPr/>
            </p:nvSpPr>
            <p:spPr>
              <a:xfrm>
                <a:off x="3934487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7" name="Google Shape;497;p29"/>
              <p:cNvSpPr/>
              <p:nvPr/>
            </p:nvSpPr>
            <p:spPr>
              <a:xfrm>
                <a:off x="391129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8" name="Google Shape;498;p29"/>
              <p:cNvSpPr/>
              <p:nvPr/>
            </p:nvSpPr>
            <p:spPr>
              <a:xfrm>
                <a:off x="3890435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9" name="Google Shape;499;p29"/>
              <p:cNvSpPr/>
              <p:nvPr/>
            </p:nvSpPr>
            <p:spPr>
              <a:xfrm>
                <a:off x="3872339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0" name="Google Shape;500;p29"/>
              <p:cNvSpPr/>
              <p:nvPr/>
            </p:nvSpPr>
            <p:spPr>
              <a:xfrm>
                <a:off x="385581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1" name="Google Shape;501;p29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2" name="Google Shape;502;p29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3" name="Google Shape;503;p29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1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62"/>
                      <a:pt x="12" y="564"/>
                    </a:cubicBezTo>
                    <a:cubicBezTo>
                      <a:pt x="23" y="676"/>
                      <a:pt x="125" y="789"/>
                      <a:pt x="327" y="902"/>
                    </a:cubicBezTo>
                    <a:cubicBezTo>
                      <a:pt x="462" y="980"/>
                      <a:pt x="620" y="1037"/>
                      <a:pt x="778" y="1071"/>
                    </a:cubicBezTo>
                    <a:cubicBezTo>
                      <a:pt x="947" y="1116"/>
                      <a:pt x="1093" y="1138"/>
                      <a:pt x="1217" y="1138"/>
                    </a:cubicBezTo>
                    <a:cubicBezTo>
                      <a:pt x="1285" y="1144"/>
                      <a:pt x="1375" y="1147"/>
                      <a:pt x="1489" y="1147"/>
                    </a:cubicBezTo>
                    <a:cubicBezTo>
                      <a:pt x="1603" y="1147"/>
                      <a:pt x="1741" y="1144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7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408"/>
                      <a:pt x="2794" y="1431"/>
                    </a:cubicBezTo>
                    <a:cubicBezTo>
                      <a:pt x="2805" y="1454"/>
                      <a:pt x="2783" y="1476"/>
                      <a:pt x="2738" y="1499"/>
                    </a:cubicBezTo>
                    <a:cubicBezTo>
                      <a:pt x="2715" y="1510"/>
                      <a:pt x="2690" y="1515"/>
                      <a:pt x="2663" y="1515"/>
                    </a:cubicBezTo>
                    <a:cubicBezTo>
                      <a:pt x="2636" y="1515"/>
                      <a:pt x="2608" y="1510"/>
                      <a:pt x="2580" y="1499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28"/>
                    </a:lnTo>
                    <a:lnTo>
                      <a:pt x="1409" y="1487"/>
                    </a:lnTo>
                    <a:lnTo>
                      <a:pt x="1544" y="1566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31"/>
                      <a:pt x="3571" y="1307"/>
                    </a:cubicBezTo>
                    <a:cubicBezTo>
                      <a:pt x="3549" y="1183"/>
                      <a:pt x="3413" y="1048"/>
                      <a:pt x="3166" y="924"/>
                    </a:cubicBezTo>
                    <a:cubicBezTo>
                      <a:pt x="3019" y="834"/>
                      <a:pt x="2873" y="778"/>
                      <a:pt x="2726" y="733"/>
                    </a:cubicBezTo>
                    <a:cubicBezTo>
                      <a:pt x="2580" y="699"/>
                      <a:pt x="2456" y="676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454" y="676"/>
                      <a:pt x="1251" y="676"/>
                      <a:pt x="1172" y="676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41"/>
                      <a:pt x="789" y="507"/>
                      <a:pt x="778" y="485"/>
                    </a:cubicBezTo>
                    <a:cubicBezTo>
                      <a:pt x="767" y="451"/>
                      <a:pt x="778" y="440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29"/>
                      <a:pt x="1104" y="462"/>
                      <a:pt x="1217" y="530"/>
                    </a:cubicBezTo>
                    <a:lnTo>
                      <a:pt x="1330" y="598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60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4" name="Google Shape;504;p29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98"/>
                    </a:lnTo>
                    <a:lnTo>
                      <a:pt x="1217" y="530"/>
                    </a:lnTo>
                    <a:cubicBezTo>
                      <a:pt x="1104" y="462"/>
                      <a:pt x="1014" y="429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40"/>
                      <a:pt x="767" y="451"/>
                      <a:pt x="778" y="485"/>
                    </a:cubicBezTo>
                    <a:cubicBezTo>
                      <a:pt x="789" y="507"/>
                      <a:pt x="823" y="541"/>
                      <a:pt x="890" y="575"/>
                    </a:cubicBezTo>
                    <a:cubicBezTo>
                      <a:pt x="992" y="631"/>
                      <a:pt x="1093" y="665"/>
                      <a:pt x="1172" y="676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76"/>
                      <a:pt x="2580" y="699"/>
                      <a:pt x="2726" y="733"/>
                    </a:cubicBezTo>
                    <a:cubicBezTo>
                      <a:pt x="2873" y="778"/>
                      <a:pt x="3019" y="834"/>
                      <a:pt x="3166" y="924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31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66"/>
                    </a:cubicBezTo>
                    <a:lnTo>
                      <a:pt x="1409" y="1487"/>
                    </a:lnTo>
                    <a:lnTo>
                      <a:pt x="2051" y="1228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9"/>
                    </a:cubicBezTo>
                    <a:cubicBezTo>
                      <a:pt x="2636" y="1521"/>
                      <a:pt x="2693" y="1521"/>
                      <a:pt x="2738" y="1499"/>
                    </a:cubicBezTo>
                    <a:cubicBezTo>
                      <a:pt x="2783" y="1476"/>
                      <a:pt x="2805" y="1454"/>
                      <a:pt x="2794" y="1431"/>
                    </a:cubicBezTo>
                    <a:cubicBezTo>
                      <a:pt x="2783" y="1408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49"/>
                      <a:pt x="1352" y="1149"/>
                      <a:pt x="1217" y="1138"/>
                    </a:cubicBezTo>
                    <a:cubicBezTo>
                      <a:pt x="1093" y="1138"/>
                      <a:pt x="947" y="1116"/>
                      <a:pt x="778" y="1071"/>
                    </a:cubicBezTo>
                    <a:cubicBezTo>
                      <a:pt x="620" y="1037"/>
                      <a:pt x="462" y="980"/>
                      <a:pt x="327" y="902"/>
                    </a:cubicBezTo>
                    <a:cubicBezTo>
                      <a:pt x="125" y="789"/>
                      <a:pt x="23" y="676"/>
                      <a:pt x="12" y="564"/>
                    </a:cubicBezTo>
                    <a:cubicBezTo>
                      <a:pt x="1" y="462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1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60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5" name="Google Shape;505;p29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62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6" name="Google Shape;506;p29"/>
              <p:cNvSpPr/>
              <p:nvPr/>
            </p:nvSpPr>
            <p:spPr>
              <a:xfrm>
                <a:off x="3849895" y="117821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7" name="Google Shape;507;p29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62"/>
                      <a:pt x="4393" y="1"/>
                      <a:pt x="3188" y="1"/>
                    </a:cubicBez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8" name="Google Shape;508;p29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45" y="4405"/>
                      <a:pt x="3188" y="4405"/>
                    </a:cubicBezTo>
                    <a:cubicBezTo>
                      <a:pt x="1431" y="4405"/>
                      <a:pt x="0" y="3413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9" name="Google Shape;509;p29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1"/>
                      <a:pt x="0" y="2208"/>
                    </a:cubicBezTo>
                    <a:cubicBezTo>
                      <a:pt x="0" y="3413"/>
                      <a:pt x="1431" y="4404"/>
                      <a:pt x="3188" y="4404"/>
                    </a:cubicBezTo>
                    <a:cubicBezTo>
                      <a:pt x="4945" y="4404"/>
                      <a:pt x="6364" y="3413"/>
                      <a:pt x="6364" y="2208"/>
                    </a:cubicBezTo>
                    <a:cubicBezTo>
                      <a:pt x="6364" y="991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0" name="Google Shape;510;p29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13"/>
                      <a:pt x="4945" y="4404"/>
                      <a:pt x="3188" y="4404"/>
                    </a:cubicBezTo>
                    <a:cubicBezTo>
                      <a:pt x="1431" y="4404"/>
                      <a:pt x="0" y="3413"/>
                      <a:pt x="0" y="2208"/>
                    </a:cubicBezTo>
                    <a:cubicBezTo>
                      <a:pt x="0" y="991"/>
                      <a:pt x="1431" y="0"/>
                      <a:pt x="3188" y="0"/>
                    </a:cubicBezTo>
                    <a:cubicBezTo>
                      <a:pt x="4945" y="0"/>
                      <a:pt x="6364" y="991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1" name="Google Shape;511;p29"/>
              <p:cNvSpPr/>
              <p:nvPr/>
            </p:nvSpPr>
            <p:spPr>
              <a:xfrm>
                <a:off x="3958905" y="1295252"/>
                <a:ext cx="419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26" fill="none" extrusionOk="0">
                    <a:moveTo>
                      <a:pt x="0" y="1025"/>
                    </a:moveTo>
                    <a:cubicBezTo>
                      <a:pt x="0" y="1003"/>
                      <a:pt x="0" y="980"/>
                      <a:pt x="11" y="947"/>
                    </a:cubicBezTo>
                    <a:lnTo>
                      <a:pt x="1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2" name="Google Shape;512;p29"/>
              <p:cNvSpPr/>
              <p:nvPr/>
            </p:nvSpPr>
            <p:spPr>
              <a:xfrm>
                <a:off x="3983289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3" name="Google Shape;513;p29"/>
              <p:cNvSpPr/>
              <p:nvPr/>
            </p:nvSpPr>
            <p:spPr>
              <a:xfrm>
                <a:off x="400610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4" name="Google Shape;514;p29"/>
              <p:cNvSpPr/>
              <p:nvPr/>
            </p:nvSpPr>
            <p:spPr>
              <a:xfrm>
                <a:off x="4027341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5" name="Google Shape;515;p29"/>
              <p:cNvSpPr/>
              <p:nvPr/>
            </p:nvSpPr>
            <p:spPr>
              <a:xfrm>
                <a:off x="4045052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7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6" name="Google Shape;516;p29"/>
              <p:cNvSpPr/>
              <p:nvPr/>
            </p:nvSpPr>
            <p:spPr>
              <a:xfrm>
                <a:off x="406157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7" name="Google Shape;517;p29"/>
              <p:cNvSpPr/>
              <p:nvPr/>
            </p:nvSpPr>
            <p:spPr>
              <a:xfrm>
                <a:off x="3934487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8" name="Google Shape;518;p29"/>
              <p:cNvSpPr/>
              <p:nvPr/>
            </p:nvSpPr>
            <p:spPr>
              <a:xfrm>
                <a:off x="391129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9" name="Google Shape;519;p29"/>
              <p:cNvSpPr/>
              <p:nvPr/>
            </p:nvSpPr>
            <p:spPr>
              <a:xfrm>
                <a:off x="3890435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0" name="Google Shape;520;p29"/>
              <p:cNvSpPr/>
              <p:nvPr/>
            </p:nvSpPr>
            <p:spPr>
              <a:xfrm>
                <a:off x="3872339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1" name="Google Shape;521;p29"/>
              <p:cNvSpPr/>
              <p:nvPr/>
            </p:nvSpPr>
            <p:spPr>
              <a:xfrm>
                <a:off x="385581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2" name="Google Shape;522;p29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3" name="Google Shape;523;p29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4" name="Google Shape;524;p29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51"/>
                      <a:pt x="12" y="564"/>
                    </a:cubicBezTo>
                    <a:cubicBezTo>
                      <a:pt x="23" y="676"/>
                      <a:pt x="125" y="778"/>
                      <a:pt x="327" y="890"/>
                    </a:cubicBezTo>
                    <a:cubicBezTo>
                      <a:pt x="462" y="969"/>
                      <a:pt x="620" y="1037"/>
                      <a:pt x="778" y="1070"/>
                    </a:cubicBezTo>
                    <a:cubicBezTo>
                      <a:pt x="947" y="1115"/>
                      <a:pt x="1093" y="1138"/>
                      <a:pt x="1217" y="1138"/>
                    </a:cubicBezTo>
                    <a:cubicBezTo>
                      <a:pt x="1262" y="1142"/>
                      <a:pt x="1317" y="1143"/>
                      <a:pt x="1383" y="1143"/>
                    </a:cubicBezTo>
                    <a:cubicBezTo>
                      <a:pt x="1514" y="1143"/>
                      <a:pt x="1686" y="1138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6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397"/>
                      <a:pt x="2794" y="1431"/>
                    </a:cubicBezTo>
                    <a:cubicBezTo>
                      <a:pt x="2805" y="1453"/>
                      <a:pt x="2783" y="1476"/>
                      <a:pt x="2738" y="1487"/>
                    </a:cubicBezTo>
                    <a:cubicBezTo>
                      <a:pt x="2711" y="1500"/>
                      <a:pt x="2681" y="1506"/>
                      <a:pt x="2649" y="1506"/>
                    </a:cubicBezTo>
                    <a:cubicBezTo>
                      <a:pt x="2627" y="1506"/>
                      <a:pt x="2603" y="1503"/>
                      <a:pt x="2580" y="1498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17"/>
                    </a:lnTo>
                    <a:lnTo>
                      <a:pt x="1409" y="1487"/>
                    </a:lnTo>
                    <a:lnTo>
                      <a:pt x="1544" y="1555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20"/>
                      <a:pt x="3571" y="1307"/>
                    </a:cubicBezTo>
                    <a:cubicBezTo>
                      <a:pt x="3549" y="1183"/>
                      <a:pt x="3413" y="1048"/>
                      <a:pt x="3166" y="913"/>
                    </a:cubicBezTo>
                    <a:cubicBezTo>
                      <a:pt x="3019" y="834"/>
                      <a:pt x="2873" y="766"/>
                      <a:pt x="2726" y="733"/>
                    </a:cubicBezTo>
                    <a:cubicBezTo>
                      <a:pt x="2580" y="687"/>
                      <a:pt x="2456" y="665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611" y="671"/>
                      <a:pt x="1482" y="673"/>
                      <a:pt x="1382" y="673"/>
                    </a:cubicBezTo>
                    <a:cubicBezTo>
                      <a:pt x="1282" y="673"/>
                      <a:pt x="1211" y="671"/>
                      <a:pt x="1172" y="665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30"/>
                      <a:pt x="789" y="507"/>
                      <a:pt x="778" y="473"/>
                    </a:cubicBezTo>
                    <a:cubicBezTo>
                      <a:pt x="767" y="451"/>
                      <a:pt x="778" y="428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17"/>
                      <a:pt x="1104" y="462"/>
                      <a:pt x="1217" y="530"/>
                    </a:cubicBezTo>
                    <a:lnTo>
                      <a:pt x="1330" y="586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59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5" name="Google Shape;525;p29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86"/>
                    </a:lnTo>
                    <a:lnTo>
                      <a:pt x="1217" y="530"/>
                    </a:lnTo>
                    <a:cubicBezTo>
                      <a:pt x="1104" y="462"/>
                      <a:pt x="1014" y="417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28"/>
                      <a:pt x="767" y="451"/>
                      <a:pt x="778" y="473"/>
                    </a:cubicBezTo>
                    <a:cubicBezTo>
                      <a:pt x="789" y="507"/>
                      <a:pt x="823" y="530"/>
                      <a:pt x="890" y="575"/>
                    </a:cubicBezTo>
                    <a:cubicBezTo>
                      <a:pt x="992" y="631"/>
                      <a:pt x="1093" y="665"/>
                      <a:pt x="1172" y="665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65"/>
                      <a:pt x="2580" y="687"/>
                      <a:pt x="2726" y="733"/>
                    </a:cubicBezTo>
                    <a:cubicBezTo>
                      <a:pt x="2873" y="766"/>
                      <a:pt x="3019" y="834"/>
                      <a:pt x="3166" y="913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20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55"/>
                    </a:cubicBezTo>
                    <a:lnTo>
                      <a:pt x="1409" y="1487"/>
                    </a:lnTo>
                    <a:lnTo>
                      <a:pt x="2051" y="1217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8"/>
                    </a:cubicBezTo>
                    <a:cubicBezTo>
                      <a:pt x="2636" y="1510"/>
                      <a:pt x="2693" y="1510"/>
                      <a:pt x="2738" y="1487"/>
                    </a:cubicBezTo>
                    <a:cubicBezTo>
                      <a:pt x="2783" y="1476"/>
                      <a:pt x="2805" y="1453"/>
                      <a:pt x="2794" y="1431"/>
                    </a:cubicBezTo>
                    <a:cubicBezTo>
                      <a:pt x="2783" y="1397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38"/>
                      <a:pt x="1352" y="1149"/>
                      <a:pt x="1217" y="1138"/>
                    </a:cubicBezTo>
                    <a:cubicBezTo>
                      <a:pt x="1093" y="1138"/>
                      <a:pt x="947" y="1115"/>
                      <a:pt x="778" y="1070"/>
                    </a:cubicBezTo>
                    <a:cubicBezTo>
                      <a:pt x="620" y="1037"/>
                      <a:pt x="462" y="969"/>
                      <a:pt x="327" y="890"/>
                    </a:cubicBezTo>
                    <a:cubicBezTo>
                      <a:pt x="125" y="778"/>
                      <a:pt x="23" y="676"/>
                      <a:pt x="12" y="564"/>
                    </a:cubicBezTo>
                    <a:cubicBezTo>
                      <a:pt x="1" y="451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59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solidFill>
                <a:schemeClr val="dk2"/>
              </a:solidFill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526" name="Google Shape;526;p29"/>
            <p:cNvSpPr/>
            <p:nvPr/>
          </p:nvSpPr>
          <p:spPr>
            <a:xfrm>
              <a:off x="3794477" y="28759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9"/>
            <p:cNvSpPr/>
            <p:nvPr/>
          </p:nvSpPr>
          <p:spPr>
            <a:xfrm>
              <a:off x="3817289" y="28245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" name="Google Shape;528;p29"/>
            <p:cNvSpPr/>
            <p:nvPr/>
          </p:nvSpPr>
          <p:spPr>
            <a:xfrm>
              <a:off x="3838529" y="27379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" name="Google Shape;529;p29"/>
            <p:cNvSpPr/>
            <p:nvPr/>
          </p:nvSpPr>
          <p:spPr>
            <a:xfrm>
              <a:off x="3856660" y="26160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9"/>
            <p:cNvSpPr/>
            <p:nvPr/>
          </p:nvSpPr>
          <p:spPr>
            <a:xfrm>
              <a:off x="3873183" y="241548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9"/>
            <p:cNvSpPr/>
            <p:nvPr/>
          </p:nvSpPr>
          <p:spPr>
            <a:xfrm>
              <a:off x="3794477" y="224640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9"/>
            <p:cNvSpPr/>
            <p:nvPr/>
          </p:nvSpPr>
          <p:spPr>
            <a:xfrm>
              <a:off x="3817289" y="219504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9"/>
            <p:cNvSpPr/>
            <p:nvPr/>
          </p:nvSpPr>
          <p:spPr>
            <a:xfrm>
              <a:off x="3838529" y="21084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" name="Google Shape;534;p29"/>
            <p:cNvSpPr/>
            <p:nvPr/>
          </p:nvSpPr>
          <p:spPr>
            <a:xfrm>
              <a:off x="3856660" y="19864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" name="Google Shape;535;p29"/>
            <p:cNvSpPr/>
            <p:nvPr/>
          </p:nvSpPr>
          <p:spPr>
            <a:xfrm>
              <a:off x="3873183" y="17859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" name="Google Shape;536;p29"/>
            <p:cNvSpPr/>
            <p:nvPr/>
          </p:nvSpPr>
          <p:spPr>
            <a:xfrm>
              <a:off x="3794477" y="160885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" name="Google Shape;537;p29"/>
            <p:cNvSpPr/>
            <p:nvPr/>
          </p:nvSpPr>
          <p:spPr>
            <a:xfrm>
              <a:off x="3817289" y="155750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5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" name="Google Shape;538;p29"/>
            <p:cNvSpPr/>
            <p:nvPr/>
          </p:nvSpPr>
          <p:spPr>
            <a:xfrm>
              <a:off x="3838529" y="14712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" name="Google Shape;539;p29"/>
            <p:cNvSpPr/>
            <p:nvPr/>
          </p:nvSpPr>
          <p:spPr>
            <a:xfrm>
              <a:off x="3856660" y="13489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" name="Google Shape;540;p29"/>
            <p:cNvSpPr/>
            <p:nvPr/>
          </p:nvSpPr>
          <p:spPr>
            <a:xfrm>
              <a:off x="3873183" y="11484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41" name="Google Shape;541;p29"/>
          <p:cNvGrpSpPr/>
          <p:nvPr/>
        </p:nvGrpSpPr>
        <p:grpSpPr>
          <a:xfrm>
            <a:off x="7863914" y="2211278"/>
            <a:ext cx="1133720" cy="1133717"/>
            <a:chOff x="10173800" y="2018150"/>
            <a:chExt cx="1448103" cy="1448100"/>
          </a:xfrm>
        </p:grpSpPr>
        <p:sp>
          <p:nvSpPr>
            <p:cNvPr id="542" name="Google Shape;542;p29"/>
            <p:cNvSpPr/>
            <p:nvPr/>
          </p:nvSpPr>
          <p:spPr>
            <a:xfrm>
              <a:off x="10173800" y="2018150"/>
              <a:ext cx="1448100" cy="1448100"/>
            </a:xfrm>
            <a:prstGeom prst="donut">
              <a:avLst>
                <a:gd name="adj" fmla="val 20968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" name="Google Shape;543;p29"/>
            <p:cNvSpPr/>
            <p:nvPr/>
          </p:nvSpPr>
          <p:spPr>
            <a:xfrm flipH="1">
              <a:off x="10173803" y="2018150"/>
              <a:ext cx="1448100" cy="1448100"/>
            </a:xfrm>
            <a:prstGeom prst="blockArc">
              <a:avLst>
                <a:gd name="adj1" fmla="val 10800000"/>
                <a:gd name="adj2" fmla="val 16161326"/>
                <a:gd name="adj3" fmla="val 20401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44" name="Google Shape;544;p29"/>
          <p:cNvGrpSpPr/>
          <p:nvPr/>
        </p:nvGrpSpPr>
        <p:grpSpPr>
          <a:xfrm>
            <a:off x="6181405" y="2106726"/>
            <a:ext cx="1539688" cy="1072140"/>
            <a:chOff x="8170979" y="5426997"/>
            <a:chExt cx="1655045" cy="1152467"/>
          </a:xfrm>
        </p:grpSpPr>
        <p:sp>
          <p:nvSpPr>
            <p:cNvPr id="545" name="Google Shape;545;p29"/>
            <p:cNvSpPr/>
            <p:nvPr/>
          </p:nvSpPr>
          <p:spPr>
            <a:xfrm>
              <a:off x="8517927" y="5709142"/>
              <a:ext cx="1305561" cy="870322"/>
            </a:xfrm>
            <a:custGeom>
              <a:avLst/>
              <a:gdLst/>
              <a:ahLst/>
              <a:cxnLst/>
              <a:rect l="l" t="t" r="r" b="b"/>
              <a:pathLst>
                <a:path w="16660" h="11106" extrusionOk="0">
                  <a:moveTo>
                    <a:pt x="6184" y="0"/>
                  </a:moveTo>
                  <a:lnTo>
                    <a:pt x="1" y="3751"/>
                  </a:lnTo>
                  <a:lnTo>
                    <a:pt x="12" y="3751"/>
                  </a:lnTo>
                  <a:lnTo>
                    <a:pt x="1" y="3762"/>
                  </a:lnTo>
                  <a:lnTo>
                    <a:pt x="12" y="4911"/>
                  </a:lnTo>
                  <a:lnTo>
                    <a:pt x="12" y="5125"/>
                  </a:lnTo>
                  <a:lnTo>
                    <a:pt x="10498" y="11106"/>
                  </a:lnTo>
                  <a:lnTo>
                    <a:pt x="10476" y="10892"/>
                  </a:lnTo>
                  <a:lnTo>
                    <a:pt x="10509" y="11106"/>
                  </a:lnTo>
                  <a:lnTo>
                    <a:pt x="10521" y="11095"/>
                  </a:lnTo>
                  <a:lnTo>
                    <a:pt x="10532" y="11095"/>
                  </a:lnTo>
                  <a:lnTo>
                    <a:pt x="16659" y="7400"/>
                  </a:lnTo>
                  <a:lnTo>
                    <a:pt x="16659" y="7153"/>
                  </a:lnTo>
                  <a:lnTo>
                    <a:pt x="16648" y="6004"/>
                  </a:lnTo>
                  <a:lnTo>
                    <a:pt x="16637" y="6004"/>
                  </a:lnTo>
                  <a:lnTo>
                    <a:pt x="16648" y="5992"/>
                  </a:lnTo>
                  <a:lnTo>
                    <a:pt x="6184" y="0"/>
                  </a:lnTo>
                  <a:close/>
                </a:path>
              </a:pathLst>
            </a:cu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546" name="Google Shape;546;p29"/>
            <p:cNvGrpSpPr/>
            <p:nvPr/>
          </p:nvGrpSpPr>
          <p:grpSpPr>
            <a:xfrm>
              <a:off x="8170979" y="5426997"/>
              <a:ext cx="1655045" cy="1053052"/>
              <a:chOff x="435829" y="5645509"/>
              <a:chExt cx="1655045" cy="1053052"/>
            </a:xfrm>
          </p:grpSpPr>
          <p:sp>
            <p:nvSpPr>
              <p:cNvPr id="547" name="Google Shape;547;p29"/>
              <p:cNvSpPr/>
              <p:nvPr/>
            </p:nvSpPr>
            <p:spPr>
              <a:xfrm>
                <a:off x="435829" y="5707259"/>
                <a:ext cx="739766" cy="496364"/>
              </a:xfrm>
              <a:custGeom>
                <a:avLst/>
                <a:gdLst/>
                <a:ahLst/>
                <a:cxnLst/>
                <a:rect l="l" t="t" r="r" b="b"/>
                <a:pathLst>
                  <a:path w="9440" h="6334" extrusionOk="0">
                    <a:moveTo>
                      <a:pt x="8380" y="1"/>
                    </a:moveTo>
                    <a:cubicBezTo>
                      <a:pt x="8279" y="1"/>
                      <a:pt x="8178" y="12"/>
                      <a:pt x="8099" y="68"/>
                    </a:cubicBezTo>
                    <a:lnTo>
                      <a:pt x="7795" y="226"/>
                    </a:lnTo>
                    <a:cubicBezTo>
                      <a:pt x="7783" y="226"/>
                      <a:pt x="7783" y="237"/>
                      <a:pt x="7772" y="237"/>
                    </a:cubicBezTo>
                    <a:cubicBezTo>
                      <a:pt x="7738" y="260"/>
                      <a:pt x="7705" y="271"/>
                      <a:pt x="7693" y="293"/>
                    </a:cubicBezTo>
                    <a:lnTo>
                      <a:pt x="1825" y="3841"/>
                    </a:lnTo>
                    <a:cubicBezTo>
                      <a:pt x="1814" y="3841"/>
                      <a:pt x="1803" y="3841"/>
                      <a:pt x="1791" y="3853"/>
                    </a:cubicBezTo>
                    <a:lnTo>
                      <a:pt x="1487" y="4010"/>
                    </a:lnTo>
                    <a:cubicBezTo>
                      <a:pt x="1465" y="4022"/>
                      <a:pt x="1442" y="4044"/>
                      <a:pt x="1420" y="4055"/>
                    </a:cubicBezTo>
                    <a:cubicBezTo>
                      <a:pt x="1408" y="4067"/>
                      <a:pt x="1386" y="4089"/>
                      <a:pt x="1363" y="4112"/>
                    </a:cubicBezTo>
                    <a:cubicBezTo>
                      <a:pt x="1329" y="4145"/>
                      <a:pt x="1296" y="4191"/>
                      <a:pt x="1273" y="4236"/>
                    </a:cubicBezTo>
                    <a:lnTo>
                      <a:pt x="102" y="5857"/>
                    </a:lnTo>
                    <a:cubicBezTo>
                      <a:pt x="23" y="5914"/>
                      <a:pt x="0" y="6049"/>
                      <a:pt x="68" y="6173"/>
                    </a:cubicBezTo>
                    <a:cubicBezTo>
                      <a:pt x="121" y="6271"/>
                      <a:pt x="210" y="6333"/>
                      <a:pt x="289" y="6333"/>
                    </a:cubicBezTo>
                    <a:cubicBezTo>
                      <a:pt x="310" y="6333"/>
                      <a:pt x="331" y="6329"/>
                      <a:pt x="350" y="6319"/>
                    </a:cubicBezTo>
                    <a:cubicBezTo>
                      <a:pt x="350" y="6319"/>
                      <a:pt x="361" y="6308"/>
                      <a:pt x="361" y="6308"/>
                    </a:cubicBezTo>
                    <a:cubicBezTo>
                      <a:pt x="361" y="6308"/>
                      <a:pt x="372" y="6308"/>
                      <a:pt x="383" y="6297"/>
                    </a:cubicBezTo>
                    <a:cubicBezTo>
                      <a:pt x="395" y="6297"/>
                      <a:pt x="2095" y="5936"/>
                      <a:pt x="2095" y="5936"/>
                    </a:cubicBezTo>
                    <a:cubicBezTo>
                      <a:pt x="2490" y="5857"/>
                      <a:pt x="2332" y="5914"/>
                      <a:pt x="2478" y="5846"/>
                    </a:cubicBezTo>
                    <a:cubicBezTo>
                      <a:pt x="2501" y="5835"/>
                      <a:pt x="2523" y="5812"/>
                      <a:pt x="2546" y="5801"/>
                    </a:cubicBezTo>
                    <a:lnTo>
                      <a:pt x="2749" y="5689"/>
                    </a:lnTo>
                    <a:cubicBezTo>
                      <a:pt x="2760" y="5689"/>
                      <a:pt x="2771" y="5689"/>
                      <a:pt x="2782" y="5677"/>
                    </a:cubicBezTo>
                    <a:lnTo>
                      <a:pt x="8786" y="2050"/>
                    </a:lnTo>
                    <a:cubicBezTo>
                      <a:pt x="8842" y="2028"/>
                      <a:pt x="8887" y="2005"/>
                      <a:pt x="8932" y="1972"/>
                    </a:cubicBezTo>
                    <a:lnTo>
                      <a:pt x="9056" y="1904"/>
                    </a:lnTo>
                    <a:cubicBezTo>
                      <a:pt x="9067" y="1904"/>
                      <a:pt x="9079" y="1893"/>
                      <a:pt x="9079" y="1893"/>
                    </a:cubicBezTo>
                    <a:cubicBezTo>
                      <a:pt x="9169" y="1848"/>
                      <a:pt x="9236" y="1769"/>
                      <a:pt x="9293" y="1690"/>
                    </a:cubicBezTo>
                    <a:cubicBezTo>
                      <a:pt x="9439" y="1420"/>
                      <a:pt x="9428" y="1014"/>
                      <a:pt x="9225" y="631"/>
                    </a:cubicBezTo>
                    <a:cubicBezTo>
                      <a:pt x="9011" y="260"/>
                      <a:pt x="8684" y="23"/>
                      <a:pt x="8380" y="1"/>
                    </a:cubicBezTo>
                    <a:close/>
                  </a:path>
                </a:pathLst>
              </a:custGeom>
              <a:solidFill>
                <a:srgbClr val="000000">
                  <a:alpha val="126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548" name="Google Shape;548;p29"/>
              <p:cNvGrpSpPr/>
              <p:nvPr/>
            </p:nvGrpSpPr>
            <p:grpSpPr>
              <a:xfrm>
                <a:off x="459652" y="5645509"/>
                <a:ext cx="1631222" cy="1053052"/>
                <a:chOff x="459652" y="5645509"/>
                <a:chExt cx="1631222" cy="1053052"/>
              </a:xfrm>
            </p:grpSpPr>
            <p:sp>
              <p:nvSpPr>
                <p:cNvPr id="549" name="Google Shape;549;p29"/>
                <p:cNvSpPr/>
                <p:nvPr/>
              </p:nvSpPr>
              <p:spPr>
                <a:xfrm>
                  <a:off x="786192" y="6213874"/>
                  <a:ext cx="821892" cy="4846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88" h="6185" extrusionOk="0">
                      <a:moveTo>
                        <a:pt x="1" y="1"/>
                      </a:moveTo>
                      <a:lnTo>
                        <a:pt x="1" y="215"/>
                      </a:lnTo>
                      <a:lnTo>
                        <a:pt x="10487" y="6184"/>
                      </a:lnTo>
                      <a:lnTo>
                        <a:pt x="10465" y="598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50" name="Google Shape;550;p29"/>
                <p:cNvSpPr/>
                <p:nvPr/>
              </p:nvSpPr>
              <p:spPr>
                <a:xfrm>
                  <a:off x="786192" y="6213874"/>
                  <a:ext cx="821892" cy="4846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88" h="6185" fill="none" extrusionOk="0">
                      <a:moveTo>
                        <a:pt x="10487" y="6184"/>
                      </a:moveTo>
                      <a:lnTo>
                        <a:pt x="10465" y="5981"/>
                      </a:lnTo>
                      <a:lnTo>
                        <a:pt x="1" y="1"/>
                      </a:lnTo>
                      <a:lnTo>
                        <a:pt x="1" y="215"/>
                      </a:lnTo>
                      <a:close/>
                    </a:path>
                  </a:pathLst>
                </a:custGeom>
                <a:noFill/>
                <a:ln w="2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51" name="Google Shape;551;p29"/>
                <p:cNvSpPr/>
                <p:nvPr/>
              </p:nvSpPr>
              <p:spPr>
                <a:xfrm>
                  <a:off x="1606187" y="6389563"/>
                  <a:ext cx="484688" cy="308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5" h="3943" extrusionOk="0">
                      <a:moveTo>
                        <a:pt x="6173" y="0"/>
                      </a:moveTo>
                      <a:lnTo>
                        <a:pt x="1" y="3739"/>
                      </a:lnTo>
                      <a:lnTo>
                        <a:pt x="46" y="3942"/>
                      </a:lnTo>
                      <a:lnTo>
                        <a:pt x="6184" y="248"/>
                      </a:lnTo>
                      <a:lnTo>
                        <a:pt x="6173" y="0"/>
                      </a:lnTo>
                      <a:close/>
                    </a:path>
                  </a:pathLst>
                </a:custGeom>
                <a:solidFill>
                  <a:srgbClr val="4285F7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52" name="Google Shape;552;p29"/>
                <p:cNvSpPr/>
                <p:nvPr/>
              </p:nvSpPr>
              <p:spPr>
                <a:xfrm>
                  <a:off x="1606187" y="6389563"/>
                  <a:ext cx="484688" cy="308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5" h="3943" fill="none" extrusionOk="0">
                      <a:moveTo>
                        <a:pt x="1" y="3739"/>
                      </a:moveTo>
                      <a:lnTo>
                        <a:pt x="6173" y="0"/>
                      </a:lnTo>
                      <a:lnTo>
                        <a:pt x="6184" y="248"/>
                      </a:lnTo>
                      <a:lnTo>
                        <a:pt x="23" y="3942"/>
                      </a:lnTo>
                      <a:close/>
                    </a:path>
                  </a:pathLst>
                </a:custGeom>
                <a:noFill/>
                <a:ln w="2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53" name="Google Shape;553;p29"/>
                <p:cNvSpPr/>
                <p:nvPr/>
              </p:nvSpPr>
              <p:spPr>
                <a:xfrm>
                  <a:off x="786192" y="5920014"/>
                  <a:ext cx="1303759" cy="762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37" h="9732" fill="none" extrusionOk="0">
                      <a:moveTo>
                        <a:pt x="16637" y="5992"/>
                      </a:moveTo>
                      <a:lnTo>
                        <a:pt x="6184" y="0"/>
                      </a:lnTo>
                      <a:lnTo>
                        <a:pt x="1" y="3751"/>
                      </a:lnTo>
                      <a:lnTo>
                        <a:pt x="10465" y="9731"/>
                      </a:lnTo>
                      <a:close/>
                    </a:path>
                  </a:pathLst>
                </a:custGeom>
                <a:noFill/>
                <a:ln w="2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54" name="Google Shape;554;p29"/>
                <p:cNvSpPr/>
                <p:nvPr/>
              </p:nvSpPr>
              <p:spPr>
                <a:xfrm>
                  <a:off x="785330" y="6122973"/>
                  <a:ext cx="821814" cy="5596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87" h="7142" extrusionOk="0">
                      <a:moveTo>
                        <a:pt x="1" y="1"/>
                      </a:moveTo>
                      <a:lnTo>
                        <a:pt x="12" y="1161"/>
                      </a:lnTo>
                      <a:lnTo>
                        <a:pt x="10487" y="7141"/>
                      </a:lnTo>
                      <a:lnTo>
                        <a:pt x="10464" y="598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55" name="Google Shape;555;p29"/>
                <p:cNvSpPr/>
                <p:nvPr/>
              </p:nvSpPr>
              <p:spPr>
                <a:xfrm>
                  <a:off x="785330" y="6122973"/>
                  <a:ext cx="821814" cy="5596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87" h="7142" fill="none" extrusionOk="0">
                      <a:moveTo>
                        <a:pt x="10487" y="7141"/>
                      </a:moveTo>
                      <a:lnTo>
                        <a:pt x="10464" y="5981"/>
                      </a:lnTo>
                      <a:lnTo>
                        <a:pt x="1" y="1"/>
                      </a:lnTo>
                      <a:lnTo>
                        <a:pt x="12" y="1161"/>
                      </a:lnTo>
                      <a:close/>
                    </a:path>
                  </a:pathLst>
                </a:custGeom>
                <a:noFill/>
                <a:ln w="2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56" name="Google Shape;556;p29"/>
                <p:cNvSpPr/>
                <p:nvPr/>
              </p:nvSpPr>
              <p:spPr>
                <a:xfrm>
                  <a:off x="1605325" y="6298584"/>
                  <a:ext cx="484609" cy="3832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4" h="4890" extrusionOk="0">
                      <a:moveTo>
                        <a:pt x="6173" y="1"/>
                      </a:moveTo>
                      <a:lnTo>
                        <a:pt x="0" y="3740"/>
                      </a:lnTo>
                      <a:lnTo>
                        <a:pt x="57" y="4889"/>
                      </a:lnTo>
                      <a:lnTo>
                        <a:pt x="6184" y="1195"/>
                      </a:lnTo>
                      <a:lnTo>
                        <a:pt x="6173" y="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57" name="Google Shape;557;p29"/>
                <p:cNvSpPr/>
                <p:nvPr/>
              </p:nvSpPr>
              <p:spPr>
                <a:xfrm>
                  <a:off x="1605325" y="6298584"/>
                  <a:ext cx="484609" cy="3840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4" h="4901" fill="none" extrusionOk="0">
                      <a:moveTo>
                        <a:pt x="0" y="3740"/>
                      </a:moveTo>
                      <a:lnTo>
                        <a:pt x="6173" y="1"/>
                      </a:lnTo>
                      <a:lnTo>
                        <a:pt x="6184" y="1195"/>
                      </a:lnTo>
                      <a:lnTo>
                        <a:pt x="34" y="4900"/>
                      </a:lnTo>
                      <a:close/>
                    </a:path>
                  </a:pathLst>
                </a:custGeom>
                <a:noFill/>
                <a:ln w="2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58" name="Google Shape;558;p29"/>
                <p:cNvSpPr/>
                <p:nvPr/>
              </p:nvSpPr>
              <p:spPr>
                <a:xfrm>
                  <a:off x="785330" y="5829035"/>
                  <a:ext cx="1303759" cy="7627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37" h="9733" fill="none" extrusionOk="0">
                      <a:moveTo>
                        <a:pt x="16637" y="5993"/>
                      </a:moveTo>
                      <a:lnTo>
                        <a:pt x="6184" y="1"/>
                      </a:lnTo>
                      <a:lnTo>
                        <a:pt x="1" y="3752"/>
                      </a:lnTo>
                      <a:lnTo>
                        <a:pt x="10464" y="9732"/>
                      </a:lnTo>
                      <a:close/>
                    </a:path>
                  </a:pathLst>
                </a:custGeom>
                <a:noFill/>
                <a:ln w="2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59" name="Google Shape;559;p29"/>
                <p:cNvSpPr/>
                <p:nvPr/>
              </p:nvSpPr>
              <p:spPr>
                <a:xfrm>
                  <a:off x="785330" y="5829035"/>
                  <a:ext cx="1303759" cy="7618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37" h="9722" extrusionOk="0">
                      <a:moveTo>
                        <a:pt x="6184" y="1"/>
                      </a:moveTo>
                      <a:lnTo>
                        <a:pt x="1" y="3752"/>
                      </a:lnTo>
                      <a:lnTo>
                        <a:pt x="10464" y="9721"/>
                      </a:lnTo>
                      <a:lnTo>
                        <a:pt x="16637" y="5993"/>
                      </a:lnTo>
                      <a:lnTo>
                        <a:pt x="6184" y="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60" name="Google Shape;560;p29"/>
                <p:cNvSpPr/>
                <p:nvPr/>
              </p:nvSpPr>
              <p:spPr>
                <a:xfrm>
                  <a:off x="785330" y="5829035"/>
                  <a:ext cx="1303759" cy="7618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37" h="9722" fill="none" extrusionOk="0">
                      <a:moveTo>
                        <a:pt x="16637" y="5993"/>
                      </a:moveTo>
                      <a:lnTo>
                        <a:pt x="6184" y="1"/>
                      </a:lnTo>
                      <a:lnTo>
                        <a:pt x="1" y="3752"/>
                      </a:lnTo>
                      <a:lnTo>
                        <a:pt x="10464" y="9721"/>
                      </a:lnTo>
                      <a:close/>
                    </a:path>
                  </a:pathLst>
                </a:custGeom>
                <a:noFill/>
                <a:ln w="2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61" name="Google Shape;561;p29"/>
                <p:cNvSpPr/>
                <p:nvPr/>
              </p:nvSpPr>
              <p:spPr>
                <a:xfrm>
                  <a:off x="908047" y="6118585"/>
                  <a:ext cx="705285" cy="4042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000" h="5159" fill="none" extrusionOk="0">
                      <a:moveTo>
                        <a:pt x="0" y="0"/>
                      </a:moveTo>
                      <a:cubicBezTo>
                        <a:pt x="102" y="0"/>
                        <a:pt x="9000" y="5159"/>
                        <a:pt x="9000" y="5159"/>
                      </a:cubicBezTo>
                    </a:path>
                  </a:pathLst>
                </a:custGeom>
                <a:noFill/>
                <a:ln w="2525" cap="rnd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62" name="Google Shape;562;p29"/>
                <p:cNvSpPr/>
                <p:nvPr/>
              </p:nvSpPr>
              <p:spPr>
                <a:xfrm>
                  <a:off x="959218" y="5894389"/>
                  <a:ext cx="349586" cy="2110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1" h="2693" fill="none" extrusionOk="0">
                      <a:moveTo>
                        <a:pt x="1" y="2692"/>
                      </a:moveTo>
                      <a:lnTo>
                        <a:pt x="4461" y="0"/>
                      </a:lnTo>
                    </a:path>
                  </a:pathLst>
                </a:custGeom>
                <a:noFill/>
                <a:ln w="2525" cap="rnd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63" name="Google Shape;563;p29"/>
                <p:cNvSpPr/>
                <p:nvPr/>
              </p:nvSpPr>
              <p:spPr>
                <a:xfrm>
                  <a:off x="1032488" y="5937645"/>
                  <a:ext cx="350448" cy="2100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72" h="2681" fill="none" extrusionOk="0">
                      <a:moveTo>
                        <a:pt x="0" y="2681"/>
                      </a:moveTo>
                      <a:lnTo>
                        <a:pt x="4472" y="0"/>
                      </a:lnTo>
                    </a:path>
                  </a:pathLst>
                </a:custGeom>
                <a:noFill/>
                <a:ln w="2525" cap="rnd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64" name="Google Shape;564;p29"/>
                <p:cNvSpPr/>
                <p:nvPr/>
              </p:nvSpPr>
              <p:spPr>
                <a:xfrm>
                  <a:off x="1106620" y="5979961"/>
                  <a:ext cx="349586" cy="2110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1" h="2693" fill="none" extrusionOk="0">
                      <a:moveTo>
                        <a:pt x="1" y="2693"/>
                      </a:moveTo>
                      <a:lnTo>
                        <a:pt x="4461" y="1"/>
                      </a:lnTo>
                    </a:path>
                  </a:pathLst>
                </a:custGeom>
                <a:noFill/>
                <a:ln w="2525" cap="rnd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65" name="Google Shape;565;p29"/>
                <p:cNvSpPr/>
                <p:nvPr/>
              </p:nvSpPr>
              <p:spPr>
                <a:xfrm>
                  <a:off x="1179890" y="6023218"/>
                  <a:ext cx="349586" cy="2101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1" h="2682" fill="none" extrusionOk="0">
                      <a:moveTo>
                        <a:pt x="0" y="2681"/>
                      </a:moveTo>
                      <a:lnTo>
                        <a:pt x="4461" y="1"/>
                      </a:lnTo>
                    </a:path>
                  </a:pathLst>
                </a:custGeom>
                <a:noFill/>
                <a:ln w="2525" cap="rnd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66" name="Google Shape;566;p29"/>
                <p:cNvSpPr/>
                <p:nvPr/>
              </p:nvSpPr>
              <p:spPr>
                <a:xfrm>
                  <a:off x="1253159" y="6065612"/>
                  <a:ext cx="350448" cy="2101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72" h="2682" fill="none" extrusionOk="0">
                      <a:moveTo>
                        <a:pt x="0" y="2681"/>
                      </a:moveTo>
                      <a:lnTo>
                        <a:pt x="4472" y="0"/>
                      </a:lnTo>
                    </a:path>
                  </a:pathLst>
                </a:custGeom>
                <a:noFill/>
                <a:ln w="2525" cap="rnd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67" name="Google Shape;567;p29"/>
                <p:cNvSpPr/>
                <p:nvPr/>
              </p:nvSpPr>
              <p:spPr>
                <a:xfrm>
                  <a:off x="1327291" y="6108006"/>
                  <a:ext cx="349586" cy="2110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1" h="2693" fill="none" extrusionOk="0">
                      <a:moveTo>
                        <a:pt x="0" y="2692"/>
                      </a:moveTo>
                      <a:lnTo>
                        <a:pt x="4461" y="0"/>
                      </a:lnTo>
                    </a:path>
                  </a:pathLst>
                </a:custGeom>
                <a:noFill/>
                <a:ln w="2525" cap="rnd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68" name="Google Shape;568;p29"/>
                <p:cNvSpPr/>
                <p:nvPr/>
              </p:nvSpPr>
              <p:spPr>
                <a:xfrm>
                  <a:off x="1400561" y="6151184"/>
                  <a:ext cx="349586" cy="2101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1" h="2682" fill="none" extrusionOk="0">
                      <a:moveTo>
                        <a:pt x="0" y="2682"/>
                      </a:moveTo>
                      <a:lnTo>
                        <a:pt x="4460" y="1"/>
                      </a:lnTo>
                    </a:path>
                  </a:pathLst>
                </a:custGeom>
                <a:noFill/>
                <a:ln w="2525" cap="rnd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69" name="Google Shape;569;p29"/>
                <p:cNvSpPr/>
                <p:nvPr/>
              </p:nvSpPr>
              <p:spPr>
                <a:xfrm>
                  <a:off x="1473831" y="6193578"/>
                  <a:ext cx="350448" cy="2101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72" h="2682" fill="none" extrusionOk="0">
                      <a:moveTo>
                        <a:pt x="0" y="2681"/>
                      </a:moveTo>
                      <a:lnTo>
                        <a:pt x="4472" y="1"/>
                      </a:lnTo>
                    </a:path>
                  </a:pathLst>
                </a:custGeom>
                <a:noFill/>
                <a:ln w="2525" cap="rnd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70" name="Google Shape;570;p29"/>
                <p:cNvSpPr/>
                <p:nvPr/>
              </p:nvSpPr>
              <p:spPr>
                <a:xfrm>
                  <a:off x="1547963" y="6235972"/>
                  <a:ext cx="349586" cy="2110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1" h="2693" fill="none" extrusionOk="0">
                      <a:moveTo>
                        <a:pt x="0" y="2692"/>
                      </a:moveTo>
                      <a:lnTo>
                        <a:pt x="4460" y="0"/>
                      </a:lnTo>
                    </a:path>
                  </a:pathLst>
                </a:custGeom>
                <a:noFill/>
                <a:ln w="2525" cap="rnd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71" name="Google Shape;571;p29"/>
                <p:cNvSpPr/>
                <p:nvPr/>
              </p:nvSpPr>
              <p:spPr>
                <a:xfrm>
                  <a:off x="1621232" y="6279228"/>
                  <a:ext cx="349586" cy="2100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1" h="2681" fill="none" extrusionOk="0">
                      <a:moveTo>
                        <a:pt x="0" y="2681"/>
                      </a:moveTo>
                      <a:lnTo>
                        <a:pt x="4460" y="0"/>
                      </a:lnTo>
                    </a:path>
                  </a:pathLst>
                </a:custGeom>
                <a:noFill/>
                <a:ln w="2525" cap="rnd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72" name="Google Shape;572;p29"/>
                <p:cNvSpPr/>
                <p:nvPr/>
              </p:nvSpPr>
              <p:spPr>
                <a:xfrm>
                  <a:off x="1058975" y="5654991"/>
                  <a:ext cx="137766" cy="160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58" h="2053" extrusionOk="0">
                      <a:moveTo>
                        <a:pt x="599" y="1"/>
                      </a:moveTo>
                      <a:cubicBezTo>
                        <a:pt x="511" y="1"/>
                        <a:pt x="426" y="20"/>
                        <a:pt x="349" y="59"/>
                      </a:cubicBezTo>
                      <a:lnTo>
                        <a:pt x="57" y="228"/>
                      </a:lnTo>
                      <a:lnTo>
                        <a:pt x="113" y="330"/>
                      </a:lnTo>
                      <a:cubicBezTo>
                        <a:pt x="0" y="600"/>
                        <a:pt x="23" y="972"/>
                        <a:pt x="214" y="1321"/>
                      </a:cubicBezTo>
                      <a:cubicBezTo>
                        <a:pt x="406" y="1670"/>
                        <a:pt x="699" y="1895"/>
                        <a:pt x="980" y="1940"/>
                      </a:cubicBezTo>
                      <a:lnTo>
                        <a:pt x="1037" y="2053"/>
                      </a:lnTo>
                      <a:lnTo>
                        <a:pt x="1318" y="1907"/>
                      </a:lnTo>
                      <a:cubicBezTo>
                        <a:pt x="1329" y="1895"/>
                        <a:pt x="1329" y="1895"/>
                        <a:pt x="1341" y="1895"/>
                      </a:cubicBezTo>
                      <a:cubicBezTo>
                        <a:pt x="1690" y="1704"/>
                        <a:pt x="1757" y="1141"/>
                        <a:pt x="1476" y="634"/>
                      </a:cubicBezTo>
                      <a:cubicBezTo>
                        <a:pt x="1265" y="238"/>
                        <a:pt x="910" y="1"/>
                        <a:pt x="599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73" name="Google Shape;573;p29"/>
                <p:cNvSpPr/>
                <p:nvPr/>
              </p:nvSpPr>
              <p:spPr>
                <a:xfrm>
                  <a:off x="1054508" y="5654991"/>
                  <a:ext cx="142232" cy="1531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15" h="1954" extrusionOk="0">
                      <a:moveTo>
                        <a:pt x="656" y="1"/>
                      </a:moveTo>
                      <a:cubicBezTo>
                        <a:pt x="568" y="1"/>
                        <a:pt x="483" y="20"/>
                        <a:pt x="406" y="59"/>
                      </a:cubicBezTo>
                      <a:cubicBezTo>
                        <a:pt x="57" y="251"/>
                        <a:pt x="1" y="814"/>
                        <a:pt x="271" y="1321"/>
                      </a:cubicBezTo>
                      <a:cubicBezTo>
                        <a:pt x="482" y="1716"/>
                        <a:pt x="837" y="1954"/>
                        <a:pt x="1148" y="1954"/>
                      </a:cubicBezTo>
                      <a:cubicBezTo>
                        <a:pt x="1236" y="1954"/>
                        <a:pt x="1321" y="1935"/>
                        <a:pt x="1398" y="1895"/>
                      </a:cubicBezTo>
                      <a:cubicBezTo>
                        <a:pt x="1747" y="1704"/>
                        <a:pt x="1814" y="1141"/>
                        <a:pt x="1533" y="634"/>
                      </a:cubicBezTo>
                      <a:cubicBezTo>
                        <a:pt x="1322" y="238"/>
                        <a:pt x="967" y="1"/>
                        <a:pt x="656" y="1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74" name="Google Shape;574;p29"/>
                <p:cNvSpPr/>
                <p:nvPr/>
              </p:nvSpPr>
              <p:spPr>
                <a:xfrm>
                  <a:off x="1058975" y="5645509"/>
                  <a:ext cx="137766" cy="1703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58" h="2174" fill="none" extrusionOk="0">
                      <a:moveTo>
                        <a:pt x="113" y="451"/>
                      </a:moveTo>
                      <a:cubicBezTo>
                        <a:pt x="0" y="721"/>
                        <a:pt x="23" y="1093"/>
                        <a:pt x="214" y="1442"/>
                      </a:cubicBezTo>
                      <a:cubicBezTo>
                        <a:pt x="406" y="1791"/>
                        <a:pt x="699" y="2016"/>
                        <a:pt x="980" y="2061"/>
                      </a:cubicBezTo>
                      <a:lnTo>
                        <a:pt x="1037" y="2174"/>
                      </a:lnTo>
                      <a:lnTo>
                        <a:pt x="1318" y="2028"/>
                      </a:lnTo>
                      <a:cubicBezTo>
                        <a:pt x="1329" y="2016"/>
                        <a:pt x="1329" y="2016"/>
                        <a:pt x="1341" y="2016"/>
                      </a:cubicBezTo>
                      <a:cubicBezTo>
                        <a:pt x="1690" y="1825"/>
                        <a:pt x="1757" y="1262"/>
                        <a:pt x="1476" y="755"/>
                      </a:cubicBezTo>
                      <a:cubicBezTo>
                        <a:pt x="1205" y="248"/>
                        <a:pt x="699" y="0"/>
                        <a:pt x="349" y="180"/>
                      </a:cubicBezTo>
                      <a:lnTo>
                        <a:pt x="57" y="349"/>
                      </a:lnTo>
                      <a:close/>
                    </a:path>
                  </a:pathLst>
                </a:custGeom>
                <a:noFill/>
                <a:ln w="2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75" name="Google Shape;575;p29"/>
                <p:cNvSpPr/>
                <p:nvPr/>
              </p:nvSpPr>
              <p:spPr>
                <a:xfrm>
                  <a:off x="1054508" y="5645509"/>
                  <a:ext cx="142232" cy="1721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15" h="2197" fill="none" extrusionOk="0">
                      <a:moveTo>
                        <a:pt x="406" y="180"/>
                      </a:moveTo>
                      <a:cubicBezTo>
                        <a:pt x="756" y="0"/>
                        <a:pt x="1262" y="248"/>
                        <a:pt x="1533" y="755"/>
                      </a:cubicBezTo>
                      <a:cubicBezTo>
                        <a:pt x="1814" y="1262"/>
                        <a:pt x="1747" y="1825"/>
                        <a:pt x="1398" y="2016"/>
                      </a:cubicBezTo>
                      <a:cubicBezTo>
                        <a:pt x="1048" y="2196"/>
                        <a:pt x="542" y="1949"/>
                        <a:pt x="271" y="1442"/>
                      </a:cubicBezTo>
                      <a:cubicBezTo>
                        <a:pt x="1" y="935"/>
                        <a:pt x="57" y="372"/>
                        <a:pt x="406" y="180"/>
                      </a:cubicBezTo>
                      <a:close/>
                    </a:path>
                  </a:pathLst>
                </a:custGeom>
                <a:noFill/>
                <a:ln w="2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76" name="Google Shape;576;p29"/>
                <p:cNvSpPr/>
                <p:nvPr/>
              </p:nvSpPr>
              <p:spPr>
                <a:xfrm>
                  <a:off x="1030686" y="5667921"/>
                  <a:ext cx="144897" cy="1511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9" h="1929" extrusionOk="0">
                      <a:moveTo>
                        <a:pt x="671" y="0"/>
                      </a:moveTo>
                      <a:cubicBezTo>
                        <a:pt x="582" y="0"/>
                        <a:pt x="496" y="20"/>
                        <a:pt x="418" y="63"/>
                      </a:cubicBezTo>
                      <a:cubicBezTo>
                        <a:pt x="68" y="244"/>
                        <a:pt x="1" y="807"/>
                        <a:pt x="271" y="1314"/>
                      </a:cubicBezTo>
                      <a:cubicBezTo>
                        <a:pt x="496" y="1718"/>
                        <a:pt x="850" y="1929"/>
                        <a:pt x="1172" y="1929"/>
                      </a:cubicBezTo>
                      <a:cubicBezTo>
                        <a:pt x="1254" y="1929"/>
                        <a:pt x="1334" y="1915"/>
                        <a:pt x="1409" y="1888"/>
                      </a:cubicBezTo>
                      <a:cubicBezTo>
                        <a:pt x="1848" y="1730"/>
                        <a:pt x="1814" y="1133"/>
                        <a:pt x="1544" y="638"/>
                      </a:cubicBezTo>
                      <a:cubicBezTo>
                        <a:pt x="1334" y="244"/>
                        <a:pt x="982" y="0"/>
                        <a:pt x="671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77" name="Google Shape;577;p29"/>
                <p:cNvSpPr/>
                <p:nvPr/>
              </p:nvSpPr>
              <p:spPr>
                <a:xfrm>
                  <a:off x="1046594" y="5685004"/>
                  <a:ext cx="110416" cy="118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9" h="1515" extrusionOk="0">
                      <a:moveTo>
                        <a:pt x="520" y="0"/>
                      </a:moveTo>
                      <a:cubicBezTo>
                        <a:pt x="453" y="0"/>
                        <a:pt x="387" y="16"/>
                        <a:pt x="327" y="48"/>
                      </a:cubicBezTo>
                      <a:cubicBezTo>
                        <a:pt x="57" y="194"/>
                        <a:pt x="1" y="634"/>
                        <a:pt x="215" y="1017"/>
                      </a:cubicBezTo>
                      <a:cubicBezTo>
                        <a:pt x="381" y="1324"/>
                        <a:pt x="658" y="1515"/>
                        <a:pt x="899" y="1515"/>
                      </a:cubicBezTo>
                      <a:cubicBezTo>
                        <a:pt x="968" y="1515"/>
                        <a:pt x="1034" y="1500"/>
                        <a:pt x="1093" y="1467"/>
                      </a:cubicBezTo>
                      <a:cubicBezTo>
                        <a:pt x="1363" y="1321"/>
                        <a:pt x="1409" y="882"/>
                        <a:pt x="1195" y="487"/>
                      </a:cubicBezTo>
                      <a:cubicBezTo>
                        <a:pt x="1028" y="189"/>
                        <a:pt x="759" y="0"/>
                        <a:pt x="52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78" name="Google Shape;578;p29"/>
                <p:cNvSpPr/>
                <p:nvPr/>
              </p:nvSpPr>
              <p:spPr>
                <a:xfrm>
                  <a:off x="580566" y="5668391"/>
                  <a:ext cx="577315" cy="4317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67" h="5509" extrusionOk="0">
                      <a:moveTo>
                        <a:pt x="6274" y="1"/>
                      </a:moveTo>
                      <a:lnTo>
                        <a:pt x="1" y="3774"/>
                      </a:lnTo>
                      <a:lnTo>
                        <a:pt x="1138" y="5509"/>
                      </a:lnTo>
                      <a:lnTo>
                        <a:pt x="7367" y="1747"/>
                      </a:lnTo>
                      <a:lnTo>
                        <a:pt x="6274" y="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79" name="Google Shape;579;p29"/>
                <p:cNvSpPr/>
                <p:nvPr/>
              </p:nvSpPr>
              <p:spPr>
                <a:xfrm>
                  <a:off x="580566" y="5662279"/>
                  <a:ext cx="590559" cy="437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36" h="5587" fill="none" extrusionOk="0">
                      <a:moveTo>
                        <a:pt x="7288" y="710"/>
                      </a:moveTo>
                      <a:cubicBezTo>
                        <a:pt x="7040" y="248"/>
                        <a:pt x="6612" y="0"/>
                        <a:pt x="6274" y="90"/>
                      </a:cubicBezTo>
                      <a:cubicBezTo>
                        <a:pt x="6274" y="90"/>
                        <a:pt x="6094" y="158"/>
                        <a:pt x="6049" y="192"/>
                      </a:cubicBezTo>
                      <a:lnTo>
                        <a:pt x="1" y="3852"/>
                      </a:lnTo>
                      <a:lnTo>
                        <a:pt x="1138" y="5587"/>
                      </a:lnTo>
                      <a:lnTo>
                        <a:pt x="7367" y="1825"/>
                      </a:lnTo>
                      <a:lnTo>
                        <a:pt x="7367" y="1825"/>
                      </a:lnTo>
                      <a:cubicBezTo>
                        <a:pt x="7536" y="1566"/>
                        <a:pt x="7502" y="1093"/>
                        <a:pt x="7288" y="698"/>
                      </a:cubicBezTo>
                      <a:close/>
                    </a:path>
                  </a:pathLst>
                </a:custGeom>
                <a:noFill/>
                <a:ln w="2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80" name="Google Shape;580;p29"/>
                <p:cNvSpPr/>
                <p:nvPr/>
              </p:nvSpPr>
              <p:spPr>
                <a:xfrm>
                  <a:off x="564659" y="5952064"/>
                  <a:ext cx="137766" cy="1604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58" h="2047" extrusionOk="0">
                      <a:moveTo>
                        <a:pt x="616" y="1"/>
                      </a:moveTo>
                      <a:cubicBezTo>
                        <a:pt x="526" y="1"/>
                        <a:pt x="440" y="21"/>
                        <a:pt x="361" y="64"/>
                      </a:cubicBezTo>
                      <a:lnTo>
                        <a:pt x="57" y="222"/>
                      </a:lnTo>
                      <a:lnTo>
                        <a:pt x="113" y="334"/>
                      </a:lnTo>
                      <a:cubicBezTo>
                        <a:pt x="1" y="593"/>
                        <a:pt x="35" y="965"/>
                        <a:pt x="215" y="1314"/>
                      </a:cubicBezTo>
                      <a:cubicBezTo>
                        <a:pt x="406" y="1663"/>
                        <a:pt x="710" y="1900"/>
                        <a:pt x="992" y="1945"/>
                      </a:cubicBezTo>
                      <a:lnTo>
                        <a:pt x="1048" y="2046"/>
                      </a:lnTo>
                      <a:lnTo>
                        <a:pt x="1319" y="1900"/>
                      </a:lnTo>
                      <a:cubicBezTo>
                        <a:pt x="1330" y="1900"/>
                        <a:pt x="1341" y="1889"/>
                        <a:pt x="1352" y="1889"/>
                      </a:cubicBezTo>
                      <a:cubicBezTo>
                        <a:pt x="1702" y="1697"/>
                        <a:pt x="1758" y="1134"/>
                        <a:pt x="1488" y="627"/>
                      </a:cubicBezTo>
                      <a:cubicBezTo>
                        <a:pt x="1278" y="243"/>
                        <a:pt x="926" y="1"/>
                        <a:pt x="61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81" name="Google Shape;581;p29"/>
                <p:cNvSpPr/>
                <p:nvPr/>
              </p:nvSpPr>
              <p:spPr>
                <a:xfrm>
                  <a:off x="560270" y="5951594"/>
                  <a:ext cx="142154" cy="1531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14" h="1954" extrusionOk="0">
                      <a:moveTo>
                        <a:pt x="665" y="0"/>
                      </a:moveTo>
                      <a:cubicBezTo>
                        <a:pt x="578" y="0"/>
                        <a:pt x="494" y="19"/>
                        <a:pt x="417" y="59"/>
                      </a:cubicBezTo>
                      <a:cubicBezTo>
                        <a:pt x="68" y="250"/>
                        <a:pt x="1" y="813"/>
                        <a:pt x="271" y="1320"/>
                      </a:cubicBezTo>
                      <a:cubicBezTo>
                        <a:pt x="490" y="1716"/>
                        <a:pt x="840" y="1953"/>
                        <a:pt x="1149" y="1953"/>
                      </a:cubicBezTo>
                      <a:cubicBezTo>
                        <a:pt x="1236" y="1953"/>
                        <a:pt x="1320" y="1934"/>
                        <a:pt x="1397" y="1895"/>
                      </a:cubicBezTo>
                      <a:cubicBezTo>
                        <a:pt x="1746" y="1703"/>
                        <a:pt x="1814" y="1140"/>
                        <a:pt x="1544" y="633"/>
                      </a:cubicBezTo>
                      <a:cubicBezTo>
                        <a:pt x="1324" y="238"/>
                        <a:pt x="974" y="0"/>
                        <a:pt x="665" y="0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82" name="Google Shape;582;p29"/>
                <p:cNvSpPr/>
                <p:nvPr/>
              </p:nvSpPr>
              <p:spPr>
                <a:xfrm>
                  <a:off x="564659" y="5942034"/>
                  <a:ext cx="137766" cy="1704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58" h="2175" fill="none" extrusionOk="0">
                      <a:moveTo>
                        <a:pt x="113" y="462"/>
                      </a:moveTo>
                      <a:cubicBezTo>
                        <a:pt x="1" y="721"/>
                        <a:pt x="35" y="1093"/>
                        <a:pt x="215" y="1442"/>
                      </a:cubicBezTo>
                      <a:cubicBezTo>
                        <a:pt x="406" y="1791"/>
                        <a:pt x="710" y="2028"/>
                        <a:pt x="992" y="2073"/>
                      </a:cubicBezTo>
                      <a:lnTo>
                        <a:pt x="1048" y="2174"/>
                      </a:lnTo>
                      <a:lnTo>
                        <a:pt x="1319" y="2028"/>
                      </a:lnTo>
                      <a:cubicBezTo>
                        <a:pt x="1330" y="2028"/>
                        <a:pt x="1341" y="2017"/>
                        <a:pt x="1352" y="2017"/>
                      </a:cubicBezTo>
                      <a:cubicBezTo>
                        <a:pt x="1702" y="1825"/>
                        <a:pt x="1758" y="1262"/>
                        <a:pt x="1488" y="755"/>
                      </a:cubicBezTo>
                      <a:cubicBezTo>
                        <a:pt x="1217" y="260"/>
                        <a:pt x="710" y="1"/>
                        <a:pt x="361" y="192"/>
                      </a:cubicBezTo>
                      <a:lnTo>
                        <a:pt x="57" y="350"/>
                      </a:lnTo>
                      <a:close/>
                    </a:path>
                  </a:pathLst>
                </a:custGeom>
                <a:noFill/>
                <a:ln w="2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83" name="Google Shape;583;p29"/>
                <p:cNvSpPr/>
                <p:nvPr/>
              </p:nvSpPr>
              <p:spPr>
                <a:xfrm>
                  <a:off x="560270" y="5942034"/>
                  <a:ext cx="142154" cy="1721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14" h="2197" fill="none" extrusionOk="0">
                      <a:moveTo>
                        <a:pt x="1544" y="755"/>
                      </a:moveTo>
                      <a:cubicBezTo>
                        <a:pt x="1814" y="1262"/>
                        <a:pt x="1746" y="1825"/>
                        <a:pt x="1397" y="2017"/>
                      </a:cubicBezTo>
                      <a:cubicBezTo>
                        <a:pt x="1048" y="2197"/>
                        <a:pt x="552" y="1949"/>
                        <a:pt x="271" y="1442"/>
                      </a:cubicBezTo>
                      <a:cubicBezTo>
                        <a:pt x="1" y="935"/>
                        <a:pt x="68" y="372"/>
                        <a:pt x="417" y="181"/>
                      </a:cubicBezTo>
                      <a:cubicBezTo>
                        <a:pt x="766" y="1"/>
                        <a:pt x="1262" y="248"/>
                        <a:pt x="1544" y="755"/>
                      </a:cubicBezTo>
                      <a:close/>
                    </a:path>
                  </a:pathLst>
                </a:custGeom>
                <a:noFill/>
                <a:ln w="2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84" name="Google Shape;584;p29"/>
                <p:cNvSpPr/>
                <p:nvPr/>
              </p:nvSpPr>
              <p:spPr>
                <a:xfrm>
                  <a:off x="536448" y="5964445"/>
                  <a:ext cx="142154" cy="1529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14" h="1952" extrusionOk="0">
                      <a:moveTo>
                        <a:pt x="671" y="1"/>
                      </a:moveTo>
                      <a:cubicBezTo>
                        <a:pt x="581" y="1"/>
                        <a:pt x="495" y="21"/>
                        <a:pt x="417" y="64"/>
                      </a:cubicBezTo>
                      <a:cubicBezTo>
                        <a:pt x="68" y="255"/>
                        <a:pt x="0" y="818"/>
                        <a:pt x="282" y="1314"/>
                      </a:cubicBezTo>
                      <a:cubicBezTo>
                        <a:pt x="492" y="1707"/>
                        <a:pt x="844" y="1952"/>
                        <a:pt x="1155" y="1952"/>
                      </a:cubicBezTo>
                      <a:cubicBezTo>
                        <a:pt x="1244" y="1952"/>
                        <a:pt x="1330" y="1931"/>
                        <a:pt x="1408" y="1888"/>
                      </a:cubicBezTo>
                      <a:cubicBezTo>
                        <a:pt x="1758" y="1697"/>
                        <a:pt x="1814" y="1134"/>
                        <a:pt x="1543" y="638"/>
                      </a:cubicBezTo>
                      <a:cubicBezTo>
                        <a:pt x="1334" y="245"/>
                        <a:pt x="981" y="1"/>
                        <a:pt x="671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85" name="Google Shape;585;p29"/>
                <p:cNvSpPr/>
                <p:nvPr/>
              </p:nvSpPr>
              <p:spPr>
                <a:xfrm>
                  <a:off x="553218" y="5981529"/>
                  <a:ext cx="109554" cy="1188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8" h="1516" extrusionOk="0">
                      <a:moveTo>
                        <a:pt x="509" y="1"/>
                      </a:moveTo>
                      <a:cubicBezTo>
                        <a:pt x="441" y="1"/>
                        <a:pt x="375" y="16"/>
                        <a:pt x="316" y="48"/>
                      </a:cubicBezTo>
                      <a:cubicBezTo>
                        <a:pt x="45" y="195"/>
                        <a:pt x="0" y="634"/>
                        <a:pt x="214" y="1028"/>
                      </a:cubicBezTo>
                      <a:cubicBezTo>
                        <a:pt x="372" y="1327"/>
                        <a:pt x="646" y="1515"/>
                        <a:pt x="887" y="1515"/>
                      </a:cubicBezTo>
                      <a:cubicBezTo>
                        <a:pt x="956" y="1515"/>
                        <a:pt x="1022" y="1500"/>
                        <a:pt x="1082" y="1468"/>
                      </a:cubicBezTo>
                      <a:cubicBezTo>
                        <a:pt x="1352" y="1321"/>
                        <a:pt x="1397" y="882"/>
                        <a:pt x="1183" y="499"/>
                      </a:cubicBezTo>
                      <a:cubicBezTo>
                        <a:pt x="1025" y="192"/>
                        <a:pt x="751" y="1"/>
                        <a:pt x="509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86" name="Google Shape;586;p29"/>
                <p:cNvSpPr/>
                <p:nvPr/>
              </p:nvSpPr>
              <p:spPr>
                <a:xfrm>
                  <a:off x="459652" y="5964445"/>
                  <a:ext cx="219892" cy="1850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06" h="2362" extrusionOk="0">
                      <a:moveTo>
                        <a:pt x="1651" y="1"/>
                      </a:moveTo>
                      <a:cubicBezTo>
                        <a:pt x="1561" y="1"/>
                        <a:pt x="1475" y="21"/>
                        <a:pt x="1397" y="64"/>
                      </a:cubicBezTo>
                      <a:cubicBezTo>
                        <a:pt x="1352" y="86"/>
                        <a:pt x="1307" y="120"/>
                        <a:pt x="1273" y="154"/>
                      </a:cubicBezTo>
                      <a:lnTo>
                        <a:pt x="1273" y="165"/>
                      </a:lnTo>
                      <a:cubicBezTo>
                        <a:pt x="1239" y="199"/>
                        <a:pt x="1206" y="244"/>
                        <a:pt x="1183" y="289"/>
                      </a:cubicBezTo>
                      <a:lnTo>
                        <a:pt x="12" y="1911"/>
                      </a:lnTo>
                      <a:lnTo>
                        <a:pt x="34" y="1933"/>
                      </a:lnTo>
                      <a:cubicBezTo>
                        <a:pt x="1" y="2001"/>
                        <a:pt x="1" y="2091"/>
                        <a:pt x="57" y="2181"/>
                      </a:cubicBezTo>
                      <a:cubicBezTo>
                        <a:pt x="112" y="2283"/>
                        <a:pt x="175" y="2362"/>
                        <a:pt x="240" y="2362"/>
                      </a:cubicBezTo>
                      <a:cubicBezTo>
                        <a:pt x="254" y="2362"/>
                        <a:pt x="268" y="2358"/>
                        <a:pt x="282" y="2350"/>
                      </a:cubicBezTo>
                      <a:cubicBezTo>
                        <a:pt x="305" y="2339"/>
                        <a:pt x="2005" y="1990"/>
                        <a:pt x="2005" y="1990"/>
                      </a:cubicBezTo>
                      <a:cubicBezTo>
                        <a:pt x="2388" y="1911"/>
                        <a:pt x="2242" y="1967"/>
                        <a:pt x="2388" y="1888"/>
                      </a:cubicBezTo>
                      <a:cubicBezTo>
                        <a:pt x="2738" y="1708"/>
                        <a:pt x="2805" y="1145"/>
                        <a:pt x="2523" y="638"/>
                      </a:cubicBezTo>
                      <a:cubicBezTo>
                        <a:pt x="2314" y="245"/>
                        <a:pt x="1961" y="1"/>
                        <a:pt x="1651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87" name="Google Shape;587;p29"/>
                <p:cNvSpPr/>
                <p:nvPr/>
              </p:nvSpPr>
              <p:spPr>
                <a:xfrm>
                  <a:off x="459652" y="5954415"/>
                  <a:ext cx="219892" cy="1977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06" h="2524" fill="none" extrusionOk="0">
                      <a:moveTo>
                        <a:pt x="2523" y="766"/>
                      </a:moveTo>
                      <a:cubicBezTo>
                        <a:pt x="2253" y="259"/>
                        <a:pt x="1746" y="0"/>
                        <a:pt x="1397" y="192"/>
                      </a:cubicBezTo>
                      <a:cubicBezTo>
                        <a:pt x="1352" y="214"/>
                        <a:pt x="1307" y="248"/>
                        <a:pt x="1273" y="282"/>
                      </a:cubicBezTo>
                      <a:lnTo>
                        <a:pt x="1273" y="282"/>
                      </a:lnTo>
                      <a:lnTo>
                        <a:pt x="1273" y="293"/>
                      </a:lnTo>
                      <a:cubicBezTo>
                        <a:pt x="1239" y="327"/>
                        <a:pt x="1206" y="372"/>
                        <a:pt x="1183" y="417"/>
                      </a:cubicBezTo>
                      <a:lnTo>
                        <a:pt x="12" y="2039"/>
                      </a:lnTo>
                      <a:lnTo>
                        <a:pt x="34" y="2061"/>
                      </a:lnTo>
                      <a:cubicBezTo>
                        <a:pt x="1" y="2129"/>
                        <a:pt x="1" y="2219"/>
                        <a:pt x="57" y="2309"/>
                      </a:cubicBezTo>
                      <a:cubicBezTo>
                        <a:pt x="124" y="2433"/>
                        <a:pt x="203" y="2523"/>
                        <a:pt x="282" y="2478"/>
                      </a:cubicBezTo>
                      <a:cubicBezTo>
                        <a:pt x="305" y="2467"/>
                        <a:pt x="2005" y="2118"/>
                        <a:pt x="2005" y="2118"/>
                      </a:cubicBezTo>
                      <a:cubicBezTo>
                        <a:pt x="2388" y="2039"/>
                        <a:pt x="2242" y="2095"/>
                        <a:pt x="2388" y="2016"/>
                      </a:cubicBezTo>
                      <a:cubicBezTo>
                        <a:pt x="2738" y="1836"/>
                        <a:pt x="2805" y="1273"/>
                        <a:pt x="2523" y="766"/>
                      </a:cubicBezTo>
                      <a:close/>
                    </a:path>
                  </a:pathLst>
                </a:custGeom>
                <a:noFill/>
                <a:ln w="2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588" name="Google Shape;588;p29"/>
              <p:cNvSpPr/>
              <p:nvPr/>
            </p:nvSpPr>
            <p:spPr>
              <a:xfrm>
                <a:off x="452599" y="6113021"/>
                <a:ext cx="35343" cy="37694"/>
              </a:xfrm>
              <a:custGeom>
                <a:avLst/>
                <a:gdLst/>
                <a:ahLst/>
                <a:cxnLst/>
                <a:rect l="l" t="t" r="r" b="b"/>
                <a:pathLst>
                  <a:path w="451" h="481" extrusionOk="0">
                    <a:moveTo>
                      <a:pt x="163" y="1"/>
                    </a:moveTo>
                    <a:cubicBezTo>
                      <a:pt x="141" y="1"/>
                      <a:pt x="121" y="5"/>
                      <a:pt x="102" y="15"/>
                    </a:cubicBezTo>
                    <a:cubicBezTo>
                      <a:pt x="12" y="60"/>
                      <a:pt x="0" y="206"/>
                      <a:pt x="68" y="330"/>
                    </a:cubicBezTo>
                    <a:cubicBezTo>
                      <a:pt x="120" y="426"/>
                      <a:pt x="205" y="481"/>
                      <a:pt x="283" y="481"/>
                    </a:cubicBezTo>
                    <a:cubicBezTo>
                      <a:pt x="306" y="481"/>
                      <a:pt x="329" y="476"/>
                      <a:pt x="350" y="465"/>
                    </a:cubicBezTo>
                    <a:cubicBezTo>
                      <a:pt x="428" y="420"/>
                      <a:pt x="451" y="285"/>
                      <a:pt x="383" y="161"/>
                    </a:cubicBezTo>
                    <a:cubicBezTo>
                      <a:pt x="330" y="64"/>
                      <a:pt x="242" y="1"/>
                      <a:pt x="163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9" name="Google Shape;589;p29"/>
              <p:cNvSpPr/>
              <p:nvPr/>
            </p:nvSpPr>
            <p:spPr>
              <a:xfrm>
                <a:off x="452599" y="6110592"/>
                <a:ext cx="35343" cy="42474"/>
              </a:xfrm>
              <a:custGeom>
                <a:avLst/>
                <a:gdLst/>
                <a:ahLst/>
                <a:cxnLst/>
                <a:rect l="l" t="t" r="r" b="b"/>
                <a:pathLst>
                  <a:path w="451" h="542" fill="none" extrusionOk="0">
                    <a:moveTo>
                      <a:pt x="102" y="46"/>
                    </a:moveTo>
                    <a:cubicBezTo>
                      <a:pt x="192" y="1"/>
                      <a:pt x="316" y="68"/>
                      <a:pt x="383" y="192"/>
                    </a:cubicBezTo>
                    <a:cubicBezTo>
                      <a:pt x="451" y="316"/>
                      <a:pt x="428" y="451"/>
                      <a:pt x="350" y="496"/>
                    </a:cubicBezTo>
                    <a:cubicBezTo>
                      <a:pt x="259" y="542"/>
                      <a:pt x="136" y="485"/>
                      <a:pt x="68" y="361"/>
                    </a:cubicBezTo>
                    <a:cubicBezTo>
                      <a:pt x="0" y="237"/>
                      <a:pt x="12" y="91"/>
                      <a:pt x="102" y="46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0" name="Google Shape;590;p29"/>
              <p:cNvSpPr/>
              <p:nvPr/>
            </p:nvSpPr>
            <p:spPr>
              <a:xfrm>
                <a:off x="456125" y="6117723"/>
                <a:ext cx="27428" cy="29152"/>
              </a:xfrm>
              <a:custGeom>
                <a:avLst/>
                <a:gdLst/>
                <a:ahLst/>
                <a:cxnLst/>
                <a:rect l="l" t="t" r="r" b="b"/>
                <a:pathLst>
                  <a:path w="350" h="372" extrusionOk="0">
                    <a:moveTo>
                      <a:pt x="139" y="0"/>
                    </a:moveTo>
                    <a:cubicBezTo>
                      <a:pt x="122" y="0"/>
                      <a:pt x="106" y="4"/>
                      <a:pt x="91" y="11"/>
                    </a:cubicBezTo>
                    <a:cubicBezTo>
                      <a:pt x="23" y="45"/>
                      <a:pt x="0" y="146"/>
                      <a:pt x="57" y="248"/>
                    </a:cubicBezTo>
                    <a:cubicBezTo>
                      <a:pt x="101" y="327"/>
                      <a:pt x="165" y="372"/>
                      <a:pt x="223" y="372"/>
                    </a:cubicBezTo>
                    <a:cubicBezTo>
                      <a:pt x="240" y="372"/>
                      <a:pt x="256" y="368"/>
                      <a:pt x="271" y="360"/>
                    </a:cubicBezTo>
                    <a:cubicBezTo>
                      <a:pt x="338" y="327"/>
                      <a:pt x="350" y="214"/>
                      <a:pt x="305" y="113"/>
                    </a:cubicBezTo>
                    <a:cubicBezTo>
                      <a:pt x="261" y="43"/>
                      <a:pt x="197" y="0"/>
                      <a:pt x="13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591" name="Google Shape;591;p29"/>
          <p:cNvSpPr/>
          <p:nvPr/>
        </p:nvSpPr>
        <p:spPr>
          <a:xfrm>
            <a:off x="7005700" y="3461925"/>
            <a:ext cx="171900" cy="148500"/>
          </a:xfrm>
          <a:prstGeom prst="triangle">
            <a:avLst>
              <a:gd name="adj" fmla="val 5000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A327AA14-D155-9538-0329-5767C17B1A9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14400" y="0"/>
            <a:ext cx="7495200" cy="1260000"/>
          </a:xfrm>
        </p:spPr>
        <p:txBody>
          <a:bodyPr/>
          <a:lstStyle/>
          <a:p>
            <a:r>
              <a:rPr lang="en-US" sz="2000">
                <a:solidFill>
                  <a:schemeClr val="accent2"/>
                </a:solidFill>
              </a:rPr>
              <a:t>Calling Clients on Most Days Have Equal Success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9E67E26B-5EDC-020F-7741-C2E1718E8B7F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680950" y="2008900"/>
            <a:ext cx="3434400" cy="696300"/>
          </a:xfrm>
        </p:spPr>
        <p:txBody>
          <a:bodyPr/>
          <a:lstStyle/>
          <a:p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729C8EC-7B33-6508-F638-6AD356D294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684" y="1134123"/>
            <a:ext cx="4086972" cy="2683240"/>
          </a:xfrm>
          <a:prstGeom prst="rect">
            <a:avLst/>
          </a:prstGeom>
          <a:noFill/>
          <a:ln w="127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CED2A6E-AD56-ED55-2B51-B4B831E435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6685" y="1134123"/>
            <a:ext cx="4086972" cy="268324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7FCEF54-3017-9456-6DD9-14092707150D}"/>
              </a:ext>
            </a:extLst>
          </p:cNvPr>
          <p:cNvCxnSpPr>
            <a:cxnSpLocks/>
          </p:cNvCxnSpPr>
          <p:nvPr/>
        </p:nvCxnSpPr>
        <p:spPr>
          <a:xfrm>
            <a:off x="4571999" y="941460"/>
            <a:ext cx="0" cy="2966863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F79143B-FE3A-9EFC-9C77-440DA371F809}"/>
              </a:ext>
            </a:extLst>
          </p:cNvPr>
          <p:cNvCxnSpPr>
            <a:cxnSpLocks/>
          </p:cNvCxnSpPr>
          <p:nvPr/>
        </p:nvCxnSpPr>
        <p:spPr>
          <a:xfrm flipH="1">
            <a:off x="-2" y="941460"/>
            <a:ext cx="9144001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62122A8F-FB61-10C4-6341-C35A8C1DAC96}"/>
              </a:ext>
            </a:extLst>
          </p:cNvPr>
          <p:cNvSpPr txBox="1"/>
          <p:nvPr/>
        </p:nvSpPr>
        <p:spPr>
          <a:xfrm>
            <a:off x="258397" y="4102662"/>
            <a:ext cx="86669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The number of calls made to clients are equal on most days of the week. Further, the proportion of clients subscribing to Term Deposits also remain consistent throughout days.</a:t>
            </a:r>
          </a:p>
        </p:txBody>
      </p:sp>
    </p:spTree>
    <p:extLst>
      <p:ext uri="{BB962C8B-B14F-4D97-AF65-F5344CB8AC3E}">
        <p14:creationId xmlns:p14="http://schemas.microsoft.com/office/powerpoint/2010/main" val="40923147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A327AA14-D155-9538-0329-5767C17B1A9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2" y="9887"/>
            <a:ext cx="9144001" cy="613016"/>
          </a:xfrm>
        </p:spPr>
        <p:txBody>
          <a:bodyPr/>
          <a:lstStyle/>
          <a:p>
            <a:r>
              <a:rPr lang="en-US" sz="2000" dirty="0">
                <a:solidFill>
                  <a:schemeClr val="accent2"/>
                </a:solidFill>
              </a:rPr>
              <a:t>Clients’ History of Loans Does Not Affect The Subscription Outcome 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7FCEF54-3017-9456-6DD9-14092707150D}"/>
              </a:ext>
            </a:extLst>
          </p:cNvPr>
          <p:cNvCxnSpPr>
            <a:cxnSpLocks/>
          </p:cNvCxnSpPr>
          <p:nvPr/>
        </p:nvCxnSpPr>
        <p:spPr>
          <a:xfrm>
            <a:off x="4571999" y="779228"/>
            <a:ext cx="1" cy="3005372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F79143B-FE3A-9EFC-9C77-440DA371F809}"/>
              </a:ext>
            </a:extLst>
          </p:cNvPr>
          <p:cNvCxnSpPr>
            <a:cxnSpLocks/>
          </p:cNvCxnSpPr>
          <p:nvPr/>
        </p:nvCxnSpPr>
        <p:spPr>
          <a:xfrm flipH="1">
            <a:off x="-1" y="779228"/>
            <a:ext cx="9144001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BA0A90A8-07A6-9A7D-E10C-604257D989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397" y="933866"/>
            <a:ext cx="4055204" cy="2802335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C84E0C3-991D-C3E8-4D58-EECC3972E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5552" y="933866"/>
            <a:ext cx="3920051" cy="280065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9644E21-E185-E3AB-EBCF-566D21B0801F}"/>
              </a:ext>
            </a:extLst>
          </p:cNvPr>
          <p:cNvSpPr txBox="1"/>
          <p:nvPr/>
        </p:nvSpPr>
        <p:spPr>
          <a:xfrm>
            <a:off x="258397" y="4102662"/>
            <a:ext cx="86669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Housing Loans and Personal Loans have almost equal distribution of target variable </a:t>
            </a:r>
            <a:br>
              <a:rPr lang="en-US"/>
            </a:br>
            <a:r>
              <a:rPr lang="en-US"/>
              <a:t>(Term Deposit - “yes”/“no”) based on whether clients have taken a loan or not. </a:t>
            </a:r>
          </a:p>
        </p:txBody>
      </p:sp>
    </p:spTree>
    <p:extLst>
      <p:ext uri="{BB962C8B-B14F-4D97-AF65-F5344CB8AC3E}">
        <p14:creationId xmlns:p14="http://schemas.microsoft.com/office/powerpoint/2010/main" val="9820044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A327AA14-D155-9538-0329-5767C17B1A9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4000" cy="1260000"/>
          </a:xfrm>
        </p:spPr>
        <p:txBody>
          <a:bodyPr/>
          <a:lstStyle/>
          <a:p>
            <a:r>
              <a:rPr lang="en-US" sz="2000">
                <a:solidFill>
                  <a:schemeClr val="accent2"/>
                </a:solidFill>
              </a:rPr>
              <a:t>Good Credit History Correlates with High Term Deposit Subscription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D1B3D0A-8A3A-4F18-B783-E33B35B130F9}"/>
              </a:ext>
            </a:extLst>
          </p:cNvPr>
          <p:cNvGrpSpPr/>
          <p:nvPr/>
        </p:nvGrpSpPr>
        <p:grpSpPr>
          <a:xfrm>
            <a:off x="516836" y="778411"/>
            <a:ext cx="5227220" cy="3586678"/>
            <a:chOff x="811034" y="686015"/>
            <a:chExt cx="5227220" cy="3586678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A307D5B1-D5D1-B569-ABC8-3935F15525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1034" y="686015"/>
              <a:ext cx="5227220" cy="3586678"/>
            </a:xfrm>
            <a:prstGeom prst="rect">
              <a:avLst/>
            </a:prstGeom>
            <a:ln w="12700">
              <a:solidFill>
                <a:schemeClr val="tx1"/>
              </a:solidFill>
            </a:ln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96EDC31-5B89-B61E-2869-CDA788DC0480}"/>
                </a:ext>
              </a:extLst>
            </p:cNvPr>
            <p:cNvSpPr/>
            <p:nvPr/>
          </p:nvSpPr>
          <p:spPr>
            <a:xfrm>
              <a:off x="2997642" y="4102975"/>
              <a:ext cx="1431235" cy="10326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3A62CCC-8800-9521-C453-34F28083315F}"/>
              </a:ext>
            </a:extLst>
          </p:cNvPr>
          <p:cNvSpPr txBox="1"/>
          <p:nvPr/>
        </p:nvSpPr>
        <p:spPr>
          <a:xfrm>
            <a:off x="2703444" y="4108503"/>
            <a:ext cx="23138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/>
              <a:t>Defaul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995C69-9691-7586-433F-7B46A37CF136}"/>
              </a:ext>
            </a:extLst>
          </p:cNvPr>
          <p:cNvSpPr txBox="1"/>
          <p:nvPr/>
        </p:nvSpPr>
        <p:spPr>
          <a:xfrm>
            <a:off x="6341164" y="1168841"/>
            <a:ext cx="2512612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u="sng"/>
              <a:t>Key Takeaways</a:t>
            </a:r>
            <a:endParaRPr lang="en-US" u="sng"/>
          </a:p>
          <a:p>
            <a:endParaRPr lang="en-US"/>
          </a:p>
          <a:p>
            <a:pPr marL="342900" indent="-342900" algn="just">
              <a:buAutoNum type="arabicPeriod"/>
            </a:pPr>
            <a:r>
              <a:rPr lang="en-US"/>
              <a:t>People with no credit default history are most</a:t>
            </a:r>
            <a:br>
              <a:rPr lang="en-US"/>
            </a:br>
            <a:r>
              <a:rPr lang="en-US"/>
              <a:t>likely to subscribe to Term Deposits, followed by “unknown” category.</a:t>
            </a:r>
          </a:p>
          <a:p>
            <a:pPr marL="342900" indent="-342900" algn="just">
              <a:buAutoNum type="arabicPeriod"/>
            </a:pPr>
            <a:endParaRPr lang="en-US"/>
          </a:p>
          <a:p>
            <a:pPr marL="342900" indent="-342900" algn="just">
              <a:buFont typeface="Arial"/>
              <a:buAutoNum type="arabicPeriod"/>
            </a:pPr>
            <a:r>
              <a:rPr lang="en-US"/>
              <a:t>All clients who have a previous history of credit defaults do not subscribe to Term Deposits.</a:t>
            </a:r>
          </a:p>
          <a:p>
            <a:pPr marL="342900" indent="-342900" algn="just">
              <a:buAutoNum type="arabicPeriod"/>
            </a:pPr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8A5F38-3725-5C9F-2776-32E18FCD350C}"/>
              </a:ext>
            </a:extLst>
          </p:cNvPr>
          <p:cNvSpPr/>
          <p:nvPr/>
        </p:nvSpPr>
        <p:spPr>
          <a:xfrm>
            <a:off x="6273579" y="1168841"/>
            <a:ext cx="2647783" cy="2939661"/>
          </a:xfrm>
          <a:prstGeom prst="rect">
            <a:avLst/>
          </a:prstGeom>
          <a:noFill/>
          <a:ln>
            <a:solidFill>
              <a:schemeClr val="accent1">
                <a:shade val="15000"/>
                <a:alpha val="3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8285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A327AA14-D155-9538-0329-5767C17B1A9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4000" cy="1260000"/>
          </a:xfrm>
        </p:spPr>
        <p:txBody>
          <a:bodyPr/>
          <a:lstStyle/>
          <a:p>
            <a:r>
              <a:rPr lang="en-US" sz="2000" dirty="0">
                <a:solidFill>
                  <a:schemeClr val="accent2"/>
                </a:solidFill>
              </a:rPr>
              <a:t>Less Employees Can Contribute Effectively To Client Subscript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995C69-9691-7586-433F-7B46A37CF136}"/>
              </a:ext>
            </a:extLst>
          </p:cNvPr>
          <p:cNvSpPr txBox="1"/>
          <p:nvPr/>
        </p:nvSpPr>
        <p:spPr>
          <a:xfrm>
            <a:off x="4933335" y="2676352"/>
            <a:ext cx="3920441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u="sng" dirty="0"/>
              <a:t>Key Takeaways</a:t>
            </a:r>
            <a:endParaRPr lang="en-US" u="sng" dirty="0"/>
          </a:p>
          <a:p>
            <a:endParaRPr lang="en-US" dirty="0"/>
          </a:p>
          <a:p>
            <a:pPr marL="342900" indent="-342900" algn="just">
              <a:buAutoNum type="arabicPeriod"/>
            </a:pPr>
            <a:r>
              <a:rPr lang="en-US" dirty="0"/>
              <a:t>More employees doesn’t necessarily mean higher possibility of subscription.</a:t>
            </a:r>
          </a:p>
          <a:p>
            <a:pPr marL="342900" indent="-342900" algn="just">
              <a:buAutoNum type="arabicPeriod"/>
            </a:pPr>
            <a:endParaRPr lang="en-US" dirty="0"/>
          </a:p>
          <a:p>
            <a:pPr marL="342900" indent="-342900" algn="just">
              <a:buFont typeface="Arial"/>
              <a:buAutoNum type="arabicPeriod"/>
            </a:pPr>
            <a:r>
              <a:rPr lang="en-US" dirty="0"/>
              <a:t>Lesser Nbr of employees have historically achieved more frequent contact with the client showing higher subscription rates.</a:t>
            </a:r>
          </a:p>
          <a:p>
            <a:pPr marL="342900" indent="-342900" algn="just">
              <a:buAutoNum type="arabicPeriod"/>
            </a:pP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8A5F38-3725-5C9F-2776-32E18FCD350C}"/>
              </a:ext>
            </a:extLst>
          </p:cNvPr>
          <p:cNvSpPr/>
          <p:nvPr/>
        </p:nvSpPr>
        <p:spPr>
          <a:xfrm>
            <a:off x="4817263" y="2676353"/>
            <a:ext cx="4104099" cy="1917768"/>
          </a:xfrm>
          <a:prstGeom prst="rect">
            <a:avLst/>
          </a:prstGeom>
          <a:noFill/>
          <a:ln>
            <a:solidFill>
              <a:schemeClr val="accent1">
                <a:shade val="15000"/>
                <a:alpha val="3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E8CFF58-DAD5-5834-F00B-A610494E93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224" y="740316"/>
            <a:ext cx="3455866" cy="2020428"/>
          </a:xfrm>
          <a:prstGeom prst="rect">
            <a:avLst/>
          </a:prstGeom>
          <a:noFill/>
          <a:ln w="127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F44FA574-9D68-8FC5-72F4-D07F2A8E5E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224" y="2822059"/>
            <a:ext cx="3469544" cy="2089154"/>
          </a:xfrm>
          <a:prstGeom prst="rect">
            <a:avLst/>
          </a:prstGeom>
          <a:noFill/>
          <a:ln w="127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4FEC58C-8331-54F3-15D6-4A84EEEFF685}"/>
              </a:ext>
            </a:extLst>
          </p:cNvPr>
          <p:cNvCxnSpPr>
            <a:cxnSpLocks/>
          </p:cNvCxnSpPr>
          <p:nvPr/>
        </p:nvCxnSpPr>
        <p:spPr>
          <a:xfrm flipV="1">
            <a:off x="4315592" y="1915573"/>
            <a:ext cx="0" cy="2678548"/>
          </a:xfrm>
          <a:prstGeom prst="line">
            <a:avLst/>
          </a:prstGeom>
          <a:ln w="28575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94E1F4D-5B3A-3403-E4A8-982433612CF6}"/>
              </a:ext>
            </a:extLst>
          </p:cNvPr>
          <p:cNvCxnSpPr>
            <a:cxnSpLocks/>
          </p:cNvCxnSpPr>
          <p:nvPr/>
        </p:nvCxnSpPr>
        <p:spPr>
          <a:xfrm>
            <a:off x="3534185" y="4594121"/>
            <a:ext cx="758440" cy="0"/>
          </a:xfrm>
          <a:prstGeom prst="line">
            <a:avLst/>
          </a:prstGeom>
          <a:ln w="28575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7C4AB62-BD1E-B491-E874-4DF8A1415695}"/>
              </a:ext>
            </a:extLst>
          </p:cNvPr>
          <p:cNvCxnSpPr>
            <a:cxnSpLocks/>
          </p:cNvCxnSpPr>
          <p:nvPr/>
        </p:nvCxnSpPr>
        <p:spPr>
          <a:xfrm>
            <a:off x="3534185" y="1915573"/>
            <a:ext cx="758440" cy="0"/>
          </a:xfrm>
          <a:prstGeom prst="line">
            <a:avLst/>
          </a:prstGeom>
          <a:ln w="28575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0C95462-8F4E-70A0-59D8-F7642BD262EB}"/>
              </a:ext>
            </a:extLst>
          </p:cNvPr>
          <p:cNvCxnSpPr>
            <a:cxnSpLocks/>
          </p:cNvCxnSpPr>
          <p:nvPr/>
        </p:nvCxnSpPr>
        <p:spPr>
          <a:xfrm>
            <a:off x="4315592" y="3935361"/>
            <a:ext cx="617743" cy="0"/>
          </a:xfrm>
          <a:prstGeom prst="line">
            <a:avLst/>
          </a:prstGeom>
          <a:ln w="28575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33195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1" name="Google Shape;871;p33"/>
          <p:cNvSpPr txBox="1">
            <a:spLocks noGrp="1"/>
          </p:cNvSpPr>
          <p:nvPr>
            <p:ph type="title"/>
          </p:nvPr>
        </p:nvSpPr>
        <p:spPr>
          <a:xfrm>
            <a:off x="3697353" y="2456343"/>
            <a:ext cx="4355700" cy="1759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odeling</a:t>
            </a:r>
            <a:endParaRPr/>
          </a:p>
        </p:txBody>
      </p:sp>
      <p:sp>
        <p:nvSpPr>
          <p:cNvPr id="872" name="Google Shape;872;p33"/>
          <p:cNvSpPr txBox="1">
            <a:spLocks noGrp="1"/>
          </p:cNvSpPr>
          <p:nvPr>
            <p:ph type="title" idx="2"/>
          </p:nvPr>
        </p:nvSpPr>
        <p:spPr>
          <a:xfrm>
            <a:off x="5060553" y="940516"/>
            <a:ext cx="1629300" cy="147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3</a:t>
            </a:r>
            <a:endParaRPr/>
          </a:p>
        </p:txBody>
      </p:sp>
      <p:grpSp>
        <p:nvGrpSpPr>
          <p:cNvPr id="873" name="Google Shape;873;p33"/>
          <p:cNvGrpSpPr/>
          <p:nvPr/>
        </p:nvGrpSpPr>
        <p:grpSpPr>
          <a:xfrm>
            <a:off x="351435" y="412016"/>
            <a:ext cx="1301097" cy="1072159"/>
            <a:chOff x="8077428" y="4048214"/>
            <a:chExt cx="933690" cy="788700"/>
          </a:xfrm>
        </p:grpSpPr>
        <p:sp>
          <p:nvSpPr>
            <p:cNvPr id="874" name="Google Shape;874;p33"/>
            <p:cNvSpPr/>
            <p:nvPr/>
          </p:nvSpPr>
          <p:spPr>
            <a:xfrm>
              <a:off x="8077428" y="4048214"/>
              <a:ext cx="235200" cy="7887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3"/>
            <p:cNvSpPr/>
            <p:nvPr/>
          </p:nvSpPr>
          <p:spPr>
            <a:xfrm>
              <a:off x="8426673" y="4191843"/>
              <a:ext cx="235200" cy="6450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6" name="Google Shape;876;p33"/>
            <p:cNvSpPr/>
            <p:nvPr/>
          </p:nvSpPr>
          <p:spPr>
            <a:xfrm>
              <a:off x="8775917" y="4392244"/>
              <a:ext cx="235200" cy="4446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77" name="Google Shape;877;p33"/>
          <p:cNvSpPr/>
          <p:nvPr/>
        </p:nvSpPr>
        <p:spPr>
          <a:xfrm>
            <a:off x="2968436" y="184686"/>
            <a:ext cx="140400" cy="1404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8" name="Google Shape;878;p33"/>
          <p:cNvSpPr/>
          <p:nvPr/>
        </p:nvSpPr>
        <p:spPr>
          <a:xfrm>
            <a:off x="211023" y="3265896"/>
            <a:ext cx="140400" cy="140400"/>
          </a:xfrm>
          <a:prstGeom prst="ellipse">
            <a:avLst/>
          </a:prstGeom>
          <a:solidFill>
            <a:srgbClr val="000000">
              <a:alpha val="12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79" name="Google Shape;879;p33"/>
          <p:cNvGrpSpPr/>
          <p:nvPr/>
        </p:nvGrpSpPr>
        <p:grpSpPr>
          <a:xfrm>
            <a:off x="351416" y="3830928"/>
            <a:ext cx="1133720" cy="1133717"/>
            <a:chOff x="10173800" y="2018150"/>
            <a:chExt cx="1448103" cy="1448100"/>
          </a:xfrm>
        </p:grpSpPr>
        <p:sp>
          <p:nvSpPr>
            <p:cNvPr id="880" name="Google Shape;880;p33"/>
            <p:cNvSpPr/>
            <p:nvPr/>
          </p:nvSpPr>
          <p:spPr>
            <a:xfrm>
              <a:off x="10173800" y="2018150"/>
              <a:ext cx="1448100" cy="1448100"/>
            </a:xfrm>
            <a:prstGeom prst="donut">
              <a:avLst>
                <a:gd name="adj" fmla="val 20968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" name="Google Shape;881;p33"/>
            <p:cNvSpPr/>
            <p:nvPr/>
          </p:nvSpPr>
          <p:spPr>
            <a:xfrm flipH="1">
              <a:off x="10173803" y="2018150"/>
              <a:ext cx="1448100" cy="1448100"/>
            </a:xfrm>
            <a:prstGeom prst="blockArc">
              <a:avLst>
                <a:gd name="adj1" fmla="val 10800000"/>
                <a:gd name="adj2" fmla="val 16161326"/>
                <a:gd name="adj3" fmla="val 20401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82" name="Google Shape;882;p33"/>
          <p:cNvSpPr/>
          <p:nvPr/>
        </p:nvSpPr>
        <p:spPr>
          <a:xfrm>
            <a:off x="2796527" y="2380950"/>
            <a:ext cx="171900" cy="148500"/>
          </a:xfrm>
          <a:prstGeom prst="triangle">
            <a:avLst>
              <a:gd name="adj" fmla="val 5000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3" name="Google Shape;883;p33"/>
          <p:cNvGrpSpPr/>
          <p:nvPr/>
        </p:nvGrpSpPr>
        <p:grpSpPr>
          <a:xfrm>
            <a:off x="1652514" y="3242074"/>
            <a:ext cx="1226117" cy="958679"/>
            <a:chOff x="1477660" y="1834701"/>
            <a:chExt cx="546593" cy="427390"/>
          </a:xfrm>
        </p:grpSpPr>
        <p:sp>
          <p:nvSpPr>
            <p:cNvPr id="884" name="Google Shape;884;p33"/>
            <p:cNvSpPr/>
            <p:nvPr/>
          </p:nvSpPr>
          <p:spPr>
            <a:xfrm>
              <a:off x="1542984" y="2006268"/>
              <a:ext cx="399412" cy="255824"/>
            </a:xfrm>
            <a:custGeom>
              <a:avLst/>
              <a:gdLst/>
              <a:ahLst/>
              <a:cxnLst/>
              <a:rect l="l" t="t" r="r" b="b"/>
              <a:pathLst>
                <a:path w="11433" h="6590" extrusionOk="0">
                  <a:moveTo>
                    <a:pt x="34" y="0"/>
                  </a:moveTo>
                  <a:cubicBezTo>
                    <a:pt x="12" y="113"/>
                    <a:pt x="0" y="225"/>
                    <a:pt x="0" y="349"/>
                  </a:cubicBezTo>
                  <a:cubicBezTo>
                    <a:pt x="0" y="428"/>
                    <a:pt x="0" y="496"/>
                    <a:pt x="12" y="575"/>
                  </a:cubicBezTo>
                  <a:lnTo>
                    <a:pt x="0" y="1239"/>
                  </a:lnTo>
                  <a:cubicBezTo>
                    <a:pt x="0" y="1284"/>
                    <a:pt x="0" y="1340"/>
                    <a:pt x="0" y="1386"/>
                  </a:cubicBezTo>
                  <a:cubicBezTo>
                    <a:pt x="0" y="1543"/>
                    <a:pt x="23" y="1690"/>
                    <a:pt x="57" y="1825"/>
                  </a:cubicBezTo>
                  <a:cubicBezTo>
                    <a:pt x="124" y="2039"/>
                    <a:pt x="226" y="2230"/>
                    <a:pt x="361" y="2410"/>
                  </a:cubicBezTo>
                  <a:cubicBezTo>
                    <a:pt x="372" y="2422"/>
                    <a:pt x="383" y="2433"/>
                    <a:pt x="395" y="2456"/>
                  </a:cubicBezTo>
                  <a:cubicBezTo>
                    <a:pt x="575" y="2681"/>
                    <a:pt x="823" y="2884"/>
                    <a:pt x="1115" y="3052"/>
                  </a:cubicBezTo>
                  <a:cubicBezTo>
                    <a:pt x="1138" y="3075"/>
                    <a:pt x="1172" y="3086"/>
                    <a:pt x="1194" y="3109"/>
                  </a:cubicBezTo>
                  <a:cubicBezTo>
                    <a:pt x="1735" y="3402"/>
                    <a:pt x="2433" y="3582"/>
                    <a:pt x="3177" y="3582"/>
                  </a:cubicBezTo>
                  <a:cubicBezTo>
                    <a:pt x="3931" y="3582"/>
                    <a:pt x="4551" y="3424"/>
                    <a:pt x="5091" y="3143"/>
                  </a:cubicBezTo>
                  <a:lnTo>
                    <a:pt x="5091" y="3143"/>
                  </a:lnTo>
                  <a:cubicBezTo>
                    <a:pt x="5080" y="3210"/>
                    <a:pt x="5069" y="3278"/>
                    <a:pt x="5069" y="3345"/>
                  </a:cubicBezTo>
                  <a:cubicBezTo>
                    <a:pt x="5069" y="3424"/>
                    <a:pt x="5080" y="3503"/>
                    <a:pt x="5091" y="3582"/>
                  </a:cubicBezTo>
                  <a:lnTo>
                    <a:pt x="5080" y="4246"/>
                  </a:lnTo>
                  <a:cubicBezTo>
                    <a:pt x="5080" y="4291"/>
                    <a:pt x="5069" y="4336"/>
                    <a:pt x="5069" y="4393"/>
                  </a:cubicBezTo>
                  <a:cubicBezTo>
                    <a:pt x="5069" y="4652"/>
                    <a:pt x="5136" y="4911"/>
                    <a:pt x="5260" y="5147"/>
                  </a:cubicBezTo>
                  <a:cubicBezTo>
                    <a:pt x="5283" y="5181"/>
                    <a:pt x="5305" y="5215"/>
                    <a:pt x="5317" y="5249"/>
                  </a:cubicBezTo>
                  <a:cubicBezTo>
                    <a:pt x="5362" y="5305"/>
                    <a:pt x="5407" y="5373"/>
                    <a:pt x="5452" y="5440"/>
                  </a:cubicBezTo>
                  <a:cubicBezTo>
                    <a:pt x="5486" y="5463"/>
                    <a:pt x="5508" y="5497"/>
                    <a:pt x="5531" y="5530"/>
                  </a:cubicBezTo>
                  <a:cubicBezTo>
                    <a:pt x="5610" y="5620"/>
                    <a:pt x="5700" y="5711"/>
                    <a:pt x="5801" y="5789"/>
                  </a:cubicBezTo>
                  <a:cubicBezTo>
                    <a:pt x="5835" y="5812"/>
                    <a:pt x="5869" y="5846"/>
                    <a:pt x="5902" y="5868"/>
                  </a:cubicBezTo>
                  <a:cubicBezTo>
                    <a:pt x="6477" y="6308"/>
                    <a:pt x="7322" y="6589"/>
                    <a:pt x="8256" y="6589"/>
                  </a:cubicBezTo>
                  <a:cubicBezTo>
                    <a:pt x="9191" y="6589"/>
                    <a:pt x="9980" y="6319"/>
                    <a:pt x="10565" y="5902"/>
                  </a:cubicBezTo>
                  <a:cubicBezTo>
                    <a:pt x="10610" y="5868"/>
                    <a:pt x="10655" y="5823"/>
                    <a:pt x="10701" y="5789"/>
                  </a:cubicBezTo>
                  <a:cubicBezTo>
                    <a:pt x="10802" y="5711"/>
                    <a:pt x="10892" y="5620"/>
                    <a:pt x="10971" y="5530"/>
                  </a:cubicBezTo>
                  <a:cubicBezTo>
                    <a:pt x="11016" y="5485"/>
                    <a:pt x="11050" y="5429"/>
                    <a:pt x="11083" y="5384"/>
                  </a:cubicBezTo>
                  <a:cubicBezTo>
                    <a:pt x="11117" y="5339"/>
                    <a:pt x="11151" y="5294"/>
                    <a:pt x="11185" y="5249"/>
                  </a:cubicBezTo>
                  <a:cubicBezTo>
                    <a:pt x="11196" y="5215"/>
                    <a:pt x="11219" y="5181"/>
                    <a:pt x="11241" y="5147"/>
                  </a:cubicBezTo>
                  <a:cubicBezTo>
                    <a:pt x="11365" y="4911"/>
                    <a:pt x="11433" y="4652"/>
                    <a:pt x="11433" y="4393"/>
                  </a:cubicBezTo>
                  <a:lnTo>
                    <a:pt x="11433" y="4122"/>
                  </a:lnTo>
                  <a:cubicBezTo>
                    <a:pt x="11286" y="4077"/>
                    <a:pt x="11151" y="4021"/>
                    <a:pt x="11027" y="3965"/>
                  </a:cubicBezTo>
                  <a:cubicBezTo>
                    <a:pt x="10881" y="3897"/>
                    <a:pt x="10723" y="3830"/>
                    <a:pt x="10577" y="3762"/>
                  </a:cubicBezTo>
                  <a:cubicBezTo>
                    <a:pt x="10543" y="3740"/>
                    <a:pt x="10498" y="3728"/>
                    <a:pt x="10441" y="3706"/>
                  </a:cubicBezTo>
                  <a:cubicBezTo>
                    <a:pt x="10205" y="3604"/>
                    <a:pt x="9957" y="3514"/>
                    <a:pt x="9721" y="3413"/>
                  </a:cubicBezTo>
                  <a:cubicBezTo>
                    <a:pt x="9022" y="3131"/>
                    <a:pt x="8324" y="2838"/>
                    <a:pt x="7648" y="2512"/>
                  </a:cubicBezTo>
                  <a:cubicBezTo>
                    <a:pt x="6578" y="1994"/>
                    <a:pt x="5553" y="1374"/>
                    <a:pt x="4528" y="777"/>
                  </a:cubicBezTo>
                  <a:cubicBezTo>
                    <a:pt x="4100" y="529"/>
                    <a:pt x="3672" y="270"/>
                    <a:pt x="3267" y="0"/>
                  </a:cubicBezTo>
                  <a:close/>
                </a:path>
              </a:pathLst>
            </a:cu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3"/>
            <p:cNvSpPr/>
            <p:nvPr/>
          </p:nvSpPr>
          <p:spPr>
            <a:xfrm>
              <a:off x="1542986" y="1962978"/>
              <a:ext cx="222361" cy="153469"/>
            </a:xfrm>
            <a:custGeom>
              <a:avLst/>
              <a:gdLst/>
              <a:ahLst/>
              <a:cxnLst/>
              <a:rect l="l" t="t" r="r" b="b"/>
              <a:pathLst>
                <a:path w="6365" h="4393" extrusionOk="0">
                  <a:moveTo>
                    <a:pt x="3188" y="0"/>
                  </a:moveTo>
                  <a:cubicBezTo>
                    <a:pt x="1971" y="0"/>
                    <a:pt x="924" y="462"/>
                    <a:pt x="383" y="1149"/>
                  </a:cubicBezTo>
                  <a:lnTo>
                    <a:pt x="23" y="1149"/>
                  </a:lnTo>
                  <a:lnTo>
                    <a:pt x="12" y="2106"/>
                  </a:lnTo>
                  <a:cubicBezTo>
                    <a:pt x="12" y="2129"/>
                    <a:pt x="0" y="2163"/>
                    <a:pt x="0" y="2197"/>
                  </a:cubicBezTo>
                  <a:cubicBezTo>
                    <a:pt x="0" y="3413"/>
                    <a:pt x="1431" y="4393"/>
                    <a:pt x="3188" y="4393"/>
                  </a:cubicBezTo>
                  <a:cubicBezTo>
                    <a:pt x="4945" y="4393"/>
                    <a:pt x="6364" y="3413"/>
                    <a:pt x="6364" y="2197"/>
                  </a:cubicBezTo>
                  <a:lnTo>
                    <a:pt x="6364" y="1149"/>
                  </a:lnTo>
                  <a:lnTo>
                    <a:pt x="5981" y="1149"/>
                  </a:lnTo>
                  <a:cubicBezTo>
                    <a:pt x="5452" y="462"/>
                    <a:pt x="4393" y="0"/>
                    <a:pt x="3188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3"/>
            <p:cNvSpPr/>
            <p:nvPr/>
          </p:nvSpPr>
          <p:spPr>
            <a:xfrm>
              <a:off x="1542986" y="1962559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extrusionOk="0">
                  <a:moveTo>
                    <a:pt x="3177" y="1"/>
                  </a:moveTo>
                  <a:cubicBezTo>
                    <a:pt x="1431" y="1"/>
                    <a:pt x="0" y="992"/>
                    <a:pt x="0" y="2209"/>
                  </a:cubicBezTo>
                  <a:cubicBezTo>
                    <a:pt x="0" y="3425"/>
                    <a:pt x="1431" y="4405"/>
                    <a:pt x="3177" y="4405"/>
                  </a:cubicBezTo>
                  <a:cubicBezTo>
                    <a:pt x="4934" y="4405"/>
                    <a:pt x="6364" y="3425"/>
                    <a:pt x="6364" y="2209"/>
                  </a:cubicBezTo>
                  <a:cubicBezTo>
                    <a:pt x="6364" y="992"/>
                    <a:pt x="4934" y="1"/>
                    <a:pt x="31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3"/>
            <p:cNvSpPr/>
            <p:nvPr/>
          </p:nvSpPr>
          <p:spPr>
            <a:xfrm>
              <a:off x="1542986" y="1962978"/>
              <a:ext cx="222361" cy="153469"/>
            </a:xfrm>
            <a:custGeom>
              <a:avLst/>
              <a:gdLst/>
              <a:ahLst/>
              <a:cxnLst/>
              <a:rect l="l" t="t" r="r" b="b"/>
              <a:pathLst>
                <a:path w="6365" h="4393" fill="none" extrusionOk="0">
                  <a:moveTo>
                    <a:pt x="5981" y="1149"/>
                  </a:moveTo>
                  <a:cubicBezTo>
                    <a:pt x="5452" y="462"/>
                    <a:pt x="4393" y="0"/>
                    <a:pt x="3188" y="0"/>
                  </a:cubicBezTo>
                  <a:cubicBezTo>
                    <a:pt x="1971" y="0"/>
                    <a:pt x="924" y="462"/>
                    <a:pt x="383" y="1149"/>
                  </a:cubicBezTo>
                  <a:lnTo>
                    <a:pt x="23" y="1149"/>
                  </a:lnTo>
                  <a:lnTo>
                    <a:pt x="12" y="2106"/>
                  </a:lnTo>
                  <a:cubicBezTo>
                    <a:pt x="12" y="2129"/>
                    <a:pt x="0" y="2163"/>
                    <a:pt x="0" y="2197"/>
                  </a:cubicBezTo>
                  <a:cubicBezTo>
                    <a:pt x="0" y="3413"/>
                    <a:pt x="1431" y="4393"/>
                    <a:pt x="3188" y="4393"/>
                  </a:cubicBezTo>
                  <a:cubicBezTo>
                    <a:pt x="4945" y="4393"/>
                    <a:pt x="6364" y="3413"/>
                    <a:pt x="6364" y="2197"/>
                  </a:cubicBezTo>
                  <a:lnTo>
                    <a:pt x="6364" y="1149"/>
                  </a:ln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3"/>
            <p:cNvSpPr/>
            <p:nvPr/>
          </p:nvSpPr>
          <p:spPr>
            <a:xfrm>
              <a:off x="1542986" y="1962559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fill="none" extrusionOk="0">
                  <a:moveTo>
                    <a:pt x="6364" y="2209"/>
                  </a:moveTo>
                  <a:cubicBezTo>
                    <a:pt x="6364" y="3425"/>
                    <a:pt x="4934" y="4405"/>
                    <a:pt x="3177" y="4405"/>
                  </a:cubicBezTo>
                  <a:cubicBezTo>
                    <a:pt x="1431" y="4405"/>
                    <a:pt x="0" y="3425"/>
                    <a:pt x="0" y="2209"/>
                  </a:cubicBezTo>
                  <a:cubicBezTo>
                    <a:pt x="0" y="992"/>
                    <a:pt x="1431" y="1"/>
                    <a:pt x="3177" y="1"/>
                  </a:cubicBezTo>
                  <a:cubicBezTo>
                    <a:pt x="4934" y="1"/>
                    <a:pt x="6364" y="992"/>
                    <a:pt x="6364" y="220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9" name="Google Shape;889;p33"/>
            <p:cNvSpPr/>
            <p:nvPr/>
          </p:nvSpPr>
          <p:spPr>
            <a:xfrm>
              <a:off x="1542986" y="1926368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extrusionOk="0">
                  <a:moveTo>
                    <a:pt x="3177" y="1"/>
                  </a:moveTo>
                  <a:cubicBezTo>
                    <a:pt x="1431" y="1"/>
                    <a:pt x="0" y="981"/>
                    <a:pt x="0" y="2197"/>
                  </a:cubicBezTo>
                  <a:cubicBezTo>
                    <a:pt x="0" y="3413"/>
                    <a:pt x="1431" y="4405"/>
                    <a:pt x="3177" y="4405"/>
                  </a:cubicBezTo>
                  <a:cubicBezTo>
                    <a:pt x="4934" y="4405"/>
                    <a:pt x="6364" y="3413"/>
                    <a:pt x="6364" y="2197"/>
                  </a:cubicBezTo>
                  <a:cubicBezTo>
                    <a:pt x="6364" y="981"/>
                    <a:pt x="4934" y="1"/>
                    <a:pt x="31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0" name="Google Shape;890;p33"/>
            <p:cNvSpPr/>
            <p:nvPr/>
          </p:nvSpPr>
          <p:spPr>
            <a:xfrm>
              <a:off x="1542986" y="1926368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fill="none" extrusionOk="0">
                  <a:moveTo>
                    <a:pt x="6364" y="2197"/>
                  </a:moveTo>
                  <a:cubicBezTo>
                    <a:pt x="6364" y="3413"/>
                    <a:pt x="4934" y="4405"/>
                    <a:pt x="3177" y="4405"/>
                  </a:cubicBezTo>
                  <a:cubicBezTo>
                    <a:pt x="1431" y="4405"/>
                    <a:pt x="0" y="3413"/>
                    <a:pt x="0" y="2197"/>
                  </a:cubicBezTo>
                  <a:cubicBezTo>
                    <a:pt x="0" y="981"/>
                    <a:pt x="1431" y="1"/>
                    <a:pt x="3177" y="1"/>
                  </a:cubicBezTo>
                  <a:cubicBezTo>
                    <a:pt x="4934" y="1"/>
                    <a:pt x="6364" y="981"/>
                    <a:pt x="6364" y="219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1" name="Google Shape;891;p33"/>
            <p:cNvSpPr/>
            <p:nvPr/>
          </p:nvSpPr>
          <p:spPr>
            <a:xfrm>
              <a:off x="1654739" y="208060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cubicBezTo>
                    <a:pt x="0" y="1003"/>
                    <a:pt x="0" y="970"/>
                    <a:pt x="0" y="947"/>
                  </a:cubicBez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2" name="Google Shape;892;p33"/>
            <p:cNvSpPr/>
            <p:nvPr/>
          </p:nvSpPr>
          <p:spPr>
            <a:xfrm>
              <a:off x="1678739" y="207826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3" name="Google Shape;893;p33"/>
            <p:cNvSpPr/>
            <p:nvPr/>
          </p:nvSpPr>
          <p:spPr>
            <a:xfrm>
              <a:off x="1701935" y="207312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" name="Google Shape;894;p33"/>
            <p:cNvSpPr/>
            <p:nvPr/>
          </p:nvSpPr>
          <p:spPr>
            <a:xfrm>
              <a:off x="1722790" y="2064496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3"/>
            <p:cNvSpPr/>
            <p:nvPr/>
          </p:nvSpPr>
          <p:spPr>
            <a:xfrm>
              <a:off x="1740886" y="205226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3"/>
            <p:cNvSpPr/>
            <p:nvPr/>
          </p:nvSpPr>
          <p:spPr>
            <a:xfrm>
              <a:off x="1757410" y="203221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3"/>
            <p:cNvSpPr/>
            <p:nvPr/>
          </p:nvSpPr>
          <p:spPr>
            <a:xfrm>
              <a:off x="1630321" y="207826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3"/>
            <p:cNvSpPr/>
            <p:nvPr/>
          </p:nvSpPr>
          <p:spPr>
            <a:xfrm>
              <a:off x="1607124" y="207312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3"/>
            <p:cNvSpPr/>
            <p:nvPr/>
          </p:nvSpPr>
          <p:spPr>
            <a:xfrm>
              <a:off x="1586269" y="2064496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3"/>
            <p:cNvSpPr/>
            <p:nvPr/>
          </p:nvSpPr>
          <p:spPr>
            <a:xfrm>
              <a:off x="1568173" y="205226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3"/>
            <p:cNvSpPr/>
            <p:nvPr/>
          </p:nvSpPr>
          <p:spPr>
            <a:xfrm>
              <a:off x="1551650" y="203221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3"/>
            <p:cNvSpPr/>
            <p:nvPr/>
          </p:nvSpPr>
          <p:spPr>
            <a:xfrm>
              <a:off x="1568173" y="1943695"/>
              <a:ext cx="171985" cy="118849"/>
            </a:xfrm>
            <a:custGeom>
              <a:avLst/>
              <a:gdLst/>
              <a:ahLst/>
              <a:cxnLst/>
              <a:rect l="l" t="t" r="r" b="b"/>
              <a:pathLst>
                <a:path w="4923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47"/>
                    <a:pt x="1104" y="3402"/>
                    <a:pt x="2456" y="3402"/>
                  </a:cubicBezTo>
                  <a:cubicBezTo>
                    <a:pt x="3819" y="3402"/>
                    <a:pt x="4922" y="2647"/>
                    <a:pt x="4922" y="1701"/>
                  </a:cubicBezTo>
                  <a:cubicBezTo>
                    <a:pt x="4922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3"/>
            <p:cNvSpPr/>
            <p:nvPr/>
          </p:nvSpPr>
          <p:spPr>
            <a:xfrm>
              <a:off x="1568173" y="1943695"/>
              <a:ext cx="171985" cy="118849"/>
            </a:xfrm>
            <a:custGeom>
              <a:avLst/>
              <a:gdLst/>
              <a:ahLst/>
              <a:cxnLst/>
              <a:rect l="l" t="t" r="r" b="b"/>
              <a:pathLst>
                <a:path w="4923" h="3402" fill="none" extrusionOk="0">
                  <a:moveTo>
                    <a:pt x="4922" y="1701"/>
                  </a:moveTo>
                  <a:cubicBezTo>
                    <a:pt x="4922" y="2647"/>
                    <a:pt x="3819" y="3402"/>
                    <a:pt x="2456" y="3402"/>
                  </a:cubicBezTo>
                  <a:cubicBezTo>
                    <a:pt x="1104" y="3402"/>
                    <a:pt x="0" y="2647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22" y="766"/>
                    <a:pt x="4922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3"/>
            <p:cNvSpPr/>
            <p:nvPr/>
          </p:nvSpPr>
          <p:spPr>
            <a:xfrm>
              <a:off x="1591369" y="1970035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1" y="1"/>
                  </a:moveTo>
                  <a:lnTo>
                    <a:pt x="68" y="125"/>
                  </a:lnTo>
                  <a:lnTo>
                    <a:pt x="282" y="237"/>
                  </a:lnTo>
                  <a:cubicBezTo>
                    <a:pt x="91" y="350"/>
                    <a:pt x="1" y="451"/>
                    <a:pt x="12" y="564"/>
                  </a:cubicBezTo>
                  <a:cubicBezTo>
                    <a:pt x="12" y="665"/>
                    <a:pt x="125" y="778"/>
                    <a:pt x="327" y="891"/>
                  </a:cubicBezTo>
                  <a:cubicBezTo>
                    <a:pt x="463" y="970"/>
                    <a:pt x="620" y="1026"/>
                    <a:pt x="778" y="1071"/>
                  </a:cubicBezTo>
                  <a:cubicBezTo>
                    <a:pt x="936" y="1105"/>
                    <a:pt x="1082" y="1127"/>
                    <a:pt x="1217" y="1138"/>
                  </a:cubicBezTo>
                  <a:cubicBezTo>
                    <a:pt x="1352" y="1138"/>
                    <a:pt x="1578" y="1138"/>
                    <a:pt x="1904" y="1127"/>
                  </a:cubicBezTo>
                  <a:cubicBezTo>
                    <a:pt x="2096" y="1127"/>
                    <a:pt x="2242" y="1138"/>
                    <a:pt x="2321" y="1161"/>
                  </a:cubicBezTo>
                  <a:cubicBezTo>
                    <a:pt x="2411" y="1195"/>
                    <a:pt x="2535" y="1251"/>
                    <a:pt x="2681" y="1330"/>
                  </a:cubicBezTo>
                  <a:cubicBezTo>
                    <a:pt x="2738" y="1364"/>
                    <a:pt x="2783" y="1398"/>
                    <a:pt x="2783" y="1420"/>
                  </a:cubicBezTo>
                  <a:cubicBezTo>
                    <a:pt x="2794" y="1454"/>
                    <a:pt x="2783" y="1476"/>
                    <a:pt x="2738" y="1488"/>
                  </a:cubicBezTo>
                  <a:cubicBezTo>
                    <a:pt x="2710" y="1499"/>
                    <a:pt x="2684" y="1505"/>
                    <a:pt x="2659" y="1505"/>
                  </a:cubicBezTo>
                  <a:cubicBezTo>
                    <a:pt x="2634" y="1505"/>
                    <a:pt x="2608" y="1499"/>
                    <a:pt x="2580" y="1488"/>
                  </a:cubicBezTo>
                  <a:cubicBezTo>
                    <a:pt x="2524" y="1476"/>
                    <a:pt x="2400" y="1409"/>
                    <a:pt x="2220" y="1307"/>
                  </a:cubicBezTo>
                  <a:lnTo>
                    <a:pt x="2051" y="1217"/>
                  </a:lnTo>
                  <a:lnTo>
                    <a:pt x="1409" y="1488"/>
                  </a:lnTo>
                  <a:lnTo>
                    <a:pt x="1544" y="1555"/>
                  </a:lnTo>
                  <a:cubicBezTo>
                    <a:pt x="1848" y="1724"/>
                    <a:pt x="2118" y="1814"/>
                    <a:pt x="2366" y="1826"/>
                  </a:cubicBezTo>
                  <a:cubicBezTo>
                    <a:pt x="2431" y="1831"/>
                    <a:pt x="2493" y="1834"/>
                    <a:pt x="2552" y="1834"/>
                  </a:cubicBezTo>
                  <a:cubicBezTo>
                    <a:pt x="2731" y="1834"/>
                    <a:pt x="2887" y="1809"/>
                    <a:pt x="3031" y="1758"/>
                  </a:cubicBezTo>
                  <a:lnTo>
                    <a:pt x="3290" y="1904"/>
                  </a:lnTo>
                  <a:lnTo>
                    <a:pt x="3583" y="1792"/>
                  </a:lnTo>
                  <a:lnTo>
                    <a:pt x="3335" y="1645"/>
                  </a:lnTo>
                  <a:cubicBezTo>
                    <a:pt x="3515" y="1533"/>
                    <a:pt x="3594" y="1420"/>
                    <a:pt x="3571" y="1296"/>
                  </a:cubicBezTo>
                  <a:cubicBezTo>
                    <a:pt x="3537" y="1172"/>
                    <a:pt x="3402" y="1048"/>
                    <a:pt x="3166" y="913"/>
                  </a:cubicBezTo>
                  <a:cubicBezTo>
                    <a:pt x="3008" y="834"/>
                    <a:pt x="2862" y="767"/>
                    <a:pt x="2726" y="733"/>
                  </a:cubicBezTo>
                  <a:cubicBezTo>
                    <a:pt x="2580" y="688"/>
                    <a:pt x="2456" y="665"/>
                    <a:pt x="2332" y="665"/>
                  </a:cubicBezTo>
                  <a:cubicBezTo>
                    <a:pt x="2276" y="660"/>
                    <a:pt x="2200" y="657"/>
                    <a:pt x="2106" y="657"/>
                  </a:cubicBezTo>
                  <a:cubicBezTo>
                    <a:pt x="2011" y="657"/>
                    <a:pt x="1899" y="660"/>
                    <a:pt x="1769" y="665"/>
                  </a:cubicBezTo>
                  <a:cubicBezTo>
                    <a:pt x="1611" y="671"/>
                    <a:pt x="1482" y="674"/>
                    <a:pt x="1382" y="674"/>
                  </a:cubicBezTo>
                  <a:cubicBezTo>
                    <a:pt x="1282" y="674"/>
                    <a:pt x="1212" y="671"/>
                    <a:pt x="1172" y="665"/>
                  </a:cubicBezTo>
                  <a:cubicBezTo>
                    <a:pt x="1082" y="665"/>
                    <a:pt x="992" y="632"/>
                    <a:pt x="891" y="564"/>
                  </a:cubicBezTo>
                  <a:cubicBezTo>
                    <a:pt x="823" y="530"/>
                    <a:pt x="789" y="508"/>
                    <a:pt x="767" y="474"/>
                  </a:cubicBezTo>
                  <a:cubicBezTo>
                    <a:pt x="755" y="451"/>
                    <a:pt x="767" y="429"/>
                    <a:pt x="812" y="418"/>
                  </a:cubicBezTo>
                  <a:cubicBezTo>
                    <a:pt x="838" y="404"/>
                    <a:pt x="868" y="399"/>
                    <a:pt x="898" y="399"/>
                  </a:cubicBezTo>
                  <a:cubicBezTo>
                    <a:pt x="919" y="399"/>
                    <a:pt x="939" y="402"/>
                    <a:pt x="958" y="406"/>
                  </a:cubicBezTo>
                  <a:cubicBezTo>
                    <a:pt x="1014" y="418"/>
                    <a:pt x="1105" y="463"/>
                    <a:pt x="1217" y="530"/>
                  </a:cubicBezTo>
                  <a:lnTo>
                    <a:pt x="1330" y="587"/>
                  </a:lnTo>
                  <a:lnTo>
                    <a:pt x="1972" y="328"/>
                  </a:lnTo>
                  <a:cubicBezTo>
                    <a:pt x="1916" y="294"/>
                    <a:pt x="1882" y="271"/>
                    <a:pt x="1848" y="260"/>
                  </a:cubicBezTo>
                  <a:cubicBezTo>
                    <a:pt x="1645" y="147"/>
                    <a:pt x="1442" y="80"/>
                    <a:pt x="1228" y="57"/>
                  </a:cubicBezTo>
                  <a:cubicBezTo>
                    <a:pt x="1175" y="52"/>
                    <a:pt x="1121" y="49"/>
                    <a:pt x="1068" y="49"/>
                  </a:cubicBezTo>
                  <a:cubicBezTo>
                    <a:pt x="907" y="49"/>
                    <a:pt x="744" y="74"/>
                    <a:pt x="575" y="125"/>
                  </a:cubicBezTo>
                  <a:lnTo>
                    <a:pt x="36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3"/>
            <p:cNvSpPr/>
            <p:nvPr/>
          </p:nvSpPr>
          <p:spPr>
            <a:xfrm>
              <a:off x="1591369" y="1970035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2" y="328"/>
                  </a:moveTo>
                  <a:lnTo>
                    <a:pt x="1330" y="587"/>
                  </a:lnTo>
                  <a:lnTo>
                    <a:pt x="1217" y="530"/>
                  </a:lnTo>
                  <a:cubicBezTo>
                    <a:pt x="1105" y="463"/>
                    <a:pt x="1014" y="418"/>
                    <a:pt x="958" y="406"/>
                  </a:cubicBezTo>
                  <a:cubicBezTo>
                    <a:pt x="913" y="395"/>
                    <a:pt x="857" y="395"/>
                    <a:pt x="812" y="418"/>
                  </a:cubicBezTo>
                  <a:cubicBezTo>
                    <a:pt x="767" y="429"/>
                    <a:pt x="755" y="451"/>
                    <a:pt x="767" y="474"/>
                  </a:cubicBezTo>
                  <a:cubicBezTo>
                    <a:pt x="789" y="508"/>
                    <a:pt x="823" y="530"/>
                    <a:pt x="891" y="564"/>
                  </a:cubicBezTo>
                  <a:cubicBezTo>
                    <a:pt x="992" y="632"/>
                    <a:pt x="1082" y="665"/>
                    <a:pt x="1172" y="665"/>
                  </a:cubicBezTo>
                  <a:cubicBezTo>
                    <a:pt x="1251" y="677"/>
                    <a:pt x="1454" y="677"/>
                    <a:pt x="1769" y="665"/>
                  </a:cubicBezTo>
                  <a:cubicBezTo>
                    <a:pt x="2028" y="654"/>
                    <a:pt x="2220" y="654"/>
                    <a:pt x="2332" y="665"/>
                  </a:cubicBezTo>
                  <a:cubicBezTo>
                    <a:pt x="2456" y="665"/>
                    <a:pt x="2580" y="688"/>
                    <a:pt x="2726" y="733"/>
                  </a:cubicBezTo>
                  <a:cubicBezTo>
                    <a:pt x="2862" y="767"/>
                    <a:pt x="3008" y="834"/>
                    <a:pt x="3166" y="913"/>
                  </a:cubicBezTo>
                  <a:cubicBezTo>
                    <a:pt x="3402" y="1048"/>
                    <a:pt x="3537" y="1172"/>
                    <a:pt x="3571" y="1296"/>
                  </a:cubicBezTo>
                  <a:cubicBezTo>
                    <a:pt x="3594" y="1420"/>
                    <a:pt x="3515" y="1533"/>
                    <a:pt x="3335" y="1645"/>
                  </a:cubicBezTo>
                  <a:lnTo>
                    <a:pt x="3583" y="1792"/>
                  </a:lnTo>
                  <a:lnTo>
                    <a:pt x="3290" y="1904"/>
                  </a:lnTo>
                  <a:lnTo>
                    <a:pt x="3031" y="1758"/>
                  </a:lnTo>
                  <a:cubicBezTo>
                    <a:pt x="2839" y="1826"/>
                    <a:pt x="2625" y="1848"/>
                    <a:pt x="2366" y="1826"/>
                  </a:cubicBezTo>
                  <a:cubicBezTo>
                    <a:pt x="2118" y="1814"/>
                    <a:pt x="1848" y="1724"/>
                    <a:pt x="1544" y="1555"/>
                  </a:cubicBezTo>
                  <a:lnTo>
                    <a:pt x="1409" y="1488"/>
                  </a:lnTo>
                  <a:lnTo>
                    <a:pt x="2051" y="1217"/>
                  </a:lnTo>
                  <a:lnTo>
                    <a:pt x="2220" y="1307"/>
                  </a:lnTo>
                  <a:cubicBezTo>
                    <a:pt x="2400" y="1409"/>
                    <a:pt x="2524" y="1476"/>
                    <a:pt x="2580" y="1488"/>
                  </a:cubicBezTo>
                  <a:cubicBezTo>
                    <a:pt x="2636" y="1510"/>
                    <a:pt x="2681" y="1510"/>
                    <a:pt x="2738" y="1488"/>
                  </a:cubicBezTo>
                  <a:cubicBezTo>
                    <a:pt x="2783" y="1476"/>
                    <a:pt x="2794" y="1454"/>
                    <a:pt x="2783" y="1420"/>
                  </a:cubicBezTo>
                  <a:cubicBezTo>
                    <a:pt x="2783" y="1398"/>
                    <a:pt x="2738" y="1364"/>
                    <a:pt x="2681" y="1330"/>
                  </a:cubicBezTo>
                  <a:cubicBezTo>
                    <a:pt x="2535" y="1251"/>
                    <a:pt x="2411" y="1195"/>
                    <a:pt x="2321" y="1161"/>
                  </a:cubicBezTo>
                  <a:cubicBezTo>
                    <a:pt x="2242" y="1138"/>
                    <a:pt x="2096" y="1127"/>
                    <a:pt x="1904" y="1127"/>
                  </a:cubicBezTo>
                  <a:cubicBezTo>
                    <a:pt x="1578" y="1138"/>
                    <a:pt x="1352" y="1138"/>
                    <a:pt x="1217" y="1138"/>
                  </a:cubicBezTo>
                  <a:cubicBezTo>
                    <a:pt x="1082" y="1127"/>
                    <a:pt x="936" y="1105"/>
                    <a:pt x="778" y="1071"/>
                  </a:cubicBezTo>
                  <a:cubicBezTo>
                    <a:pt x="620" y="1026"/>
                    <a:pt x="463" y="970"/>
                    <a:pt x="327" y="891"/>
                  </a:cubicBezTo>
                  <a:cubicBezTo>
                    <a:pt x="125" y="778"/>
                    <a:pt x="12" y="665"/>
                    <a:pt x="12" y="564"/>
                  </a:cubicBezTo>
                  <a:cubicBezTo>
                    <a:pt x="1" y="451"/>
                    <a:pt x="91" y="350"/>
                    <a:pt x="282" y="237"/>
                  </a:cubicBezTo>
                  <a:lnTo>
                    <a:pt x="68" y="125"/>
                  </a:lnTo>
                  <a:lnTo>
                    <a:pt x="361" y="1"/>
                  </a:lnTo>
                  <a:lnTo>
                    <a:pt x="575" y="125"/>
                  </a:lnTo>
                  <a:cubicBezTo>
                    <a:pt x="800" y="57"/>
                    <a:pt x="1014" y="35"/>
                    <a:pt x="1228" y="57"/>
                  </a:cubicBezTo>
                  <a:cubicBezTo>
                    <a:pt x="1442" y="80"/>
                    <a:pt x="1645" y="147"/>
                    <a:pt x="1848" y="260"/>
                  </a:cubicBezTo>
                  <a:cubicBezTo>
                    <a:pt x="1882" y="271"/>
                    <a:pt x="1916" y="294"/>
                    <a:pt x="1972" y="32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extrusionOk="0">
                  <a:moveTo>
                    <a:pt x="3176" y="0"/>
                  </a:moveTo>
                  <a:cubicBezTo>
                    <a:pt x="1960" y="0"/>
                    <a:pt x="912" y="473"/>
                    <a:pt x="372" y="1160"/>
                  </a:cubicBezTo>
                  <a:lnTo>
                    <a:pt x="11" y="1160"/>
                  </a:lnTo>
                  <a:lnTo>
                    <a:pt x="0" y="2106"/>
                  </a:lnTo>
                  <a:cubicBezTo>
                    <a:pt x="0" y="2140"/>
                    <a:pt x="0" y="2174"/>
                    <a:pt x="0" y="2208"/>
                  </a:cubicBezTo>
                  <a:cubicBezTo>
                    <a:pt x="0" y="3424"/>
                    <a:pt x="1419" y="4404"/>
                    <a:pt x="3176" y="4404"/>
                  </a:cubicBezTo>
                  <a:cubicBezTo>
                    <a:pt x="4933" y="4404"/>
                    <a:pt x="6353" y="3424"/>
                    <a:pt x="6353" y="2208"/>
                  </a:cubicBezTo>
                  <a:lnTo>
                    <a:pt x="6353" y="1160"/>
                  </a:lnTo>
                  <a:lnTo>
                    <a:pt x="5981" y="1160"/>
                  </a:lnTo>
                  <a:cubicBezTo>
                    <a:pt x="5440" y="473"/>
                    <a:pt x="4393" y="0"/>
                    <a:pt x="3176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extrusionOk="0">
                  <a:moveTo>
                    <a:pt x="3176" y="0"/>
                  </a:moveTo>
                  <a:cubicBezTo>
                    <a:pt x="1419" y="0"/>
                    <a:pt x="0" y="991"/>
                    <a:pt x="0" y="2208"/>
                  </a:cubicBezTo>
                  <a:cubicBezTo>
                    <a:pt x="0" y="3413"/>
                    <a:pt x="1419" y="4404"/>
                    <a:pt x="3176" y="4404"/>
                  </a:cubicBezTo>
                  <a:cubicBezTo>
                    <a:pt x="4933" y="4404"/>
                    <a:pt x="6353" y="3413"/>
                    <a:pt x="6353" y="2208"/>
                  </a:cubicBezTo>
                  <a:cubicBezTo>
                    <a:pt x="6353" y="991"/>
                    <a:pt x="4933" y="0"/>
                    <a:pt x="317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fill="none" extrusionOk="0">
                  <a:moveTo>
                    <a:pt x="5981" y="1160"/>
                  </a:moveTo>
                  <a:cubicBezTo>
                    <a:pt x="5440" y="473"/>
                    <a:pt x="4393" y="0"/>
                    <a:pt x="3176" y="0"/>
                  </a:cubicBezTo>
                  <a:cubicBezTo>
                    <a:pt x="1960" y="0"/>
                    <a:pt x="912" y="473"/>
                    <a:pt x="372" y="1160"/>
                  </a:cubicBezTo>
                  <a:lnTo>
                    <a:pt x="11" y="1160"/>
                  </a:lnTo>
                  <a:lnTo>
                    <a:pt x="0" y="2106"/>
                  </a:lnTo>
                  <a:cubicBezTo>
                    <a:pt x="0" y="2140"/>
                    <a:pt x="0" y="2174"/>
                    <a:pt x="0" y="2208"/>
                  </a:cubicBezTo>
                  <a:cubicBezTo>
                    <a:pt x="0" y="3424"/>
                    <a:pt x="1419" y="4404"/>
                    <a:pt x="3176" y="4404"/>
                  </a:cubicBezTo>
                  <a:cubicBezTo>
                    <a:pt x="4933" y="4404"/>
                    <a:pt x="6353" y="3424"/>
                    <a:pt x="6353" y="2208"/>
                  </a:cubicBezTo>
                  <a:lnTo>
                    <a:pt x="6353" y="1160"/>
                  </a:ln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fill="none" extrusionOk="0">
                  <a:moveTo>
                    <a:pt x="6353" y="2208"/>
                  </a:moveTo>
                  <a:cubicBezTo>
                    <a:pt x="6353" y="3413"/>
                    <a:pt x="4933" y="4404"/>
                    <a:pt x="3176" y="4404"/>
                  </a:cubicBezTo>
                  <a:cubicBezTo>
                    <a:pt x="1419" y="4404"/>
                    <a:pt x="0" y="3413"/>
                    <a:pt x="0" y="2208"/>
                  </a:cubicBezTo>
                  <a:cubicBezTo>
                    <a:pt x="0" y="991"/>
                    <a:pt x="1419" y="0"/>
                    <a:pt x="3176" y="0"/>
                  </a:cubicBezTo>
                  <a:cubicBezTo>
                    <a:pt x="4933" y="0"/>
                    <a:pt x="6353" y="991"/>
                    <a:pt x="6353" y="220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3"/>
            <p:cNvSpPr/>
            <p:nvPr/>
          </p:nvSpPr>
          <p:spPr>
            <a:xfrm>
              <a:off x="1720450" y="2031414"/>
              <a:ext cx="221942" cy="153504"/>
            </a:xfrm>
            <a:custGeom>
              <a:avLst/>
              <a:gdLst/>
              <a:ahLst/>
              <a:cxnLst/>
              <a:rect l="l" t="t" r="r" b="b"/>
              <a:pathLst>
                <a:path w="6353" h="4394" extrusionOk="0">
                  <a:moveTo>
                    <a:pt x="3176" y="1"/>
                  </a:moveTo>
                  <a:cubicBezTo>
                    <a:pt x="1419" y="1"/>
                    <a:pt x="0" y="981"/>
                    <a:pt x="0" y="2197"/>
                  </a:cubicBezTo>
                  <a:cubicBezTo>
                    <a:pt x="0" y="3414"/>
                    <a:pt x="1419" y="4394"/>
                    <a:pt x="3176" y="4394"/>
                  </a:cubicBezTo>
                  <a:cubicBezTo>
                    <a:pt x="4933" y="4394"/>
                    <a:pt x="6353" y="3414"/>
                    <a:pt x="6353" y="2197"/>
                  </a:cubicBezTo>
                  <a:cubicBezTo>
                    <a:pt x="6353" y="981"/>
                    <a:pt x="4933" y="1"/>
                    <a:pt x="317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" name="Google Shape;911;p33"/>
            <p:cNvSpPr/>
            <p:nvPr/>
          </p:nvSpPr>
          <p:spPr>
            <a:xfrm>
              <a:off x="1720450" y="2031414"/>
              <a:ext cx="221942" cy="153504"/>
            </a:xfrm>
            <a:custGeom>
              <a:avLst/>
              <a:gdLst/>
              <a:ahLst/>
              <a:cxnLst/>
              <a:rect l="l" t="t" r="r" b="b"/>
              <a:pathLst>
                <a:path w="6353" h="4394" fill="none" extrusionOk="0">
                  <a:moveTo>
                    <a:pt x="6353" y="2197"/>
                  </a:moveTo>
                  <a:cubicBezTo>
                    <a:pt x="6353" y="3414"/>
                    <a:pt x="4933" y="4394"/>
                    <a:pt x="3176" y="4394"/>
                  </a:cubicBezTo>
                  <a:cubicBezTo>
                    <a:pt x="1419" y="4394"/>
                    <a:pt x="0" y="3414"/>
                    <a:pt x="0" y="2197"/>
                  </a:cubicBezTo>
                  <a:cubicBezTo>
                    <a:pt x="0" y="981"/>
                    <a:pt x="1419" y="1"/>
                    <a:pt x="3176" y="1"/>
                  </a:cubicBezTo>
                  <a:cubicBezTo>
                    <a:pt x="4933" y="1"/>
                    <a:pt x="6353" y="981"/>
                    <a:pt x="6353" y="219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3"/>
            <p:cNvSpPr/>
            <p:nvPr/>
          </p:nvSpPr>
          <p:spPr>
            <a:xfrm>
              <a:off x="1832168" y="2185263"/>
              <a:ext cx="35" cy="36263"/>
            </a:xfrm>
            <a:custGeom>
              <a:avLst/>
              <a:gdLst/>
              <a:ahLst/>
              <a:cxnLst/>
              <a:rect l="l" t="t" r="r" b="b"/>
              <a:pathLst>
                <a:path w="1" h="1038" fill="none" extrusionOk="0">
                  <a:moveTo>
                    <a:pt x="1" y="1037"/>
                  </a:moveTo>
                  <a:cubicBezTo>
                    <a:pt x="1" y="1003"/>
                    <a:pt x="1" y="981"/>
                    <a:pt x="1" y="958"/>
                  </a:cubicBez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3"/>
            <p:cNvSpPr/>
            <p:nvPr/>
          </p:nvSpPr>
          <p:spPr>
            <a:xfrm>
              <a:off x="1856168" y="2183306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3"/>
            <p:cNvSpPr/>
            <p:nvPr/>
          </p:nvSpPr>
          <p:spPr>
            <a:xfrm>
              <a:off x="1879015" y="2178206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0" y="1014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3"/>
            <p:cNvSpPr/>
            <p:nvPr/>
          </p:nvSpPr>
          <p:spPr>
            <a:xfrm>
              <a:off x="1900254" y="216954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3"/>
            <p:cNvSpPr/>
            <p:nvPr/>
          </p:nvSpPr>
          <p:spPr>
            <a:xfrm>
              <a:off x="1918350" y="215735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3"/>
            <p:cNvSpPr/>
            <p:nvPr/>
          </p:nvSpPr>
          <p:spPr>
            <a:xfrm>
              <a:off x="1934489" y="213726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3"/>
            <p:cNvSpPr/>
            <p:nvPr/>
          </p:nvSpPr>
          <p:spPr>
            <a:xfrm>
              <a:off x="1807400" y="2183306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0" y="1014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3"/>
            <p:cNvSpPr/>
            <p:nvPr/>
          </p:nvSpPr>
          <p:spPr>
            <a:xfrm>
              <a:off x="1784588" y="2178206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0" y="1014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3"/>
            <p:cNvSpPr/>
            <p:nvPr/>
          </p:nvSpPr>
          <p:spPr>
            <a:xfrm>
              <a:off x="1763314" y="216954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3"/>
            <p:cNvSpPr/>
            <p:nvPr/>
          </p:nvSpPr>
          <p:spPr>
            <a:xfrm>
              <a:off x="1745218" y="215735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3"/>
            <p:cNvSpPr/>
            <p:nvPr/>
          </p:nvSpPr>
          <p:spPr>
            <a:xfrm>
              <a:off x="1729078" y="213726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3" name="Google Shape;923;p33"/>
            <p:cNvSpPr/>
            <p:nvPr/>
          </p:nvSpPr>
          <p:spPr>
            <a:xfrm>
              <a:off x="1745602" y="2048741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extrusionOk="0">
                  <a:moveTo>
                    <a:pt x="2456" y="1"/>
                  </a:moveTo>
                  <a:cubicBezTo>
                    <a:pt x="1094" y="1"/>
                    <a:pt x="1" y="766"/>
                    <a:pt x="1" y="1701"/>
                  </a:cubicBezTo>
                  <a:cubicBezTo>
                    <a:pt x="1" y="2636"/>
                    <a:pt x="1094" y="3402"/>
                    <a:pt x="2456" y="3402"/>
                  </a:cubicBezTo>
                  <a:cubicBezTo>
                    <a:pt x="3819" y="3402"/>
                    <a:pt x="4912" y="2636"/>
                    <a:pt x="4912" y="1701"/>
                  </a:cubicBezTo>
                  <a:cubicBezTo>
                    <a:pt x="4912" y="766"/>
                    <a:pt x="3819" y="1"/>
                    <a:pt x="24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3"/>
            <p:cNvSpPr/>
            <p:nvPr/>
          </p:nvSpPr>
          <p:spPr>
            <a:xfrm>
              <a:off x="1745602" y="2048741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fill="none" extrusionOk="0">
                  <a:moveTo>
                    <a:pt x="4912" y="1701"/>
                  </a:moveTo>
                  <a:cubicBezTo>
                    <a:pt x="4912" y="2636"/>
                    <a:pt x="3819" y="3402"/>
                    <a:pt x="2456" y="3402"/>
                  </a:cubicBezTo>
                  <a:cubicBezTo>
                    <a:pt x="1094" y="3402"/>
                    <a:pt x="1" y="2636"/>
                    <a:pt x="1" y="1701"/>
                  </a:cubicBezTo>
                  <a:cubicBezTo>
                    <a:pt x="1" y="766"/>
                    <a:pt x="1094" y="1"/>
                    <a:pt x="2456" y="1"/>
                  </a:cubicBezTo>
                  <a:cubicBezTo>
                    <a:pt x="3819" y="1"/>
                    <a:pt x="4912" y="766"/>
                    <a:pt x="4912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3"/>
            <p:cNvSpPr/>
            <p:nvPr/>
          </p:nvSpPr>
          <p:spPr>
            <a:xfrm>
              <a:off x="1768833" y="2074697"/>
              <a:ext cx="125556" cy="66935"/>
            </a:xfrm>
            <a:custGeom>
              <a:avLst/>
              <a:gdLst/>
              <a:ahLst/>
              <a:cxnLst/>
              <a:rect l="l" t="t" r="r" b="b"/>
              <a:pathLst>
                <a:path w="3594" h="1916" extrusionOk="0">
                  <a:moveTo>
                    <a:pt x="361" y="1"/>
                  </a:moveTo>
                  <a:lnTo>
                    <a:pt x="57" y="125"/>
                  </a:lnTo>
                  <a:lnTo>
                    <a:pt x="282" y="249"/>
                  </a:lnTo>
                  <a:cubicBezTo>
                    <a:pt x="91" y="350"/>
                    <a:pt x="1" y="463"/>
                    <a:pt x="1" y="564"/>
                  </a:cubicBezTo>
                  <a:cubicBezTo>
                    <a:pt x="12" y="677"/>
                    <a:pt x="113" y="789"/>
                    <a:pt x="316" y="902"/>
                  </a:cubicBezTo>
                  <a:cubicBezTo>
                    <a:pt x="462" y="981"/>
                    <a:pt x="609" y="1037"/>
                    <a:pt x="778" y="1082"/>
                  </a:cubicBezTo>
                  <a:cubicBezTo>
                    <a:pt x="935" y="1116"/>
                    <a:pt x="1082" y="1139"/>
                    <a:pt x="1217" y="1150"/>
                  </a:cubicBezTo>
                  <a:cubicBezTo>
                    <a:pt x="1341" y="1150"/>
                    <a:pt x="1577" y="1150"/>
                    <a:pt x="1904" y="1139"/>
                  </a:cubicBezTo>
                  <a:cubicBezTo>
                    <a:pt x="2096" y="1139"/>
                    <a:pt x="2231" y="1150"/>
                    <a:pt x="2321" y="1172"/>
                  </a:cubicBezTo>
                  <a:cubicBezTo>
                    <a:pt x="2411" y="1206"/>
                    <a:pt x="2524" y="1262"/>
                    <a:pt x="2681" y="1341"/>
                  </a:cubicBezTo>
                  <a:cubicBezTo>
                    <a:pt x="2738" y="1375"/>
                    <a:pt x="2771" y="1409"/>
                    <a:pt x="2783" y="1431"/>
                  </a:cubicBezTo>
                  <a:cubicBezTo>
                    <a:pt x="2794" y="1454"/>
                    <a:pt x="2783" y="1476"/>
                    <a:pt x="2738" y="1499"/>
                  </a:cubicBezTo>
                  <a:cubicBezTo>
                    <a:pt x="2709" y="1510"/>
                    <a:pt x="2681" y="1516"/>
                    <a:pt x="2653" y="1516"/>
                  </a:cubicBezTo>
                  <a:cubicBezTo>
                    <a:pt x="2625" y="1516"/>
                    <a:pt x="2597" y="1510"/>
                    <a:pt x="2569" y="1499"/>
                  </a:cubicBezTo>
                  <a:cubicBezTo>
                    <a:pt x="2512" y="1476"/>
                    <a:pt x="2400" y="1420"/>
                    <a:pt x="2208" y="1319"/>
                  </a:cubicBezTo>
                  <a:lnTo>
                    <a:pt x="2050" y="1229"/>
                  </a:lnTo>
                  <a:lnTo>
                    <a:pt x="1408" y="1488"/>
                  </a:lnTo>
                  <a:lnTo>
                    <a:pt x="1532" y="1567"/>
                  </a:lnTo>
                  <a:cubicBezTo>
                    <a:pt x="1836" y="1735"/>
                    <a:pt x="2118" y="1826"/>
                    <a:pt x="2366" y="1837"/>
                  </a:cubicBezTo>
                  <a:cubicBezTo>
                    <a:pt x="2407" y="1839"/>
                    <a:pt x="2448" y="1840"/>
                    <a:pt x="2488" y="1840"/>
                  </a:cubicBezTo>
                  <a:cubicBezTo>
                    <a:pt x="2687" y="1840"/>
                    <a:pt x="2869" y="1816"/>
                    <a:pt x="3019" y="1769"/>
                  </a:cubicBezTo>
                  <a:lnTo>
                    <a:pt x="3289" y="1916"/>
                  </a:lnTo>
                  <a:lnTo>
                    <a:pt x="3582" y="1792"/>
                  </a:lnTo>
                  <a:lnTo>
                    <a:pt x="3323" y="1657"/>
                  </a:lnTo>
                  <a:cubicBezTo>
                    <a:pt x="3515" y="1544"/>
                    <a:pt x="3594" y="1431"/>
                    <a:pt x="3560" y="1307"/>
                  </a:cubicBezTo>
                  <a:cubicBezTo>
                    <a:pt x="3537" y="1184"/>
                    <a:pt x="3402" y="1060"/>
                    <a:pt x="3154" y="925"/>
                  </a:cubicBezTo>
                  <a:cubicBezTo>
                    <a:pt x="3008" y="834"/>
                    <a:pt x="2861" y="778"/>
                    <a:pt x="2715" y="733"/>
                  </a:cubicBezTo>
                  <a:cubicBezTo>
                    <a:pt x="2580" y="699"/>
                    <a:pt x="2445" y="677"/>
                    <a:pt x="2332" y="665"/>
                  </a:cubicBezTo>
                  <a:cubicBezTo>
                    <a:pt x="2219" y="665"/>
                    <a:pt x="2028" y="665"/>
                    <a:pt x="1758" y="677"/>
                  </a:cubicBezTo>
                  <a:lnTo>
                    <a:pt x="1161" y="677"/>
                  </a:lnTo>
                  <a:cubicBezTo>
                    <a:pt x="1082" y="665"/>
                    <a:pt x="992" y="632"/>
                    <a:pt x="879" y="575"/>
                  </a:cubicBezTo>
                  <a:cubicBezTo>
                    <a:pt x="823" y="542"/>
                    <a:pt x="778" y="508"/>
                    <a:pt x="766" y="485"/>
                  </a:cubicBezTo>
                  <a:cubicBezTo>
                    <a:pt x="755" y="463"/>
                    <a:pt x="766" y="440"/>
                    <a:pt x="811" y="418"/>
                  </a:cubicBezTo>
                  <a:cubicBezTo>
                    <a:pt x="837" y="411"/>
                    <a:pt x="864" y="405"/>
                    <a:pt x="892" y="405"/>
                  </a:cubicBezTo>
                  <a:cubicBezTo>
                    <a:pt x="912" y="405"/>
                    <a:pt x="934" y="408"/>
                    <a:pt x="958" y="418"/>
                  </a:cubicBezTo>
                  <a:cubicBezTo>
                    <a:pt x="1014" y="429"/>
                    <a:pt x="1093" y="463"/>
                    <a:pt x="1217" y="530"/>
                  </a:cubicBezTo>
                  <a:lnTo>
                    <a:pt x="1330" y="598"/>
                  </a:lnTo>
                  <a:lnTo>
                    <a:pt x="1961" y="332"/>
                  </a:lnTo>
                  <a:lnTo>
                    <a:pt x="1961" y="332"/>
                  </a:lnTo>
                  <a:cubicBezTo>
                    <a:pt x="1964" y="334"/>
                    <a:pt x="1968" y="337"/>
                    <a:pt x="1972" y="339"/>
                  </a:cubicBezTo>
                  <a:lnTo>
                    <a:pt x="1972" y="328"/>
                  </a:lnTo>
                  <a:lnTo>
                    <a:pt x="1961" y="332"/>
                  </a:lnTo>
                  <a:lnTo>
                    <a:pt x="1961" y="332"/>
                  </a:lnTo>
                  <a:cubicBezTo>
                    <a:pt x="1909" y="302"/>
                    <a:pt x="1869" y="281"/>
                    <a:pt x="1848" y="260"/>
                  </a:cubicBezTo>
                  <a:cubicBezTo>
                    <a:pt x="1645" y="147"/>
                    <a:pt x="1442" y="80"/>
                    <a:pt x="1228" y="57"/>
                  </a:cubicBezTo>
                  <a:cubicBezTo>
                    <a:pt x="1175" y="52"/>
                    <a:pt x="1121" y="49"/>
                    <a:pt x="1068" y="49"/>
                  </a:cubicBezTo>
                  <a:cubicBezTo>
                    <a:pt x="907" y="49"/>
                    <a:pt x="744" y="74"/>
                    <a:pt x="575" y="125"/>
                  </a:cubicBezTo>
                  <a:lnTo>
                    <a:pt x="36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3"/>
            <p:cNvSpPr/>
            <p:nvPr/>
          </p:nvSpPr>
          <p:spPr>
            <a:xfrm>
              <a:off x="1768833" y="2074697"/>
              <a:ext cx="125556" cy="66935"/>
            </a:xfrm>
            <a:custGeom>
              <a:avLst/>
              <a:gdLst/>
              <a:ahLst/>
              <a:cxnLst/>
              <a:rect l="l" t="t" r="r" b="b"/>
              <a:pathLst>
                <a:path w="3594" h="1916" fill="none" extrusionOk="0">
                  <a:moveTo>
                    <a:pt x="1972" y="328"/>
                  </a:moveTo>
                  <a:lnTo>
                    <a:pt x="1330" y="598"/>
                  </a:lnTo>
                  <a:lnTo>
                    <a:pt x="1217" y="530"/>
                  </a:lnTo>
                  <a:cubicBezTo>
                    <a:pt x="1093" y="463"/>
                    <a:pt x="1014" y="429"/>
                    <a:pt x="958" y="418"/>
                  </a:cubicBezTo>
                  <a:cubicBezTo>
                    <a:pt x="902" y="395"/>
                    <a:pt x="857" y="406"/>
                    <a:pt x="811" y="418"/>
                  </a:cubicBezTo>
                  <a:cubicBezTo>
                    <a:pt x="766" y="440"/>
                    <a:pt x="755" y="463"/>
                    <a:pt x="766" y="485"/>
                  </a:cubicBezTo>
                  <a:cubicBezTo>
                    <a:pt x="778" y="508"/>
                    <a:pt x="823" y="542"/>
                    <a:pt x="879" y="575"/>
                  </a:cubicBezTo>
                  <a:cubicBezTo>
                    <a:pt x="992" y="632"/>
                    <a:pt x="1082" y="665"/>
                    <a:pt x="1161" y="677"/>
                  </a:cubicBezTo>
                  <a:cubicBezTo>
                    <a:pt x="1251" y="677"/>
                    <a:pt x="1442" y="677"/>
                    <a:pt x="1758" y="677"/>
                  </a:cubicBezTo>
                  <a:cubicBezTo>
                    <a:pt x="2028" y="665"/>
                    <a:pt x="2219" y="665"/>
                    <a:pt x="2332" y="665"/>
                  </a:cubicBezTo>
                  <a:cubicBezTo>
                    <a:pt x="2445" y="677"/>
                    <a:pt x="2580" y="699"/>
                    <a:pt x="2715" y="733"/>
                  </a:cubicBezTo>
                  <a:cubicBezTo>
                    <a:pt x="2861" y="778"/>
                    <a:pt x="3008" y="834"/>
                    <a:pt x="3154" y="925"/>
                  </a:cubicBezTo>
                  <a:cubicBezTo>
                    <a:pt x="3402" y="1060"/>
                    <a:pt x="3537" y="1184"/>
                    <a:pt x="3560" y="1307"/>
                  </a:cubicBezTo>
                  <a:cubicBezTo>
                    <a:pt x="3594" y="1431"/>
                    <a:pt x="3515" y="1544"/>
                    <a:pt x="3323" y="1657"/>
                  </a:cubicBezTo>
                  <a:lnTo>
                    <a:pt x="3582" y="1792"/>
                  </a:lnTo>
                  <a:lnTo>
                    <a:pt x="3289" y="1916"/>
                  </a:lnTo>
                  <a:lnTo>
                    <a:pt x="3019" y="1769"/>
                  </a:lnTo>
                  <a:cubicBezTo>
                    <a:pt x="2839" y="1826"/>
                    <a:pt x="2614" y="1848"/>
                    <a:pt x="2366" y="1837"/>
                  </a:cubicBezTo>
                  <a:cubicBezTo>
                    <a:pt x="2118" y="1826"/>
                    <a:pt x="1836" y="1735"/>
                    <a:pt x="1532" y="1567"/>
                  </a:cubicBezTo>
                  <a:lnTo>
                    <a:pt x="1408" y="1488"/>
                  </a:lnTo>
                  <a:lnTo>
                    <a:pt x="2050" y="1229"/>
                  </a:lnTo>
                  <a:lnTo>
                    <a:pt x="2208" y="1319"/>
                  </a:lnTo>
                  <a:cubicBezTo>
                    <a:pt x="2400" y="1420"/>
                    <a:pt x="2512" y="1476"/>
                    <a:pt x="2569" y="1499"/>
                  </a:cubicBezTo>
                  <a:cubicBezTo>
                    <a:pt x="2625" y="1521"/>
                    <a:pt x="2681" y="1521"/>
                    <a:pt x="2738" y="1499"/>
                  </a:cubicBezTo>
                  <a:cubicBezTo>
                    <a:pt x="2783" y="1476"/>
                    <a:pt x="2794" y="1454"/>
                    <a:pt x="2783" y="1431"/>
                  </a:cubicBezTo>
                  <a:cubicBezTo>
                    <a:pt x="2771" y="1409"/>
                    <a:pt x="2738" y="1375"/>
                    <a:pt x="2681" y="1341"/>
                  </a:cubicBezTo>
                  <a:cubicBezTo>
                    <a:pt x="2524" y="1262"/>
                    <a:pt x="2411" y="1206"/>
                    <a:pt x="2321" y="1172"/>
                  </a:cubicBezTo>
                  <a:cubicBezTo>
                    <a:pt x="2231" y="1150"/>
                    <a:pt x="2096" y="1139"/>
                    <a:pt x="1904" y="1139"/>
                  </a:cubicBezTo>
                  <a:cubicBezTo>
                    <a:pt x="1577" y="1150"/>
                    <a:pt x="1341" y="1150"/>
                    <a:pt x="1217" y="1150"/>
                  </a:cubicBezTo>
                  <a:cubicBezTo>
                    <a:pt x="1082" y="1139"/>
                    <a:pt x="935" y="1116"/>
                    <a:pt x="778" y="1082"/>
                  </a:cubicBezTo>
                  <a:cubicBezTo>
                    <a:pt x="609" y="1037"/>
                    <a:pt x="462" y="981"/>
                    <a:pt x="316" y="902"/>
                  </a:cubicBezTo>
                  <a:cubicBezTo>
                    <a:pt x="113" y="789"/>
                    <a:pt x="12" y="677"/>
                    <a:pt x="1" y="564"/>
                  </a:cubicBezTo>
                  <a:cubicBezTo>
                    <a:pt x="1" y="463"/>
                    <a:pt x="91" y="350"/>
                    <a:pt x="282" y="249"/>
                  </a:cubicBezTo>
                  <a:lnTo>
                    <a:pt x="57" y="125"/>
                  </a:lnTo>
                  <a:lnTo>
                    <a:pt x="361" y="1"/>
                  </a:lnTo>
                  <a:lnTo>
                    <a:pt x="575" y="125"/>
                  </a:lnTo>
                  <a:cubicBezTo>
                    <a:pt x="800" y="57"/>
                    <a:pt x="1014" y="35"/>
                    <a:pt x="1228" y="57"/>
                  </a:cubicBezTo>
                  <a:cubicBezTo>
                    <a:pt x="1442" y="80"/>
                    <a:pt x="1645" y="147"/>
                    <a:pt x="1848" y="260"/>
                  </a:cubicBezTo>
                  <a:cubicBezTo>
                    <a:pt x="1870" y="283"/>
                    <a:pt x="1915" y="305"/>
                    <a:pt x="1972" y="33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3"/>
            <p:cNvSpPr/>
            <p:nvPr/>
          </p:nvSpPr>
          <p:spPr>
            <a:xfrm>
              <a:off x="1477660" y="1901111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0"/>
                  </a:moveTo>
                  <a:cubicBezTo>
                    <a:pt x="9507" y="0"/>
                    <a:pt x="9400" y="31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3"/>
                    <a:pt x="226" y="5927"/>
                  </a:cubicBezTo>
                  <a:lnTo>
                    <a:pt x="5576" y="9081"/>
                  </a:lnTo>
                  <a:cubicBezTo>
                    <a:pt x="5694" y="9149"/>
                    <a:pt x="5824" y="9182"/>
                    <a:pt x="5952" y="9182"/>
                  </a:cubicBezTo>
                  <a:cubicBezTo>
                    <a:pt x="6080" y="9182"/>
                    <a:pt x="6207" y="9149"/>
                    <a:pt x="6319" y="9081"/>
                  </a:cubicBezTo>
                  <a:lnTo>
                    <a:pt x="15488" y="3742"/>
                  </a:lnTo>
                  <a:cubicBezTo>
                    <a:pt x="15645" y="3652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1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3"/>
            <p:cNvSpPr/>
            <p:nvPr/>
          </p:nvSpPr>
          <p:spPr>
            <a:xfrm>
              <a:off x="1477660" y="1900028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8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0"/>
                    <a:pt x="9496" y="0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4"/>
                    <a:pt x="226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3"/>
            <p:cNvSpPr/>
            <p:nvPr/>
          </p:nvSpPr>
          <p:spPr>
            <a:xfrm>
              <a:off x="1477660" y="1894683"/>
              <a:ext cx="546593" cy="320948"/>
            </a:xfrm>
            <a:custGeom>
              <a:avLst/>
              <a:gdLst/>
              <a:ahLst/>
              <a:cxnLst/>
              <a:rect l="l" t="t" r="r" b="b"/>
              <a:pathLst>
                <a:path w="15646" h="9187" extrusionOk="0">
                  <a:moveTo>
                    <a:pt x="9615" y="1"/>
                  </a:moveTo>
                  <a:cubicBezTo>
                    <a:pt x="9507" y="1"/>
                    <a:pt x="9400" y="29"/>
                    <a:pt x="9304" y="85"/>
                  </a:cubicBezTo>
                  <a:lnTo>
                    <a:pt x="226" y="5345"/>
                  </a:lnTo>
                  <a:cubicBezTo>
                    <a:pt x="1" y="5481"/>
                    <a:pt x="1" y="5796"/>
                    <a:pt x="226" y="5931"/>
                  </a:cubicBezTo>
                  <a:lnTo>
                    <a:pt x="5576" y="9085"/>
                  </a:lnTo>
                  <a:cubicBezTo>
                    <a:pt x="5694" y="9152"/>
                    <a:pt x="5824" y="9186"/>
                    <a:pt x="5952" y="9186"/>
                  </a:cubicBezTo>
                  <a:cubicBezTo>
                    <a:pt x="6080" y="9186"/>
                    <a:pt x="6207" y="9152"/>
                    <a:pt x="6319" y="9085"/>
                  </a:cubicBezTo>
                  <a:lnTo>
                    <a:pt x="15488" y="3746"/>
                  </a:lnTo>
                  <a:cubicBezTo>
                    <a:pt x="15645" y="3656"/>
                    <a:pt x="15645" y="3431"/>
                    <a:pt x="15488" y="3341"/>
                  </a:cubicBezTo>
                  <a:lnTo>
                    <a:pt x="9935" y="85"/>
                  </a:lnTo>
                  <a:cubicBezTo>
                    <a:pt x="9834" y="29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3"/>
            <p:cNvSpPr/>
            <p:nvPr/>
          </p:nvSpPr>
          <p:spPr>
            <a:xfrm>
              <a:off x="1477660" y="1893705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3"/>
                  </a:lnTo>
                  <a:cubicBezTo>
                    <a:pt x="5813" y="9248"/>
                    <a:pt x="6094" y="9248"/>
                    <a:pt x="6319" y="9113"/>
                  </a:cubicBezTo>
                  <a:lnTo>
                    <a:pt x="15488" y="3774"/>
                  </a:lnTo>
                  <a:cubicBezTo>
                    <a:pt x="15645" y="3684"/>
                    <a:pt x="15645" y="3459"/>
                    <a:pt x="15488" y="3369"/>
                  </a:cubicBezTo>
                  <a:lnTo>
                    <a:pt x="9935" y="113"/>
                  </a:lnTo>
                  <a:cubicBezTo>
                    <a:pt x="9732" y="1"/>
                    <a:pt x="9496" y="1"/>
                    <a:pt x="9304" y="113"/>
                  </a:cubicBezTo>
                  <a:lnTo>
                    <a:pt x="226" y="5373"/>
                  </a:lnTo>
                  <a:cubicBezTo>
                    <a:pt x="1" y="5509"/>
                    <a:pt x="1" y="5824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3"/>
            <p:cNvSpPr/>
            <p:nvPr/>
          </p:nvSpPr>
          <p:spPr>
            <a:xfrm>
              <a:off x="1531178" y="1927555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extrusionOk="0">
                  <a:moveTo>
                    <a:pt x="8752" y="0"/>
                  </a:moveTo>
                  <a:cubicBezTo>
                    <a:pt x="8628" y="169"/>
                    <a:pt x="8380" y="282"/>
                    <a:pt x="8088" y="282"/>
                  </a:cubicBezTo>
                  <a:cubicBezTo>
                    <a:pt x="7806" y="282"/>
                    <a:pt x="7558" y="169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8"/>
                    <a:pt x="271" y="4686"/>
                  </a:cubicBezTo>
                  <a:cubicBezTo>
                    <a:pt x="271" y="4855"/>
                    <a:pt x="169" y="4990"/>
                    <a:pt x="12" y="5091"/>
                  </a:cubicBezTo>
                  <a:lnTo>
                    <a:pt x="3774" y="7310"/>
                  </a:lnTo>
                  <a:cubicBezTo>
                    <a:pt x="3909" y="7153"/>
                    <a:pt x="4145" y="7051"/>
                    <a:pt x="4427" y="7051"/>
                  </a:cubicBezTo>
                  <a:cubicBezTo>
                    <a:pt x="4709" y="7051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2"/>
                    <a:pt x="12311" y="2276"/>
                    <a:pt x="12469" y="2174"/>
                  </a:cubicBezTo>
                  <a:lnTo>
                    <a:pt x="8752" y="0"/>
                  </a:ln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3"/>
            <p:cNvSpPr/>
            <p:nvPr/>
          </p:nvSpPr>
          <p:spPr>
            <a:xfrm>
              <a:off x="1531178" y="1927555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fill="none" extrusionOk="0">
                  <a:moveTo>
                    <a:pt x="12199" y="2580"/>
                  </a:moveTo>
                  <a:cubicBezTo>
                    <a:pt x="12199" y="2422"/>
                    <a:pt x="12311" y="2276"/>
                    <a:pt x="12469" y="2174"/>
                  </a:cubicBezTo>
                  <a:lnTo>
                    <a:pt x="8752" y="0"/>
                  </a:lnTo>
                  <a:cubicBezTo>
                    <a:pt x="8628" y="169"/>
                    <a:pt x="8380" y="282"/>
                    <a:pt x="8088" y="282"/>
                  </a:cubicBezTo>
                  <a:cubicBezTo>
                    <a:pt x="7806" y="282"/>
                    <a:pt x="7558" y="169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8"/>
                    <a:pt x="271" y="4686"/>
                  </a:cubicBezTo>
                  <a:cubicBezTo>
                    <a:pt x="271" y="4855"/>
                    <a:pt x="169" y="4990"/>
                    <a:pt x="12" y="5091"/>
                  </a:cubicBezTo>
                  <a:lnTo>
                    <a:pt x="3774" y="7310"/>
                  </a:lnTo>
                  <a:cubicBezTo>
                    <a:pt x="3909" y="7153"/>
                    <a:pt x="4145" y="7051"/>
                    <a:pt x="4427" y="7051"/>
                  </a:cubicBezTo>
                  <a:cubicBezTo>
                    <a:pt x="4709" y="7051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3"/>
            <p:cNvSpPr/>
            <p:nvPr/>
          </p:nvSpPr>
          <p:spPr>
            <a:xfrm>
              <a:off x="1671647" y="1987747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extrusionOk="0">
                  <a:moveTo>
                    <a:pt x="2456" y="1"/>
                  </a:moveTo>
                  <a:cubicBezTo>
                    <a:pt x="1104" y="1"/>
                    <a:pt x="0" y="767"/>
                    <a:pt x="0" y="1702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2"/>
                  </a:cubicBezTo>
                  <a:cubicBezTo>
                    <a:pt x="4911" y="767"/>
                    <a:pt x="3819" y="1"/>
                    <a:pt x="24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3"/>
            <p:cNvSpPr/>
            <p:nvPr/>
          </p:nvSpPr>
          <p:spPr>
            <a:xfrm>
              <a:off x="1671647" y="1987747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fill="none" extrusionOk="0">
                  <a:moveTo>
                    <a:pt x="4911" y="1702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2"/>
                  </a:cubicBezTo>
                  <a:cubicBezTo>
                    <a:pt x="0" y="767"/>
                    <a:pt x="1104" y="1"/>
                    <a:pt x="2456" y="1"/>
                  </a:cubicBezTo>
                  <a:cubicBezTo>
                    <a:pt x="3819" y="1"/>
                    <a:pt x="4911" y="767"/>
                    <a:pt x="4911" y="1702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3"/>
            <p:cNvSpPr/>
            <p:nvPr/>
          </p:nvSpPr>
          <p:spPr>
            <a:xfrm>
              <a:off x="1694878" y="2014122"/>
              <a:ext cx="125556" cy="66516"/>
            </a:xfrm>
            <a:custGeom>
              <a:avLst/>
              <a:gdLst/>
              <a:ahLst/>
              <a:cxnLst/>
              <a:rect l="l" t="t" r="r" b="b"/>
              <a:pathLst>
                <a:path w="3594" h="1904" extrusionOk="0">
                  <a:moveTo>
                    <a:pt x="360" y="0"/>
                  </a:moveTo>
                  <a:lnTo>
                    <a:pt x="68" y="113"/>
                  </a:lnTo>
                  <a:lnTo>
                    <a:pt x="282" y="237"/>
                  </a:lnTo>
                  <a:cubicBezTo>
                    <a:pt x="90" y="338"/>
                    <a:pt x="0" y="451"/>
                    <a:pt x="11" y="552"/>
                  </a:cubicBezTo>
                  <a:cubicBezTo>
                    <a:pt x="11" y="665"/>
                    <a:pt x="124" y="778"/>
                    <a:pt x="327" y="890"/>
                  </a:cubicBezTo>
                  <a:cubicBezTo>
                    <a:pt x="462" y="969"/>
                    <a:pt x="608" y="1025"/>
                    <a:pt x="777" y="1070"/>
                  </a:cubicBezTo>
                  <a:cubicBezTo>
                    <a:pt x="935" y="1104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4"/>
                    <a:pt x="2523" y="1251"/>
                    <a:pt x="2681" y="1329"/>
                  </a:cubicBezTo>
                  <a:cubicBezTo>
                    <a:pt x="2737" y="1363"/>
                    <a:pt x="2771" y="1397"/>
                    <a:pt x="2782" y="1420"/>
                  </a:cubicBezTo>
                  <a:cubicBezTo>
                    <a:pt x="2793" y="1442"/>
                    <a:pt x="2782" y="1465"/>
                    <a:pt x="2737" y="1487"/>
                  </a:cubicBezTo>
                  <a:cubicBezTo>
                    <a:pt x="2709" y="1498"/>
                    <a:pt x="2684" y="1504"/>
                    <a:pt x="2657" y="1504"/>
                  </a:cubicBezTo>
                  <a:cubicBezTo>
                    <a:pt x="2630" y="1504"/>
                    <a:pt x="2602" y="1498"/>
                    <a:pt x="2568" y="1487"/>
                  </a:cubicBezTo>
                  <a:cubicBezTo>
                    <a:pt x="2512" y="1476"/>
                    <a:pt x="2399" y="1408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5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4"/>
                    <a:pt x="3030" y="1757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2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6"/>
                    <a:pt x="2714" y="721"/>
                  </a:cubicBezTo>
                  <a:cubicBezTo>
                    <a:pt x="2579" y="687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3"/>
                    <a:pt x="1376" y="673"/>
                  </a:cubicBezTo>
                  <a:cubicBezTo>
                    <a:pt x="1278" y="673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3"/>
                  </a:cubicBezTo>
                  <a:cubicBezTo>
                    <a:pt x="755" y="451"/>
                    <a:pt x="766" y="428"/>
                    <a:pt x="811" y="406"/>
                  </a:cubicBezTo>
                  <a:cubicBezTo>
                    <a:pt x="837" y="399"/>
                    <a:pt x="863" y="393"/>
                    <a:pt x="891" y="393"/>
                  </a:cubicBezTo>
                  <a:cubicBezTo>
                    <a:pt x="912" y="393"/>
                    <a:pt x="934" y="396"/>
                    <a:pt x="957" y="406"/>
                  </a:cubicBezTo>
                  <a:cubicBezTo>
                    <a:pt x="1014" y="417"/>
                    <a:pt x="1093" y="462"/>
                    <a:pt x="1216" y="518"/>
                  </a:cubicBezTo>
                  <a:lnTo>
                    <a:pt x="1329" y="586"/>
                  </a:lnTo>
                  <a:lnTo>
                    <a:pt x="1971" y="327"/>
                  </a:lnTo>
                  <a:cubicBezTo>
                    <a:pt x="1915" y="293"/>
                    <a:pt x="1881" y="271"/>
                    <a:pt x="1847" y="248"/>
                  </a:cubicBezTo>
                  <a:cubicBezTo>
                    <a:pt x="1644" y="136"/>
                    <a:pt x="1442" y="68"/>
                    <a:pt x="1228" y="45"/>
                  </a:cubicBezTo>
                  <a:cubicBezTo>
                    <a:pt x="1174" y="40"/>
                    <a:pt x="1121" y="37"/>
                    <a:pt x="1067" y="37"/>
                  </a:cubicBezTo>
                  <a:cubicBezTo>
                    <a:pt x="906" y="37"/>
                    <a:pt x="743" y="62"/>
                    <a:pt x="574" y="113"/>
                  </a:cubicBezTo>
                  <a:lnTo>
                    <a:pt x="36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6" name="Google Shape;936;p33"/>
            <p:cNvSpPr/>
            <p:nvPr/>
          </p:nvSpPr>
          <p:spPr>
            <a:xfrm>
              <a:off x="1694878" y="2014122"/>
              <a:ext cx="125556" cy="66516"/>
            </a:xfrm>
            <a:custGeom>
              <a:avLst/>
              <a:gdLst/>
              <a:ahLst/>
              <a:cxnLst/>
              <a:rect l="l" t="t" r="r" b="b"/>
              <a:pathLst>
                <a:path w="3594" h="1904" fill="none" extrusionOk="0">
                  <a:moveTo>
                    <a:pt x="1971" y="327"/>
                  </a:moveTo>
                  <a:lnTo>
                    <a:pt x="1329" y="586"/>
                  </a:lnTo>
                  <a:lnTo>
                    <a:pt x="1216" y="518"/>
                  </a:lnTo>
                  <a:cubicBezTo>
                    <a:pt x="1093" y="462"/>
                    <a:pt x="1014" y="417"/>
                    <a:pt x="957" y="406"/>
                  </a:cubicBezTo>
                  <a:cubicBezTo>
                    <a:pt x="901" y="383"/>
                    <a:pt x="856" y="395"/>
                    <a:pt x="811" y="406"/>
                  </a:cubicBezTo>
                  <a:cubicBezTo>
                    <a:pt x="766" y="428"/>
                    <a:pt x="755" y="451"/>
                    <a:pt x="766" y="473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6"/>
                    <a:pt x="1442" y="676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7"/>
                    <a:pt x="2714" y="721"/>
                  </a:cubicBezTo>
                  <a:cubicBezTo>
                    <a:pt x="2861" y="766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2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7"/>
                  </a:lnTo>
                  <a:cubicBezTo>
                    <a:pt x="2838" y="1814"/>
                    <a:pt x="2613" y="1836"/>
                    <a:pt x="2365" y="1825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8"/>
                    <a:pt x="2512" y="1476"/>
                    <a:pt x="2568" y="1487"/>
                  </a:cubicBezTo>
                  <a:cubicBezTo>
                    <a:pt x="2636" y="1510"/>
                    <a:pt x="2681" y="1510"/>
                    <a:pt x="2737" y="1487"/>
                  </a:cubicBezTo>
                  <a:cubicBezTo>
                    <a:pt x="2782" y="1465"/>
                    <a:pt x="2793" y="1442"/>
                    <a:pt x="2782" y="1420"/>
                  </a:cubicBezTo>
                  <a:cubicBezTo>
                    <a:pt x="2771" y="1397"/>
                    <a:pt x="2737" y="1363"/>
                    <a:pt x="2681" y="1329"/>
                  </a:cubicBezTo>
                  <a:cubicBezTo>
                    <a:pt x="2523" y="1251"/>
                    <a:pt x="2410" y="1194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4"/>
                    <a:pt x="777" y="1070"/>
                  </a:cubicBezTo>
                  <a:cubicBezTo>
                    <a:pt x="608" y="1025"/>
                    <a:pt x="462" y="969"/>
                    <a:pt x="327" y="890"/>
                  </a:cubicBezTo>
                  <a:cubicBezTo>
                    <a:pt x="124" y="778"/>
                    <a:pt x="11" y="665"/>
                    <a:pt x="11" y="552"/>
                  </a:cubicBezTo>
                  <a:cubicBezTo>
                    <a:pt x="0" y="451"/>
                    <a:pt x="90" y="338"/>
                    <a:pt x="282" y="237"/>
                  </a:cubicBezTo>
                  <a:lnTo>
                    <a:pt x="68" y="113"/>
                  </a:lnTo>
                  <a:lnTo>
                    <a:pt x="360" y="0"/>
                  </a:lnTo>
                  <a:lnTo>
                    <a:pt x="574" y="113"/>
                  </a:lnTo>
                  <a:cubicBezTo>
                    <a:pt x="800" y="45"/>
                    <a:pt x="1014" y="23"/>
                    <a:pt x="1228" y="45"/>
                  </a:cubicBezTo>
                  <a:cubicBezTo>
                    <a:pt x="1442" y="68"/>
                    <a:pt x="1644" y="136"/>
                    <a:pt x="1847" y="248"/>
                  </a:cubicBezTo>
                  <a:cubicBezTo>
                    <a:pt x="1881" y="271"/>
                    <a:pt x="1915" y="293"/>
                    <a:pt x="1971" y="32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7" name="Google Shape;937;p33"/>
            <p:cNvSpPr/>
            <p:nvPr/>
          </p:nvSpPr>
          <p:spPr>
            <a:xfrm>
              <a:off x="1628364" y="2101072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7" y="1"/>
                  </a:moveTo>
                  <a:cubicBezTo>
                    <a:pt x="271" y="1"/>
                    <a:pt x="1" y="181"/>
                    <a:pt x="1" y="406"/>
                  </a:cubicBezTo>
                  <a:cubicBezTo>
                    <a:pt x="1" y="631"/>
                    <a:pt x="271" y="823"/>
                    <a:pt x="597" y="823"/>
                  </a:cubicBezTo>
                  <a:cubicBezTo>
                    <a:pt x="924" y="823"/>
                    <a:pt x="1183" y="631"/>
                    <a:pt x="1183" y="406"/>
                  </a:cubicBezTo>
                  <a:cubicBezTo>
                    <a:pt x="1183" y="181"/>
                    <a:pt x="924" y="1"/>
                    <a:pt x="59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8" name="Google Shape;938;p33"/>
            <p:cNvSpPr/>
            <p:nvPr/>
          </p:nvSpPr>
          <p:spPr>
            <a:xfrm>
              <a:off x="1843592" y="1975555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8" y="1"/>
                  </a:moveTo>
                  <a:cubicBezTo>
                    <a:pt x="260" y="1"/>
                    <a:pt x="1" y="181"/>
                    <a:pt x="1" y="406"/>
                  </a:cubicBezTo>
                  <a:cubicBezTo>
                    <a:pt x="1" y="631"/>
                    <a:pt x="260" y="823"/>
                    <a:pt x="598" y="823"/>
                  </a:cubicBezTo>
                  <a:cubicBezTo>
                    <a:pt x="924" y="823"/>
                    <a:pt x="1183" y="631"/>
                    <a:pt x="1183" y="406"/>
                  </a:cubicBezTo>
                  <a:cubicBezTo>
                    <a:pt x="1183" y="181"/>
                    <a:pt x="924" y="1"/>
                    <a:pt x="59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9" name="Google Shape;939;p33"/>
            <p:cNvSpPr/>
            <p:nvPr/>
          </p:nvSpPr>
          <p:spPr>
            <a:xfrm>
              <a:off x="1477660" y="1871591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0"/>
                  </a:moveTo>
                  <a:cubicBezTo>
                    <a:pt x="9507" y="0"/>
                    <a:pt x="9400" y="31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4"/>
                    <a:pt x="226" y="5928"/>
                  </a:cubicBezTo>
                  <a:lnTo>
                    <a:pt x="5576" y="9081"/>
                  </a:lnTo>
                  <a:cubicBezTo>
                    <a:pt x="5694" y="9149"/>
                    <a:pt x="5824" y="9183"/>
                    <a:pt x="5952" y="9183"/>
                  </a:cubicBezTo>
                  <a:cubicBezTo>
                    <a:pt x="6080" y="9183"/>
                    <a:pt x="6207" y="9149"/>
                    <a:pt x="6319" y="9081"/>
                  </a:cubicBezTo>
                  <a:lnTo>
                    <a:pt x="15488" y="3742"/>
                  </a:lnTo>
                  <a:cubicBezTo>
                    <a:pt x="15645" y="3652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1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3"/>
            <p:cNvSpPr/>
            <p:nvPr/>
          </p:nvSpPr>
          <p:spPr>
            <a:xfrm>
              <a:off x="1477660" y="1870508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0"/>
                    <a:pt x="9496" y="0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5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3"/>
            <p:cNvSpPr/>
            <p:nvPr/>
          </p:nvSpPr>
          <p:spPr>
            <a:xfrm>
              <a:off x="1477660" y="1865198"/>
              <a:ext cx="546593" cy="320913"/>
            </a:xfrm>
            <a:custGeom>
              <a:avLst/>
              <a:gdLst/>
              <a:ahLst/>
              <a:cxnLst/>
              <a:rect l="l" t="t" r="r" b="b"/>
              <a:pathLst>
                <a:path w="15646" h="9186" extrusionOk="0">
                  <a:moveTo>
                    <a:pt x="9615" y="0"/>
                  </a:moveTo>
                  <a:cubicBezTo>
                    <a:pt x="9507" y="0"/>
                    <a:pt x="9400" y="28"/>
                    <a:pt x="9304" y="85"/>
                  </a:cubicBezTo>
                  <a:lnTo>
                    <a:pt x="226" y="5345"/>
                  </a:lnTo>
                  <a:cubicBezTo>
                    <a:pt x="1" y="5480"/>
                    <a:pt x="1" y="5795"/>
                    <a:pt x="226" y="5930"/>
                  </a:cubicBezTo>
                  <a:lnTo>
                    <a:pt x="5576" y="9084"/>
                  </a:lnTo>
                  <a:cubicBezTo>
                    <a:pt x="5694" y="9152"/>
                    <a:pt x="5824" y="9185"/>
                    <a:pt x="5952" y="9185"/>
                  </a:cubicBezTo>
                  <a:cubicBezTo>
                    <a:pt x="6080" y="9185"/>
                    <a:pt x="6207" y="9152"/>
                    <a:pt x="6319" y="9084"/>
                  </a:cubicBezTo>
                  <a:lnTo>
                    <a:pt x="15488" y="3745"/>
                  </a:lnTo>
                  <a:cubicBezTo>
                    <a:pt x="15645" y="3655"/>
                    <a:pt x="15645" y="3430"/>
                    <a:pt x="15488" y="3340"/>
                  </a:cubicBezTo>
                  <a:lnTo>
                    <a:pt x="9935" y="85"/>
                  </a:lnTo>
                  <a:cubicBezTo>
                    <a:pt x="9834" y="28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3"/>
            <p:cNvSpPr/>
            <p:nvPr/>
          </p:nvSpPr>
          <p:spPr>
            <a:xfrm>
              <a:off x="1477660" y="1864220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8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13"/>
                  </a:lnTo>
                  <a:cubicBezTo>
                    <a:pt x="9732" y="0"/>
                    <a:pt x="9496" y="0"/>
                    <a:pt x="9304" y="113"/>
                  </a:cubicBezTo>
                  <a:lnTo>
                    <a:pt x="226" y="5373"/>
                  </a:lnTo>
                  <a:cubicBezTo>
                    <a:pt x="1" y="5508"/>
                    <a:pt x="1" y="5823"/>
                    <a:pt x="226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3"/>
            <p:cNvSpPr/>
            <p:nvPr/>
          </p:nvSpPr>
          <p:spPr>
            <a:xfrm>
              <a:off x="1531178" y="1898036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extrusionOk="0">
                  <a:moveTo>
                    <a:pt x="8752" y="1"/>
                  </a:moveTo>
                  <a:cubicBezTo>
                    <a:pt x="8628" y="170"/>
                    <a:pt x="8380" y="282"/>
                    <a:pt x="8088" y="282"/>
                  </a:cubicBezTo>
                  <a:cubicBezTo>
                    <a:pt x="7806" y="282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0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2"/>
                    <a:pt x="12311" y="2276"/>
                    <a:pt x="12469" y="2175"/>
                  </a:cubicBezTo>
                  <a:lnTo>
                    <a:pt x="8752" y="1"/>
                  </a:ln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3"/>
            <p:cNvSpPr/>
            <p:nvPr/>
          </p:nvSpPr>
          <p:spPr>
            <a:xfrm>
              <a:off x="1531178" y="1898036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fill="none" extrusionOk="0">
                  <a:moveTo>
                    <a:pt x="12199" y="2580"/>
                  </a:moveTo>
                  <a:cubicBezTo>
                    <a:pt x="12199" y="2422"/>
                    <a:pt x="12311" y="2276"/>
                    <a:pt x="12469" y="2175"/>
                  </a:cubicBezTo>
                  <a:lnTo>
                    <a:pt x="8752" y="1"/>
                  </a:lnTo>
                  <a:cubicBezTo>
                    <a:pt x="8628" y="170"/>
                    <a:pt x="8380" y="282"/>
                    <a:pt x="8088" y="282"/>
                  </a:cubicBezTo>
                  <a:cubicBezTo>
                    <a:pt x="7806" y="282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0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3"/>
            <p:cNvSpPr/>
            <p:nvPr/>
          </p:nvSpPr>
          <p:spPr>
            <a:xfrm>
              <a:off x="1671647" y="1958262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1"/>
                  </a:cubicBezTo>
                  <a:cubicBezTo>
                    <a:pt x="4911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3"/>
            <p:cNvSpPr/>
            <p:nvPr/>
          </p:nvSpPr>
          <p:spPr>
            <a:xfrm>
              <a:off x="1671647" y="1958262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fill="none" extrusionOk="0">
                  <a:moveTo>
                    <a:pt x="4911" y="1701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11" y="766"/>
                    <a:pt x="4911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3"/>
            <p:cNvSpPr/>
            <p:nvPr/>
          </p:nvSpPr>
          <p:spPr>
            <a:xfrm>
              <a:off x="1694878" y="1984602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0" y="1"/>
                  </a:moveTo>
                  <a:lnTo>
                    <a:pt x="68" y="113"/>
                  </a:lnTo>
                  <a:lnTo>
                    <a:pt x="282" y="237"/>
                  </a:lnTo>
                  <a:cubicBezTo>
                    <a:pt x="90" y="339"/>
                    <a:pt x="0" y="451"/>
                    <a:pt x="11" y="553"/>
                  </a:cubicBezTo>
                  <a:cubicBezTo>
                    <a:pt x="11" y="665"/>
                    <a:pt x="124" y="778"/>
                    <a:pt x="327" y="890"/>
                  </a:cubicBezTo>
                  <a:cubicBezTo>
                    <a:pt x="462" y="969"/>
                    <a:pt x="608" y="1026"/>
                    <a:pt x="777" y="1071"/>
                  </a:cubicBezTo>
                  <a:cubicBezTo>
                    <a:pt x="935" y="1104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5"/>
                    <a:pt x="2523" y="1251"/>
                    <a:pt x="2681" y="1330"/>
                  </a:cubicBezTo>
                  <a:cubicBezTo>
                    <a:pt x="2737" y="1363"/>
                    <a:pt x="2771" y="1397"/>
                    <a:pt x="2782" y="1420"/>
                  </a:cubicBezTo>
                  <a:cubicBezTo>
                    <a:pt x="2793" y="1442"/>
                    <a:pt x="2782" y="1465"/>
                    <a:pt x="2737" y="1487"/>
                  </a:cubicBezTo>
                  <a:cubicBezTo>
                    <a:pt x="2709" y="1499"/>
                    <a:pt x="2684" y="1504"/>
                    <a:pt x="2657" y="1504"/>
                  </a:cubicBezTo>
                  <a:cubicBezTo>
                    <a:pt x="2630" y="1504"/>
                    <a:pt x="2602" y="1499"/>
                    <a:pt x="2568" y="1487"/>
                  </a:cubicBezTo>
                  <a:cubicBezTo>
                    <a:pt x="2512" y="1476"/>
                    <a:pt x="2399" y="1409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5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5"/>
                    <a:pt x="3030" y="1758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2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7"/>
                    <a:pt x="2714" y="721"/>
                  </a:cubicBezTo>
                  <a:cubicBezTo>
                    <a:pt x="2579" y="688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4"/>
                    <a:pt x="1376" y="674"/>
                  </a:cubicBezTo>
                  <a:cubicBezTo>
                    <a:pt x="1278" y="674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4"/>
                  </a:cubicBezTo>
                  <a:cubicBezTo>
                    <a:pt x="755" y="451"/>
                    <a:pt x="766" y="429"/>
                    <a:pt x="811" y="406"/>
                  </a:cubicBezTo>
                  <a:cubicBezTo>
                    <a:pt x="837" y="400"/>
                    <a:pt x="863" y="393"/>
                    <a:pt x="891" y="393"/>
                  </a:cubicBezTo>
                  <a:cubicBezTo>
                    <a:pt x="912" y="393"/>
                    <a:pt x="934" y="397"/>
                    <a:pt x="957" y="406"/>
                  </a:cubicBezTo>
                  <a:cubicBezTo>
                    <a:pt x="1014" y="417"/>
                    <a:pt x="1093" y="462"/>
                    <a:pt x="1216" y="519"/>
                  </a:cubicBezTo>
                  <a:lnTo>
                    <a:pt x="1329" y="586"/>
                  </a:lnTo>
                  <a:lnTo>
                    <a:pt x="1971" y="327"/>
                  </a:lnTo>
                  <a:cubicBezTo>
                    <a:pt x="1915" y="293"/>
                    <a:pt x="1881" y="271"/>
                    <a:pt x="1847" y="248"/>
                  </a:cubicBezTo>
                  <a:cubicBezTo>
                    <a:pt x="1644" y="136"/>
                    <a:pt x="1442" y="68"/>
                    <a:pt x="1228" y="46"/>
                  </a:cubicBezTo>
                  <a:cubicBezTo>
                    <a:pt x="1174" y="40"/>
                    <a:pt x="1121" y="37"/>
                    <a:pt x="1067" y="37"/>
                  </a:cubicBezTo>
                  <a:cubicBezTo>
                    <a:pt x="906" y="37"/>
                    <a:pt x="743" y="63"/>
                    <a:pt x="574" y="113"/>
                  </a:cubicBezTo>
                  <a:lnTo>
                    <a:pt x="36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8" name="Google Shape;948;p33"/>
            <p:cNvSpPr/>
            <p:nvPr/>
          </p:nvSpPr>
          <p:spPr>
            <a:xfrm>
              <a:off x="1694878" y="1984602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1" y="327"/>
                  </a:moveTo>
                  <a:lnTo>
                    <a:pt x="1329" y="586"/>
                  </a:lnTo>
                  <a:lnTo>
                    <a:pt x="1216" y="519"/>
                  </a:lnTo>
                  <a:cubicBezTo>
                    <a:pt x="1093" y="462"/>
                    <a:pt x="1014" y="417"/>
                    <a:pt x="957" y="406"/>
                  </a:cubicBezTo>
                  <a:cubicBezTo>
                    <a:pt x="901" y="384"/>
                    <a:pt x="856" y="395"/>
                    <a:pt x="811" y="406"/>
                  </a:cubicBezTo>
                  <a:cubicBezTo>
                    <a:pt x="766" y="429"/>
                    <a:pt x="755" y="451"/>
                    <a:pt x="766" y="474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6"/>
                    <a:pt x="1442" y="676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8"/>
                    <a:pt x="2714" y="721"/>
                  </a:cubicBezTo>
                  <a:cubicBezTo>
                    <a:pt x="2861" y="767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2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8"/>
                  </a:lnTo>
                  <a:cubicBezTo>
                    <a:pt x="2838" y="1814"/>
                    <a:pt x="2613" y="1837"/>
                    <a:pt x="2365" y="1825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9"/>
                    <a:pt x="2512" y="1476"/>
                    <a:pt x="2568" y="1487"/>
                  </a:cubicBezTo>
                  <a:cubicBezTo>
                    <a:pt x="2636" y="1510"/>
                    <a:pt x="2681" y="1510"/>
                    <a:pt x="2737" y="1487"/>
                  </a:cubicBezTo>
                  <a:cubicBezTo>
                    <a:pt x="2782" y="1465"/>
                    <a:pt x="2793" y="1442"/>
                    <a:pt x="2782" y="1420"/>
                  </a:cubicBezTo>
                  <a:cubicBezTo>
                    <a:pt x="2771" y="1397"/>
                    <a:pt x="2737" y="1363"/>
                    <a:pt x="2681" y="1330"/>
                  </a:cubicBezTo>
                  <a:cubicBezTo>
                    <a:pt x="2523" y="1251"/>
                    <a:pt x="2410" y="1195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4"/>
                    <a:pt x="777" y="1071"/>
                  </a:cubicBezTo>
                  <a:cubicBezTo>
                    <a:pt x="608" y="1026"/>
                    <a:pt x="462" y="969"/>
                    <a:pt x="327" y="890"/>
                  </a:cubicBezTo>
                  <a:cubicBezTo>
                    <a:pt x="124" y="778"/>
                    <a:pt x="11" y="665"/>
                    <a:pt x="11" y="553"/>
                  </a:cubicBezTo>
                  <a:cubicBezTo>
                    <a:pt x="0" y="451"/>
                    <a:pt x="90" y="339"/>
                    <a:pt x="282" y="237"/>
                  </a:cubicBezTo>
                  <a:lnTo>
                    <a:pt x="68" y="113"/>
                  </a:lnTo>
                  <a:lnTo>
                    <a:pt x="360" y="1"/>
                  </a:lnTo>
                  <a:lnTo>
                    <a:pt x="574" y="113"/>
                  </a:lnTo>
                  <a:cubicBezTo>
                    <a:pt x="800" y="46"/>
                    <a:pt x="1014" y="23"/>
                    <a:pt x="1228" y="46"/>
                  </a:cubicBezTo>
                  <a:cubicBezTo>
                    <a:pt x="1442" y="68"/>
                    <a:pt x="1644" y="136"/>
                    <a:pt x="1847" y="248"/>
                  </a:cubicBezTo>
                  <a:cubicBezTo>
                    <a:pt x="1881" y="271"/>
                    <a:pt x="1915" y="293"/>
                    <a:pt x="1971" y="32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3"/>
            <p:cNvSpPr/>
            <p:nvPr/>
          </p:nvSpPr>
          <p:spPr>
            <a:xfrm>
              <a:off x="1628364" y="2071553"/>
              <a:ext cx="41363" cy="28786"/>
            </a:xfrm>
            <a:custGeom>
              <a:avLst/>
              <a:gdLst/>
              <a:ahLst/>
              <a:cxnLst/>
              <a:rect l="l" t="t" r="r" b="b"/>
              <a:pathLst>
                <a:path w="1184" h="824" extrusionOk="0">
                  <a:moveTo>
                    <a:pt x="597" y="1"/>
                  </a:moveTo>
                  <a:cubicBezTo>
                    <a:pt x="271" y="1"/>
                    <a:pt x="1" y="181"/>
                    <a:pt x="1" y="406"/>
                  </a:cubicBezTo>
                  <a:cubicBezTo>
                    <a:pt x="1" y="632"/>
                    <a:pt x="271" y="823"/>
                    <a:pt x="597" y="823"/>
                  </a:cubicBezTo>
                  <a:cubicBezTo>
                    <a:pt x="924" y="823"/>
                    <a:pt x="1183" y="632"/>
                    <a:pt x="1183" y="406"/>
                  </a:cubicBezTo>
                  <a:cubicBezTo>
                    <a:pt x="1183" y="181"/>
                    <a:pt x="924" y="1"/>
                    <a:pt x="59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3"/>
            <p:cNvSpPr/>
            <p:nvPr/>
          </p:nvSpPr>
          <p:spPr>
            <a:xfrm>
              <a:off x="1843592" y="1946035"/>
              <a:ext cx="41363" cy="28786"/>
            </a:xfrm>
            <a:custGeom>
              <a:avLst/>
              <a:gdLst/>
              <a:ahLst/>
              <a:cxnLst/>
              <a:rect l="l" t="t" r="r" b="b"/>
              <a:pathLst>
                <a:path w="1184" h="824" extrusionOk="0">
                  <a:moveTo>
                    <a:pt x="598" y="1"/>
                  </a:moveTo>
                  <a:cubicBezTo>
                    <a:pt x="260" y="1"/>
                    <a:pt x="1" y="181"/>
                    <a:pt x="1" y="406"/>
                  </a:cubicBezTo>
                  <a:cubicBezTo>
                    <a:pt x="1" y="632"/>
                    <a:pt x="260" y="823"/>
                    <a:pt x="598" y="823"/>
                  </a:cubicBezTo>
                  <a:cubicBezTo>
                    <a:pt x="924" y="823"/>
                    <a:pt x="1183" y="632"/>
                    <a:pt x="1183" y="406"/>
                  </a:cubicBezTo>
                  <a:cubicBezTo>
                    <a:pt x="1183" y="181"/>
                    <a:pt x="924" y="1"/>
                    <a:pt x="59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3"/>
            <p:cNvSpPr/>
            <p:nvPr/>
          </p:nvSpPr>
          <p:spPr>
            <a:xfrm>
              <a:off x="1477660" y="1842072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1"/>
                  </a:moveTo>
                  <a:cubicBezTo>
                    <a:pt x="9507" y="1"/>
                    <a:pt x="9400" y="32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4"/>
                    <a:pt x="226" y="5928"/>
                  </a:cubicBezTo>
                  <a:lnTo>
                    <a:pt x="5576" y="9082"/>
                  </a:lnTo>
                  <a:cubicBezTo>
                    <a:pt x="5694" y="9149"/>
                    <a:pt x="5824" y="9183"/>
                    <a:pt x="5952" y="9183"/>
                  </a:cubicBezTo>
                  <a:cubicBezTo>
                    <a:pt x="6080" y="9183"/>
                    <a:pt x="6207" y="9149"/>
                    <a:pt x="6319" y="9082"/>
                  </a:cubicBezTo>
                  <a:lnTo>
                    <a:pt x="15488" y="3743"/>
                  </a:lnTo>
                  <a:cubicBezTo>
                    <a:pt x="15645" y="3653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2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3"/>
            <p:cNvSpPr/>
            <p:nvPr/>
          </p:nvSpPr>
          <p:spPr>
            <a:xfrm>
              <a:off x="1477660" y="1840989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3"/>
                  </a:lnTo>
                  <a:cubicBezTo>
                    <a:pt x="5813" y="9248"/>
                    <a:pt x="6094" y="9248"/>
                    <a:pt x="6319" y="9113"/>
                  </a:cubicBezTo>
                  <a:lnTo>
                    <a:pt x="15488" y="3774"/>
                  </a:lnTo>
                  <a:cubicBezTo>
                    <a:pt x="15645" y="3684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1"/>
                    <a:pt x="9496" y="1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5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3"/>
            <p:cNvSpPr/>
            <p:nvPr/>
          </p:nvSpPr>
          <p:spPr>
            <a:xfrm>
              <a:off x="1477660" y="1835679"/>
              <a:ext cx="546593" cy="320913"/>
            </a:xfrm>
            <a:custGeom>
              <a:avLst/>
              <a:gdLst/>
              <a:ahLst/>
              <a:cxnLst/>
              <a:rect l="l" t="t" r="r" b="b"/>
              <a:pathLst>
                <a:path w="15646" h="9186" extrusionOk="0">
                  <a:moveTo>
                    <a:pt x="9615" y="1"/>
                  </a:moveTo>
                  <a:cubicBezTo>
                    <a:pt x="9507" y="1"/>
                    <a:pt x="9400" y="29"/>
                    <a:pt x="9304" y="85"/>
                  </a:cubicBezTo>
                  <a:lnTo>
                    <a:pt x="226" y="5345"/>
                  </a:lnTo>
                  <a:cubicBezTo>
                    <a:pt x="1" y="5480"/>
                    <a:pt x="1" y="5795"/>
                    <a:pt x="226" y="5931"/>
                  </a:cubicBezTo>
                  <a:lnTo>
                    <a:pt x="5576" y="9084"/>
                  </a:lnTo>
                  <a:cubicBezTo>
                    <a:pt x="5694" y="9152"/>
                    <a:pt x="5824" y="9186"/>
                    <a:pt x="5952" y="9186"/>
                  </a:cubicBezTo>
                  <a:cubicBezTo>
                    <a:pt x="6080" y="9186"/>
                    <a:pt x="6207" y="9152"/>
                    <a:pt x="6319" y="9084"/>
                  </a:cubicBezTo>
                  <a:lnTo>
                    <a:pt x="15488" y="3746"/>
                  </a:lnTo>
                  <a:cubicBezTo>
                    <a:pt x="15645" y="3655"/>
                    <a:pt x="15645" y="3430"/>
                    <a:pt x="15488" y="3340"/>
                  </a:cubicBezTo>
                  <a:lnTo>
                    <a:pt x="9935" y="85"/>
                  </a:lnTo>
                  <a:cubicBezTo>
                    <a:pt x="9834" y="29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3"/>
            <p:cNvSpPr/>
            <p:nvPr/>
          </p:nvSpPr>
          <p:spPr>
            <a:xfrm>
              <a:off x="1477660" y="1834701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4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13"/>
                  </a:lnTo>
                  <a:cubicBezTo>
                    <a:pt x="9732" y="0"/>
                    <a:pt x="9496" y="0"/>
                    <a:pt x="9304" y="113"/>
                  </a:cubicBezTo>
                  <a:lnTo>
                    <a:pt x="226" y="5373"/>
                  </a:lnTo>
                  <a:cubicBezTo>
                    <a:pt x="1" y="5508"/>
                    <a:pt x="1" y="5823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3"/>
            <p:cNvSpPr/>
            <p:nvPr/>
          </p:nvSpPr>
          <p:spPr>
            <a:xfrm>
              <a:off x="1531178" y="1868517"/>
              <a:ext cx="437980" cy="255829"/>
            </a:xfrm>
            <a:custGeom>
              <a:avLst/>
              <a:gdLst/>
              <a:ahLst/>
              <a:cxnLst/>
              <a:rect l="l" t="t" r="r" b="b"/>
              <a:pathLst>
                <a:path w="12537" h="7323" extrusionOk="0">
                  <a:moveTo>
                    <a:pt x="8752" y="1"/>
                  </a:moveTo>
                  <a:cubicBezTo>
                    <a:pt x="8628" y="170"/>
                    <a:pt x="8380" y="283"/>
                    <a:pt x="8088" y="283"/>
                  </a:cubicBezTo>
                  <a:cubicBezTo>
                    <a:pt x="7806" y="283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1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20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3"/>
                    <a:pt x="12311" y="2276"/>
                    <a:pt x="12469" y="2175"/>
                  </a:cubicBezTo>
                  <a:lnTo>
                    <a:pt x="8752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3"/>
            <p:cNvSpPr/>
            <p:nvPr/>
          </p:nvSpPr>
          <p:spPr>
            <a:xfrm>
              <a:off x="1531178" y="1868517"/>
              <a:ext cx="437980" cy="255829"/>
            </a:xfrm>
            <a:custGeom>
              <a:avLst/>
              <a:gdLst/>
              <a:ahLst/>
              <a:cxnLst/>
              <a:rect l="l" t="t" r="r" b="b"/>
              <a:pathLst>
                <a:path w="12537" h="7323" fill="none" extrusionOk="0">
                  <a:moveTo>
                    <a:pt x="12199" y="2580"/>
                  </a:moveTo>
                  <a:cubicBezTo>
                    <a:pt x="12199" y="2423"/>
                    <a:pt x="12311" y="2276"/>
                    <a:pt x="12469" y="2175"/>
                  </a:cubicBezTo>
                  <a:lnTo>
                    <a:pt x="8752" y="1"/>
                  </a:lnTo>
                  <a:cubicBezTo>
                    <a:pt x="8628" y="170"/>
                    <a:pt x="8380" y="283"/>
                    <a:pt x="8088" y="283"/>
                  </a:cubicBezTo>
                  <a:cubicBezTo>
                    <a:pt x="7806" y="283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1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20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3"/>
            <p:cNvSpPr/>
            <p:nvPr/>
          </p:nvSpPr>
          <p:spPr>
            <a:xfrm>
              <a:off x="1671647" y="1928743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1"/>
                  </a:cubicBezTo>
                  <a:cubicBezTo>
                    <a:pt x="4911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" name="Google Shape;958;p33"/>
            <p:cNvSpPr/>
            <p:nvPr/>
          </p:nvSpPr>
          <p:spPr>
            <a:xfrm>
              <a:off x="1671647" y="1928743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fill="none" extrusionOk="0">
                  <a:moveTo>
                    <a:pt x="4911" y="1701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11" y="766"/>
                    <a:pt x="4911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3"/>
            <p:cNvSpPr/>
            <p:nvPr/>
          </p:nvSpPr>
          <p:spPr>
            <a:xfrm>
              <a:off x="1694878" y="1955083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0" y="1"/>
                  </a:moveTo>
                  <a:lnTo>
                    <a:pt x="68" y="114"/>
                  </a:lnTo>
                  <a:lnTo>
                    <a:pt x="282" y="237"/>
                  </a:lnTo>
                  <a:cubicBezTo>
                    <a:pt x="90" y="339"/>
                    <a:pt x="0" y="451"/>
                    <a:pt x="11" y="553"/>
                  </a:cubicBezTo>
                  <a:cubicBezTo>
                    <a:pt x="11" y="665"/>
                    <a:pt x="124" y="778"/>
                    <a:pt x="327" y="891"/>
                  </a:cubicBezTo>
                  <a:cubicBezTo>
                    <a:pt x="462" y="970"/>
                    <a:pt x="608" y="1026"/>
                    <a:pt x="777" y="1071"/>
                  </a:cubicBezTo>
                  <a:cubicBezTo>
                    <a:pt x="935" y="1105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5"/>
                    <a:pt x="2523" y="1251"/>
                    <a:pt x="2681" y="1330"/>
                  </a:cubicBezTo>
                  <a:cubicBezTo>
                    <a:pt x="2737" y="1364"/>
                    <a:pt x="2771" y="1398"/>
                    <a:pt x="2782" y="1420"/>
                  </a:cubicBezTo>
                  <a:cubicBezTo>
                    <a:pt x="2793" y="1443"/>
                    <a:pt x="2782" y="1465"/>
                    <a:pt x="2737" y="1488"/>
                  </a:cubicBezTo>
                  <a:cubicBezTo>
                    <a:pt x="2709" y="1499"/>
                    <a:pt x="2684" y="1505"/>
                    <a:pt x="2657" y="1505"/>
                  </a:cubicBezTo>
                  <a:cubicBezTo>
                    <a:pt x="2630" y="1505"/>
                    <a:pt x="2602" y="1499"/>
                    <a:pt x="2568" y="1488"/>
                  </a:cubicBezTo>
                  <a:cubicBezTo>
                    <a:pt x="2512" y="1476"/>
                    <a:pt x="2399" y="1409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6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5"/>
                    <a:pt x="3030" y="1758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3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7"/>
                    <a:pt x="2714" y="722"/>
                  </a:cubicBezTo>
                  <a:cubicBezTo>
                    <a:pt x="2579" y="688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4"/>
                    <a:pt x="1376" y="674"/>
                  </a:cubicBezTo>
                  <a:cubicBezTo>
                    <a:pt x="1278" y="674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4"/>
                  </a:cubicBezTo>
                  <a:cubicBezTo>
                    <a:pt x="755" y="451"/>
                    <a:pt x="766" y="429"/>
                    <a:pt x="811" y="406"/>
                  </a:cubicBezTo>
                  <a:cubicBezTo>
                    <a:pt x="837" y="400"/>
                    <a:pt x="863" y="393"/>
                    <a:pt x="891" y="393"/>
                  </a:cubicBezTo>
                  <a:cubicBezTo>
                    <a:pt x="912" y="393"/>
                    <a:pt x="934" y="397"/>
                    <a:pt x="957" y="406"/>
                  </a:cubicBezTo>
                  <a:cubicBezTo>
                    <a:pt x="1014" y="418"/>
                    <a:pt x="1093" y="463"/>
                    <a:pt x="1216" y="519"/>
                  </a:cubicBezTo>
                  <a:lnTo>
                    <a:pt x="1329" y="587"/>
                  </a:lnTo>
                  <a:lnTo>
                    <a:pt x="1971" y="328"/>
                  </a:lnTo>
                  <a:cubicBezTo>
                    <a:pt x="1915" y="294"/>
                    <a:pt x="1881" y="271"/>
                    <a:pt x="1847" y="249"/>
                  </a:cubicBezTo>
                  <a:cubicBezTo>
                    <a:pt x="1644" y="136"/>
                    <a:pt x="1442" y="68"/>
                    <a:pt x="1228" y="46"/>
                  </a:cubicBezTo>
                  <a:cubicBezTo>
                    <a:pt x="1174" y="40"/>
                    <a:pt x="1121" y="38"/>
                    <a:pt x="1067" y="38"/>
                  </a:cubicBezTo>
                  <a:cubicBezTo>
                    <a:pt x="906" y="38"/>
                    <a:pt x="743" y="63"/>
                    <a:pt x="574" y="114"/>
                  </a:cubicBezTo>
                  <a:lnTo>
                    <a:pt x="360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3"/>
            <p:cNvSpPr/>
            <p:nvPr/>
          </p:nvSpPr>
          <p:spPr>
            <a:xfrm>
              <a:off x="1694878" y="1955083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1" y="328"/>
                  </a:moveTo>
                  <a:lnTo>
                    <a:pt x="1329" y="587"/>
                  </a:lnTo>
                  <a:lnTo>
                    <a:pt x="1216" y="519"/>
                  </a:lnTo>
                  <a:cubicBezTo>
                    <a:pt x="1093" y="463"/>
                    <a:pt x="1014" y="418"/>
                    <a:pt x="957" y="406"/>
                  </a:cubicBezTo>
                  <a:cubicBezTo>
                    <a:pt x="901" y="384"/>
                    <a:pt x="856" y="395"/>
                    <a:pt x="811" y="406"/>
                  </a:cubicBezTo>
                  <a:cubicBezTo>
                    <a:pt x="766" y="429"/>
                    <a:pt x="755" y="451"/>
                    <a:pt x="766" y="474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7"/>
                    <a:pt x="1442" y="677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8"/>
                    <a:pt x="2714" y="722"/>
                  </a:cubicBezTo>
                  <a:cubicBezTo>
                    <a:pt x="2861" y="767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3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8"/>
                  </a:lnTo>
                  <a:cubicBezTo>
                    <a:pt x="2838" y="1814"/>
                    <a:pt x="2613" y="1837"/>
                    <a:pt x="2365" y="1826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9"/>
                    <a:pt x="2512" y="1476"/>
                    <a:pt x="2568" y="1488"/>
                  </a:cubicBezTo>
                  <a:cubicBezTo>
                    <a:pt x="2636" y="1510"/>
                    <a:pt x="2681" y="1510"/>
                    <a:pt x="2737" y="1488"/>
                  </a:cubicBezTo>
                  <a:cubicBezTo>
                    <a:pt x="2782" y="1465"/>
                    <a:pt x="2793" y="1443"/>
                    <a:pt x="2782" y="1420"/>
                  </a:cubicBezTo>
                  <a:cubicBezTo>
                    <a:pt x="2771" y="1398"/>
                    <a:pt x="2737" y="1364"/>
                    <a:pt x="2681" y="1330"/>
                  </a:cubicBezTo>
                  <a:cubicBezTo>
                    <a:pt x="2523" y="1251"/>
                    <a:pt x="2410" y="1195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5"/>
                    <a:pt x="777" y="1071"/>
                  </a:cubicBezTo>
                  <a:cubicBezTo>
                    <a:pt x="608" y="1026"/>
                    <a:pt x="462" y="970"/>
                    <a:pt x="327" y="891"/>
                  </a:cubicBezTo>
                  <a:cubicBezTo>
                    <a:pt x="124" y="778"/>
                    <a:pt x="11" y="665"/>
                    <a:pt x="11" y="553"/>
                  </a:cubicBezTo>
                  <a:cubicBezTo>
                    <a:pt x="0" y="451"/>
                    <a:pt x="90" y="339"/>
                    <a:pt x="282" y="237"/>
                  </a:cubicBezTo>
                  <a:lnTo>
                    <a:pt x="68" y="114"/>
                  </a:lnTo>
                  <a:lnTo>
                    <a:pt x="360" y="1"/>
                  </a:lnTo>
                  <a:lnTo>
                    <a:pt x="574" y="114"/>
                  </a:lnTo>
                  <a:cubicBezTo>
                    <a:pt x="800" y="46"/>
                    <a:pt x="1014" y="23"/>
                    <a:pt x="1228" y="46"/>
                  </a:cubicBezTo>
                  <a:cubicBezTo>
                    <a:pt x="1442" y="68"/>
                    <a:pt x="1644" y="136"/>
                    <a:pt x="1847" y="249"/>
                  </a:cubicBezTo>
                  <a:cubicBezTo>
                    <a:pt x="1881" y="271"/>
                    <a:pt x="1915" y="294"/>
                    <a:pt x="1971" y="32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3"/>
            <p:cNvSpPr/>
            <p:nvPr/>
          </p:nvSpPr>
          <p:spPr>
            <a:xfrm>
              <a:off x="1628364" y="2042069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7" y="0"/>
                  </a:moveTo>
                  <a:cubicBezTo>
                    <a:pt x="271" y="0"/>
                    <a:pt x="1" y="180"/>
                    <a:pt x="1" y="406"/>
                  </a:cubicBezTo>
                  <a:cubicBezTo>
                    <a:pt x="1" y="631"/>
                    <a:pt x="271" y="822"/>
                    <a:pt x="597" y="822"/>
                  </a:cubicBezTo>
                  <a:cubicBezTo>
                    <a:pt x="924" y="822"/>
                    <a:pt x="1183" y="631"/>
                    <a:pt x="1183" y="406"/>
                  </a:cubicBezTo>
                  <a:cubicBezTo>
                    <a:pt x="1183" y="180"/>
                    <a:pt x="924" y="0"/>
                    <a:pt x="5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3"/>
            <p:cNvSpPr/>
            <p:nvPr/>
          </p:nvSpPr>
          <p:spPr>
            <a:xfrm>
              <a:off x="1843592" y="1916551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8" y="0"/>
                  </a:moveTo>
                  <a:cubicBezTo>
                    <a:pt x="260" y="0"/>
                    <a:pt x="1" y="180"/>
                    <a:pt x="1" y="406"/>
                  </a:cubicBezTo>
                  <a:cubicBezTo>
                    <a:pt x="1" y="631"/>
                    <a:pt x="260" y="822"/>
                    <a:pt x="598" y="822"/>
                  </a:cubicBezTo>
                  <a:cubicBezTo>
                    <a:pt x="924" y="822"/>
                    <a:pt x="1183" y="631"/>
                    <a:pt x="1183" y="406"/>
                  </a:cubicBezTo>
                  <a:cubicBezTo>
                    <a:pt x="1183" y="180"/>
                    <a:pt x="924" y="0"/>
                    <a:pt x="59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3" name="Google Shape;963;p33"/>
          <p:cNvGrpSpPr/>
          <p:nvPr/>
        </p:nvGrpSpPr>
        <p:grpSpPr>
          <a:xfrm>
            <a:off x="1051028" y="1240410"/>
            <a:ext cx="1226139" cy="1052197"/>
            <a:chOff x="3337647" y="-19723"/>
            <a:chExt cx="543453" cy="466358"/>
          </a:xfrm>
        </p:grpSpPr>
        <p:grpSp>
          <p:nvGrpSpPr>
            <p:cNvPr id="964" name="Google Shape;964;p33"/>
            <p:cNvGrpSpPr/>
            <p:nvPr/>
          </p:nvGrpSpPr>
          <p:grpSpPr>
            <a:xfrm>
              <a:off x="3337647" y="-19723"/>
              <a:ext cx="543453" cy="466358"/>
              <a:chOff x="3670072" y="965127"/>
              <a:chExt cx="543453" cy="466358"/>
            </a:xfrm>
          </p:grpSpPr>
          <p:sp>
            <p:nvSpPr>
              <p:cNvPr id="965" name="Google Shape;965;p33"/>
              <p:cNvSpPr/>
              <p:nvPr/>
            </p:nvSpPr>
            <p:spPr>
              <a:xfrm>
                <a:off x="3670077" y="1171687"/>
                <a:ext cx="543449" cy="259798"/>
              </a:xfrm>
              <a:custGeom>
                <a:avLst/>
                <a:gdLst/>
                <a:ahLst/>
                <a:cxnLst/>
                <a:rect l="l" t="t" r="r" b="b"/>
                <a:pathLst>
                  <a:path w="15556" h="6748" extrusionOk="0">
                    <a:moveTo>
                      <a:pt x="23" y="1"/>
                    </a:moveTo>
                    <a:cubicBezTo>
                      <a:pt x="35" y="46"/>
                      <a:pt x="35" y="80"/>
                      <a:pt x="46" y="125"/>
                    </a:cubicBezTo>
                    <a:cubicBezTo>
                      <a:pt x="12" y="249"/>
                      <a:pt x="1" y="372"/>
                      <a:pt x="1" y="508"/>
                    </a:cubicBezTo>
                    <a:cubicBezTo>
                      <a:pt x="1" y="586"/>
                      <a:pt x="1" y="654"/>
                      <a:pt x="12" y="733"/>
                    </a:cubicBezTo>
                    <a:lnTo>
                      <a:pt x="1" y="1397"/>
                    </a:lnTo>
                    <a:cubicBezTo>
                      <a:pt x="1" y="1454"/>
                      <a:pt x="1" y="1499"/>
                      <a:pt x="1" y="1544"/>
                    </a:cubicBezTo>
                    <a:cubicBezTo>
                      <a:pt x="1" y="1916"/>
                      <a:pt x="125" y="2265"/>
                      <a:pt x="361" y="2569"/>
                    </a:cubicBezTo>
                    <a:cubicBezTo>
                      <a:pt x="372" y="2580"/>
                      <a:pt x="384" y="2591"/>
                      <a:pt x="395" y="2614"/>
                    </a:cubicBezTo>
                    <a:cubicBezTo>
                      <a:pt x="936" y="3290"/>
                      <a:pt x="1983" y="3740"/>
                      <a:pt x="3177" y="3740"/>
                    </a:cubicBezTo>
                    <a:cubicBezTo>
                      <a:pt x="3898" y="3740"/>
                      <a:pt x="4551" y="3582"/>
                      <a:pt x="5092" y="3301"/>
                    </a:cubicBezTo>
                    <a:lnTo>
                      <a:pt x="5092" y="3301"/>
                    </a:lnTo>
                    <a:cubicBezTo>
                      <a:pt x="5081" y="3368"/>
                      <a:pt x="5069" y="3436"/>
                      <a:pt x="5069" y="3504"/>
                    </a:cubicBezTo>
                    <a:cubicBezTo>
                      <a:pt x="5069" y="3582"/>
                      <a:pt x="5081" y="3661"/>
                      <a:pt x="5092" y="3740"/>
                    </a:cubicBezTo>
                    <a:lnTo>
                      <a:pt x="5081" y="4405"/>
                    </a:lnTo>
                    <a:cubicBezTo>
                      <a:pt x="5081" y="4450"/>
                      <a:pt x="5069" y="4506"/>
                      <a:pt x="5069" y="4551"/>
                    </a:cubicBezTo>
                    <a:cubicBezTo>
                      <a:pt x="5069" y="4698"/>
                      <a:pt x="5092" y="4844"/>
                      <a:pt x="5137" y="4990"/>
                    </a:cubicBezTo>
                    <a:cubicBezTo>
                      <a:pt x="5430" y="5993"/>
                      <a:pt x="6714" y="6747"/>
                      <a:pt x="8257" y="6747"/>
                    </a:cubicBezTo>
                    <a:cubicBezTo>
                      <a:pt x="9000" y="6747"/>
                      <a:pt x="9687" y="6567"/>
                      <a:pt x="10239" y="6274"/>
                    </a:cubicBezTo>
                    <a:cubicBezTo>
                      <a:pt x="10262" y="6252"/>
                      <a:pt x="10295" y="6241"/>
                      <a:pt x="10318" y="6218"/>
                    </a:cubicBezTo>
                    <a:cubicBezTo>
                      <a:pt x="10611" y="6049"/>
                      <a:pt x="10847" y="5846"/>
                      <a:pt x="11039" y="5610"/>
                    </a:cubicBezTo>
                    <a:cubicBezTo>
                      <a:pt x="11050" y="5599"/>
                      <a:pt x="11061" y="5587"/>
                      <a:pt x="11073" y="5576"/>
                    </a:cubicBezTo>
                    <a:cubicBezTo>
                      <a:pt x="11208" y="5396"/>
                      <a:pt x="11309" y="5193"/>
                      <a:pt x="11365" y="4990"/>
                    </a:cubicBezTo>
                    <a:cubicBezTo>
                      <a:pt x="11411" y="4844"/>
                      <a:pt x="11433" y="4698"/>
                      <a:pt x="11433" y="4551"/>
                    </a:cubicBezTo>
                    <a:lnTo>
                      <a:pt x="11433" y="4258"/>
                    </a:lnTo>
                    <a:cubicBezTo>
                      <a:pt x="11726" y="4326"/>
                      <a:pt x="12041" y="4360"/>
                      <a:pt x="12368" y="4360"/>
                    </a:cubicBezTo>
                    <a:cubicBezTo>
                      <a:pt x="13123" y="4360"/>
                      <a:pt x="13810" y="4179"/>
                      <a:pt x="14350" y="3875"/>
                    </a:cubicBezTo>
                    <a:cubicBezTo>
                      <a:pt x="14384" y="3864"/>
                      <a:pt x="14407" y="3842"/>
                      <a:pt x="14440" y="3830"/>
                    </a:cubicBezTo>
                    <a:cubicBezTo>
                      <a:pt x="14722" y="3661"/>
                      <a:pt x="14970" y="3447"/>
                      <a:pt x="15150" y="3222"/>
                    </a:cubicBezTo>
                    <a:cubicBezTo>
                      <a:pt x="15161" y="3211"/>
                      <a:pt x="15172" y="3188"/>
                      <a:pt x="15184" y="3177"/>
                    </a:cubicBezTo>
                    <a:cubicBezTo>
                      <a:pt x="15319" y="2997"/>
                      <a:pt x="15432" y="2805"/>
                      <a:pt x="15488" y="2603"/>
                    </a:cubicBezTo>
                    <a:cubicBezTo>
                      <a:pt x="15533" y="2456"/>
                      <a:pt x="15555" y="2310"/>
                      <a:pt x="15555" y="2152"/>
                    </a:cubicBezTo>
                    <a:lnTo>
                      <a:pt x="15555" y="1116"/>
                    </a:lnTo>
                    <a:cubicBezTo>
                      <a:pt x="15555" y="981"/>
                      <a:pt x="15533" y="857"/>
                      <a:pt x="15499" y="733"/>
                    </a:cubicBezTo>
                    <a:cubicBezTo>
                      <a:pt x="15533" y="609"/>
                      <a:pt x="15555" y="485"/>
                      <a:pt x="15555" y="350"/>
                    </a:cubicBezTo>
                    <a:lnTo>
                      <a:pt x="15555" y="1"/>
                    </a:lnTo>
                    <a:close/>
                  </a:path>
                </a:pathLst>
              </a:custGeom>
              <a:solidFill>
                <a:srgbClr val="000000">
                  <a:alpha val="126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6" name="Google Shape;966;p33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lnTo>
                      <a:pt x="5981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7" name="Google Shape;967;p33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" name="Google Shape;968;p33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fill="none" extrusionOk="0">
                    <a:moveTo>
                      <a:pt x="5981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" name="Google Shape;969;p33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" name="Google Shape;970;p33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64" y="3413"/>
                      <a:pt x="6364" y="2197"/>
                    </a:cubicBezTo>
                    <a:cubicBezTo>
                      <a:pt x="6364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" name="Google Shape;971;p33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" name="Google Shape;972;p33"/>
              <p:cNvSpPr/>
              <p:nvPr/>
            </p:nvSpPr>
            <p:spPr>
              <a:xfrm>
                <a:off x="4102903" y="127478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cubicBezTo>
                      <a:pt x="0" y="1003"/>
                      <a:pt x="0" y="981"/>
                      <a:pt x="0" y="947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" name="Google Shape;973;p33"/>
              <p:cNvSpPr/>
              <p:nvPr/>
            </p:nvSpPr>
            <p:spPr>
              <a:xfrm>
                <a:off x="4078100" y="127244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" name="Google Shape;974;p33"/>
              <p:cNvSpPr/>
              <p:nvPr/>
            </p:nvSpPr>
            <p:spPr>
              <a:xfrm>
                <a:off x="4055288" y="126730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5" name="Google Shape;975;p33"/>
              <p:cNvSpPr/>
              <p:nvPr/>
            </p:nvSpPr>
            <p:spPr>
              <a:xfrm>
                <a:off x="4034048" y="125864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6" name="Google Shape;976;p33"/>
              <p:cNvSpPr/>
              <p:nvPr/>
            </p:nvSpPr>
            <p:spPr>
              <a:xfrm>
                <a:off x="4016337" y="124645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7" name="Google Shape;977;p33"/>
              <p:cNvSpPr/>
              <p:nvPr/>
            </p:nvSpPr>
            <p:spPr>
              <a:xfrm>
                <a:off x="3999813" y="122639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8" name="Google Shape;978;p33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23" y="2647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9" name="Google Shape;979;p33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0" name="Google Shape;980;p33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37"/>
                    </a:lnTo>
                    <a:cubicBezTo>
                      <a:pt x="90" y="350"/>
                      <a:pt x="0" y="451"/>
                      <a:pt x="11" y="564"/>
                    </a:cubicBezTo>
                    <a:cubicBezTo>
                      <a:pt x="11" y="665"/>
                      <a:pt x="124" y="778"/>
                      <a:pt x="327" y="891"/>
                    </a:cubicBezTo>
                    <a:cubicBezTo>
                      <a:pt x="462" y="969"/>
                      <a:pt x="620" y="1026"/>
                      <a:pt x="777" y="1071"/>
                    </a:cubicBezTo>
                    <a:cubicBezTo>
                      <a:pt x="935" y="1105"/>
                      <a:pt x="1081" y="1138"/>
                      <a:pt x="1216" y="1138"/>
                    </a:cubicBezTo>
                    <a:cubicBezTo>
                      <a:pt x="1352" y="1138"/>
                      <a:pt x="1577" y="1138"/>
                      <a:pt x="1904" y="1127"/>
                    </a:cubicBezTo>
                    <a:cubicBezTo>
                      <a:pt x="2095" y="1127"/>
                      <a:pt x="2241" y="1138"/>
                      <a:pt x="2320" y="1161"/>
                    </a:cubicBezTo>
                    <a:cubicBezTo>
                      <a:pt x="2410" y="1195"/>
                      <a:pt x="2534" y="1251"/>
                      <a:pt x="2681" y="1330"/>
                    </a:cubicBezTo>
                    <a:cubicBezTo>
                      <a:pt x="2737" y="1364"/>
                      <a:pt x="2782" y="1397"/>
                      <a:pt x="2782" y="1420"/>
                    </a:cubicBezTo>
                    <a:cubicBezTo>
                      <a:pt x="2793" y="1454"/>
                      <a:pt x="2782" y="1476"/>
                      <a:pt x="2737" y="1487"/>
                    </a:cubicBezTo>
                    <a:cubicBezTo>
                      <a:pt x="2709" y="1499"/>
                      <a:pt x="2684" y="1504"/>
                      <a:pt x="2658" y="1504"/>
                    </a:cubicBezTo>
                    <a:cubicBezTo>
                      <a:pt x="2633" y="1504"/>
                      <a:pt x="2608" y="1499"/>
                      <a:pt x="2579" y="1487"/>
                    </a:cubicBezTo>
                    <a:cubicBezTo>
                      <a:pt x="2512" y="1476"/>
                      <a:pt x="2399" y="1409"/>
                      <a:pt x="2219" y="1307"/>
                    </a:cubicBezTo>
                    <a:lnTo>
                      <a:pt x="2050" y="1217"/>
                    </a:lnTo>
                    <a:lnTo>
                      <a:pt x="1408" y="1487"/>
                    </a:lnTo>
                    <a:lnTo>
                      <a:pt x="1543" y="1555"/>
                    </a:lnTo>
                    <a:cubicBezTo>
                      <a:pt x="1847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4" y="1834"/>
                      <a:pt x="2886" y="1809"/>
                      <a:pt x="3030" y="1758"/>
                    </a:cubicBezTo>
                    <a:lnTo>
                      <a:pt x="3289" y="1904"/>
                    </a:lnTo>
                    <a:lnTo>
                      <a:pt x="3582" y="1792"/>
                    </a:lnTo>
                    <a:lnTo>
                      <a:pt x="3334" y="1645"/>
                    </a:lnTo>
                    <a:cubicBezTo>
                      <a:pt x="3514" y="1533"/>
                      <a:pt x="3593" y="1420"/>
                      <a:pt x="3571" y="1296"/>
                    </a:cubicBezTo>
                    <a:cubicBezTo>
                      <a:pt x="3537" y="1172"/>
                      <a:pt x="3402" y="1048"/>
                      <a:pt x="3165" y="913"/>
                    </a:cubicBezTo>
                    <a:cubicBezTo>
                      <a:pt x="3007" y="834"/>
                      <a:pt x="2861" y="767"/>
                      <a:pt x="2726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3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5" y="671"/>
                      <a:pt x="1478" y="674"/>
                      <a:pt x="1380" y="674"/>
                    </a:cubicBezTo>
                    <a:cubicBezTo>
                      <a:pt x="1281" y="674"/>
                      <a:pt x="1211" y="671"/>
                      <a:pt x="1171" y="665"/>
                    </a:cubicBezTo>
                    <a:cubicBezTo>
                      <a:pt x="1081" y="665"/>
                      <a:pt x="991" y="631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7" y="404"/>
                      <a:pt x="868" y="399"/>
                      <a:pt x="897" y="399"/>
                    </a:cubicBezTo>
                    <a:cubicBezTo>
                      <a:pt x="918" y="399"/>
                      <a:pt x="939" y="402"/>
                      <a:pt x="957" y="406"/>
                    </a:cubicBezTo>
                    <a:cubicBezTo>
                      <a:pt x="1014" y="417"/>
                      <a:pt x="1093" y="463"/>
                      <a:pt x="1216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81" y="271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1" name="Google Shape;981;p33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6" y="530"/>
                    </a:lnTo>
                    <a:cubicBezTo>
                      <a:pt x="1093" y="463"/>
                      <a:pt x="1014" y="417"/>
                      <a:pt x="957" y="406"/>
                    </a:cubicBezTo>
                    <a:cubicBezTo>
                      <a:pt x="912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31"/>
                      <a:pt x="1081" y="665"/>
                      <a:pt x="1171" y="665"/>
                    </a:cubicBezTo>
                    <a:cubicBezTo>
                      <a:pt x="1250" y="677"/>
                      <a:pt x="1453" y="677"/>
                      <a:pt x="1757" y="665"/>
                    </a:cubicBezTo>
                    <a:cubicBezTo>
                      <a:pt x="2027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26" y="733"/>
                    </a:cubicBezTo>
                    <a:cubicBezTo>
                      <a:pt x="2861" y="767"/>
                      <a:pt x="3007" y="834"/>
                      <a:pt x="3165" y="913"/>
                    </a:cubicBezTo>
                    <a:cubicBezTo>
                      <a:pt x="3402" y="1048"/>
                      <a:pt x="3537" y="1172"/>
                      <a:pt x="3571" y="1296"/>
                    </a:cubicBezTo>
                    <a:cubicBezTo>
                      <a:pt x="3593" y="1420"/>
                      <a:pt x="3514" y="1533"/>
                      <a:pt x="3334" y="1645"/>
                    </a:cubicBezTo>
                    <a:lnTo>
                      <a:pt x="3582" y="1792"/>
                    </a:lnTo>
                    <a:lnTo>
                      <a:pt x="3289" y="1904"/>
                    </a:lnTo>
                    <a:lnTo>
                      <a:pt x="3030" y="1758"/>
                    </a:lnTo>
                    <a:cubicBezTo>
                      <a:pt x="2838" y="1825"/>
                      <a:pt x="2613" y="1848"/>
                      <a:pt x="2365" y="1825"/>
                    </a:cubicBezTo>
                    <a:cubicBezTo>
                      <a:pt x="2118" y="1814"/>
                      <a:pt x="1847" y="1724"/>
                      <a:pt x="1543" y="1555"/>
                    </a:cubicBezTo>
                    <a:lnTo>
                      <a:pt x="1408" y="1487"/>
                    </a:lnTo>
                    <a:lnTo>
                      <a:pt x="2050" y="1217"/>
                    </a:lnTo>
                    <a:lnTo>
                      <a:pt x="2219" y="1307"/>
                    </a:lnTo>
                    <a:cubicBezTo>
                      <a:pt x="2399" y="1409"/>
                      <a:pt x="2512" y="1476"/>
                      <a:pt x="2579" y="1487"/>
                    </a:cubicBezTo>
                    <a:cubicBezTo>
                      <a:pt x="2636" y="1510"/>
                      <a:pt x="2681" y="1510"/>
                      <a:pt x="2737" y="1487"/>
                    </a:cubicBezTo>
                    <a:cubicBezTo>
                      <a:pt x="2782" y="1476"/>
                      <a:pt x="2793" y="1454"/>
                      <a:pt x="2782" y="1420"/>
                    </a:cubicBezTo>
                    <a:cubicBezTo>
                      <a:pt x="2782" y="1397"/>
                      <a:pt x="2737" y="1364"/>
                      <a:pt x="2681" y="1330"/>
                    </a:cubicBezTo>
                    <a:cubicBezTo>
                      <a:pt x="2534" y="1251"/>
                      <a:pt x="2410" y="1195"/>
                      <a:pt x="2320" y="1161"/>
                    </a:cubicBezTo>
                    <a:cubicBezTo>
                      <a:pt x="2241" y="1138"/>
                      <a:pt x="2095" y="1127"/>
                      <a:pt x="1904" y="1127"/>
                    </a:cubicBezTo>
                    <a:cubicBezTo>
                      <a:pt x="1577" y="1138"/>
                      <a:pt x="1352" y="1138"/>
                      <a:pt x="1216" y="1138"/>
                    </a:cubicBezTo>
                    <a:cubicBezTo>
                      <a:pt x="1081" y="1138"/>
                      <a:pt x="935" y="1105"/>
                      <a:pt x="777" y="1071"/>
                    </a:cubicBezTo>
                    <a:cubicBezTo>
                      <a:pt x="620" y="1026"/>
                      <a:pt x="462" y="969"/>
                      <a:pt x="327" y="891"/>
                    </a:cubicBezTo>
                    <a:cubicBezTo>
                      <a:pt x="124" y="778"/>
                      <a:pt x="11" y="665"/>
                      <a:pt x="11" y="564"/>
                    </a:cubicBezTo>
                    <a:cubicBezTo>
                      <a:pt x="0" y="451"/>
                      <a:pt x="90" y="350"/>
                      <a:pt x="282" y="237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2" name="Google Shape;982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3" name="Google Shape;983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4" name="Google Shape;984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5" name="Google Shape;985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6" name="Google Shape;986;p33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7"/>
                    </a:cubicBezTo>
                    <a:cubicBezTo>
                      <a:pt x="6364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7" name="Google Shape;987;p33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3"/>
                      <a:pt x="4934" y="4393"/>
                      <a:pt x="3177" y="4393"/>
                    </a:cubicBezTo>
                    <a:cubicBezTo>
                      <a:pt x="1420" y="4393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8" name="Google Shape;988;p33"/>
              <p:cNvSpPr/>
              <p:nvPr/>
            </p:nvSpPr>
            <p:spPr>
              <a:xfrm>
                <a:off x="4102903" y="121144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0" y="958"/>
                    </a:cubicBez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9" name="Google Shape;989;p33"/>
              <p:cNvSpPr/>
              <p:nvPr/>
            </p:nvSpPr>
            <p:spPr>
              <a:xfrm>
                <a:off x="4078100" y="1209490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0" name="Google Shape;990;p33"/>
              <p:cNvSpPr/>
              <p:nvPr/>
            </p:nvSpPr>
            <p:spPr>
              <a:xfrm>
                <a:off x="4055288" y="1204354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1" name="Google Shape;991;p33"/>
              <p:cNvSpPr/>
              <p:nvPr/>
            </p:nvSpPr>
            <p:spPr>
              <a:xfrm>
                <a:off x="4034048" y="119569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2" name="Google Shape;992;p33"/>
              <p:cNvSpPr/>
              <p:nvPr/>
            </p:nvSpPr>
            <p:spPr>
              <a:xfrm>
                <a:off x="4016337" y="118349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3" name="Google Shape;993;p33"/>
              <p:cNvSpPr/>
              <p:nvPr/>
            </p:nvSpPr>
            <p:spPr>
              <a:xfrm>
                <a:off x="3999813" y="116344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4" name="Google Shape;994;p33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37"/>
                      <a:pt x="1104" y="3402"/>
                      <a:pt x="2456" y="3402"/>
                    </a:cubicBezTo>
                    <a:cubicBezTo>
                      <a:pt x="3819" y="3402"/>
                      <a:pt x="4923" y="2637"/>
                      <a:pt x="4923" y="1702"/>
                    </a:cubicBezTo>
                    <a:cubicBezTo>
                      <a:pt x="4923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5" name="Google Shape;995;p33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fill="none" extrusionOk="0">
                    <a:moveTo>
                      <a:pt x="4923" y="1702"/>
                    </a:moveTo>
                    <a:cubicBezTo>
                      <a:pt x="4923" y="2637"/>
                      <a:pt x="3819" y="3402"/>
                      <a:pt x="2456" y="3402"/>
                    </a:cubicBezTo>
                    <a:cubicBezTo>
                      <a:pt x="1104" y="3402"/>
                      <a:pt x="1" y="2637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23" y="767"/>
                      <a:pt x="4923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6" name="Google Shape;996;p33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90" y="350"/>
                      <a:pt x="0" y="462"/>
                      <a:pt x="11" y="564"/>
                    </a:cubicBezTo>
                    <a:cubicBezTo>
                      <a:pt x="11" y="676"/>
                      <a:pt x="124" y="789"/>
                      <a:pt x="327" y="901"/>
                    </a:cubicBezTo>
                    <a:cubicBezTo>
                      <a:pt x="462" y="980"/>
                      <a:pt x="620" y="1037"/>
                      <a:pt x="777" y="1082"/>
                    </a:cubicBezTo>
                    <a:cubicBezTo>
                      <a:pt x="935" y="1115"/>
                      <a:pt x="1081" y="1138"/>
                      <a:pt x="1216" y="1149"/>
                    </a:cubicBezTo>
                    <a:cubicBezTo>
                      <a:pt x="1352" y="1149"/>
                      <a:pt x="1577" y="1149"/>
                      <a:pt x="1904" y="1138"/>
                    </a:cubicBezTo>
                    <a:cubicBezTo>
                      <a:pt x="2095" y="1138"/>
                      <a:pt x="2241" y="1149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4"/>
                      <a:pt x="2782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10"/>
                      <a:pt x="2684" y="1515"/>
                      <a:pt x="2658" y="1515"/>
                    </a:cubicBezTo>
                    <a:cubicBezTo>
                      <a:pt x="2633" y="1515"/>
                      <a:pt x="2608" y="1510"/>
                      <a:pt x="2579" y="1498"/>
                    </a:cubicBezTo>
                    <a:cubicBezTo>
                      <a:pt x="2512" y="1487"/>
                      <a:pt x="2399" y="1420"/>
                      <a:pt x="2219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34" y="1656"/>
                    </a:lnTo>
                    <a:cubicBezTo>
                      <a:pt x="3514" y="1543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2"/>
                    </a:cubicBezTo>
                    <a:cubicBezTo>
                      <a:pt x="2579" y="699"/>
                      <a:pt x="2444" y="676"/>
                      <a:pt x="2332" y="665"/>
                    </a:cubicBezTo>
                    <a:cubicBezTo>
                      <a:pt x="2219" y="665"/>
                      <a:pt x="2027" y="665"/>
                      <a:pt x="1757" y="676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5"/>
                    </a:cubicBezTo>
                    <a:cubicBezTo>
                      <a:pt x="755" y="462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8"/>
                      <a:pt x="1093" y="473"/>
                      <a:pt x="1216" y="530"/>
                    </a:cubicBezTo>
                    <a:lnTo>
                      <a:pt x="1329" y="597"/>
                    </a:lnTo>
                    <a:lnTo>
                      <a:pt x="1971" y="338"/>
                    </a:lnTo>
                    <a:cubicBezTo>
                      <a:pt x="1915" y="304"/>
                      <a:pt x="1881" y="282"/>
                      <a:pt x="1847" y="259"/>
                    </a:cubicBezTo>
                    <a:cubicBezTo>
                      <a:pt x="1644" y="147"/>
                      <a:pt x="1442" y="79"/>
                      <a:pt x="1228" y="57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3" y="74"/>
                      <a:pt x="574" y="124"/>
                    </a:cubicBezTo>
                    <a:lnTo>
                      <a:pt x="3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7" name="Google Shape;997;p33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8"/>
                    </a:moveTo>
                    <a:lnTo>
                      <a:pt x="1329" y="597"/>
                    </a:lnTo>
                    <a:lnTo>
                      <a:pt x="1216" y="530"/>
                    </a:lnTo>
                    <a:cubicBezTo>
                      <a:pt x="1093" y="473"/>
                      <a:pt x="1014" y="428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2"/>
                      <a:pt x="766" y="485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6"/>
                    </a:cubicBezTo>
                    <a:cubicBezTo>
                      <a:pt x="1250" y="687"/>
                      <a:pt x="1453" y="687"/>
                      <a:pt x="1757" y="676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6"/>
                      <a:pt x="2579" y="699"/>
                      <a:pt x="2726" y="732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3"/>
                      <a:pt x="3334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6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8"/>
                    </a:lnTo>
                    <a:cubicBezTo>
                      <a:pt x="2399" y="1420"/>
                      <a:pt x="2512" y="1487"/>
                      <a:pt x="2579" y="1498"/>
                    </a:cubicBezTo>
                    <a:cubicBezTo>
                      <a:pt x="2636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82" y="1408"/>
                      <a:pt x="2737" y="1374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49"/>
                      <a:pt x="2095" y="1138"/>
                      <a:pt x="1904" y="1138"/>
                    </a:cubicBezTo>
                    <a:cubicBezTo>
                      <a:pt x="1577" y="1149"/>
                      <a:pt x="1352" y="1149"/>
                      <a:pt x="1216" y="1149"/>
                    </a:cubicBezTo>
                    <a:cubicBezTo>
                      <a:pt x="1081" y="1138"/>
                      <a:pt x="935" y="1115"/>
                      <a:pt x="777" y="1082"/>
                    </a:cubicBezTo>
                    <a:cubicBezTo>
                      <a:pt x="620" y="1037"/>
                      <a:pt x="462" y="980"/>
                      <a:pt x="327" y="901"/>
                    </a:cubicBezTo>
                    <a:cubicBezTo>
                      <a:pt x="124" y="789"/>
                      <a:pt x="11" y="676"/>
                      <a:pt x="11" y="564"/>
                    </a:cubicBezTo>
                    <a:cubicBezTo>
                      <a:pt x="0" y="462"/>
                      <a:pt x="90" y="350"/>
                      <a:pt x="282" y="248"/>
                    </a:cubicBezTo>
                    <a:lnTo>
                      <a:pt x="68" y="124"/>
                    </a:lnTo>
                    <a:lnTo>
                      <a:pt x="360" y="0"/>
                    </a:lnTo>
                    <a:lnTo>
                      <a:pt x="574" y="124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4" y="147"/>
                      <a:pt x="1847" y="259"/>
                    </a:cubicBezTo>
                    <a:cubicBezTo>
                      <a:pt x="1881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8" name="Google Shape;998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9" name="Google Shape;999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0" name="Google Shape;1000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1" name="Google Shape;1001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9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2" name="Google Shape;1002;p33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1"/>
                    </a:moveTo>
                    <a:cubicBezTo>
                      <a:pt x="1420" y="1"/>
                      <a:pt x="1" y="981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64" y="3414"/>
                      <a:pt x="6364" y="2197"/>
                    </a:cubicBezTo>
                    <a:cubicBezTo>
                      <a:pt x="6364" y="981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3" name="Google Shape;1003;p33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4"/>
                      <a:pt x="4934" y="4393"/>
                      <a:pt x="3177" y="4393"/>
                    </a:cubicBezTo>
                    <a:cubicBezTo>
                      <a:pt x="1420" y="4393"/>
                      <a:pt x="1" y="3414"/>
                      <a:pt x="1" y="2197"/>
                    </a:cubicBezTo>
                    <a:cubicBezTo>
                      <a:pt x="1" y="981"/>
                      <a:pt x="1420" y="1"/>
                      <a:pt x="3177" y="1"/>
                    </a:cubicBezTo>
                    <a:cubicBezTo>
                      <a:pt x="4934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4" name="Google Shape;1004;p33"/>
              <p:cNvSpPr/>
              <p:nvPr/>
            </p:nvSpPr>
            <p:spPr>
              <a:xfrm>
                <a:off x="4102903" y="1147692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1"/>
                      <a:pt x="0" y="958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5" name="Google Shape;1005;p33"/>
              <p:cNvSpPr/>
              <p:nvPr/>
            </p:nvSpPr>
            <p:spPr>
              <a:xfrm>
                <a:off x="4078100" y="114573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6" name="Google Shape;1006;p33"/>
              <p:cNvSpPr/>
              <p:nvPr/>
            </p:nvSpPr>
            <p:spPr>
              <a:xfrm>
                <a:off x="4055288" y="1140600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7" name="Google Shape;1007;p33"/>
              <p:cNvSpPr/>
              <p:nvPr/>
            </p:nvSpPr>
            <p:spPr>
              <a:xfrm>
                <a:off x="4034048" y="113197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8" name="Google Shape;1008;p33"/>
              <p:cNvSpPr/>
              <p:nvPr/>
            </p:nvSpPr>
            <p:spPr>
              <a:xfrm>
                <a:off x="4016337" y="111974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9" name="Google Shape;1009;p33"/>
              <p:cNvSpPr/>
              <p:nvPr/>
            </p:nvSpPr>
            <p:spPr>
              <a:xfrm>
                <a:off x="3999813" y="109969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0" name="Google Shape;1010;p33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23" y="2636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1" name="Google Shape;1011;p33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2" name="Google Shape;1012;p33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49"/>
                    </a:lnTo>
                    <a:cubicBezTo>
                      <a:pt x="90" y="350"/>
                      <a:pt x="0" y="463"/>
                      <a:pt x="11" y="564"/>
                    </a:cubicBezTo>
                    <a:cubicBezTo>
                      <a:pt x="11" y="677"/>
                      <a:pt x="124" y="789"/>
                      <a:pt x="327" y="902"/>
                    </a:cubicBezTo>
                    <a:cubicBezTo>
                      <a:pt x="462" y="981"/>
                      <a:pt x="620" y="1037"/>
                      <a:pt x="777" y="1082"/>
                    </a:cubicBezTo>
                    <a:cubicBezTo>
                      <a:pt x="935" y="1116"/>
                      <a:pt x="1081" y="1138"/>
                      <a:pt x="1216" y="1150"/>
                    </a:cubicBezTo>
                    <a:cubicBezTo>
                      <a:pt x="1352" y="1150"/>
                      <a:pt x="1577" y="1150"/>
                      <a:pt x="1904" y="1138"/>
                    </a:cubicBezTo>
                    <a:cubicBezTo>
                      <a:pt x="2095" y="1138"/>
                      <a:pt x="2241" y="1150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5"/>
                      <a:pt x="2782" y="1409"/>
                      <a:pt x="2782" y="1431"/>
                    </a:cubicBezTo>
                    <a:cubicBezTo>
                      <a:pt x="2793" y="1454"/>
                      <a:pt x="2782" y="1476"/>
                      <a:pt x="2737" y="1499"/>
                    </a:cubicBezTo>
                    <a:cubicBezTo>
                      <a:pt x="2709" y="1510"/>
                      <a:pt x="2684" y="1516"/>
                      <a:pt x="2658" y="1516"/>
                    </a:cubicBezTo>
                    <a:cubicBezTo>
                      <a:pt x="2633" y="1516"/>
                      <a:pt x="2608" y="1510"/>
                      <a:pt x="2579" y="1499"/>
                    </a:cubicBezTo>
                    <a:cubicBezTo>
                      <a:pt x="2512" y="1487"/>
                      <a:pt x="2399" y="1420"/>
                      <a:pt x="2219" y="1319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7"/>
                    </a:cubicBezTo>
                    <a:cubicBezTo>
                      <a:pt x="2407" y="1839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2"/>
                    </a:lnTo>
                    <a:lnTo>
                      <a:pt x="3334" y="1656"/>
                    </a:lnTo>
                    <a:cubicBezTo>
                      <a:pt x="3514" y="1544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3"/>
                    </a:cubicBezTo>
                    <a:cubicBezTo>
                      <a:pt x="2579" y="699"/>
                      <a:pt x="2444" y="677"/>
                      <a:pt x="2332" y="665"/>
                    </a:cubicBezTo>
                    <a:cubicBezTo>
                      <a:pt x="2219" y="665"/>
                      <a:pt x="2027" y="665"/>
                      <a:pt x="1757" y="677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7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8"/>
                      <a:pt x="766" y="485"/>
                    </a:cubicBezTo>
                    <a:cubicBezTo>
                      <a:pt x="755" y="463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9"/>
                      <a:pt x="1093" y="474"/>
                      <a:pt x="1216" y="530"/>
                    </a:cubicBezTo>
                    <a:lnTo>
                      <a:pt x="1329" y="598"/>
                    </a:lnTo>
                    <a:lnTo>
                      <a:pt x="1971" y="339"/>
                    </a:lnTo>
                    <a:cubicBezTo>
                      <a:pt x="1915" y="305"/>
                      <a:pt x="1881" y="282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3" name="Google Shape;1013;p33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9"/>
                    </a:moveTo>
                    <a:lnTo>
                      <a:pt x="1329" y="598"/>
                    </a:lnTo>
                    <a:lnTo>
                      <a:pt x="1216" y="530"/>
                    </a:lnTo>
                    <a:cubicBezTo>
                      <a:pt x="1093" y="474"/>
                      <a:pt x="1014" y="429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3"/>
                      <a:pt x="766" y="485"/>
                    </a:cubicBezTo>
                    <a:cubicBezTo>
                      <a:pt x="777" y="508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7"/>
                    </a:cubicBezTo>
                    <a:cubicBezTo>
                      <a:pt x="1250" y="688"/>
                      <a:pt x="1453" y="688"/>
                      <a:pt x="1757" y="677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7"/>
                      <a:pt x="2579" y="699"/>
                      <a:pt x="2726" y="733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4"/>
                      <a:pt x="3334" y="1656"/>
                    </a:cubicBezTo>
                    <a:lnTo>
                      <a:pt x="3582" y="1792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7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9"/>
                    </a:lnTo>
                    <a:cubicBezTo>
                      <a:pt x="2399" y="1420"/>
                      <a:pt x="2512" y="1487"/>
                      <a:pt x="2579" y="1499"/>
                    </a:cubicBezTo>
                    <a:cubicBezTo>
                      <a:pt x="2636" y="1521"/>
                      <a:pt x="2681" y="1521"/>
                      <a:pt x="2737" y="1499"/>
                    </a:cubicBezTo>
                    <a:cubicBezTo>
                      <a:pt x="2782" y="1476"/>
                      <a:pt x="2793" y="1454"/>
                      <a:pt x="2782" y="1431"/>
                    </a:cubicBezTo>
                    <a:cubicBezTo>
                      <a:pt x="2782" y="1409"/>
                      <a:pt x="2737" y="1375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50"/>
                      <a:pt x="2095" y="1138"/>
                      <a:pt x="1904" y="1138"/>
                    </a:cubicBezTo>
                    <a:cubicBezTo>
                      <a:pt x="1577" y="1150"/>
                      <a:pt x="1352" y="1150"/>
                      <a:pt x="1216" y="1150"/>
                    </a:cubicBezTo>
                    <a:cubicBezTo>
                      <a:pt x="1081" y="1138"/>
                      <a:pt x="935" y="1116"/>
                      <a:pt x="777" y="1082"/>
                    </a:cubicBezTo>
                    <a:cubicBezTo>
                      <a:pt x="620" y="1037"/>
                      <a:pt x="462" y="981"/>
                      <a:pt x="327" y="902"/>
                    </a:cubicBezTo>
                    <a:cubicBezTo>
                      <a:pt x="124" y="789"/>
                      <a:pt x="11" y="677"/>
                      <a:pt x="11" y="564"/>
                    </a:cubicBezTo>
                    <a:cubicBezTo>
                      <a:pt x="0" y="463"/>
                      <a:pt x="90" y="350"/>
                      <a:pt x="282" y="249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82"/>
                      <a:pt x="1915" y="305"/>
                      <a:pt x="1971" y="33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4" name="Google Shape;1014;p33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extrusionOk="0">
                    <a:moveTo>
                      <a:pt x="3177" y="1"/>
                    </a:move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lnTo>
                      <a:pt x="5982" y="1150"/>
                    </a:lnTo>
                    <a:cubicBezTo>
                      <a:pt x="5441" y="463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5" name="Google Shape;1015;p33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4"/>
                      <a:pt x="3177" y="4404"/>
                    </a:cubicBezTo>
                    <a:cubicBezTo>
                      <a:pt x="4934" y="4404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6" name="Google Shape;1016;p33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fill="none" extrusionOk="0">
                    <a:moveTo>
                      <a:pt x="5982" y="1150"/>
                    </a:moveTo>
                    <a:cubicBezTo>
                      <a:pt x="5441" y="463"/>
                      <a:pt x="4393" y="1"/>
                      <a:pt x="3177" y="1"/>
                    </a:cubicBez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7" name="Google Shape;1017;p33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4"/>
                      <a:pt x="3177" y="4404"/>
                    </a:cubicBezTo>
                    <a:cubicBezTo>
                      <a:pt x="1420" y="4404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8" name="Google Shape;1018;p33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9" name="Google Shape;1019;p33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0" name="Google Shape;1020;p33"/>
              <p:cNvSpPr/>
              <p:nvPr/>
            </p:nvSpPr>
            <p:spPr>
              <a:xfrm>
                <a:off x="3781826" y="1253157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14"/>
                      <a:pt x="1" y="980"/>
                      <a:pt x="1" y="958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1" name="Google Shape;1021;p33"/>
              <p:cNvSpPr/>
              <p:nvPr/>
            </p:nvSpPr>
            <p:spPr>
              <a:xfrm>
                <a:off x="3805825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2" name="Google Shape;1022;p33"/>
              <p:cNvSpPr/>
              <p:nvPr/>
            </p:nvSpPr>
            <p:spPr>
              <a:xfrm>
                <a:off x="3828637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3" name="Google Shape;1023;p33"/>
              <p:cNvSpPr/>
              <p:nvPr/>
            </p:nvSpPr>
            <p:spPr>
              <a:xfrm>
                <a:off x="3849912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4" name="Google Shape;1024;p33"/>
              <p:cNvSpPr/>
              <p:nvPr/>
            </p:nvSpPr>
            <p:spPr>
              <a:xfrm>
                <a:off x="3868008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5" name="Google Shape;1025;p33"/>
              <p:cNvSpPr/>
              <p:nvPr/>
            </p:nvSpPr>
            <p:spPr>
              <a:xfrm>
                <a:off x="3884147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6" name="Google Shape;1026;p33"/>
              <p:cNvSpPr/>
              <p:nvPr/>
            </p:nvSpPr>
            <p:spPr>
              <a:xfrm>
                <a:off x="3757023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7" name="Google Shape;1027;p33"/>
              <p:cNvSpPr/>
              <p:nvPr/>
            </p:nvSpPr>
            <p:spPr>
              <a:xfrm>
                <a:off x="3734211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8" name="Google Shape;1028;p33"/>
              <p:cNvSpPr/>
              <p:nvPr/>
            </p:nvSpPr>
            <p:spPr>
              <a:xfrm>
                <a:off x="3712971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9" name="Google Shape;1029;p33"/>
              <p:cNvSpPr/>
              <p:nvPr/>
            </p:nvSpPr>
            <p:spPr>
              <a:xfrm>
                <a:off x="3694876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0" name="Google Shape;1030;p33"/>
              <p:cNvSpPr/>
              <p:nvPr/>
            </p:nvSpPr>
            <p:spPr>
              <a:xfrm>
                <a:off x="3678736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1" name="Google Shape;1031;p33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48"/>
                      <a:pt x="1104" y="3402"/>
                      <a:pt x="2456" y="3402"/>
                    </a:cubicBezTo>
                    <a:cubicBezTo>
                      <a:pt x="3819" y="3402"/>
                      <a:pt x="4911" y="2648"/>
                      <a:pt x="4911" y="1702"/>
                    </a:cubicBezTo>
                    <a:cubicBezTo>
                      <a:pt x="4911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2" name="Google Shape;1032;p33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48"/>
                      <a:pt x="3819" y="3402"/>
                      <a:pt x="2456" y="3402"/>
                    </a:cubicBezTo>
                    <a:cubicBezTo>
                      <a:pt x="1104" y="3402"/>
                      <a:pt x="1" y="2648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11" y="767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3" name="Google Shape;1033;p33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8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0"/>
                    </a:cubicBezTo>
                    <a:cubicBezTo>
                      <a:pt x="462" y="969"/>
                      <a:pt x="608" y="1025"/>
                      <a:pt x="777" y="1071"/>
                    </a:cubicBezTo>
                    <a:cubicBezTo>
                      <a:pt x="935" y="1104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4"/>
                      <a:pt x="2523" y="1251"/>
                      <a:pt x="2681" y="1330"/>
                    </a:cubicBezTo>
                    <a:cubicBezTo>
                      <a:pt x="2737" y="1363"/>
                      <a:pt x="2771" y="1397"/>
                      <a:pt x="2782" y="1420"/>
                    </a:cubicBezTo>
                    <a:cubicBezTo>
                      <a:pt x="2793" y="1453"/>
                      <a:pt x="2782" y="1465"/>
                      <a:pt x="2737" y="1487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7"/>
                    </a:cubicBezTo>
                    <a:cubicBezTo>
                      <a:pt x="2512" y="1476"/>
                      <a:pt x="2399" y="1408"/>
                      <a:pt x="2208" y="1307"/>
                    </a:cubicBezTo>
                    <a:lnTo>
                      <a:pt x="2050" y="1217"/>
                    </a:lnTo>
                    <a:lnTo>
                      <a:pt x="1408" y="1476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19" y="1828"/>
                      <a:pt x="2471" y="1829"/>
                      <a:pt x="2522" y="1829"/>
                    </a:cubicBezTo>
                    <a:cubicBezTo>
                      <a:pt x="2708" y="1829"/>
                      <a:pt x="2877" y="1811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2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6"/>
                      <a:pt x="2715" y="733"/>
                    </a:cubicBezTo>
                    <a:cubicBezTo>
                      <a:pt x="2579" y="688"/>
                      <a:pt x="2444" y="665"/>
                      <a:pt x="2332" y="654"/>
                    </a:cubicBezTo>
                    <a:cubicBezTo>
                      <a:pt x="2219" y="654"/>
                      <a:pt x="2028" y="654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20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1"/>
                      <a:pt x="958" y="406"/>
                    </a:cubicBezTo>
                    <a:cubicBezTo>
                      <a:pt x="1014" y="417"/>
                      <a:pt x="1093" y="462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3"/>
                      <a:pt x="1870" y="271"/>
                      <a:pt x="1847" y="248"/>
                    </a:cubicBezTo>
                    <a:cubicBezTo>
                      <a:pt x="1645" y="147"/>
                      <a:pt x="1442" y="79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1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4" name="Google Shape;1034;p33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2"/>
                      <a:pt x="1014" y="417"/>
                      <a:pt x="958" y="406"/>
                    </a:cubicBezTo>
                    <a:cubicBezTo>
                      <a:pt x="901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20"/>
                      <a:pt x="1081" y="665"/>
                      <a:pt x="1160" y="665"/>
                    </a:cubicBezTo>
                    <a:cubicBezTo>
                      <a:pt x="1250" y="676"/>
                      <a:pt x="1442" y="676"/>
                      <a:pt x="1757" y="665"/>
                    </a:cubicBezTo>
                    <a:cubicBezTo>
                      <a:pt x="2028" y="654"/>
                      <a:pt x="2219" y="654"/>
                      <a:pt x="2332" y="654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6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2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36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76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8"/>
                      <a:pt x="2512" y="1476"/>
                      <a:pt x="2568" y="1487"/>
                    </a:cubicBezTo>
                    <a:cubicBezTo>
                      <a:pt x="2625" y="1510"/>
                      <a:pt x="2681" y="1510"/>
                      <a:pt x="2737" y="1487"/>
                    </a:cubicBezTo>
                    <a:cubicBezTo>
                      <a:pt x="2782" y="1465"/>
                      <a:pt x="2793" y="1453"/>
                      <a:pt x="2782" y="1420"/>
                    </a:cubicBezTo>
                    <a:cubicBezTo>
                      <a:pt x="2771" y="1397"/>
                      <a:pt x="2737" y="1363"/>
                      <a:pt x="2681" y="1330"/>
                    </a:cubicBezTo>
                    <a:cubicBezTo>
                      <a:pt x="2523" y="1251"/>
                      <a:pt x="2411" y="1194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4"/>
                      <a:pt x="777" y="1071"/>
                    </a:cubicBezTo>
                    <a:cubicBezTo>
                      <a:pt x="608" y="1025"/>
                      <a:pt x="462" y="969"/>
                      <a:pt x="316" y="890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8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5" y="147"/>
                      <a:pt x="1847" y="248"/>
                    </a:cubicBezTo>
                    <a:cubicBezTo>
                      <a:pt x="1870" y="271"/>
                      <a:pt x="1915" y="293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5" name="Google Shape;1035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lnTo>
                      <a:pt x="5982" y="1161"/>
                    </a:lnTo>
                    <a:cubicBezTo>
                      <a:pt x="5441" y="473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6" name="Google Shape;1036;p33"/>
              <p:cNvSpPr/>
              <p:nvPr/>
            </p:nvSpPr>
            <p:spPr>
              <a:xfrm>
                <a:off x="3674793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92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92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7" name="Google Shape;1037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5982" y="1161"/>
                    </a:moveTo>
                    <a:cubicBezTo>
                      <a:pt x="5441" y="473"/>
                      <a:pt x="4393" y="0"/>
                      <a:pt x="3177" y="0"/>
                    </a:cubicBez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8" name="Google Shape;1038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92"/>
                      <a:pt x="1420" y="0"/>
                      <a:pt x="3177" y="0"/>
                    </a:cubicBezTo>
                    <a:cubicBezTo>
                      <a:pt x="4934" y="0"/>
                      <a:pt x="6353" y="992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9" name="Google Shape;1039;p33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9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0" name="Google Shape;1040;p33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9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1" name="Google Shape;1041;p33"/>
              <p:cNvSpPr/>
              <p:nvPr/>
            </p:nvSpPr>
            <p:spPr>
              <a:xfrm>
                <a:off x="3781826" y="119020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03"/>
                      <a:pt x="1" y="980"/>
                      <a:pt x="1" y="957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2" name="Google Shape;1042;p33"/>
              <p:cNvSpPr/>
              <p:nvPr/>
            </p:nvSpPr>
            <p:spPr>
              <a:xfrm>
                <a:off x="3805825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3" name="Google Shape;1043;p33"/>
              <p:cNvSpPr/>
              <p:nvPr/>
            </p:nvSpPr>
            <p:spPr>
              <a:xfrm>
                <a:off x="3828637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4" name="Google Shape;1044;p33"/>
              <p:cNvSpPr/>
              <p:nvPr/>
            </p:nvSpPr>
            <p:spPr>
              <a:xfrm>
                <a:off x="3849912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5" name="Google Shape;1045;p33"/>
              <p:cNvSpPr/>
              <p:nvPr/>
            </p:nvSpPr>
            <p:spPr>
              <a:xfrm>
                <a:off x="3868008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6" name="Google Shape;1046;p33"/>
              <p:cNvSpPr/>
              <p:nvPr/>
            </p:nvSpPr>
            <p:spPr>
              <a:xfrm>
                <a:off x="3884147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7" name="Google Shape;1047;p33"/>
              <p:cNvSpPr/>
              <p:nvPr/>
            </p:nvSpPr>
            <p:spPr>
              <a:xfrm>
                <a:off x="3757023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8" name="Google Shape;1048;p33"/>
              <p:cNvSpPr/>
              <p:nvPr/>
            </p:nvSpPr>
            <p:spPr>
              <a:xfrm>
                <a:off x="3734211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9" name="Google Shape;1049;p33"/>
              <p:cNvSpPr/>
              <p:nvPr/>
            </p:nvSpPr>
            <p:spPr>
              <a:xfrm>
                <a:off x="3712971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0" name="Google Shape;1050;p33"/>
              <p:cNvSpPr/>
              <p:nvPr/>
            </p:nvSpPr>
            <p:spPr>
              <a:xfrm>
                <a:off x="3694876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1" name="Google Shape;1051;p33"/>
              <p:cNvSpPr/>
              <p:nvPr/>
            </p:nvSpPr>
            <p:spPr>
              <a:xfrm>
                <a:off x="3678736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2" name="Google Shape;1052;p33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55"/>
                      <a:pt x="1" y="1702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11" y="2636"/>
                      <a:pt x="4911" y="1702"/>
                    </a:cubicBezTo>
                    <a:cubicBezTo>
                      <a:pt x="4911" y="755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3" name="Google Shape;1053;p33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2"/>
                    </a:cubicBezTo>
                    <a:cubicBezTo>
                      <a:pt x="1" y="755"/>
                      <a:pt x="1104" y="1"/>
                      <a:pt x="2456" y="1"/>
                    </a:cubicBezTo>
                    <a:cubicBezTo>
                      <a:pt x="3819" y="1"/>
                      <a:pt x="4911" y="755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4" name="Google Shape;1054;p33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extrusionOk="0">
                    <a:moveTo>
                      <a:pt x="361" y="0"/>
                    </a:moveTo>
                    <a:lnTo>
                      <a:pt x="57" y="124"/>
                    </a:lnTo>
                    <a:lnTo>
                      <a:pt x="282" y="248"/>
                    </a:lnTo>
                    <a:cubicBezTo>
                      <a:pt x="90" y="349"/>
                      <a:pt x="0" y="462"/>
                      <a:pt x="0" y="563"/>
                    </a:cubicBezTo>
                    <a:cubicBezTo>
                      <a:pt x="11" y="676"/>
                      <a:pt x="113" y="789"/>
                      <a:pt x="316" y="901"/>
                    </a:cubicBezTo>
                    <a:cubicBezTo>
                      <a:pt x="462" y="980"/>
                      <a:pt x="608" y="1036"/>
                      <a:pt x="777" y="1081"/>
                    </a:cubicBezTo>
                    <a:cubicBezTo>
                      <a:pt x="935" y="1115"/>
                      <a:pt x="1081" y="1138"/>
                      <a:pt x="1217" y="1149"/>
                    </a:cubicBezTo>
                    <a:cubicBezTo>
                      <a:pt x="1341" y="1149"/>
                      <a:pt x="1577" y="1149"/>
                      <a:pt x="1904" y="1138"/>
                    </a:cubicBezTo>
                    <a:cubicBezTo>
                      <a:pt x="2095" y="1138"/>
                      <a:pt x="2230" y="1149"/>
                      <a:pt x="2320" y="1172"/>
                    </a:cubicBezTo>
                    <a:cubicBezTo>
                      <a:pt x="2411" y="1205"/>
                      <a:pt x="2523" y="1262"/>
                      <a:pt x="2681" y="1340"/>
                    </a:cubicBezTo>
                    <a:cubicBezTo>
                      <a:pt x="2737" y="1374"/>
                      <a:pt x="2771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09"/>
                      <a:pt x="2681" y="1515"/>
                      <a:pt x="2653" y="1515"/>
                    </a:cubicBezTo>
                    <a:cubicBezTo>
                      <a:pt x="2625" y="1515"/>
                      <a:pt x="2596" y="1509"/>
                      <a:pt x="2568" y="1498"/>
                    </a:cubicBezTo>
                    <a:cubicBezTo>
                      <a:pt x="2512" y="1476"/>
                      <a:pt x="2399" y="1419"/>
                      <a:pt x="2208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32" y="1566"/>
                    </a:lnTo>
                    <a:cubicBezTo>
                      <a:pt x="1836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69" y="1815"/>
                      <a:pt x="3019" y="1768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23" y="1656"/>
                    </a:lnTo>
                    <a:cubicBezTo>
                      <a:pt x="3514" y="1543"/>
                      <a:pt x="3593" y="1431"/>
                      <a:pt x="3559" y="1307"/>
                    </a:cubicBezTo>
                    <a:cubicBezTo>
                      <a:pt x="3537" y="1183"/>
                      <a:pt x="3402" y="1059"/>
                      <a:pt x="3154" y="924"/>
                    </a:cubicBezTo>
                    <a:cubicBezTo>
                      <a:pt x="3007" y="834"/>
                      <a:pt x="2861" y="777"/>
                      <a:pt x="2715" y="732"/>
                    </a:cubicBezTo>
                    <a:cubicBezTo>
                      <a:pt x="2579" y="698"/>
                      <a:pt x="2444" y="676"/>
                      <a:pt x="2332" y="665"/>
                    </a:cubicBezTo>
                    <a:cubicBezTo>
                      <a:pt x="2219" y="665"/>
                      <a:pt x="2028" y="665"/>
                      <a:pt x="1757" y="676"/>
                    </a:cubicBezTo>
                    <a:cubicBezTo>
                      <a:pt x="1547" y="676"/>
                      <a:pt x="1392" y="681"/>
                      <a:pt x="1285" y="681"/>
                    </a:cubicBezTo>
                    <a:cubicBezTo>
                      <a:pt x="1232" y="681"/>
                      <a:pt x="1190" y="680"/>
                      <a:pt x="1160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4"/>
                    </a:cubicBezTo>
                    <a:cubicBezTo>
                      <a:pt x="755" y="462"/>
                      <a:pt x="766" y="439"/>
                      <a:pt x="811" y="417"/>
                    </a:cubicBezTo>
                    <a:cubicBezTo>
                      <a:pt x="837" y="410"/>
                      <a:pt x="863" y="404"/>
                      <a:pt x="891" y="404"/>
                    </a:cubicBezTo>
                    <a:cubicBezTo>
                      <a:pt x="912" y="404"/>
                      <a:pt x="934" y="407"/>
                      <a:pt x="958" y="417"/>
                    </a:cubicBezTo>
                    <a:cubicBezTo>
                      <a:pt x="1014" y="428"/>
                      <a:pt x="1093" y="462"/>
                      <a:pt x="1217" y="530"/>
                    </a:cubicBezTo>
                    <a:lnTo>
                      <a:pt x="1329" y="59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64" y="334"/>
                      <a:pt x="1968" y="336"/>
                      <a:pt x="1971" y="338"/>
                    </a:cubicBezTo>
                    <a:lnTo>
                      <a:pt x="1971" y="32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09" y="301"/>
                      <a:pt x="1868" y="280"/>
                      <a:pt x="1847" y="259"/>
                    </a:cubicBezTo>
                    <a:cubicBezTo>
                      <a:pt x="1645" y="147"/>
                      <a:pt x="1442" y="79"/>
                      <a:pt x="1228" y="56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4" y="73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5" name="Google Shape;1055;p33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fill="none" extrusionOk="0">
                    <a:moveTo>
                      <a:pt x="1971" y="327"/>
                    </a:moveTo>
                    <a:lnTo>
                      <a:pt x="1329" y="597"/>
                    </a:lnTo>
                    <a:lnTo>
                      <a:pt x="1217" y="530"/>
                    </a:lnTo>
                    <a:cubicBezTo>
                      <a:pt x="1093" y="462"/>
                      <a:pt x="1014" y="428"/>
                      <a:pt x="958" y="417"/>
                    </a:cubicBezTo>
                    <a:cubicBezTo>
                      <a:pt x="901" y="394"/>
                      <a:pt x="856" y="406"/>
                      <a:pt x="811" y="417"/>
                    </a:cubicBezTo>
                    <a:cubicBezTo>
                      <a:pt x="766" y="439"/>
                      <a:pt x="755" y="462"/>
                      <a:pt x="766" y="484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60" y="676"/>
                    </a:cubicBezTo>
                    <a:cubicBezTo>
                      <a:pt x="1250" y="687"/>
                      <a:pt x="1442" y="676"/>
                      <a:pt x="1757" y="676"/>
                    </a:cubicBezTo>
                    <a:cubicBezTo>
                      <a:pt x="2028" y="665"/>
                      <a:pt x="2219" y="665"/>
                      <a:pt x="2332" y="665"/>
                    </a:cubicBezTo>
                    <a:cubicBezTo>
                      <a:pt x="2444" y="676"/>
                      <a:pt x="2579" y="698"/>
                      <a:pt x="2715" y="732"/>
                    </a:cubicBezTo>
                    <a:cubicBezTo>
                      <a:pt x="2861" y="777"/>
                      <a:pt x="3007" y="834"/>
                      <a:pt x="3154" y="924"/>
                    </a:cubicBezTo>
                    <a:cubicBezTo>
                      <a:pt x="3402" y="1059"/>
                      <a:pt x="3537" y="1183"/>
                      <a:pt x="3559" y="1307"/>
                    </a:cubicBezTo>
                    <a:cubicBezTo>
                      <a:pt x="3593" y="1431"/>
                      <a:pt x="3514" y="1543"/>
                      <a:pt x="3323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19" y="1768"/>
                    </a:lnTo>
                    <a:cubicBezTo>
                      <a:pt x="2839" y="1825"/>
                      <a:pt x="2613" y="1847"/>
                      <a:pt x="2365" y="1836"/>
                    </a:cubicBezTo>
                    <a:cubicBezTo>
                      <a:pt x="2118" y="1825"/>
                      <a:pt x="1836" y="1735"/>
                      <a:pt x="1532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08" y="1318"/>
                    </a:lnTo>
                    <a:cubicBezTo>
                      <a:pt x="2399" y="1419"/>
                      <a:pt x="2512" y="1476"/>
                      <a:pt x="2568" y="1498"/>
                    </a:cubicBezTo>
                    <a:cubicBezTo>
                      <a:pt x="2625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71" y="1408"/>
                      <a:pt x="2737" y="1374"/>
                      <a:pt x="2681" y="1340"/>
                    </a:cubicBezTo>
                    <a:cubicBezTo>
                      <a:pt x="2523" y="1262"/>
                      <a:pt x="2411" y="1205"/>
                      <a:pt x="2320" y="1172"/>
                    </a:cubicBezTo>
                    <a:cubicBezTo>
                      <a:pt x="2230" y="1149"/>
                      <a:pt x="2095" y="1138"/>
                      <a:pt x="1904" y="1138"/>
                    </a:cubicBezTo>
                    <a:cubicBezTo>
                      <a:pt x="1577" y="1149"/>
                      <a:pt x="1341" y="1149"/>
                      <a:pt x="1217" y="1149"/>
                    </a:cubicBezTo>
                    <a:cubicBezTo>
                      <a:pt x="1081" y="1138"/>
                      <a:pt x="935" y="1115"/>
                      <a:pt x="777" y="1081"/>
                    </a:cubicBezTo>
                    <a:cubicBezTo>
                      <a:pt x="608" y="1036"/>
                      <a:pt x="462" y="980"/>
                      <a:pt x="316" y="901"/>
                    </a:cubicBezTo>
                    <a:cubicBezTo>
                      <a:pt x="113" y="789"/>
                      <a:pt x="11" y="676"/>
                      <a:pt x="0" y="563"/>
                    </a:cubicBezTo>
                    <a:cubicBezTo>
                      <a:pt x="0" y="462"/>
                      <a:pt x="90" y="349"/>
                      <a:pt x="282" y="248"/>
                    </a:cubicBezTo>
                    <a:lnTo>
                      <a:pt x="57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6"/>
                      <a:pt x="1014" y="34"/>
                      <a:pt x="1228" y="56"/>
                    </a:cubicBezTo>
                    <a:cubicBezTo>
                      <a:pt x="1442" y="79"/>
                      <a:pt x="1645" y="147"/>
                      <a:pt x="1847" y="259"/>
                    </a:cubicBezTo>
                    <a:cubicBezTo>
                      <a:pt x="1870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6" name="Google Shape;1056;p33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lnTo>
                      <a:pt x="5982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7" name="Google Shape;1057;p33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8" name="Google Shape;1058;p33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fill="none" extrusionOk="0">
                    <a:moveTo>
                      <a:pt x="5982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9" name="Google Shape;1059;p33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0" name="Google Shape;1060;p33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1" name="Google Shape;1061;p33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2" name="Google Shape;1062;p33"/>
              <p:cNvSpPr/>
              <p:nvPr/>
            </p:nvSpPr>
            <p:spPr>
              <a:xfrm>
                <a:off x="3781826" y="111936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cubicBezTo>
                      <a:pt x="1" y="1003"/>
                      <a:pt x="1" y="981"/>
                      <a:pt x="1" y="947"/>
                    </a:cubicBez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3" name="Google Shape;1063;p33"/>
              <p:cNvSpPr/>
              <p:nvPr/>
            </p:nvSpPr>
            <p:spPr>
              <a:xfrm>
                <a:off x="3805825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4" name="Google Shape;1064;p33"/>
              <p:cNvSpPr/>
              <p:nvPr/>
            </p:nvSpPr>
            <p:spPr>
              <a:xfrm>
                <a:off x="3828637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5" name="Google Shape;1065;p33"/>
              <p:cNvSpPr/>
              <p:nvPr/>
            </p:nvSpPr>
            <p:spPr>
              <a:xfrm>
                <a:off x="3849912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6" name="Google Shape;1066;p33"/>
              <p:cNvSpPr/>
              <p:nvPr/>
            </p:nvSpPr>
            <p:spPr>
              <a:xfrm>
                <a:off x="3868008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7" name="Google Shape;1067;p33"/>
              <p:cNvSpPr/>
              <p:nvPr/>
            </p:nvSpPr>
            <p:spPr>
              <a:xfrm>
                <a:off x="3884147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8" name="Google Shape;1068;p33"/>
              <p:cNvSpPr/>
              <p:nvPr/>
            </p:nvSpPr>
            <p:spPr>
              <a:xfrm>
                <a:off x="3757023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9" name="Google Shape;1069;p33"/>
              <p:cNvSpPr/>
              <p:nvPr/>
            </p:nvSpPr>
            <p:spPr>
              <a:xfrm>
                <a:off x="3734211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0" name="Google Shape;1070;p33"/>
              <p:cNvSpPr/>
              <p:nvPr/>
            </p:nvSpPr>
            <p:spPr>
              <a:xfrm>
                <a:off x="3712971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1" name="Google Shape;1071;p33"/>
              <p:cNvSpPr/>
              <p:nvPr/>
            </p:nvSpPr>
            <p:spPr>
              <a:xfrm>
                <a:off x="3694876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2" name="Google Shape;1072;p33"/>
              <p:cNvSpPr/>
              <p:nvPr/>
            </p:nvSpPr>
            <p:spPr>
              <a:xfrm>
                <a:off x="3678736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3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11" y="2647"/>
                      <a:pt x="4911" y="1701"/>
                    </a:cubicBezTo>
                    <a:cubicBezTo>
                      <a:pt x="4911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4" name="Google Shape;1074;p33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fill="none" extrusionOk="0">
                    <a:moveTo>
                      <a:pt x="4911" y="1701"/>
                    </a:moveTo>
                    <a:cubicBezTo>
                      <a:pt x="4911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11" y="766"/>
                      <a:pt x="4911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5" name="Google Shape;1075;p33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9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1"/>
                    </a:cubicBezTo>
                    <a:cubicBezTo>
                      <a:pt x="462" y="969"/>
                      <a:pt x="608" y="1026"/>
                      <a:pt x="777" y="1071"/>
                    </a:cubicBezTo>
                    <a:cubicBezTo>
                      <a:pt x="935" y="1105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5"/>
                      <a:pt x="2523" y="1251"/>
                      <a:pt x="2681" y="1330"/>
                    </a:cubicBezTo>
                    <a:cubicBezTo>
                      <a:pt x="2737" y="1364"/>
                      <a:pt x="2771" y="1397"/>
                      <a:pt x="2782" y="1420"/>
                    </a:cubicBezTo>
                    <a:cubicBezTo>
                      <a:pt x="2793" y="1454"/>
                      <a:pt x="2782" y="1465"/>
                      <a:pt x="2737" y="1488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8"/>
                    </a:cubicBezTo>
                    <a:cubicBezTo>
                      <a:pt x="2512" y="1476"/>
                      <a:pt x="2399" y="1409"/>
                      <a:pt x="2208" y="1307"/>
                    </a:cubicBezTo>
                    <a:lnTo>
                      <a:pt x="2050" y="1217"/>
                    </a:lnTo>
                    <a:lnTo>
                      <a:pt x="1408" y="1488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3" y="1834"/>
                      <a:pt x="2884" y="1809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3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7"/>
                      <a:pt x="2715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4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32"/>
                      <a:pt x="879" y="564"/>
                    </a:cubicBezTo>
                    <a:cubicBezTo>
                      <a:pt x="822" y="530"/>
                      <a:pt x="777" y="508"/>
                      <a:pt x="766" y="474"/>
                    </a:cubicBezTo>
                    <a:cubicBezTo>
                      <a:pt x="755" y="451"/>
                      <a:pt x="766" y="429"/>
                      <a:pt x="811" y="418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2"/>
                      <a:pt x="958" y="406"/>
                    </a:cubicBezTo>
                    <a:cubicBezTo>
                      <a:pt x="1014" y="418"/>
                      <a:pt x="1093" y="463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70" y="271"/>
                      <a:pt x="1847" y="249"/>
                    </a:cubicBezTo>
                    <a:cubicBezTo>
                      <a:pt x="1645" y="147"/>
                      <a:pt x="1442" y="80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2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6" name="Google Shape;1076;p33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3"/>
                      <a:pt x="1014" y="418"/>
                      <a:pt x="958" y="406"/>
                    </a:cubicBezTo>
                    <a:cubicBezTo>
                      <a:pt x="901" y="395"/>
                      <a:pt x="856" y="395"/>
                      <a:pt x="811" y="418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508"/>
                      <a:pt x="822" y="530"/>
                      <a:pt x="879" y="564"/>
                    </a:cubicBezTo>
                    <a:cubicBezTo>
                      <a:pt x="991" y="632"/>
                      <a:pt x="1081" y="665"/>
                      <a:pt x="1160" y="665"/>
                    </a:cubicBezTo>
                    <a:cubicBezTo>
                      <a:pt x="1250" y="677"/>
                      <a:pt x="1442" y="677"/>
                      <a:pt x="1757" y="665"/>
                    </a:cubicBezTo>
                    <a:cubicBezTo>
                      <a:pt x="2028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7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3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48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88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9"/>
                      <a:pt x="2512" y="1476"/>
                      <a:pt x="2568" y="1488"/>
                    </a:cubicBezTo>
                    <a:cubicBezTo>
                      <a:pt x="2625" y="1510"/>
                      <a:pt x="2681" y="1510"/>
                      <a:pt x="2737" y="1488"/>
                    </a:cubicBezTo>
                    <a:cubicBezTo>
                      <a:pt x="2782" y="1465"/>
                      <a:pt x="2793" y="1454"/>
                      <a:pt x="2782" y="1420"/>
                    </a:cubicBezTo>
                    <a:cubicBezTo>
                      <a:pt x="2771" y="1397"/>
                      <a:pt x="2737" y="1364"/>
                      <a:pt x="2681" y="1330"/>
                    </a:cubicBezTo>
                    <a:cubicBezTo>
                      <a:pt x="2523" y="1251"/>
                      <a:pt x="2411" y="1195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5"/>
                      <a:pt x="777" y="1071"/>
                    </a:cubicBezTo>
                    <a:cubicBezTo>
                      <a:pt x="608" y="1026"/>
                      <a:pt x="462" y="969"/>
                      <a:pt x="316" y="891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9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5" y="147"/>
                      <a:pt x="1847" y="249"/>
                    </a:cubicBezTo>
                    <a:cubicBezTo>
                      <a:pt x="1870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7" name="Google Shape;1077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74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8" name="Google Shape;1078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9" name="Google Shape;1079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74"/>
                      <a:pt x="4393" y="1"/>
                      <a:pt x="3188" y="1"/>
                    </a:cubicBez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0" name="Google Shape;1080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4"/>
                      <a:pt x="4945" y="4405"/>
                      <a:pt x="3188" y="4405"/>
                    </a:cubicBezTo>
                    <a:cubicBezTo>
                      <a:pt x="1431" y="4405"/>
                      <a:pt x="0" y="3414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1" name="Google Shape;1081;p33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2"/>
                      <a:pt x="0" y="2208"/>
                    </a:cubicBezTo>
                    <a:cubicBezTo>
                      <a:pt x="0" y="3424"/>
                      <a:pt x="1431" y="4404"/>
                      <a:pt x="3188" y="4404"/>
                    </a:cubicBezTo>
                    <a:cubicBezTo>
                      <a:pt x="4945" y="4404"/>
                      <a:pt x="6364" y="3424"/>
                      <a:pt x="6364" y="2208"/>
                    </a:cubicBezTo>
                    <a:cubicBezTo>
                      <a:pt x="6364" y="992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2" name="Google Shape;1082;p33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4"/>
                      <a:pt x="4945" y="4404"/>
                      <a:pt x="3188" y="4404"/>
                    </a:cubicBezTo>
                    <a:cubicBezTo>
                      <a:pt x="1431" y="4404"/>
                      <a:pt x="0" y="3424"/>
                      <a:pt x="0" y="2208"/>
                    </a:cubicBezTo>
                    <a:cubicBezTo>
                      <a:pt x="0" y="992"/>
                      <a:pt x="1431" y="0"/>
                      <a:pt x="3188" y="0"/>
                    </a:cubicBezTo>
                    <a:cubicBezTo>
                      <a:pt x="4945" y="0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3" name="Google Shape;1083;p33"/>
              <p:cNvSpPr/>
              <p:nvPr/>
            </p:nvSpPr>
            <p:spPr>
              <a:xfrm>
                <a:off x="3958905" y="1358203"/>
                <a:ext cx="419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11" y="958"/>
                    </a:cubicBezTo>
                    <a:lnTo>
                      <a:pt x="1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4" name="Google Shape;1084;p33"/>
              <p:cNvSpPr/>
              <p:nvPr/>
            </p:nvSpPr>
            <p:spPr>
              <a:xfrm>
                <a:off x="3983289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5" name="Google Shape;1085;p33"/>
              <p:cNvSpPr/>
              <p:nvPr/>
            </p:nvSpPr>
            <p:spPr>
              <a:xfrm>
                <a:off x="400610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6" name="Google Shape;1086;p33"/>
              <p:cNvSpPr/>
              <p:nvPr/>
            </p:nvSpPr>
            <p:spPr>
              <a:xfrm>
                <a:off x="4027341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7" name="Google Shape;1087;p33"/>
              <p:cNvSpPr/>
              <p:nvPr/>
            </p:nvSpPr>
            <p:spPr>
              <a:xfrm>
                <a:off x="4045052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8" name="Google Shape;1088;p33"/>
              <p:cNvSpPr/>
              <p:nvPr/>
            </p:nvSpPr>
            <p:spPr>
              <a:xfrm>
                <a:off x="406157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9" name="Google Shape;1089;p33"/>
              <p:cNvSpPr/>
              <p:nvPr/>
            </p:nvSpPr>
            <p:spPr>
              <a:xfrm>
                <a:off x="3934487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0" name="Google Shape;1090;p33"/>
              <p:cNvSpPr/>
              <p:nvPr/>
            </p:nvSpPr>
            <p:spPr>
              <a:xfrm>
                <a:off x="391129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1" name="Google Shape;1091;p33"/>
              <p:cNvSpPr/>
              <p:nvPr/>
            </p:nvSpPr>
            <p:spPr>
              <a:xfrm>
                <a:off x="3890435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2" name="Google Shape;1092;p33"/>
              <p:cNvSpPr/>
              <p:nvPr/>
            </p:nvSpPr>
            <p:spPr>
              <a:xfrm>
                <a:off x="3872339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3" name="Google Shape;1093;p33"/>
              <p:cNvSpPr/>
              <p:nvPr/>
            </p:nvSpPr>
            <p:spPr>
              <a:xfrm>
                <a:off x="385581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4" name="Google Shape;1094;p33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5" name="Google Shape;1095;p33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6" name="Google Shape;1096;p33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1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62"/>
                      <a:pt x="12" y="564"/>
                    </a:cubicBezTo>
                    <a:cubicBezTo>
                      <a:pt x="23" y="676"/>
                      <a:pt x="125" y="789"/>
                      <a:pt x="327" y="902"/>
                    </a:cubicBezTo>
                    <a:cubicBezTo>
                      <a:pt x="462" y="980"/>
                      <a:pt x="620" y="1037"/>
                      <a:pt x="778" y="1071"/>
                    </a:cubicBezTo>
                    <a:cubicBezTo>
                      <a:pt x="947" y="1116"/>
                      <a:pt x="1093" y="1138"/>
                      <a:pt x="1217" y="1138"/>
                    </a:cubicBezTo>
                    <a:cubicBezTo>
                      <a:pt x="1285" y="1144"/>
                      <a:pt x="1375" y="1147"/>
                      <a:pt x="1489" y="1147"/>
                    </a:cubicBezTo>
                    <a:cubicBezTo>
                      <a:pt x="1603" y="1147"/>
                      <a:pt x="1741" y="1144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7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408"/>
                      <a:pt x="2794" y="1431"/>
                    </a:cubicBezTo>
                    <a:cubicBezTo>
                      <a:pt x="2805" y="1454"/>
                      <a:pt x="2783" y="1476"/>
                      <a:pt x="2738" y="1499"/>
                    </a:cubicBezTo>
                    <a:cubicBezTo>
                      <a:pt x="2715" y="1510"/>
                      <a:pt x="2690" y="1515"/>
                      <a:pt x="2663" y="1515"/>
                    </a:cubicBezTo>
                    <a:cubicBezTo>
                      <a:pt x="2636" y="1515"/>
                      <a:pt x="2608" y="1510"/>
                      <a:pt x="2580" y="1499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28"/>
                    </a:lnTo>
                    <a:lnTo>
                      <a:pt x="1409" y="1487"/>
                    </a:lnTo>
                    <a:lnTo>
                      <a:pt x="1544" y="1566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31"/>
                      <a:pt x="3571" y="1307"/>
                    </a:cubicBezTo>
                    <a:cubicBezTo>
                      <a:pt x="3549" y="1183"/>
                      <a:pt x="3413" y="1048"/>
                      <a:pt x="3166" y="924"/>
                    </a:cubicBezTo>
                    <a:cubicBezTo>
                      <a:pt x="3019" y="834"/>
                      <a:pt x="2873" y="778"/>
                      <a:pt x="2726" y="733"/>
                    </a:cubicBezTo>
                    <a:cubicBezTo>
                      <a:pt x="2580" y="699"/>
                      <a:pt x="2456" y="676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454" y="676"/>
                      <a:pt x="1251" y="676"/>
                      <a:pt x="1172" y="676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41"/>
                      <a:pt x="789" y="507"/>
                      <a:pt x="778" y="485"/>
                    </a:cubicBezTo>
                    <a:cubicBezTo>
                      <a:pt x="767" y="451"/>
                      <a:pt x="778" y="440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29"/>
                      <a:pt x="1104" y="462"/>
                      <a:pt x="1217" y="530"/>
                    </a:cubicBezTo>
                    <a:lnTo>
                      <a:pt x="1330" y="598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60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7" name="Google Shape;1097;p33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98"/>
                    </a:lnTo>
                    <a:lnTo>
                      <a:pt x="1217" y="530"/>
                    </a:lnTo>
                    <a:cubicBezTo>
                      <a:pt x="1104" y="462"/>
                      <a:pt x="1014" y="429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40"/>
                      <a:pt x="767" y="451"/>
                      <a:pt x="778" y="485"/>
                    </a:cubicBezTo>
                    <a:cubicBezTo>
                      <a:pt x="789" y="507"/>
                      <a:pt x="823" y="541"/>
                      <a:pt x="890" y="575"/>
                    </a:cubicBezTo>
                    <a:cubicBezTo>
                      <a:pt x="992" y="631"/>
                      <a:pt x="1093" y="665"/>
                      <a:pt x="1172" y="676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76"/>
                      <a:pt x="2580" y="699"/>
                      <a:pt x="2726" y="733"/>
                    </a:cubicBezTo>
                    <a:cubicBezTo>
                      <a:pt x="2873" y="778"/>
                      <a:pt x="3019" y="834"/>
                      <a:pt x="3166" y="924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31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66"/>
                    </a:cubicBezTo>
                    <a:lnTo>
                      <a:pt x="1409" y="1487"/>
                    </a:lnTo>
                    <a:lnTo>
                      <a:pt x="2051" y="1228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9"/>
                    </a:cubicBezTo>
                    <a:cubicBezTo>
                      <a:pt x="2636" y="1521"/>
                      <a:pt x="2693" y="1521"/>
                      <a:pt x="2738" y="1499"/>
                    </a:cubicBezTo>
                    <a:cubicBezTo>
                      <a:pt x="2783" y="1476"/>
                      <a:pt x="2805" y="1454"/>
                      <a:pt x="2794" y="1431"/>
                    </a:cubicBezTo>
                    <a:cubicBezTo>
                      <a:pt x="2783" y="1408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49"/>
                      <a:pt x="1352" y="1149"/>
                      <a:pt x="1217" y="1138"/>
                    </a:cubicBezTo>
                    <a:cubicBezTo>
                      <a:pt x="1093" y="1138"/>
                      <a:pt x="947" y="1116"/>
                      <a:pt x="778" y="1071"/>
                    </a:cubicBezTo>
                    <a:cubicBezTo>
                      <a:pt x="620" y="1037"/>
                      <a:pt x="462" y="980"/>
                      <a:pt x="327" y="902"/>
                    </a:cubicBezTo>
                    <a:cubicBezTo>
                      <a:pt x="125" y="789"/>
                      <a:pt x="23" y="676"/>
                      <a:pt x="12" y="564"/>
                    </a:cubicBezTo>
                    <a:cubicBezTo>
                      <a:pt x="1" y="462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1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60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8" name="Google Shape;1098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62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9" name="Google Shape;1099;p33"/>
              <p:cNvSpPr/>
              <p:nvPr/>
            </p:nvSpPr>
            <p:spPr>
              <a:xfrm>
                <a:off x="3849895" y="117821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0" name="Google Shape;1100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62"/>
                      <a:pt x="4393" y="1"/>
                      <a:pt x="3188" y="1"/>
                    </a:cubicBez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1" name="Google Shape;1101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45" y="4405"/>
                      <a:pt x="3188" y="4405"/>
                    </a:cubicBezTo>
                    <a:cubicBezTo>
                      <a:pt x="1431" y="4405"/>
                      <a:pt x="0" y="3413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2" name="Google Shape;1102;p33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1"/>
                      <a:pt x="0" y="2208"/>
                    </a:cubicBezTo>
                    <a:cubicBezTo>
                      <a:pt x="0" y="3413"/>
                      <a:pt x="1431" y="4404"/>
                      <a:pt x="3188" y="4404"/>
                    </a:cubicBezTo>
                    <a:cubicBezTo>
                      <a:pt x="4945" y="4404"/>
                      <a:pt x="6364" y="3413"/>
                      <a:pt x="6364" y="2208"/>
                    </a:cubicBezTo>
                    <a:cubicBezTo>
                      <a:pt x="6364" y="991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3" name="Google Shape;1103;p33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13"/>
                      <a:pt x="4945" y="4404"/>
                      <a:pt x="3188" y="4404"/>
                    </a:cubicBezTo>
                    <a:cubicBezTo>
                      <a:pt x="1431" y="4404"/>
                      <a:pt x="0" y="3413"/>
                      <a:pt x="0" y="2208"/>
                    </a:cubicBezTo>
                    <a:cubicBezTo>
                      <a:pt x="0" y="991"/>
                      <a:pt x="1431" y="0"/>
                      <a:pt x="3188" y="0"/>
                    </a:cubicBezTo>
                    <a:cubicBezTo>
                      <a:pt x="4945" y="0"/>
                      <a:pt x="6364" y="991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4" name="Google Shape;1104;p33"/>
              <p:cNvSpPr/>
              <p:nvPr/>
            </p:nvSpPr>
            <p:spPr>
              <a:xfrm>
                <a:off x="3958905" y="1295252"/>
                <a:ext cx="419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26" fill="none" extrusionOk="0">
                    <a:moveTo>
                      <a:pt x="0" y="1025"/>
                    </a:moveTo>
                    <a:cubicBezTo>
                      <a:pt x="0" y="1003"/>
                      <a:pt x="0" y="980"/>
                      <a:pt x="11" y="947"/>
                    </a:cubicBezTo>
                    <a:lnTo>
                      <a:pt x="1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5" name="Google Shape;1105;p33"/>
              <p:cNvSpPr/>
              <p:nvPr/>
            </p:nvSpPr>
            <p:spPr>
              <a:xfrm>
                <a:off x="3983289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6" name="Google Shape;1106;p33"/>
              <p:cNvSpPr/>
              <p:nvPr/>
            </p:nvSpPr>
            <p:spPr>
              <a:xfrm>
                <a:off x="400610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7" name="Google Shape;1107;p33"/>
              <p:cNvSpPr/>
              <p:nvPr/>
            </p:nvSpPr>
            <p:spPr>
              <a:xfrm>
                <a:off x="4027341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8" name="Google Shape;1108;p33"/>
              <p:cNvSpPr/>
              <p:nvPr/>
            </p:nvSpPr>
            <p:spPr>
              <a:xfrm>
                <a:off x="4045052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7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9" name="Google Shape;1109;p33"/>
              <p:cNvSpPr/>
              <p:nvPr/>
            </p:nvSpPr>
            <p:spPr>
              <a:xfrm>
                <a:off x="406157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0" name="Google Shape;1110;p33"/>
              <p:cNvSpPr/>
              <p:nvPr/>
            </p:nvSpPr>
            <p:spPr>
              <a:xfrm>
                <a:off x="3934487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1" name="Google Shape;1111;p33"/>
              <p:cNvSpPr/>
              <p:nvPr/>
            </p:nvSpPr>
            <p:spPr>
              <a:xfrm>
                <a:off x="391129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2" name="Google Shape;1112;p33"/>
              <p:cNvSpPr/>
              <p:nvPr/>
            </p:nvSpPr>
            <p:spPr>
              <a:xfrm>
                <a:off x="3890435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" name="Google Shape;1113;p33"/>
              <p:cNvSpPr/>
              <p:nvPr/>
            </p:nvSpPr>
            <p:spPr>
              <a:xfrm>
                <a:off x="3872339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4" name="Google Shape;1114;p33"/>
              <p:cNvSpPr/>
              <p:nvPr/>
            </p:nvSpPr>
            <p:spPr>
              <a:xfrm>
                <a:off x="385581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5" name="Google Shape;1115;p33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6" name="Google Shape;1116;p33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7" name="Google Shape;1117;p33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51"/>
                      <a:pt x="12" y="564"/>
                    </a:cubicBezTo>
                    <a:cubicBezTo>
                      <a:pt x="23" y="676"/>
                      <a:pt x="125" y="778"/>
                      <a:pt x="327" y="890"/>
                    </a:cubicBezTo>
                    <a:cubicBezTo>
                      <a:pt x="462" y="969"/>
                      <a:pt x="620" y="1037"/>
                      <a:pt x="778" y="1070"/>
                    </a:cubicBezTo>
                    <a:cubicBezTo>
                      <a:pt x="947" y="1115"/>
                      <a:pt x="1093" y="1138"/>
                      <a:pt x="1217" y="1138"/>
                    </a:cubicBezTo>
                    <a:cubicBezTo>
                      <a:pt x="1262" y="1142"/>
                      <a:pt x="1317" y="1143"/>
                      <a:pt x="1383" y="1143"/>
                    </a:cubicBezTo>
                    <a:cubicBezTo>
                      <a:pt x="1514" y="1143"/>
                      <a:pt x="1686" y="1138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6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397"/>
                      <a:pt x="2794" y="1431"/>
                    </a:cubicBezTo>
                    <a:cubicBezTo>
                      <a:pt x="2805" y="1453"/>
                      <a:pt x="2783" y="1476"/>
                      <a:pt x="2738" y="1487"/>
                    </a:cubicBezTo>
                    <a:cubicBezTo>
                      <a:pt x="2711" y="1500"/>
                      <a:pt x="2681" y="1506"/>
                      <a:pt x="2649" y="1506"/>
                    </a:cubicBezTo>
                    <a:cubicBezTo>
                      <a:pt x="2627" y="1506"/>
                      <a:pt x="2603" y="1503"/>
                      <a:pt x="2580" y="1498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17"/>
                    </a:lnTo>
                    <a:lnTo>
                      <a:pt x="1409" y="1487"/>
                    </a:lnTo>
                    <a:lnTo>
                      <a:pt x="1544" y="1555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20"/>
                      <a:pt x="3571" y="1307"/>
                    </a:cubicBezTo>
                    <a:cubicBezTo>
                      <a:pt x="3549" y="1183"/>
                      <a:pt x="3413" y="1048"/>
                      <a:pt x="3166" y="913"/>
                    </a:cubicBezTo>
                    <a:cubicBezTo>
                      <a:pt x="3019" y="834"/>
                      <a:pt x="2873" y="766"/>
                      <a:pt x="2726" y="733"/>
                    </a:cubicBezTo>
                    <a:cubicBezTo>
                      <a:pt x="2580" y="687"/>
                      <a:pt x="2456" y="665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611" y="671"/>
                      <a:pt x="1482" y="673"/>
                      <a:pt x="1382" y="673"/>
                    </a:cubicBezTo>
                    <a:cubicBezTo>
                      <a:pt x="1282" y="673"/>
                      <a:pt x="1211" y="671"/>
                      <a:pt x="1172" y="665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30"/>
                      <a:pt x="789" y="507"/>
                      <a:pt x="778" y="473"/>
                    </a:cubicBezTo>
                    <a:cubicBezTo>
                      <a:pt x="767" y="451"/>
                      <a:pt x="778" y="428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17"/>
                      <a:pt x="1104" y="462"/>
                      <a:pt x="1217" y="530"/>
                    </a:cubicBezTo>
                    <a:lnTo>
                      <a:pt x="1330" y="586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59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8" name="Google Shape;1118;p33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86"/>
                    </a:lnTo>
                    <a:lnTo>
                      <a:pt x="1217" y="530"/>
                    </a:lnTo>
                    <a:cubicBezTo>
                      <a:pt x="1104" y="462"/>
                      <a:pt x="1014" y="417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28"/>
                      <a:pt x="767" y="451"/>
                      <a:pt x="778" y="473"/>
                    </a:cubicBezTo>
                    <a:cubicBezTo>
                      <a:pt x="789" y="507"/>
                      <a:pt x="823" y="530"/>
                      <a:pt x="890" y="575"/>
                    </a:cubicBezTo>
                    <a:cubicBezTo>
                      <a:pt x="992" y="631"/>
                      <a:pt x="1093" y="665"/>
                      <a:pt x="1172" y="665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65"/>
                      <a:pt x="2580" y="687"/>
                      <a:pt x="2726" y="733"/>
                    </a:cubicBezTo>
                    <a:cubicBezTo>
                      <a:pt x="2873" y="766"/>
                      <a:pt x="3019" y="834"/>
                      <a:pt x="3166" y="913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20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55"/>
                    </a:cubicBezTo>
                    <a:lnTo>
                      <a:pt x="1409" y="1487"/>
                    </a:lnTo>
                    <a:lnTo>
                      <a:pt x="2051" y="1217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8"/>
                    </a:cubicBezTo>
                    <a:cubicBezTo>
                      <a:pt x="2636" y="1510"/>
                      <a:pt x="2693" y="1510"/>
                      <a:pt x="2738" y="1487"/>
                    </a:cubicBezTo>
                    <a:cubicBezTo>
                      <a:pt x="2783" y="1476"/>
                      <a:pt x="2805" y="1453"/>
                      <a:pt x="2794" y="1431"/>
                    </a:cubicBezTo>
                    <a:cubicBezTo>
                      <a:pt x="2783" y="1397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38"/>
                      <a:pt x="1352" y="1149"/>
                      <a:pt x="1217" y="1138"/>
                    </a:cubicBezTo>
                    <a:cubicBezTo>
                      <a:pt x="1093" y="1138"/>
                      <a:pt x="947" y="1115"/>
                      <a:pt x="778" y="1070"/>
                    </a:cubicBezTo>
                    <a:cubicBezTo>
                      <a:pt x="620" y="1037"/>
                      <a:pt x="462" y="969"/>
                      <a:pt x="327" y="890"/>
                    </a:cubicBezTo>
                    <a:cubicBezTo>
                      <a:pt x="125" y="778"/>
                      <a:pt x="23" y="676"/>
                      <a:pt x="12" y="564"/>
                    </a:cubicBezTo>
                    <a:cubicBezTo>
                      <a:pt x="1" y="451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59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solidFill>
                <a:schemeClr val="dk2"/>
              </a:solidFill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19" name="Google Shape;1119;p33"/>
            <p:cNvSpPr/>
            <p:nvPr/>
          </p:nvSpPr>
          <p:spPr>
            <a:xfrm>
              <a:off x="3794477" y="28759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" name="Google Shape;1120;p33"/>
            <p:cNvSpPr/>
            <p:nvPr/>
          </p:nvSpPr>
          <p:spPr>
            <a:xfrm>
              <a:off x="3817289" y="28245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" name="Google Shape;1121;p33"/>
            <p:cNvSpPr/>
            <p:nvPr/>
          </p:nvSpPr>
          <p:spPr>
            <a:xfrm>
              <a:off x="3838529" y="27379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" name="Google Shape;1122;p33"/>
            <p:cNvSpPr/>
            <p:nvPr/>
          </p:nvSpPr>
          <p:spPr>
            <a:xfrm>
              <a:off x="3856660" y="26160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" name="Google Shape;1123;p33"/>
            <p:cNvSpPr/>
            <p:nvPr/>
          </p:nvSpPr>
          <p:spPr>
            <a:xfrm>
              <a:off x="3873183" y="241548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" name="Google Shape;1124;p33"/>
            <p:cNvSpPr/>
            <p:nvPr/>
          </p:nvSpPr>
          <p:spPr>
            <a:xfrm>
              <a:off x="3794477" y="224640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" name="Google Shape;1125;p33"/>
            <p:cNvSpPr/>
            <p:nvPr/>
          </p:nvSpPr>
          <p:spPr>
            <a:xfrm>
              <a:off x="3817289" y="219504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" name="Google Shape;1126;p33"/>
            <p:cNvSpPr/>
            <p:nvPr/>
          </p:nvSpPr>
          <p:spPr>
            <a:xfrm>
              <a:off x="3838529" y="21084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" name="Google Shape;1127;p33"/>
            <p:cNvSpPr/>
            <p:nvPr/>
          </p:nvSpPr>
          <p:spPr>
            <a:xfrm>
              <a:off x="3856660" y="19864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" name="Google Shape;1128;p33"/>
            <p:cNvSpPr/>
            <p:nvPr/>
          </p:nvSpPr>
          <p:spPr>
            <a:xfrm>
              <a:off x="3873183" y="17859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" name="Google Shape;1129;p33"/>
            <p:cNvSpPr/>
            <p:nvPr/>
          </p:nvSpPr>
          <p:spPr>
            <a:xfrm>
              <a:off x="3794477" y="160885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" name="Google Shape;1130;p33"/>
            <p:cNvSpPr/>
            <p:nvPr/>
          </p:nvSpPr>
          <p:spPr>
            <a:xfrm>
              <a:off x="3817289" y="155750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5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" name="Google Shape;1131;p33"/>
            <p:cNvSpPr/>
            <p:nvPr/>
          </p:nvSpPr>
          <p:spPr>
            <a:xfrm>
              <a:off x="3838529" y="14712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" name="Google Shape;1132;p33"/>
            <p:cNvSpPr/>
            <p:nvPr/>
          </p:nvSpPr>
          <p:spPr>
            <a:xfrm>
              <a:off x="3856660" y="13489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" name="Google Shape;1133;p33"/>
            <p:cNvSpPr/>
            <p:nvPr/>
          </p:nvSpPr>
          <p:spPr>
            <a:xfrm>
              <a:off x="3873183" y="11484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" name="Google Shape;1134;p33"/>
          <p:cNvGrpSpPr/>
          <p:nvPr/>
        </p:nvGrpSpPr>
        <p:grpSpPr>
          <a:xfrm>
            <a:off x="511753" y="2579144"/>
            <a:ext cx="1060745" cy="736755"/>
            <a:chOff x="-1693165" y="2708310"/>
            <a:chExt cx="597737" cy="415167"/>
          </a:xfrm>
        </p:grpSpPr>
        <p:sp>
          <p:nvSpPr>
            <p:cNvPr id="1135" name="Google Shape;1135;p33"/>
            <p:cNvSpPr/>
            <p:nvPr/>
          </p:nvSpPr>
          <p:spPr>
            <a:xfrm>
              <a:off x="-1692362" y="2734091"/>
              <a:ext cx="596131" cy="389386"/>
            </a:xfrm>
            <a:custGeom>
              <a:avLst/>
              <a:gdLst/>
              <a:ahLst/>
              <a:cxnLst/>
              <a:rect l="l" t="t" r="r" b="b"/>
              <a:pathLst>
                <a:path w="17064" h="11146" extrusionOk="0">
                  <a:moveTo>
                    <a:pt x="7475" y="1"/>
                  </a:moveTo>
                  <a:cubicBezTo>
                    <a:pt x="7366" y="1"/>
                    <a:pt x="7259" y="29"/>
                    <a:pt x="7164" y="85"/>
                  </a:cubicBezTo>
                  <a:lnTo>
                    <a:pt x="642" y="3881"/>
                  </a:lnTo>
                  <a:cubicBezTo>
                    <a:pt x="529" y="3948"/>
                    <a:pt x="496" y="4072"/>
                    <a:pt x="541" y="4174"/>
                  </a:cubicBezTo>
                  <a:cubicBezTo>
                    <a:pt x="496" y="4275"/>
                    <a:pt x="529" y="4410"/>
                    <a:pt x="642" y="4467"/>
                  </a:cubicBezTo>
                  <a:lnTo>
                    <a:pt x="935" y="4647"/>
                  </a:lnTo>
                  <a:lnTo>
                    <a:pt x="135" y="5109"/>
                  </a:lnTo>
                  <a:cubicBezTo>
                    <a:pt x="34" y="5176"/>
                    <a:pt x="0" y="5300"/>
                    <a:pt x="45" y="5401"/>
                  </a:cubicBezTo>
                  <a:cubicBezTo>
                    <a:pt x="0" y="5503"/>
                    <a:pt x="34" y="5638"/>
                    <a:pt x="135" y="5706"/>
                  </a:cubicBezTo>
                  <a:lnTo>
                    <a:pt x="9304" y="11044"/>
                  </a:lnTo>
                  <a:cubicBezTo>
                    <a:pt x="9416" y="11112"/>
                    <a:pt x="9546" y="11146"/>
                    <a:pt x="9675" y="11146"/>
                  </a:cubicBezTo>
                  <a:cubicBezTo>
                    <a:pt x="9805" y="11146"/>
                    <a:pt x="9934" y="11112"/>
                    <a:pt x="10047" y="11044"/>
                  </a:cubicBezTo>
                  <a:lnTo>
                    <a:pt x="16366" y="7339"/>
                  </a:lnTo>
                  <a:cubicBezTo>
                    <a:pt x="16512" y="7249"/>
                    <a:pt x="16557" y="7091"/>
                    <a:pt x="16523" y="6956"/>
                  </a:cubicBezTo>
                  <a:cubicBezTo>
                    <a:pt x="16557" y="6809"/>
                    <a:pt x="16512" y="6652"/>
                    <a:pt x="16366" y="6573"/>
                  </a:cubicBezTo>
                  <a:lnTo>
                    <a:pt x="16219" y="6483"/>
                  </a:lnTo>
                  <a:lnTo>
                    <a:pt x="16873" y="6111"/>
                  </a:lnTo>
                  <a:cubicBezTo>
                    <a:pt x="17008" y="6021"/>
                    <a:pt x="17064" y="5863"/>
                    <a:pt x="17019" y="5728"/>
                  </a:cubicBezTo>
                  <a:cubicBezTo>
                    <a:pt x="17064" y="5582"/>
                    <a:pt x="17008" y="5424"/>
                    <a:pt x="16873" y="5345"/>
                  </a:cubicBezTo>
                  <a:lnTo>
                    <a:pt x="16861" y="5345"/>
                  </a:lnTo>
                  <a:lnTo>
                    <a:pt x="7794" y="85"/>
                  </a:lnTo>
                  <a:cubicBezTo>
                    <a:pt x="7693" y="29"/>
                    <a:pt x="7583" y="1"/>
                    <a:pt x="7475" y="1"/>
                  </a:cubicBezTo>
                  <a:close/>
                </a:path>
              </a:pathLst>
            </a:cu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" name="Google Shape;1136;p33"/>
            <p:cNvSpPr/>
            <p:nvPr/>
          </p:nvSpPr>
          <p:spPr>
            <a:xfrm>
              <a:off x="-1693165" y="2758894"/>
              <a:ext cx="580410" cy="339813"/>
            </a:xfrm>
            <a:custGeom>
              <a:avLst/>
              <a:gdLst/>
              <a:ahLst/>
              <a:cxnLst/>
              <a:rect l="l" t="t" r="r" b="b"/>
              <a:pathLst>
                <a:path w="16614" h="9727" extrusionOk="0">
                  <a:moveTo>
                    <a:pt x="6999" y="0"/>
                  </a:moveTo>
                  <a:cubicBezTo>
                    <a:pt x="6891" y="0"/>
                    <a:pt x="6781" y="28"/>
                    <a:pt x="6680" y="85"/>
                  </a:cubicBezTo>
                  <a:lnTo>
                    <a:pt x="158" y="3881"/>
                  </a:lnTo>
                  <a:cubicBezTo>
                    <a:pt x="1" y="3971"/>
                    <a:pt x="1" y="4196"/>
                    <a:pt x="158" y="4286"/>
                  </a:cubicBezTo>
                  <a:lnTo>
                    <a:pt x="9327" y="9625"/>
                  </a:lnTo>
                  <a:cubicBezTo>
                    <a:pt x="9439" y="9692"/>
                    <a:pt x="9569" y="9726"/>
                    <a:pt x="9698" y="9726"/>
                  </a:cubicBezTo>
                  <a:cubicBezTo>
                    <a:pt x="9828" y="9726"/>
                    <a:pt x="9957" y="9692"/>
                    <a:pt x="10070" y="9625"/>
                  </a:cubicBezTo>
                  <a:lnTo>
                    <a:pt x="16389" y="5919"/>
                  </a:lnTo>
                  <a:cubicBezTo>
                    <a:pt x="16614" y="5795"/>
                    <a:pt x="16614" y="5469"/>
                    <a:pt x="16389" y="5345"/>
                  </a:cubicBezTo>
                  <a:lnTo>
                    <a:pt x="7310" y="85"/>
                  </a:lnTo>
                  <a:cubicBezTo>
                    <a:pt x="7215" y="28"/>
                    <a:pt x="7108" y="0"/>
                    <a:pt x="6999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" name="Google Shape;1137;p33"/>
            <p:cNvSpPr/>
            <p:nvPr/>
          </p:nvSpPr>
          <p:spPr>
            <a:xfrm>
              <a:off x="-1693165" y="2757916"/>
              <a:ext cx="580410" cy="341944"/>
            </a:xfrm>
            <a:custGeom>
              <a:avLst/>
              <a:gdLst/>
              <a:ahLst/>
              <a:cxnLst/>
              <a:rect l="l" t="t" r="r" b="b"/>
              <a:pathLst>
                <a:path w="16614" h="9788" fill="none" extrusionOk="0">
                  <a:moveTo>
                    <a:pt x="16389" y="5947"/>
                  </a:moveTo>
                  <a:lnTo>
                    <a:pt x="10070" y="9653"/>
                  </a:lnTo>
                  <a:cubicBezTo>
                    <a:pt x="9845" y="9788"/>
                    <a:pt x="9552" y="9788"/>
                    <a:pt x="9327" y="9653"/>
                  </a:cubicBezTo>
                  <a:lnTo>
                    <a:pt x="158" y="4314"/>
                  </a:lnTo>
                  <a:cubicBezTo>
                    <a:pt x="1" y="4224"/>
                    <a:pt x="1" y="3999"/>
                    <a:pt x="158" y="3909"/>
                  </a:cubicBezTo>
                  <a:lnTo>
                    <a:pt x="6680" y="113"/>
                  </a:lnTo>
                  <a:cubicBezTo>
                    <a:pt x="6882" y="0"/>
                    <a:pt x="7119" y="0"/>
                    <a:pt x="7310" y="113"/>
                  </a:cubicBezTo>
                  <a:lnTo>
                    <a:pt x="16389" y="5373"/>
                  </a:lnTo>
                  <a:cubicBezTo>
                    <a:pt x="16614" y="5497"/>
                    <a:pt x="16614" y="5823"/>
                    <a:pt x="16389" y="594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" name="Google Shape;1138;p33"/>
            <p:cNvSpPr/>
            <p:nvPr/>
          </p:nvSpPr>
          <p:spPr>
            <a:xfrm>
              <a:off x="-1693165" y="2752292"/>
              <a:ext cx="580410" cy="340092"/>
            </a:xfrm>
            <a:custGeom>
              <a:avLst/>
              <a:gdLst/>
              <a:ahLst/>
              <a:cxnLst/>
              <a:rect l="l" t="t" r="r" b="b"/>
              <a:pathLst>
                <a:path w="16614" h="9735" extrusionOk="0">
                  <a:moveTo>
                    <a:pt x="6999" y="1"/>
                  </a:moveTo>
                  <a:cubicBezTo>
                    <a:pt x="6891" y="1"/>
                    <a:pt x="6781" y="32"/>
                    <a:pt x="6680" y="94"/>
                  </a:cubicBezTo>
                  <a:lnTo>
                    <a:pt x="158" y="3889"/>
                  </a:lnTo>
                  <a:cubicBezTo>
                    <a:pt x="1" y="3979"/>
                    <a:pt x="1" y="4205"/>
                    <a:pt x="158" y="4295"/>
                  </a:cubicBezTo>
                  <a:lnTo>
                    <a:pt x="9327" y="9634"/>
                  </a:lnTo>
                  <a:cubicBezTo>
                    <a:pt x="9439" y="9701"/>
                    <a:pt x="9569" y="9735"/>
                    <a:pt x="9698" y="9735"/>
                  </a:cubicBezTo>
                  <a:cubicBezTo>
                    <a:pt x="9828" y="9735"/>
                    <a:pt x="9957" y="9701"/>
                    <a:pt x="10070" y="9634"/>
                  </a:cubicBezTo>
                  <a:lnTo>
                    <a:pt x="16389" y="5928"/>
                  </a:lnTo>
                  <a:cubicBezTo>
                    <a:pt x="16614" y="5804"/>
                    <a:pt x="16614" y="5477"/>
                    <a:pt x="16389" y="5354"/>
                  </a:cubicBezTo>
                  <a:lnTo>
                    <a:pt x="7310" y="94"/>
                  </a:lnTo>
                  <a:cubicBezTo>
                    <a:pt x="7215" y="32"/>
                    <a:pt x="7108" y="1"/>
                    <a:pt x="69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" name="Google Shape;1139;p33"/>
            <p:cNvSpPr/>
            <p:nvPr/>
          </p:nvSpPr>
          <p:spPr>
            <a:xfrm>
              <a:off x="-1693165" y="2751209"/>
              <a:ext cx="580410" cy="342363"/>
            </a:xfrm>
            <a:custGeom>
              <a:avLst/>
              <a:gdLst/>
              <a:ahLst/>
              <a:cxnLst/>
              <a:rect l="l" t="t" r="r" b="b"/>
              <a:pathLst>
                <a:path w="16614" h="9800" fill="none" extrusionOk="0">
                  <a:moveTo>
                    <a:pt x="16389" y="5959"/>
                  </a:moveTo>
                  <a:lnTo>
                    <a:pt x="10070" y="9665"/>
                  </a:lnTo>
                  <a:cubicBezTo>
                    <a:pt x="9845" y="9800"/>
                    <a:pt x="9552" y="9800"/>
                    <a:pt x="9327" y="9665"/>
                  </a:cubicBezTo>
                  <a:lnTo>
                    <a:pt x="158" y="4326"/>
                  </a:lnTo>
                  <a:cubicBezTo>
                    <a:pt x="1" y="4236"/>
                    <a:pt x="1" y="4010"/>
                    <a:pt x="158" y="3920"/>
                  </a:cubicBezTo>
                  <a:lnTo>
                    <a:pt x="6680" y="125"/>
                  </a:lnTo>
                  <a:cubicBezTo>
                    <a:pt x="6882" y="1"/>
                    <a:pt x="7119" y="1"/>
                    <a:pt x="7310" y="125"/>
                  </a:cubicBezTo>
                  <a:lnTo>
                    <a:pt x="16389" y="5385"/>
                  </a:lnTo>
                  <a:cubicBezTo>
                    <a:pt x="16614" y="5508"/>
                    <a:pt x="16614" y="5835"/>
                    <a:pt x="16389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" name="Google Shape;1140;p33"/>
            <p:cNvSpPr/>
            <p:nvPr/>
          </p:nvSpPr>
          <p:spPr>
            <a:xfrm>
              <a:off x="-1545989" y="2855871"/>
              <a:ext cx="251043" cy="146413"/>
            </a:xfrm>
            <a:custGeom>
              <a:avLst/>
              <a:gdLst/>
              <a:ahLst/>
              <a:cxnLst/>
              <a:rect l="l" t="t" r="r" b="b"/>
              <a:pathLst>
                <a:path w="7186" h="4191" fill="none" extrusionOk="0">
                  <a:moveTo>
                    <a:pt x="7186" y="4191"/>
                  </a:moveTo>
                  <a:lnTo>
                    <a:pt x="0" y="1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" name="Google Shape;1141;p33"/>
            <p:cNvSpPr/>
            <p:nvPr/>
          </p:nvSpPr>
          <p:spPr>
            <a:xfrm>
              <a:off x="-1564888" y="2868482"/>
              <a:ext cx="251078" cy="146413"/>
            </a:xfrm>
            <a:custGeom>
              <a:avLst/>
              <a:gdLst/>
              <a:ahLst/>
              <a:cxnLst/>
              <a:rect l="l" t="t" r="r" b="b"/>
              <a:pathLst>
                <a:path w="7187" h="4191" fill="none" extrusionOk="0">
                  <a:moveTo>
                    <a:pt x="7186" y="4190"/>
                  </a:moveTo>
                  <a:lnTo>
                    <a:pt x="0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" name="Google Shape;1142;p33"/>
            <p:cNvSpPr/>
            <p:nvPr/>
          </p:nvSpPr>
          <p:spPr>
            <a:xfrm>
              <a:off x="-1590460" y="2881442"/>
              <a:ext cx="251078" cy="146028"/>
            </a:xfrm>
            <a:custGeom>
              <a:avLst/>
              <a:gdLst/>
              <a:ahLst/>
              <a:cxnLst/>
              <a:rect l="l" t="t" r="r" b="b"/>
              <a:pathLst>
                <a:path w="7187" h="4180" fill="none" extrusionOk="0">
                  <a:moveTo>
                    <a:pt x="7186" y="4179"/>
                  </a:moveTo>
                  <a:lnTo>
                    <a:pt x="0" y="1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" name="Google Shape;1143;p33"/>
            <p:cNvSpPr/>
            <p:nvPr/>
          </p:nvSpPr>
          <p:spPr>
            <a:xfrm>
              <a:off x="-1298133" y="2907014"/>
              <a:ext cx="118884" cy="70534"/>
            </a:xfrm>
            <a:custGeom>
              <a:avLst/>
              <a:gdLst/>
              <a:ahLst/>
              <a:cxnLst/>
              <a:rect l="l" t="t" r="r" b="b"/>
              <a:pathLst>
                <a:path w="3403" h="2019" extrusionOk="0">
                  <a:moveTo>
                    <a:pt x="1707" y="1"/>
                  </a:moveTo>
                  <a:cubicBezTo>
                    <a:pt x="1662" y="1"/>
                    <a:pt x="1617" y="12"/>
                    <a:pt x="1578" y="35"/>
                  </a:cubicBezTo>
                  <a:lnTo>
                    <a:pt x="57" y="925"/>
                  </a:lnTo>
                  <a:cubicBezTo>
                    <a:pt x="1" y="958"/>
                    <a:pt x="1" y="1048"/>
                    <a:pt x="57" y="1082"/>
                  </a:cubicBezTo>
                  <a:lnTo>
                    <a:pt x="1555" y="1983"/>
                  </a:lnTo>
                  <a:cubicBezTo>
                    <a:pt x="1591" y="2007"/>
                    <a:pt x="1637" y="2019"/>
                    <a:pt x="1684" y="2019"/>
                  </a:cubicBezTo>
                  <a:cubicBezTo>
                    <a:pt x="1725" y="2019"/>
                    <a:pt x="1766" y="2010"/>
                    <a:pt x="1803" y="1995"/>
                  </a:cubicBezTo>
                  <a:lnTo>
                    <a:pt x="3312" y="1127"/>
                  </a:lnTo>
                  <a:cubicBezTo>
                    <a:pt x="3402" y="1082"/>
                    <a:pt x="3402" y="947"/>
                    <a:pt x="3312" y="902"/>
                  </a:cubicBezTo>
                  <a:lnTo>
                    <a:pt x="1837" y="35"/>
                  </a:lnTo>
                  <a:cubicBezTo>
                    <a:pt x="1797" y="12"/>
                    <a:pt x="1752" y="1"/>
                    <a:pt x="170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" name="Google Shape;1144;p33"/>
            <p:cNvSpPr/>
            <p:nvPr/>
          </p:nvSpPr>
          <p:spPr>
            <a:xfrm>
              <a:off x="-1298133" y="2906630"/>
              <a:ext cx="118884" cy="71267"/>
            </a:xfrm>
            <a:custGeom>
              <a:avLst/>
              <a:gdLst/>
              <a:ahLst/>
              <a:cxnLst/>
              <a:rect l="l" t="t" r="r" b="b"/>
              <a:pathLst>
                <a:path w="3403" h="2040" fill="none" extrusionOk="0">
                  <a:moveTo>
                    <a:pt x="3312" y="1138"/>
                  </a:moveTo>
                  <a:lnTo>
                    <a:pt x="1803" y="2006"/>
                  </a:lnTo>
                  <a:cubicBezTo>
                    <a:pt x="1724" y="2039"/>
                    <a:pt x="1623" y="2039"/>
                    <a:pt x="1555" y="1994"/>
                  </a:cubicBezTo>
                  <a:lnTo>
                    <a:pt x="57" y="1093"/>
                  </a:lnTo>
                  <a:cubicBezTo>
                    <a:pt x="1" y="1059"/>
                    <a:pt x="1" y="969"/>
                    <a:pt x="57" y="936"/>
                  </a:cubicBezTo>
                  <a:lnTo>
                    <a:pt x="1578" y="46"/>
                  </a:lnTo>
                  <a:cubicBezTo>
                    <a:pt x="1657" y="1"/>
                    <a:pt x="1758" y="1"/>
                    <a:pt x="1837" y="46"/>
                  </a:cubicBezTo>
                  <a:lnTo>
                    <a:pt x="3312" y="913"/>
                  </a:lnTo>
                  <a:cubicBezTo>
                    <a:pt x="3402" y="958"/>
                    <a:pt x="3402" y="1093"/>
                    <a:pt x="3312" y="113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" name="Google Shape;1145;p33"/>
            <p:cNvSpPr/>
            <p:nvPr/>
          </p:nvSpPr>
          <p:spPr>
            <a:xfrm>
              <a:off x="-1252091" y="2914490"/>
              <a:ext cx="62219" cy="36647"/>
            </a:xfrm>
            <a:custGeom>
              <a:avLst/>
              <a:gdLst/>
              <a:ahLst/>
              <a:cxnLst/>
              <a:rect l="l" t="t" r="r" b="b"/>
              <a:pathLst>
                <a:path w="1781" h="1049" fill="none" extrusionOk="0">
                  <a:moveTo>
                    <a:pt x="1780" y="1048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" name="Google Shape;1146;p33"/>
            <p:cNvSpPr/>
            <p:nvPr/>
          </p:nvSpPr>
          <p:spPr>
            <a:xfrm>
              <a:off x="-1284334" y="2932201"/>
              <a:ext cx="62184" cy="36647"/>
            </a:xfrm>
            <a:custGeom>
              <a:avLst/>
              <a:gdLst/>
              <a:ahLst/>
              <a:cxnLst/>
              <a:rect l="l" t="t" r="r" b="b"/>
              <a:pathLst>
                <a:path w="1780" h="1049" fill="none" extrusionOk="0">
                  <a:moveTo>
                    <a:pt x="1780" y="1048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" name="Google Shape;1147;p33"/>
            <p:cNvSpPr/>
            <p:nvPr/>
          </p:nvSpPr>
          <p:spPr>
            <a:xfrm>
              <a:off x="-1252475" y="2933005"/>
              <a:ext cx="62219" cy="37800"/>
            </a:xfrm>
            <a:custGeom>
              <a:avLst/>
              <a:gdLst/>
              <a:ahLst/>
              <a:cxnLst/>
              <a:rect l="l" t="t" r="r" b="b"/>
              <a:pathLst>
                <a:path w="1781" h="1082" fill="none" extrusionOk="0">
                  <a:moveTo>
                    <a:pt x="1780" y="0"/>
                  </a:moveTo>
                  <a:lnTo>
                    <a:pt x="0" y="1082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" name="Google Shape;1148;p33"/>
            <p:cNvSpPr/>
            <p:nvPr/>
          </p:nvSpPr>
          <p:spPr>
            <a:xfrm>
              <a:off x="-1247374" y="2935345"/>
              <a:ext cx="31127" cy="18935"/>
            </a:xfrm>
            <a:custGeom>
              <a:avLst/>
              <a:gdLst/>
              <a:ahLst/>
              <a:cxnLst/>
              <a:rect l="l" t="t" r="r" b="b"/>
              <a:pathLst>
                <a:path w="891" h="542" fill="none" extrusionOk="0">
                  <a:moveTo>
                    <a:pt x="891" y="1"/>
                  </a:moveTo>
                  <a:lnTo>
                    <a:pt x="1" y="542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" name="Google Shape;1149;p33"/>
            <p:cNvSpPr/>
            <p:nvPr/>
          </p:nvSpPr>
          <p:spPr>
            <a:xfrm>
              <a:off x="-1261138" y="2926298"/>
              <a:ext cx="30743" cy="18550"/>
            </a:xfrm>
            <a:custGeom>
              <a:avLst/>
              <a:gdLst/>
              <a:ahLst/>
              <a:cxnLst/>
              <a:rect l="l" t="t" r="r" b="b"/>
              <a:pathLst>
                <a:path w="880" h="531" fill="none" extrusionOk="0">
                  <a:moveTo>
                    <a:pt x="879" y="1"/>
                  </a:moveTo>
                  <a:lnTo>
                    <a:pt x="1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" name="Google Shape;1150;p33"/>
            <p:cNvSpPr/>
            <p:nvPr/>
          </p:nvSpPr>
          <p:spPr>
            <a:xfrm>
              <a:off x="-1290238" y="2911765"/>
              <a:ext cx="61416" cy="36996"/>
            </a:xfrm>
            <a:custGeom>
              <a:avLst/>
              <a:gdLst/>
              <a:ahLst/>
              <a:cxnLst/>
              <a:rect l="l" t="t" r="r" b="b"/>
              <a:pathLst>
                <a:path w="1758" h="1059" fill="none" extrusionOk="0">
                  <a:moveTo>
                    <a:pt x="1757" y="0"/>
                  </a:moveTo>
                  <a:cubicBezTo>
                    <a:pt x="1746" y="23"/>
                    <a:pt x="0" y="1059"/>
                    <a:pt x="0" y="1059"/>
                  </a:cubicBez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" name="Google Shape;1151;p33"/>
            <p:cNvSpPr/>
            <p:nvPr/>
          </p:nvSpPr>
          <p:spPr>
            <a:xfrm>
              <a:off x="-1675454" y="2715716"/>
              <a:ext cx="580026" cy="340092"/>
            </a:xfrm>
            <a:custGeom>
              <a:avLst/>
              <a:gdLst/>
              <a:ahLst/>
              <a:cxnLst/>
              <a:rect l="l" t="t" r="r" b="b"/>
              <a:pathLst>
                <a:path w="16603" h="9735" extrusionOk="0">
                  <a:moveTo>
                    <a:pt x="6991" y="0"/>
                  </a:moveTo>
                  <a:cubicBezTo>
                    <a:pt x="6882" y="0"/>
                    <a:pt x="6775" y="31"/>
                    <a:pt x="6680" y="93"/>
                  </a:cubicBezTo>
                  <a:lnTo>
                    <a:pt x="158" y="3889"/>
                  </a:lnTo>
                  <a:cubicBezTo>
                    <a:pt x="0" y="3979"/>
                    <a:pt x="0" y="4204"/>
                    <a:pt x="158" y="4294"/>
                  </a:cubicBezTo>
                  <a:lnTo>
                    <a:pt x="9315" y="9633"/>
                  </a:lnTo>
                  <a:cubicBezTo>
                    <a:pt x="9433" y="9701"/>
                    <a:pt x="9563" y="9734"/>
                    <a:pt x="9691" y="9734"/>
                  </a:cubicBezTo>
                  <a:cubicBezTo>
                    <a:pt x="9819" y="9734"/>
                    <a:pt x="9946" y="9701"/>
                    <a:pt x="10059" y="9633"/>
                  </a:cubicBezTo>
                  <a:lnTo>
                    <a:pt x="16377" y="5927"/>
                  </a:lnTo>
                  <a:cubicBezTo>
                    <a:pt x="16603" y="5804"/>
                    <a:pt x="16603" y="5477"/>
                    <a:pt x="16377" y="5353"/>
                  </a:cubicBezTo>
                  <a:lnTo>
                    <a:pt x="7310" y="93"/>
                  </a:lnTo>
                  <a:cubicBezTo>
                    <a:pt x="7209" y="31"/>
                    <a:pt x="7099" y="0"/>
                    <a:pt x="69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" name="Google Shape;1152;p33"/>
            <p:cNvSpPr/>
            <p:nvPr/>
          </p:nvSpPr>
          <p:spPr>
            <a:xfrm>
              <a:off x="-1675454" y="2714633"/>
              <a:ext cx="580026" cy="342363"/>
            </a:xfrm>
            <a:custGeom>
              <a:avLst/>
              <a:gdLst/>
              <a:ahLst/>
              <a:cxnLst/>
              <a:rect l="l" t="t" r="r" b="b"/>
              <a:pathLst>
                <a:path w="16603" h="9800" fill="none" extrusionOk="0">
                  <a:moveTo>
                    <a:pt x="16377" y="5958"/>
                  </a:moveTo>
                  <a:lnTo>
                    <a:pt x="10059" y="9664"/>
                  </a:lnTo>
                  <a:cubicBezTo>
                    <a:pt x="9833" y="9799"/>
                    <a:pt x="9552" y="9799"/>
                    <a:pt x="9315" y="9664"/>
                  </a:cubicBezTo>
                  <a:lnTo>
                    <a:pt x="158" y="4325"/>
                  </a:lnTo>
                  <a:cubicBezTo>
                    <a:pt x="0" y="4235"/>
                    <a:pt x="0" y="4010"/>
                    <a:pt x="158" y="3920"/>
                  </a:cubicBezTo>
                  <a:lnTo>
                    <a:pt x="6680" y="124"/>
                  </a:lnTo>
                  <a:cubicBezTo>
                    <a:pt x="6871" y="0"/>
                    <a:pt x="7108" y="0"/>
                    <a:pt x="7310" y="124"/>
                  </a:cubicBezTo>
                  <a:lnTo>
                    <a:pt x="16377" y="5384"/>
                  </a:lnTo>
                  <a:cubicBezTo>
                    <a:pt x="16603" y="5508"/>
                    <a:pt x="16603" y="5835"/>
                    <a:pt x="16377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" name="Google Shape;1153;p33"/>
            <p:cNvSpPr/>
            <p:nvPr/>
          </p:nvSpPr>
          <p:spPr>
            <a:xfrm>
              <a:off x="-1675454" y="2709323"/>
              <a:ext cx="580026" cy="340197"/>
            </a:xfrm>
            <a:custGeom>
              <a:avLst/>
              <a:gdLst/>
              <a:ahLst/>
              <a:cxnLst/>
              <a:rect l="l" t="t" r="r" b="b"/>
              <a:pathLst>
                <a:path w="16603" h="9738" extrusionOk="0">
                  <a:moveTo>
                    <a:pt x="6991" y="0"/>
                  </a:moveTo>
                  <a:cubicBezTo>
                    <a:pt x="6882" y="0"/>
                    <a:pt x="6775" y="28"/>
                    <a:pt x="6680" y="85"/>
                  </a:cubicBezTo>
                  <a:lnTo>
                    <a:pt x="158" y="3880"/>
                  </a:lnTo>
                  <a:cubicBezTo>
                    <a:pt x="0" y="3982"/>
                    <a:pt x="0" y="4207"/>
                    <a:pt x="158" y="4297"/>
                  </a:cubicBezTo>
                  <a:lnTo>
                    <a:pt x="9315" y="9636"/>
                  </a:lnTo>
                  <a:cubicBezTo>
                    <a:pt x="9433" y="9703"/>
                    <a:pt x="9563" y="9737"/>
                    <a:pt x="9691" y="9737"/>
                  </a:cubicBezTo>
                  <a:cubicBezTo>
                    <a:pt x="9819" y="9737"/>
                    <a:pt x="9946" y="9703"/>
                    <a:pt x="10059" y="9636"/>
                  </a:cubicBezTo>
                  <a:lnTo>
                    <a:pt x="16377" y="5930"/>
                  </a:lnTo>
                  <a:cubicBezTo>
                    <a:pt x="16603" y="5795"/>
                    <a:pt x="16603" y="5480"/>
                    <a:pt x="16377" y="5345"/>
                  </a:cubicBezTo>
                  <a:lnTo>
                    <a:pt x="7310" y="85"/>
                  </a:lnTo>
                  <a:cubicBezTo>
                    <a:pt x="7209" y="28"/>
                    <a:pt x="7099" y="0"/>
                    <a:pt x="699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" name="Google Shape;1154;p33"/>
            <p:cNvSpPr/>
            <p:nvPr/>
          </p:nvSpPr>
          <p:spPr>
            <a:xfrm>
              <a:off x="-1675454" y="2708310"/>
              <a:ext cx="580026" cy="342398"/>
            </a:xfrm>
            <a:custGeom>
              <a:avLst/>
              <a:gdLst/>
              <a:ahLst/>
              <a:cxnLst/>
              <a:rect l="l" t="t" r="r" b="b"/>
              <a:pathLst>
                <a:path w="16603" h="9801" fill="none" extrusionOk="0">
                  <a:moveTo>
                    <a:pt x="16377" y="5959"/>
                  </a:moveTo>
                  <a:lnTo>
                    <a:pt x="10059" y="9665"/>
                  </a:lnTo>
                  <a:cubicBezTo>
                    <a:pt x="9833" y="9800"/>
                    <a:pt x="9552" y="9800"/>
                    <a:pt x="9315" y="9665"/>
                  </a:cubicBezTo>
                  <a:lnTo>
                    <a:pt x="158" y="4326"/>
                  </a:lnTo>
                  <a:cubicBezTo>
                    <a:pt x="0" y="4236"/>
                    <a:pt x="0" y="4011"/>
                    <a:pt x="158" y="3909"/>
                  </a:cubicBezTo>
                  <a:lnTo>
                    <a:pt x="6680" y="114"/>
                  </a:lnTo>
                  <a:cubicBezTo>
                    <a:pt x="6871" y="1"/>
                    <a:pt x="7108" y="1"/>
                    <a:pt x="7310" y="114"/>
                  </a:cubicBezTo>
                  <a:lnTo>
                    <a:pt x="16377" y="5374"/>
                  </a:lnTo>
                  <a:cubicBezTo>
                    <a:pt x="16603" y="5509"/>
                    <a:pt x="16603" y="5824"/>
                    <a:pt x="16377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" name="Google Shape;1155;p33"/>
            <p:cNvSpPr/>
            <p:nvPr/>
          </p:nvSpPr>
          <p:spPr>
            <a:xfrm>
              <a:off x="-1528312" y="2813007"/>
              <a:ext cx="251078" cy="146378"/>
            </a:xfrm>
            <a:custGeom>
              <a:avLst/>
              <a:gdLst/>
              <a:ahLst/>
              <a:cxnLst/>
              <a:rect l="l" t="t" r="r" b="b"/>
              <a:pathLst>
                <a:path w="7187" h="4190" fill="none" extrusionOk="0">
                  <a:moveTo>
                    <a:pt x="7187" y="4190"/>
                  </a:moveTo>
                  <a:lnTo>
                    <a:pt x="1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" name="Google Shape;1156;p33"/>
            <p:cNvSpPr/>
            <p:nvPr/>
          </p:nvSpPr>
          <p:spPr>
            <a:xfrm>
              <a:off x="-1547596" y="2825583"/>
              <a:ext cx="251078" cy="146413"/>
            </a:xfrm>
            <a:custGeom>
              <a:avLst/>
              <a:gdLst/>
              <a:ahLst/>
              <a:cxnLst/>
              <a:rect l="l" t="t" r="r" b="b"/>
              <a:pathLst>
                <a:path w="7187" h="4191" fill="none" extrusionOk="0">
                  <a:moveTo>
                    <a:pt x="7187" y="4190"/>
                  </a:moveTo>
                  <a:lnTo>
                    <a:pt x="1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" name="Google Shape;1157;p33"/>
            <p:cNvSpPr/>
            <p:nvPr/>
          </p:nvSpPr>
          <p:spPr>
            <a:xfrm>
              <a:off x="-1572748" y="2838579"/>
              <a:ext cx="251078" cy="145993"/>
            </a:xfrm>
            <a:custGeom>
              <a:avLst/>
              <a:gdLst/>
              <a:ahLst/>
              <a:cxnLst/>
              <a:rect l="l" t="t" r="r" b="b"/>
              <a:pathLst>
                <a:path w="7187" h="4179" fill="none" extrusionOk="0">
                  <a:moveTo>
                    <a:pt x="7186" y="4179"/>
                  </a:moveTo>
                  <a:lnTo>
                    <a:pt x="0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" name="Google Shape;1158;p33"/>
            <p:cNvSpPr/>
            <p:nvPr/>
          </p:nvSpPr>
          <p:spPr>
            <a:xfrm>
              <a:off x="-1280806" y="2864150"/>
              <a:ext cx="119268" cy="70499"/>
            </a:xfrm>
            <a:custGeom>
              <a:avLst/>
              <a:gdLst/>
              <a:ahLst/>
              <a:cxnLst/>
              <a:rect l="l" t="t" r="r" b="b"/>
              <a:pathLst>
                <a:path w="3414" h="2018" extrusionOk="0">
                  <a:moveTo>
                    <a:pt x="1707" y="0"/>
                  </a:moveTo>
                  <a:cubicBezTo>
                    <a:pt x="1662" y="0"/>
                    <a:pt x="1617" y="11"/>
                    <a:pt x="1577" y="34"/>
                  </a:cubicBezTo>
                  <a:lnTo>
                    <a:pt x="68" y="924"/>
                  </a:lnTo>
                  <a:cubicBezTo>
                    <a:pt x="0" y="958"/>
                    <a:pt x="0" y="1048"/>
                    <a:pt x="68" y="1082"/>
                  </a:cubicBezTo>
                  <a:lnTo>
                    <a:pt x="1555" y="1983"/>
                  </a:lnTo>
                  <a:cubicBezTo>
                    <a:pt x="1597" y="2007"/>
                    <a:pt x="1643" y="2018"/>
                    <a:pt x="1688" y="2018"/>
                  </a:cubicBezTo>
                  <a:cubicBezTo>
                    <a:pt x="1727" y="2018"/>
                    <a:pt x="1766" y="2010"/>
                    <a:pt x="1803" y="1994"/>
                  </a:cubicBezTo>
                  <a:lnTo>
                    <a:pt x="3323" y="1127"/>
                  </a:lnTo>
                  <a:lnTo>
                    <a:pt x="3312" y="1127"/>
                  </a:lnTo>
                  <a:cubicBezTo>
                    <a:pt x="3402" y="1082"/>
                    <a:pt x="3413" y="946"/>
                    <a:pt x="3323" y="901"/>
                  </a:cubicBezTo>
                  <a:lnTo>
                    <a:pt x="1836" y="34"/>
                  </a:lnTo>
                  <a:cubicBezTo>
                    <a:pt x="1797" y="11"/>
                    <a:pt x="1752" y="0"/>
                    <a:pt x="170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" name="Google Shape;1159;p33"/>
            <p:cNvSpPr/>
            <p:nvPr/>
          </p:nvSpPr>
          <p:spPr>
            <a:xfrm>
              <a:off x="-1280806" y="2863731"/>
              <a:ext cx="119268" cy="71267"/>
            </a:xfrm>
            <a:custGeom>
              <a:avLst/>
              <a:gdLst/>
              <a:ahLst/>
              <a:cxnLst/>
              <a:rect l="l" t="t" r="r" b="b"/>
              <a:pathLst>
                <a:path w="3414" h="2040" fill="none" extrusionOk="0">
                  <a:moveTo>
                    <a:pt x="3323" y="1139"/>
                  </a:moveTo>
                  <a:lnTo>
                    <a:pt x="1803" y="2006"/>
                  </a:lnTo>
                  <a:cubicBezTo>
                    <a:pt x="1724" y="2040"/>
                    <a:pt x="1634" y="2040"/>
                    <a:pt x="1555" y="1995"/>
                  </a:cubicBezTo>
                  <a:lnTo>
                    <a:pt x="68" y="1094"/>
                  </a:lnTo>
                  <a:cubicBezTo>
                    <a:pt x="0" y="1060"/>
                    <a:pt x="0" y="970"/>
                    <a:pt x="68" y="936"/>
                  </a:cubicBezTo>
                  <a:lnTo>
                    <a:pt x="1577" y="46"/>
                  </a:lnTo>
                  <a:cubicBezTo>
                    <a:pt x="1656" y="1"/>
                    <a:pt x="1758" y="1"/>
                    <a:pt x="1836" y="46"/>
                  </a:cubicBezTo>
                  <a:lnTo>
                    <a:pt x="3323" y="913"/>
                  </a:lnTo>
                  <a:cubicBezTo>
                    <a:pt x="3413" y="958"/>
                    <a:pt x="3402" y="1094"/>
                    <a:pt x="3312" y="113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" name="Google Shape;1160;p33"/>
            <p:cNvSpPr/>
            <p:nvPr/>
          </p:nvSpPr>
          <p:spPr>
            <a:xfrm>
              <a:off x="-1234379" y="2871626"/>
              <a:ext cx="61800" cy="36612"/>
            </a:xfrm>
            <a:custGeom>
              <a:avLst/>
              <a:gdLst/>
              <a:ahLst/>
              <a:cxnLst/>
              <a:rect l="l" t="t" r="r" b="b"/>
              <a:pathLst>
                <a:path w="1769" h="1048" fill="none" extrusionOk="0">
                  <a:moveTo>
                    <a:pt x="1769" y="1048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" name="Google Shape;1161;p33"/>
            <p:cNvSpPr/>
            <p:nvPr/>
          </p:nvSpPr>
          <p:spPr>
            <a:xfrm>
              <a:off x="-1266658" y="2889338"/>
              <a:ext cx="61835" cy="36612"/>
            </a:xfrm>
            <a:custGeom>
              <a:avLst/>
              <a:gdLst/>
              <a:ahLst/>
              <a:cxnLst/>
              <a:rect l="l" t="t" r="r" b="b"/>
              <a:pathLst>
                <a:path w="1770" h="1048" fill="none" extrusionOk="0">
                  <a:moveTo>
                    <a:pt x="1769" y="1048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" name="Google Shape;1162;p33"/>
            <p:cNvSpPr/>
            <p:nvPr/>
          </p:nvSpPr>
          <p:spPr>
            <a:xfrm>
              <a:off x="-1235148" y="2890106"/>
              <a:ext cx="62569" cy="37415"/>
            </a:xfrm>
            <a:custGeom>
              <a:avLst/>
              <a:gdLst/>
              <a:ahLst/>
              <a:cxnLst/>
              <a:rect l="l" t="t" r="r" b="b"/>
              <a:pathLst>
                <a:path w="1791" h="1071" fill="none" extrusionOk="0">
                  <a:moveTo>
                    <a:pt x="1791" y="1"/>
                  </a:moveTo>
                  <a:lnTo>
                    <a:pt x="0" y="107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" name="Google Shape;1163;p33"/>
            <p:cNvSpPr/>
            <p:nvPr/>
          </p:nvSpPr>
          <p:spPr>
            <a:xfrm>
              <a:off x="-1229663" y="2892482"/>
              <a:ext cx="30743" cy="18516"/>
            </a:xfrm>
            <a:custGeom>
              <a:avLst/>
              <a:gdLst/>
              <a:ahLst/>
              <a:cxnLst/>
              <a:rect l="l" t="t" r="r" b="b"/>
              <a:pathLst>
                <a:path w="880" h="530" fill="none" extrusionOk="0">
                  <a:moveTo>
                    <a:pt x="879" y="0"/>
                  </a:moveTo>
                  <a:lnTo>
                    <a:pt x="1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" name="Google Shape;1164;p33"/>
            <p:cNvSpPr/>
            <p:nvPr/>
          </p:nvSpPr>
          <p:spPr>
            <a:xfrm>
              <a:off x="-1243811" y="2883434"/>
              <a:ext cx="30708" cy="18516"/>
            </a:xfrm>
            <a:custGeom>
              <a:avLst/>
              <a:gdLst/>
              <a:ahLst/>
              <a:cxnLst/>
              <a:rect l="l" t="t" r="r" b="b"/>
              <a:pathLst>
                <a:path w="879" h="530" fill="none" extrusionOk="0">
                  <a:moveTo>
                    <a:pt x="879" y="0"/>
                  </a:moveTo>
                  <a:lnTo>
                    <a:pt x="0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5406979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Google Shape;1645;p44">
            <a:extLst>
              <a:ext uri="{FF2B5EF4-FFF2-40B4-BE49-F238E27FC236}">
                <a16:creationId xmlns:a16="http://schemas.microsoft.com/office/drawing/2014/main" id="{D8689D27-F450-F10A-B25B-A90C933B01CB}"/>
              </a:ext>
            </a:extLst>
          </p:cNvPr>
          <p:cNvCxnSpPr>
            <a:cxnSpLocks/>
          </p:cNvCxnSpPr>
          <p:nvPr/>
        </p:nvCxnSpPr>
        <p:spPr>
          <a:xfrm>
            <a:off x="6616471" y="2045792"/>
            <a:ext cx="1715774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1630" name="Google Shape;1630;p44"/>
          <p:cNvSpPr txBox="1">
            <a:spLocks noGrp="1"/>
          </p:cNvSpPr>
          <p:nvPr>
            <p:ph type="title" idx="4294967295"/>
          </p:nvPr>
        </p:nvSpPr>
        <p:spPr>
          <a:xfrm>
            <a:off x="512763" y="-24241"/>
            <a:ext cx="7704137" cy="573088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2"/>
                </a:solidFill>
              </a:rPr>
              <a:t>Modeling Flow</a:t>
            </a:r>
            <a:endParaRPr sz="2400">
              <a:solidFill>
                <a:schemeClr val="accent2"/>
              </a:solidFill>
            </a:endParaRPr>
          </a:p>
        </p:txBody>
      </p:sp>
      <p:sp>
        <p:nvSpPr>
          <p:cNvPr id="1631" name="Google Shape;1631;p44"/>
          <p:cNvSpPr/>
          <p:nvPr/>
        </p:nvSpPr>
        <p:spPr>
          <a:xfrm>
            <a:off x="714501" y="1932980"/>
            <a:ext cx="176400" cy="176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32" name="Google Shape;1632;p44"/>
          <p:cNvSpPr/>
          <p:nvPr/>
        </p:nvSpPr>
        <p:spPr>
          <a:xfrm>
            <a:off x="2678401" y="1932980"/>
            <a:ext cx="176400" cy="176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33" name="Google Shape;1633;p44"/>
          <p:cNvSpPr/>
          <p:nvPr/>
        </p:nvSpPr>
        <p:spPr>
          <a:xfrm>
            <a:off x="4642301" y="1932980"/>
            <a:ext cx="176400" cy="176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34" name="Google Shape;1634;p44"/>
          <p:cNvSpPr/>
          <p:nvPr/>
        </p:nvSpPr>
        <p:spPr>
          <a:xfrm>
            <a:off x="6518022" y="1957592"/>
            <a:ext cx="176400" cy="176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35" name="Google Shape;1635;p44"/>
          <p:cNvSpPr txBox="1"/>
          <p:nvPr/>
        </p:nvSpPr>
        <p:spPr>
          <a:xfrm flipH="1">
            <a:off x="16451" y="2591985"/>
            <a:ext cx="18123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"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"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"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br>
              <a:rPr lang="en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</a:br>
            <a:r>
              <a:rPr lang="en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Data </a:t>
            </a:r>
            <a:br>
              <a:rPr lang="en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</a:br>
            <a:r>
              <a:rPr lang="en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Transformation</a:t>
            </a:r>
            <a:endParaRPr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</p:txBody>
      </p:sp>
      <p:sp>
        <p:nvSpPr>
          <p:cNvPr id="1636" name="Google Shape;1636;p44"/>
          <p:cNvSpPr txBox="1"/>
          <p:nvPr/>
        </p:nvSpPr>
        <p:spPr>
          <a:xfrm flipH="1">
            <a:off x="100045" y="3268718"/>
            <a:ext cx="1607525" cy="1069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"/>
                <a:ea typeface="Source Sans Pro"/>
                <a:cs typeface="Source Sans Pro"/>
                <a:sym typeface="Source Sans Pro"/>
              </a:rPr>
              <a:t>Binning </a:t>
            </a:r>
            <a:br>
              <a:rPr lang="en" sz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"/>
                <a:ea typeface="Source Sans Pro"/>
                <a:cs typeface="Source Sans Pro"/>
                <a:sym typeface="Source Sans Pro"/>
              </a:rPr>
            </a:br>
            <a:r>
              <a:rPr lang="en" sz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"/>
                <a:ea typeface="Source Sans Pro"/>
                <a:cs typeface="Source Sans Pro"/>
                <a:sym typeface="Source Sans Pro"/>
              </a:rPr>
              <a:t>Label Encoding </a:t>
            </a:r>
            <a:br>
              <a:rPr lang="en" sz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"/>
                <a:ea typeface="Source Sans Pro"/>
                <a:cs typeface="Source Sans Pro"/>
                <a:sym typeface="Source Sans Pro"/>
              </a:rPr>
            </a:br>
            <a:r>
              <a:rPr lang="en" sz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"/>
                <a:ea typeface="Source Sans Pro"/>
                <a:cs typeface="Source Sans Pro"/>
                <a:sym typeface="Source Sans Pro"/>
              </a:rPr>
              <a:t>One Hot Encoding </a:t>
            </a:r>
            <a:br>
              <a:rPr lang="en" sz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"/>
                <a:ea typeface="Source Sans Pro"/>
                <a:cs typeface="Source Sans Pro"/>
                <a:sym typeface="Source Sans Pro"/>
              </a:rPr>
            </a:br>
            <a:r>
              <a:rPr lang="en" sz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"/>
                <a:ea typeface="Source Sans Pro"/>
                <a:cs typeface="Source Sans Pro"/>
                <a:sym typeface="Source Sans Pro"/>
              </a:rPr>
              <a:t>Log Transformation</a:t>
            </a:r>
            <a:endParaRPr sz="1200">
              <a:solidFill>
                <a:schemeClr val="tx1">
                  <a:lumMod val="65000"/>
                  <a:lumOff val="35000"/>
                </a:schemeClr>
              </a:solidFill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  <p:sp>
        <p:nvSpPr>
          <p:cNvPr id="1637" name="Google Shape;1637;p44"/>
          <p:cNvSpPr txBox="1"/>
          <p:nvPr/>
        </p:nvSpPr>
        <p:spPr>
          <a:xfrm flipH="1">
            <a:off x="1860401" y="2599605"/>
            <a:ext cx="1812300" cy="40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Standardization</a:t>
            </a:r>
            <a:endParaRPr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</p:txBody>
      </p:sp>
      <p:sp>
        <p:nvSpPr>
          <p:cNvPr id="1640" name="Google Shape;1640;p44"/>
          <p:cNvSpPr txBox="1"/>
          <p:nvPr/>
        </p:nvSpPr>
        <p:spPr>
          <a:xfrm flipH="1">
            <a:off x="3862198" y="3333612"/>
            <a:ext cx="1812300" cy="8293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"/>
                <a:ea typeface="Source Sans Pro"/>
                <a:cs typeface="Source Sans Pro"/>
                <a:sym typeface="Source Sans Pro"/>
              </a:rPr>
              <a:t>Grid Search</a:t>
            </a:r>
            <a:br>
              <a:rPr lang="en" sz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"/>
                <a:ea typeface="Source Sans Pro"/>
                <a:cs typeface="Source Sans Pro"/>
                <a:sym typeface="Source Sans Pro"/>
              </a:rPr>
            </a:br>
            <a:r>
              <a:rPr lang="en" sz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"/>
                <a:ea typeface="Source Sans Pro"/>
                <a:cs typeface="Source Sans Pro"/>
                <a:sym typeface="Source Sans Pro"/>
              </a:rPr>
              <a:t>3-Fold Validation (AUC)</a:t>
            </a:r>
            <a:endParaRPr sz="1200">
              <a:solidFill>
                <a:schemeClr val="tx1">
                  <a:lumMod val="65000"/>
                  <a:lumOff val="35000"/>
                </a:schemeClr>
              </a:solidFill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  <p:sp>
        <p:nvSpPr>
          <p:cNvPr id="1641" name="Google Shape;1641;p44"/>
          <p:cNvSpPr txBox="1"/>
          <p:nvPr/>
        </p:nvSpPr>
        <p:spPr>
          <a:xfrm flipH="1">
            <a:off x="5700022" y="2624216"/>
            <a:ext cx="1812300" cy="572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Model </a:t>
            </a:r>
            <a:br>
              <a:rPr lang="en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</a:br>
            <a:r>
              <a:rPr lang="en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Evaluation</a:t>
            </a:r>
            <a:endParaRPr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</p:txBody>
      </p:sp>
      <p:sp>
        <p:nvSpPr>
          <p:cNvPr id="1642" name="Google Shape;1642;p44"/>
          <p:cNvSpPr txBox="1"/>
          <p:nvPr/>
        </p:nvSpPr>
        <p:spPr>
          <a:xfrm flipH="1">
            <a:off x="5662058" y="3361642"/>
            <a:ext cx="1812300" cy="31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"/>
                <a:ea typeface="Source Sans Pro"/>
                <a:cs typeface="Source Sans Pro"/>
                <a:sym typeface="Source Sans Pro"/>
              </a:rPr>
              <a:t>ROC-AUC &amp; F1 Score</a:t>
            </a:r>
            <a:endParaRPr sz="1200">
              <a:solidFill>
                <a:schemeClr val="tx1">
                  <a:lumMod val="65000"/>
                  <a:lumOff val="35000"/>
                </a:schemeClr>
              </a:solidFill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  <p:cxnSp>
        <p:nvCxnSpPr>
          <p:cNvPr id="1643" name="Google Shape;1643;p44"/>
          <p:cNvCxnSpPr>
            <a:stCxn id="1631" idx="3"/>
            <a:endCxn id="1632" idx="1"/>
          </p:cNvCxnSpPr>
          <p:nvPr/>
        </p:nvCxnSpPr>
        <p:spPr>
          <a:xfrm>
            <a:off x="890901" y="2021180"/>
            <a:ext cx="17874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644" name="Google Shape;1644;p44"/>
          <p:cNvCxnSpPr>
            <a:stCxn id="1632" idx="3"/>
            <a:endCxn id="1633" idx="1"/>
          </p:cNvCxnSpPr>
          <p:nvPr/>
        </p:nvCxnSpPr>
        <p:spPr>
          <a:xfrm>
            <a:off x="2854801" y="2021180"/>
            <a:ext cx="17874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645" name="Google Shape;1645;p44"/>
          <p:cNvCxnSpPr>
            <a:cxnSpLocks/>
            <a:stCxn id="1633" idx="3"/>
            <a:endCxn id="1634" idx="1"/>
          </p:cNvCxnSpPr>
          <p:nvPr/>
        </p:nvCxnSpPr>
        <p:spPr>
          <a:xfrm>
            <a:off x="4818701" y="2021180"/>
            <a:ext cx="1699321" cy="24612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646" name="Google Shape;1646;p44"/>
          <p:cNvCxnSpPr>
            <a:cxnSpLocks/>
            <a:stCxn id="1631" idx="2"/>
          </p:cNvCxnSpPr>
          <p:nvPr/>
        </p:nvCxnSpPr>
        <p:spPr>
          <a:xfrm>
            <a:off x="802701" y="2109380"/>
            <a:ext cx="0" cy="482605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647" name="Google Shape;1647;p44"/>
          <p:cNvCxnSpPr>
            <a:stCxn id="1632" idx="2"/>
            <a:endCxn id="1637" idx="0"/>
          </p:cNvCxnSpPr>
          <p:nvPr/>
        </p:nvCxnSpPr>
        <p:spPr>
          <a:xfrm>
            <a:off x="2766601" y="2109380"/>
            <a:ext cx="0" cy="49020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39" name="Google Shape;1639;p44"/>
          <p:cNvSpPr txBox="1"/>
          <p:nvPr/>
        </p:nvSpPr>
        <p:spPr>
          <a:xfrm flipH="1">
            <a:off x="3786459" y="2595880"/>
            <a:ext cx="1888039" cy="8293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Cross Validation &amp; Hyper Parameter</a:t>
            </a:r>
            <a:br>
              <a:rPr lang="en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</a:br>
            <a:r>
              <a:rPr lang="en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Tuning</a:t>
            </a:r>
            <a:endParaRPr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</p:txBody>
      </p:sp>
      <p:cxnSp>
        <p:nvCxnSpPr>
          <p:cNvPr id="1648" name="Google Shape;1648;p44"/>
          <p:cNvCxnSpPr>
            <a:cxnSpLocks/>
            <a:stCxn id="1633" idx="2"/>
            <a:endCxn id="1639" idx="0"/>
          </p:cNvCxnSpPr>
          <p:nvPr/>
        </p:nvCxnSpPr>
        <p:spPr>
          <a:xfrm flipH="1">
            <a:off x="4730478" y="2109380"/>
            <a:ext cx="23" cy="48650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649" name="Google Shape;1649;p44"/>
          <p:cNvCxnSpPr>
            <a:cxnSpLocks/>
            <a:stCxn id="1634" idx="2"/>
            <a:endCxn id="1641" idx="0"/>
          </p:cNvCxnSpPr>
          <p:nvPr/>
        </p:nvCxnSpPr>
        <p:spPr>
          <a:xfrm flipH="1">
            <a:off x="6606172" y="2133992"/>
            <a:ext cx="50" cy="490224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" name="Google Shape;1634;p44">
            <a:extLst>
              <a:ext uri="{FF2B5EF4-FFF2-40B4-BE49-F238E27FC236}">
                <a16:creationId xmlns:a16="http://schemas.microsoft.com/office/drawing/2014/main" id="{536F4E92-0DB7-2473-D084-B098AEAE2CB5}"/>
              </a:ext>
            </a:extLst>
          </p:cNvPr>
          <p:cNvSpPr/>
          <p:nvPr/>
        </p:nvSpPr>
        <p:spPr>
          <a:xfrm>
            <a:off x="8246256" y="1967969"/>
            <a:ext cx="176400" cy="176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" name="Google Shape;1641;p44">
            <a:extLst>
              <a:ext uri="{FF2B5EF4-FFF2-40B4-BE49-F238E27FC236}">
                <a16:creationId xmlns:a16="http://schemas.microsoft.com/office/drawing/2014/main" id="{4DBCEB6C-0620-948C-DF04-9F333410249F}"/>
              </a:ext>
            </a:extLst>
          </p:cNvPr>
          <p:cNvSpPr txBox="1"/>
          <p:nvPr/>
        </p:nvSpPr>
        <p:spPr>
          <a:xfrm flipH="1">
            <a:off x="7428256" y="2634593"/>
            <a:ext cx="1812300" cy="572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Feature Importance</a:t>
            </a:r>
            <a:endParaRPr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</p:txBody>
      </p:sp>
      <p:sp>
        <p:nvSpPr>
          <p:cNvPr id="5" name="Google Shape;1642;p44">
            <a:extLst>
              <a:ext uri="{FF2B5EF4-FFF2-40B4-BE49-F238E27FC236}">
                <a16:creationId xmlns:a16="http://schemas.microsoft.com/office/drawing/2014/main" id="{46A22D40-F438-B94E-7422-E3B88B2511E0}"/>
              </a:ext>
            </a:extLst>
          </p:cNvPr>
          <p:cNvSpPr txBox="1"/>
          <p:nvPr/>
        </p:nvSpPr>
        <p:spPr>
          <a:xfrm flipH="1">
            <a:off x="7455887" y="3326860"/>
            <a:ext cx="1522974" cy="1069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"/>
                <a:ea typeface="Source Sans Pro"/>
                <a:cs typeface="Source Sans Pro"/>
                <a:sym typeface="Source Sans Pro"/>
              </a:rPr>
              <a:t>Gradient Boosting Model (Gini Importance Scores)</a:t>
            </a:r>
            <a:endParaRPr sz="1200">
              <a:solidFill>
                <a:schemeClr val="tx1">
                  <a:lumMod val="65000"/>
                  <a:lumOff val="35000"/>
                </a:schemeClr>
              </a:solidFill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  <p:cxnSp>
        <p:nvCxnSpPr>
          <p:cNvPr id="6" name="Google Shape;1649;p44">
            <a:extLst>
              <a:ext uri="{FF2B5EF4-FFF2-40B4-BE49-F238E27FC236}">
                <a16:creationId xmlns:a16="http://schemas.microsoft.com/office/drawing/2014/main" id="{4013F452-1790-7FDD-6BD4-5AB58527EE5D}"/>
              </a:ext>
            </a:extLst>
          </p:cNvPr>
          <p:cNvCxnSpPr>
            <a:cxnSpLocks/>
            <a:stCxn id="3" idx="2"/>
            <a:endCxn id="4" idx="0"/>
          </p:cNvCxnSpPr>
          <p:nvPr/>
        </p:nvCxnSpPr>
        <p:spPr>
          <a:xfrm flipH="1">
            <a:off x="8334406" y="2144369"/>
            <a:ext cx="50" cy="490224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6" name="Graphic 25" descr="Statistics with solid fill">
            <a:extLst>
              <a:ext uri="{FF2B5EF4-FFF2-40B4-BE49-F238E27FC236}">
                <a16:creationId xmlns:a16="http://schemas.microsoft.com/office/drawing/2014/main" id="{310D5C5B-E5B5-EB3C-9940-7522443CDA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8302" y="1312281"/>
            <a:ext cx="448798" cy="448798"/>
          </a:xfrm>
          <a:prstGeom prst="rect">
            <a:avLst/>
          </a:prstGeom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146E11AD-8D95-AB0D-861A-1E7A1906C33D}"/>
              </a:ext>
            </a:extLst>
          </p:cNvPr>
          <p:cNvSpPr/>
          <p:nvPr/>
        </p:nvSpPr>
        <p:spPr>
          <a:xfrm>
            <a:off x="452657" y="1184552"/>
            <a:ext cx="700087" cy="683525"/>
          </a:xfrm>
          <a:prstGeom prst="ellipse">
            <a:avLst/>
          </a:prstGeom>
          <a:noFill/>
          <a:ln>
            <a:solidFill>
              <a:schemeClr val="tx2">
                <a:lumMod val="1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6D2C785-51A0-EC4D-515D-0013939B6D01}"/>
              </a:ext>
            </a:extLst>
          </p:cNvPr>
          <p:cNvSpPr/>
          <p:nvPr/>
        </p:nvSpPr>
        <p:spPr>
          <a:xfrm>
            <a:off x="2416507" y="1171631"/>
            <a:ext cx="700087" cy="683525"/>
          </a:xfrm>
          <a:prstGeom prst="ellipse">
            <a:avLst/>
          </a:prstGeom>
          <a:noFill/>
          <a:ln>
            <a:solidFill>
              <a:schemeClr val="tx2">
                <a:lumMod val="1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7CDAFA9-DC36-D6B4-1990-EDD33FAECCCE}"/>
              </a:ext>
            </a:extLst>
          </p:cNvPr>
          <p:cNvSpPr/>
          <p:nvPr/>
        </p:nvSpPr>
        <p:spPr>
          <a:xfrm>
            <a:off x="4380434" y="1161255"/>
            <a:ext cx="700087" cy="683525"/>
          </a:xfrm>
          <a:prstGeom prst="ellipse">
            <a:avLst/>
          </a:prstGeom>
          <a:noFill/>
          <a:ln>
            <a:solidFill>
              <a:schemeClr val="tx2">
                <a:lumMod val="1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33397BB8-3F59-9A6C-CE89-07C241BEFFD3}"/>
              </a:ext>
            </a:extLst>
          </p:cNvPr>
          <p:cNvSpPr/>
          <p:nvPr/>
        </p:nvSpPr>
        <p:spPr>
          <a:xfrm>
            <a:off x="6252323" y="1161255"/>
            <a:ext cx="700087" cy="683525"/>
          </a:xfrm>
          <a:prstGeom prst="ellipse">
            <a:avLst/>
          </a:prstGeom>
          <a:noFill/>
          <a:ln>
            <a:solidFill>
              <a:schemeClr val="tx2">
                <a:lumMod val="1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D4EC398-B9D0-3210-3950-25FB49204BDA}"/>
              </a:ext>
            </a:extLst>
          </p:cNvPr>
          <p:cNvSpPr/>
          <p:nvPr/>
        </p:nvSpPr>
        <p:spPr>
          <a:xfrm>
            <a:off x="7967838" y="1171631"/>
            <a:ext cx="700087" cy="683525"/>
          </a:xfrm>
          <a:prstGeom prst="ellipse">
            <a:avLst/>
          </a:prstGeom>
          <a:noFill/>
          <a:ln>
            <a:solidFill>
              <a:schemeClr val="tx2">
                <a:lumMod val="1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Graphic 32" descr="Scales of justice with solid fill">
            <a:extLst>
              <a:ext uri="{FF2B5EF4-FFF2-40B4-BE49-F238E27FC236}">
                <a16:creationId xmlns:a16="http://schemas.microsoft.com/office/drawing/2014/main" id="{931824A9-9FAC-C14E-6C19-2533909BF64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28042" y="1277392"/>
            <a:ext cx="477117" cy="477117"/>
          </a:xfrm>
          <a:prstGeom prst="rect">
            <a:avLst/>
          </a:prstGeom>
        </p:spPr>
      </p:pic>
      <p:pic>
        <p:nvPicPr>
          <p:cNvPr id="35" name="Graphic 34" descr="Tools with solid fill">
            <a:extLst>
              <a:ext uri="{FF2B5EF4-FFF2-40B4-BE49-F238E27FC236}">
                <a16:creationId xmlns:a16="http://schemas.microsoft.com/office/drawing/2014/main" id="{73EB4981-0BC4-30B2-6FCA-17A5F9E6F8A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12183" y="1299947"/>
            <a:ext cx="436590" cy="436590"/>
          </a:xfrm>
          <a:prstGeom prst="rect">
            <a:avLst/>
          </a:prstGeom>
        </p:spPr>
      </p:pic>
      <p:pic>
        <p:nvPicPr>
          <p:cNvPr id="37" name="Graphic 36" descr="Clipboard Checked with solid fill">
            <a:extLst>
              <a:ext uri="{FF2B5EF4-FFF2-40B4-BE49-F238E27FC236}">
                <a16:creationId xmlns:a16="http://schemas.microsoft.com/office/drawing/2014/main" id="{1DFE1A08-9D5C-1D32-D1EB-97EC523B717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53994" y="1256693"/>
            <a:ext cx="504456" cy="504456"/>
          </a:xfrm>
          <a:prstGeom prst="rect">
            <a:avLst/>
          </a:prstGeom>
        </p:spPr>
      </p:pic>
      <p:pic>
        <p:nvPicPr>
          <p:cNvPr id="39" name="Graphic 38" descr="Presentation with bar chart with solid fill">
            <a:extLst>
              <a:ext uri="{FF2B5EF4-FFF2-40B4-BE49-F238E27FC236}">
                <a16:creationId xmlns:a16="http://schemas.microsoft.com/office/drawing/2014/main" id="{5CBB0A1B-FB8E-8CF1-2C64-2A8F24FC0F7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075474" y="1265835"/>
            <a:ext cx="490224" cy="490224"/>
          </a:xfrm>
          <a:prstGeom prst="rect">
            <a:avLst/>
          </a:prstGeom>
        </p:spPr>
      </p:pic>
      <p:sp>
        <p:nvSpPr>
          <p:cNvPr id="7" name="Google Shape;1636;p44">
            <a:extLst>
              <a:ext uri="{FF2B5EF4-FFF2-40B4-BE49-F238E27FC236}">
                <a16:creationId xmlns:a16="http://schemas.microsoft.com/office/drawing/2014/main" id="{1328860F-D9CA-4A02-76D8-9A4E761E08FC}"/>
              </a:ext>
            </a:extLst>
          </p:cNvPr>
          <p:cNvSpPr txBox="1"/>
          <p:nvPr/>
        </p:nvSpPr>
        <p:spPr>
          <a:xfrm flipH="1">
            <a:off x="1874538" y="3274342"/>
            <a:ext cx="1607525" cy="1069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"/>
                <a:ea typeface="Source Sans Pro"/>
                <a:cs typeface="Source Sans Pro"/>
                <a:sym typeface="Source Sans Pro"/>
              </a:rPr>
              <a:t>Centered Mean = 0 and Std Dev = 1</a:t>
            </a:r>
            <a:endParaRPr sz="1200">
              <a:solidFill>
                <a:schemeClr val="tx1">
                  <a:lumMod val="65000"/>
                  <a:lumOff val="35000"/>
                </a:schemeClr>
              </a:solidFill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9841683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1F1649E-E33F-87A8-E2E0-12CA10DC6C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7835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F1649E-E33F-87A8-E2E0-12CA10DC6C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4B167BA-F977-F7F4-811E-129DA8F6A0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3103100"/>
              </p:ext>
            </p:extLst>
          </p:nvPr>
        </p:nvGraphicFramePr>
        <p:xfrm>
          <a:off x="921775" y="1187877"/>
          <a:ext cx="5302448" cy="2767746"/>
        </p:xfrm>
        <a:graphic>
          <a:graphicData uri="http://schemas.openxmlformats.org/drawingml/2006/table">
            <a:tbl>
              <a:tblPr/>
              <a:tblGrid>
                <a:gridCol w="2203022">
                  <a:extLst>
                    <a:ext uri="{9D8B030D-6E8A-4147-A177-3AD203B41FA5}">
                      <a16:colId xmlns:a16="http://schemas.microsoft.com/office/drawing/2014/main" val="4008038048"/>
                    </a:ext>
                  </a:extLst>
                </a:gridCol>
                <a:gridCol w="1564906">
                  <a:extLst>
                    <a:ext uri="{9D8B030D-6E8A-4147-A177-3AD203B41FA5}">
                      <a16:colId xmlns:a16="http://schemas.microsoft.com/office/drawing/2014/main" val="3037732570"/>
                    </a:ext>
                  </a:extLst>
                </a:gridCol>
                <a:gridCol w="1534520">
                  <a:extLst>
                    <a:ext uri="{9D8B030D-6E8A-4147-A177-3AD203B41FA5}">
                      <a16:colId xmlns:a16="http://schemas.microsoft.com/office/drawing/2014/main" val="3753879029"/>
                    </a:ext>
                  </a:extLst>
                </a:gridCol>
              </a:tblGrid>
              <a:tr h="4612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l Name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C - ROC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1 Score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8335967"/>
                  </a:ext>
                </a:extLst>
              </a:tr>
              <a:tr h="4612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gistic Regression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6%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75622519"/>
                  </a:ext>
                </a:extLst>
              </a:tr>
              <a:tr h="4612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ision Tree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5%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0283476"/>
                  </a:ext>
                </a:extLst>
              </a:tr>
              <a:tr h="4612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ndom Forest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2%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608734"/>
                  </a:ext>
                </a:extLst>
              </a:tr>
              <a:tr h="4612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dient Boosted Tree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1%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8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2244499"/>
                  </a:ext>
                </a:extLst>
              </a:tr>
              <a:tr h="4612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ort Vector Classifier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3%*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3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4717853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43AAE77-2393-ED21-6B28-B2C657768A98}"/>
              </a:ext>
            </a:extLst>
          </p:cNvPr>
          <p:cNvSpPr/>
          <p:nvPr/>
        </p:nvSpPr>
        <p:spPr>
          <a:xfrm>
            <a:off x="847493" y="3077740"/>
            <a:ext cx="5427989" cy="393436"/>
          </a:xfrm>
          <a:prstGeom prst="rect">
            <a:avLst/>
          </a:prstGeom>
          <a:noFill/>
          <a:ln w="22225">
            <a:solidFill>
              <a:schemeClr val="tx2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9D0998-389E-4F11-8C72-30AB73B952CD}"/>
              </a:ext>
            </a:extLst>
          </p:cNvPr>
          <p:cNvSpPr/>
          <p:nvPr/>
        </p:nvSpPr>
        <p:spPr>
          <a:xfrm>
            <a:off x="6684714" y="2507226"/>
            <a:ext cx="1788234" cy="977198"/>
          </a:xfrm>
          <a:prstGeom prst="rect">
            <a:avLst/>
          </a:prstGeom>
          <a:noFill/>
          <a:ln w="28575">
            <a:solidFill>
              <a:schemeClr val="tx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E905ECC-E7A6-6940-6DB5-038F195BE9A9}"/>
              </a:ext>
            </a:extLst>
          </p:cNvPr>
          <p:cNvCxnSpPr>
            <a:cxnSpLocks/>
          </p:cNvCxnSpPr>
          <p:nvPr/>
        </p:nvCxnSpPr>
        <p:spPr>
          <a:xfrm>
            <a:off x="6311590" y="3238014"/>
            <a:ext cx="373124" cy="0"/>
          </a:xfrm>
          <a:prstGeom prst="line">
            <a:avLst/>
          </a:prstGeom>
          <a:ln w="28575">
            <a:solidFill>
              <a:schemeClr val="tx2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oogle Shape;6977;p62">
            <a:extLst>
              <a:ext uri="{FF2B5EF4-FFF2-40B4-BE49-F238E27FC236}">
                <a16:creationId xmlns:a16="http://schemas.microsoft.com/office/drawing/2014/main" id="{48234160-333F-892D-3676-13C09E1D1FAB}"/>
              </a:ext>
            </a:extLst>
          </p:cNvPr>
          <p:cNvGrpSpPr/>
          <p:nvPr/>
        </p:nvGrpSpPr>
        <p:grpSpPr>
          <a:xfrm>
            <a:off x="7326902" y="2606015"/>
            <a:ext cx="553065" cy="533418"/>
            <a:chOff x="-41893475" y="3584850"/>
            <a:chExt cx="318225" cy="316650"/>
          </a:xfrm>
        </p:grpSpPr>
        <p:sp>
          <p:nvSpPr>
            <p:cNvPr id="17" name="Google Shape;6978;p62">
              <a:extLst>
                <a:ext uri="{FF2B5EF4-FFF2-40B4-BE49-F238E27FC236}">
                  <a16:creationId xmlns:a16="http://schemas.microsoft.com/office/drawing/2014/main" id="{2C91FA94-1B56-E551-BA27-085A9F75DB27}"/>
                </a:ext>
              </a:extLst>
            </p:cNvPr>
            <p:cNvSpPr/>
            <p:nvPr/>
          </p:nvSpPr>
          <p:spPr>
            <a:xfrm>
              <a:off x="-41827300" y="3715600"/>
              <a:ext cx="186675" cy="185900"/>
            </a:xfrm>
            <a:custGeom>
              <a:avLst/>
              <a:gdLst/>
              <a:ahLst/>
              <a:cxnLst/>
              <a:rect l="l" t="t" r="r" b="b"/>
              <a:pathLst>
                <a:path w="7467" h="7436" extrusionOk="0">
                  <a:moveTo>
                    <a:pt x="3686" y="1465"/>
                  </a:moveTo>
                  <a:cubicBezTo>
                    <a:pt x="3836" y="1465"/>
                    <a:pt x="3985" y="1544"/>
                    <a:pt x="4064" y="1702"/>
                  </a:cubicBezTo>
                  <a:lnTo>
                    <a:pt x="4537" y="2678"/>
                  </a:lnTo>
                  <a:lnTo>
                    <a:pt x="5608" y="2836"/>
                  </a:lnTo>
                  <a:cubicBezTo>
                    <a:pt x="5955" y="2867"/>
                    <a:pt x="6081" y="3308"/>
                    <a:pt x="5829" y="3561"/>
                  </a:cubicBezTo>
                  <a:lnTo>
                    <a:pt x="5041" y="4285"/>
                  </a:lnTo>
                  <a:lnTo>
                    <a:pt x="5261" y="5356"/>
                  </a:lnTo>
                  <a:cubicBezTo>
                    <a:pt x="5286" y="5630"/>
                    <a:pt x="5075" y="5845"/>
                    <a:pt x="4845" y="5845"/>
                  </a:cubicBezTo>
                  <a:cubicBezTo>
                    <a:pt x="4784" y="5845"/>
                    <a:pt x="4722" y="5830"/>
                    <a:pt x="4663" y="5797"/>
                  </a:cubicBezTo>
                  <a:lnTo>
                    <a:pt x="3686" y="5262"/>
                  </a:lnTo>
                  <a:lnTo>
                    <a:pt x="2678" y="5797"/>
                  </a:lnTo>
                  <a:cubicBezTo>
                    <a:pt x="2616" y="5828"/>
                    <a:pt x="2553" y="5842"/>
                    <a:pt x="2492" y="5842"/>
                  </a:cubicBezTo>
                  <a:cubicBezTo>
                    <a:pt x="2244" y="5842"/>
                    <a:pt x="2035" y="5609"/>
                    <a:pt x="2111" y="5356"/>
                  </a:cubicBezTo>
                  <a:lnTo>
                    <a:pt x="2300" y="4285"/>
                  </a:lnTo>
                  <a:lnTo>
                    <a:pt x="1512" y="3561"/>
                  </a:lnTo>
                  <a:cubicBezTo>
                    <a:pt x="1323" y="3308"/>
                    <a:pt x="1418" y="2867"/>
                    <a:pt x="1796" y="2836"/>
                  </a:cubicBezTo>
                  <a:lnTo>
                    <a:pt x="2836" y="2678"/>
                  </a:lnTo>
                  <a:lnTo>
                    <a:pt x="3308" y="1702"/>
                  </a:lnTo>
                  <a:cubicBezTo>
                    <a:pt x="3387" y="1544"/>
                    <a:pt x="3537" y="1465"/>
                    <a:pt x="3686" y="1465"/>
                  </a:cubicBezTo>
                  <a:close/>
                  <a:moveTo>
                    <a:pt x="3718" y="0"/>
                  </a:moveTo>
                  <a:cubicBezTo>
                    <a:pt x="1670" y="0"/>
                    <a:pt x="32" y="1670"/>
                    <a:pt x="32" y="3750"/>
                  </a:cubicBezTo>
                  <a:cubicBezTo>
                    <a:pt x="0" y="5766"/>
                    <a:pt x="1670" y="7436"/>
                    <a:pt x="3718" y="7436"/>
                  </a:cubicBezTo>
                  <a:cubicBezTo>
                    <a:pt x="5765" y="7436"/>
                    <a:pt x="7404" y="5797"/>
                    <a:pt x="7467" y="3750"/>
                  </a:cubicBezTo>
                  <a:cubicBezTo>
                    <a:pt x="7467" y="1702"/>
                    <a:pt x="5797" y="32"/>
                    <a:pt x="371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6979;p62">
              <a:extLst>
                <a:ext uri="{FF2B5EF4-FFF2-40B4-BE49-F238E27FC236}">
                  <a16:creationId xmlns:a16="http://schemas.microsoft.com/office/drawing/2014/main" id="{6B72BC30-4237-4EC0-F3D6-C711D7DB587D}"/>
                </a:ext>
              </a:extLst>
            </p:cNvPr>
            <p:cNvSpPr/>
            <p:nvPr/>
          </p:nvSpPr>
          <p:spPr>
            <a:xfrm>
              <a:off x="-41726500" y="3586725"/>
              <a:ext cx="151250" cy="147800"/>
            </a:xfrm>
            <a:custGeom>
              <a:avLst/>
              <a:gdLst/>
              <a:ahLst/>
              <a:cxnLst/>
              <a:rect l="l" t="t" r="r" b="b"/>
              <a:pathLst>
                <a:path w="6050" h="5912" extrusionOk="0">
                  <a:moveTo>
                    <a:pt x="3829" y="0"/>
                  </a:moveTo>
                  <a:cubicBezTo>
                    <a:pt x="3706" y="0"/>
                    <a:pt x="3580" y="47"/>
                    <a:pt x="3498" y="146"/>
                  </a:cubicBezTo>
                  <a:lnTo>
                    <a:pt x="1" y="4336"/>
                  </a:lnTo>
                  <a:cubicBezTo>
                    <a:pt x="1229" y="4399"/>
                    <a:pt x="2332" y="4998"/>
                    <a:pt x="3088" y="5912"/>
                  </a:cubicBezTo>
                  <a:lnTo>
                    <a:pt x="5861" y="2446"/>
                  </a:lnTo>
                  <a:cubicBezTo>
                    <a:pt x="6050" y="2289"/>
                    <a:pt x="6050" y="2037"/>
                    <a:pt x="5924" y="1879"/>
                  </a:cubicBezTo>
                  <a:lnTo>
                    <a:pt x="4128" y="115"/>
                  </a:lnTo>
                  <a:cubicBezTo>
                    <a:pt x="4053" y="40"/>
                    <a:pt x="3942" y="0"/>
                    <a:pt x="382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6980;p62">
              <a:extLst>
                <a:ext uri="{FF2B5EF4-FFF2-40B4-BE49-F238E27FC236}">
                  <a16:creationId xmlns:a16="http://schemas.microsoft.com/office/drawing/2014/main" id="{89EC1726-63D7-F574-6465-B8D25EB4F60A}"/>
                </a:ext>
              </a:extLst>
            </p:cNvPr>
            <p:cNvSpPr/>
            <p:nvPr/>
          </p:nvSpPr>
          <p:spPr>
            <a:xfrm>
              <a:off x="-41808400" y="3584850"/>
              <a:ext cx="148100" cy="89825"/>
            </a:xfrm>
            <a:custGeom>
              <a:avLst/>
              <a:gdLst/>
              <a:ahLst/>
              <a:cxnLst/>
              <a:rect l="l" t="t" r="r" b="b"/>
              <a:pathLst>
                <a:path w="5924" h="3593" extrusionOk="0">
                  <a:moveTo>
                    <a:pt x="0" y="1"/>
                  </a:moveTo>
                  <a:lnTo>
                    <a:pt x="2962" y="3592"/>
                  </a:lnTo>
                  <a:lnTo>
                    <a:pt x="5923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6981;p62">
              <a:extLst>
                <a:ext uri="{FF2B5EF4-FFF2-40B4-BE49-F238E27FC236}">
                  <a16:creationId xmlns:a16="http://schemas.microsoft.com/office/drawing/2014/main" id="{5F596E41-86E1-59A7-10D4-D62AB7571925}"/>
                </a:ext>
              </a:extLst>
            </p:cNvPr>
            <p:cNvSpPr/>
            <p:nvPr/>
          </p:nvSpPr>
          <p:spPr>
            <a:xfrm>
              <a:off x="-41893475" y="3586725"/>
              <a:ext cx="148875" cy="147025"/>
            </a:xfrm>
            <a:custGeom>
              <a:avLst/>
              <a:gdLst/>
              <a:ahLst/>
              <a:cxnLst/>
              <a:rect l="l" t="t" r="r" b="b"/>
              <a:pathLst>
                <a:path w="5955" h="5881" extrusionOk="0">
                  <a:moveTo>
                    <a:pt x="2194" y="0"/>
                  </a:moveTo>
                  <a:cubicBezTo>
                    <a:pt x="2084" y="0"/>
                    <a:pt x="1965" y="40"/>
                    <a:pt x="1859" y="115"/>
                  </a:cubicBezTo>
                  <a:lnTo>
                    <a:pt x="95" y="1879"/>
                  </a:lnTo>
                  <a:cubicBezTo>
                    <a:pt x="1" y="2037"/>
                    <a:pt x="1" y="2289"/>
                    <a:pt x="95" y="2446"/>
                  </a:cubicBezTo>
                  <a:lnTo>
                    <a:pt x="2899" y="5880"/>
                  </a:lnTo>
                  <a:cubicBezTo>
                    <a:pt x="3655" y="4998"/>
                    <a:pt x="4758" y="4399"/>
                    <a:pt x="5955" y="4305"/>
                  </a:cubicBezTo>
                  <a:lnTo>
                    <a:pt x="2490" y="146"/>
                  </a:lnTo>
                  <a:cubicBezTo>
                    <a:pt x="2424" y="47"/>
                    <a:pt x="2315" y="0"/>
                    <a:pt x="219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31A53F45-78C1-E61C-6866-14FCE1E23DF0}"/>
              </a:ext>
            </a:extLst>
          </p:cNvPr>
          <p:cNvSpPr txBox="1"/>
          <p:nvPr/>
        </p:nvSpPr>
        <p:spPr>
          <a:xfrm>
            <a:off x="6720822" y="3163399"/>
            <a:ext cx="17652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latin typeface="Poppins" panose="00000500000000000000" pitchFamily="2" charset="0"/>
                <a:cs typeface="Poppins" panose="00000500000000000000" pitchFamily="2" charset="0"/>
              </a:rPr>
              <a:t>Champion Model</a:t>
            </a:r>
          </a:p>
        </p:txBody>
      </p:sp>
      <p:sp>
        <p:nvSpPr>
          <p:cNvPr id="22" name="Google Shape;1630;p44">
            <a:extLst>
              <a:ext uri="{FF2B5EF4-FFF2-40B4-BE49-F238E27FC236}">
                <a16:creationId xmlns:a16="http://schemas.microsoft.com/office/drawing/2014/main" id="{FFA37504-330C-1059-CAF3-264E245ABC43}"/>
              </a:ext>
            </a:extLst>
          </p:cNvPr>
          <p:cNvSpPr txBox="1">
            <a:spLocks/>
          </p:cNvSpPr>
          <p:nvPr/>
        </p:nvSpPr>
        <p:spPr>
          <a:xfrm>
            <a:off x="512763" y="-24241"/>
            <a:ext cx="7704137" cy="573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pPr algn="ctr"/>
            <a:r>
              <a:rPr lang="en-US" sz="2400">
                <a:solidFill>
                  <a:schemeClr val="accent2"/>
                </a:solidFill>
              </a:rPr>
              <a:t>Model Comparis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5A61AC1-79A1-78ED-5198-84CADCF05CCD}"/>
              </a:ext>
            </a:extLst>
          </p:cNvPr>
          <p:cNvSpPr txBox="1"/>
          <p:nvPr/>
        </p:nvSpPr>
        <p:spPr>
          <a:xfrm>
            <a:off x="-58994" y="4958738"/>
            <a:ext cx="83975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/>
              <a:t>*Area under Precision Recall Curve used for Support Vector Classifier instead of AUC-ROC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1E1241C-F99F-F7B0-8BE3-A169DB7E7F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757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E1241C-F99F-F7B0-8BE3-A169DB7E7F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1" name="Google Shape;871;p33"/>
          <p:cNvSpPr txBox="1">
            <a:spLocks noGrp="1"/>
          </p:cNvSpPr>
          <p:nvPr>
            <p:ph type="title"/>
          </p:nvPr>
        </p:nvSpPr>
        <p:spPr>
          <a:xfrm>
            <a:off x="3697353" y="2456343"/>
            <a:ext cx="4355700" cy="1759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Feature Importance</a:t>
            </a:r>
            <a:endParaRPr/>
          </a:p>
        </p:txBody>
      </p:sp>
      <p:sp>
        <p:nvSpPr>
          <p:cNvPr id="872" name="Google Shape;872;p33"/>
          <p:cNvSpPr txBox="1">
            <a:spLocks noGrp="1"/>
          </p:cNvSpPr>
          <p:nvPr>
            <p:ph type="title" idx="2"/>
          </p:nvPr>
        </p:nvSpPr>
        <p:spPr>
          <a:xfrm>
            <a:off x="5060553" y="940516"/>
            <a:ext cx="1629300" cy="147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4</a:t>
            </a:r>
            <a:endParaRPr/>
          </a:p>
        </p:txBody>
      </p:sp>
      <p:grpSp>
        <p:nvGrpSpPr>
          <p:cNvPr id="873" name="Google Shape;873;p33"/>
          <p:cNvGrpSpPr/>
          <p:nvPr/>
        </p:nvGrpSpPr>
        <p:grpSpPr>
          <a:xfrm>
            <a:off x="351435" y="412016"/>
            <a:ext cx="1301097" cy="1072159"/>
            <a:chOff x="8077428" y="4048214"/>
            <a:chExt cx="933690" cy="788700"/>
          </a:xfrm>
        </p:grpSpPr>
        <p:sp>
          <p:nvSpPr>
            <p:cNvPr id="874" name="Google Shape;874;p33"/>
            <p:cNvSpPr/>
            <p:nvPr/>
          </p:nvSpPr>
          <p:spPr>
            <a:xfrm>
              <a:off x="8077428" y="4048214"/>
              <a:ext cx="235200" cy="7887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3"/>
            <p:cNvSpPr/>
            <p:nvPr/>
          </p:nvSpPr>
          <p:spPr>
            <a:xfrm>
              <a:off x="8426673" y="4191843"/>
              <a:ext cx="235200" cy="6450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6" name="Google Shape;876;p33"/>
            <p:cNvSpPr/>
            <p:nvPr/>
          </p:nvSpPr>
          <p:spPr>
            <a:xfrm>
              <a:off x="8775917" y="4392244"/>
              <a:ext cx="235200" cy="4446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77" name="Google Shape;877;p33"/>
          <p:cNvSpPr/>
          <p:nvPr/>
        </p:nvSpPr>
        <p:spPr>
          <a:xfrm>
            <a:off x="2968436" y="184686"/>
            <a:ext cx="140400" cy="1404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8" name="Google Shape;878;p33"/>
          <p:cNvSpPr/>
          <p:nvPr/>
        </p:nvSpPr>
        <p:spPr>
          <a:xfrm>
            <a:off x="211023" y="3265896"/>
            <a:ext cx="140400" cy="140400"/>
          </a:xfrm>
          <a:prstGeom prst="ellipse">
            <a:avLst/>
          </a:prstGeom>
          <a:solidFill>
            <a:srgbClr val="000000">
              <a:alpha val="12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79" name="Google Shape;879;p33"/>
          <p:cNvGrpSpPr/>
          <p:nvPr/>
        </p:nvGrpSpPr>
        <p:grpSpPr>
          <a:xfrm>
            <a:off x="351416" y="3830928"/>
            <a:ext cx="1133720" cy="1133717"/>
            <a:chOff x="10173800" y="2018150"/>
            <a:chExt cx="1448103" cy="1448100"/>
          </a:xfrm>
        </p:grpSpPr>
        <p:sp>
          <p:nvSpPr>
            <p:cNvPr id="880" name="Google Shape;880;p33"/>
            <p:cNvSpPr/>
            <p:nvPr/>
          </p:nvSpPr>
          <p:spPr>
            <a:xfrm>
              <a:off x="10173800" y="2018150"/>
              <a:ext cx="1448100" cy="1448100"/>
            </a:xfrm>
            <a:prstGeom prst="donut">
              <a:avLst>
                <a:gd name="adj" fmla="val 20968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" name="Google Shape;881;p33"/>
            <p:cNvSpPr/>
            <p:nvPr/>
          </p:nvSpPr>
          <p:spPr>
            <a:xfrm flipH="1">
              <a:off x="10173803" y="2018150"/>
              <a:ext cx="1448100" cy="1448100"/>
            </a:xfrm>
            <a:prstGeom prst="blockArc">
              <a:avLst>
                <a:gd name="adj1" fmla="val 10800000"/>
                <a:gd name="adj2" fmla="val 16161326"/>
                <a:gd name="adj3" fmla="val 20401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82" name="Google Shape;882;p33"/>
          <p:cNvSpPr/>
          <p:nvPr/>
        </p:nvSpPr>
        <p:spPr>
          <a:xfrm>
            <a:off x="2796527" y="2380950"/>
            <a:ext cx="171900" cy="148500"/>
          </a:xfrm>
          <a:prstGeom prst="triangle">
            <a:avLst>
              <a:gd name="adj" fmla="val 5000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3" name="Google Shape;883;p33"/>
          <p:cNvGrpSpPr/>
          <p:nvPr/>
        </p:nvGrpSpPr>
        <p:grpSpPr>
          <a:xfrm>
            <a:off x="1652514" y="3242074"/>
            <a:ext cx="1226117" cy="958679"/>
            <a:chOff x="1477660" y="1834701"/>
            <a:chExt cx="546593" cy="427390"/>
          </a:xfrm>
        </p:grpSpPr>
        <p:sp>
          <p:nvSpPr>
            <p:cNvPr id="884" name="Google Shape;884;p33"/>
            <p:cNvSpPr/>
            <p:nvPr/>
          </p:nvSpPr>
          <p:spPr>
            <a:xfrm>
              <a:off x="1542984" y="2006268"/>
              <a:ext cx="399412" cy="255824"/>
            </a:xfrm>
            <a:custGeom>
              <a:avLst/>
              <a:gdLst/>
              <a:ahLst/>
              <a:cxnLst/>
              <a:rect l="l" t="t" r="r" b="b"/>
              <a:pathLst>
                <a:path w="11433" h="6590" extrusionOk="0">
                  <a:moveTo>
                    <a:pt x="34" y="0"/>
                  </a:moveTo>
                  <a:cubicBezTo>
                    <a:pt x="12" y="113"/>
                    <a:pt x="0" y="225"/>
                    <a:pt x="0" y="349"/>
                  </a:cubicBezTo>
                  <a:cubicBezTo>
                    <a:pt x="0" y="428"/>
                    <a:pt x="0" y="496"/>
                    <a:pt x="12" y="575"/>
                  </a:cubicBezTo>
                  <a:lnTo>
                    <a:pt x="0" y="1239"/>
                  </a:lnTo>
                  <a:cubicBezTo>
                    <a:pt x="0" y="1284"/>
                    <a:pt x="0" y="1340"/>
                    <a:pt x="0" y="1386"/>
                  </a:cubicBezTo>
                  <a:cubicBezTo>
                    <a:pt x="0" y="1543"/>
                    <a:pt x="23" y="1690"/>
                    <a:pt x="57" y="1825"/>
                  </a:cubicBezTo>
                  <a:cubicBezTo>
                    <a:pt x="124" y="2039"/>
                    <a:pt x="226" y="2230"/>
                    <a:pt x="361" y="2410"/>
                  </a:cubicBezTo>
                  <a:cubicBezTo>
                    <a:pt x="372" y="2422"/>
                    <a:pt x="383" y="2433"/>
                    <a:pt x="395" y="2456"/>
                  </a:cubicBezTo>
                  <a:cubicBezTo>
                    <a:pt x="575" y="2681"/>
                    <a:pt x="823" y="2884"/>
                    <a:pt x="1115" y="3052"/>
                  </a:cubicBezTo>
                  <a:cubicBezTo>
                    <a:pt x="1138" y="3075"/>
                    <a:pt x="1172" y="3086"/>
                    <a:pt x="1194" y="3109"/>
                  </a:cubicBezTo>
                  <a:cubicBezTo>
                    <a:pt x="1735" y="3402"/>
                    <a:pt x="2433" y="3582"/>
                    <a:pt x="3177" y="3582"/>
                  </a:cubicBezTo>
                  <a:cubicBezTo>
                    <a:pt x="3931" y="3582"/>
                    <a:pt x="4551" y="3424"/>
                    <a:pt x="5091" y="3143"/>
                  </a:cubicBezTo>
                  <a:lnTo>
                    <a:pt x="5091" y="3143"/>
                  </a:lnTo>
                  <a:cubicBezTo>
                    <a:pt x="5080" y="3210"/>
                    <a:pt x="5069" y="3278"/>
                    <a:pt x="5069" y="3345"/>
                  </a:cubicBezTo>
                  <a:cubicBezTo>
                    <a:pt x="5069" y="3424"/>
                    <a:pt x="5080" y="3503"/>
                    <a:pt x="5091" y="3582"/>
                  </a:cubicBezTo>
                  <a:lnTo>
                    <a:pt x="5080" y="4246"/>
                  </a:lnTo>
                  <a:cubicBezTo>
                    <a:pt x="5080" y="4291"/>
                    <a:pt x="5069" y="4336"/>
                    <a:pt x="5069" y="4393"/>
                  </a:cubicBezTo>
                  <a:cubicBezTo>
                    <a:pt x="5069" y="4652"/>
                    <a:pt x="5136" y="4911"/>
                    <a:pt x="5260" y="5147"/>
                  </a:cubicBezTo>
                  <a:cubicBezTo>
                    <a:pt x="5283" y="5181"/>
                    <a:pt x="5305" y="5215"/>
                    <a:pt x="5317" y="5249"/>
                  </a:cubicBezTo>
                  <a:cubicBezTo>
                    <a:pt x="5362" y="5305"/>
                    <a:pt x="5407" y="5373"/>
                    <a:pt x="5452" y="5440"/>
                  </a:cubicBezTo>
                  <a:cubicBezTo>
                    <a:pt x="5486" y="5463"/>
                    <a:pt x="5508" y="5497"/>
                    <a:pt x="5531" y="5530"/>
                  </a:cubicBezTo>
                  <a:cubicBezTo>
                    <a:pt x="5610" y="5620"/>
                    <a:pt x="5700" y="5711"/>
                    <a:pt x="5801" y="5789"/>
                  </a:cubicBezTo>
                  <a:cubicBezTo>
                    <a:pt x="5835" y="5812"/>
                    <a:pt x="5869" y="5846"/>
                    <a:pt x="5902" y="5868"/>
                  </a:cubicBezTo>
                  <a:cubicBezTo>
                    <a:pt x="6477" y="6308"/>
                    <a:pt x="7322" y="6589"/>
                    <a:pt x="8256" y="6589"/>
                  </a:cubicBezTo>
                  <a:cubicBezTo>
                    <a:pt x="9191" y="6589"/>
                    <a:pt x="9980" y="6319"/>
                    <a:pt x="10565" y="5902"/>
                  </a:cubicBezTo>
                  <a:cubicBezTo>
                    <a:pt x="10610" y="5868"/>
                    <a:pt x="10655" y="5823"/>
                    <a:pt x="10701" y="5789"/>
                  </a:cubicBezTo>
                  <a:cubicBezTo>
                    <a:pt x="10802" y="5711"/>
                    <a:pt x="10892" y="5620"/>
                    <a:pt x="10971" y="5530"/>
                  </a:cubicBezTo>
                  <a:cubicBezTo>
                    <a:pt x="11016" y="5485"/>
                    <a:pt x="11050" y="5429"/>
                    <a:pt x="11083" y="5384"/>
                  </a:cubicBezTo>
                  <a:cubicBezTo>
                    <a:pt x="11117" y="5339"/>
                    <a:pt x="11151" y="5294"/>
                    <a:pt x="11185" y="5249"/>
                  </a:cubicBezTo>
                  <a:cubicBezTo>
                    <a:pt x="11196" y="5215"/>
                    <a:pt x="11219" y="5181"/>
                    <a:pt x="11241" y="5147"/>
                  </a:cubicBezTo>
                  <a:cubicBezTo>
                    <a:pt x="11365" y="4911"/>
                    <a:pt x="11433" y="4652"/>
                    <a:pt x="11433" y="4393"/>
                  </a:cubicBezTo>
                  <a:lnTo>
                    <a:pt x="11433" y="4122"/>
                  </a:lnTo>
                  <a:cubicBezTo>
                    <a:pt x="11286" y="4077"/>
                    <a:pt x="11151" y="4021"/>
                    <a:pt x="11027" y="3965"/>
                  </a:cubicBezTo>
                  <a:cubicBezTo>
                    <a:pt x="10881" y="3897"/>
                    <a:pt x="10723" y="3830"/>
                    <a:pt x="10577" y="3762"/>
                  </a:cubicBezTo>
                  <a:cubicBezTo>
                    <a:pt x="10543" y="3740"/>
                    <a:pt x="10498" y="3728"/>
                    <a:pt x="10441" y="3706"/>
                  </a:cubicBezTo>
                  <a:cubicBezTo>
                    <a:pt x="10205" y="3604"/>
                    <a:pt x="9957" y="3514"/>
                    <a:pt x="9721" y="3413"/>
                  </a:cubicBezTo>
                  <a:cubicBezTo>
                    <a:pt x="9022" y="3131"/>
                    <a:pt x="8324" y="2838"/>
                    <a:pt x="7648" y="2512"/>
                  </a:cubicBezTo>
                  <a:cubicBezTo>
                    <a:pt x="6578" y="1994"/>
                    <a:pt x="5553" y="1374"/>
                    <a:pt x="4528" y="777"/>
                  </a:cubicBezTo>
                  <a:cubicBezTo>
                    <a:pt x="4100" y="529"/>
                    <a:pt x="3672" y="270"/>
                    <a:pt x="3267" y="0"/>
                  </a:cubicBezTo>
                  <a:close/>
                </a:path>
              </a:pathLst>
            </a:cu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3"/>
            <p:cNvSpPr/>
            <p:nvPr/>
          </p:nvSpPr>
          <p:spPr>
            <a:xfrm>
              <a:off x="1542986" y="1962978"/>
              <a:ext cx="222361" cy="153469"/>
            </a:xfrm>
            <a:custGeom>
              <a:avLst/>
              <a:gdLst/>
              <a:ahLst/>
              <a:cxnLst/>
              <a:rect l="l" t="t" r="r" b="b"/>
              <a:pathLst>
                <a:path w="6365" h="4393" extrusionOk="0">
                  <a:moveTo>
                    <a:pt x="3188" y="0"/>
                  </a:moveTo>
                  <a:cubicBezTo>
                    <a:pt x="1971" y="0"/>
                    <a:pt x="924" y="462"/>
                    <a:pt x="383" y="1149"/>
                  </a:cubicBezTo>
                  <a:lnTo>
                    <a:pt x="23" y="1149"/>
                  </a:lnTo>
                  <a:lnTo>
                    <a:pt x="12" y="2106"/>
                  </a:lnTo>
                  <a:cubicBezTo>
                    <a:pt x="12" y="2129"/>
                    <a:pt x="0" y="2163"/>
                    <a:pt x="0" y="2197"/>
                  </a:cubicBezTo>
                  <a:cubicBezTo>
                    <a:pt x="0" y="3413"/>
                    <a:pt x="1431" y="4393"/>
                    <a:pt x="3188" y="4393"/>
                  </a:cubicBezTo>
                  <a:cubicBezTo>
                    <a:pt x="4945" y="4393"/>
                    <a:pt x="6364" y="3413"/>
                    <a:pt x="6364" y="2197"/>
                  </a:cubicBezTo>
                  <a:lnTo>
                    <a:pt x="6364" y="1149"/>
                  </a:lnTo>
                  <a:lnTo>
                    <a:pt x="5981" y="1149"/>
                  </a:lnTo>
                  <a:cubicBezTo>
                    <a:pt x="5452" y="462"/>
                    <a:pt x="4393" y="0"/>
                    <a:pt x="3188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3"/>
            <p:cNvSpPr/>
            <p:nvPr/>
          </p:nvSpPr>
          <p:spPr>
            <a:xfrm>
              <a:off x="1542986" y="1962559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extrusionOk="0">
                  <a:moveTo>
                    <a:pt x="3177" y="1"/>
                  </a:moveTo>
                  <a:cubicBezTo>
                    <a:pt x="1431" y="1"/>
                    <a:pt x="0" y="992"/>
                    <a:pt x="0" y="2209"/>
                  </a:cubicBezTo>
                  <a:cubicBezTo>
                    <a:pt x="0" y="3425"/>
                    <a:pt x="1431" y="4405"/>
                    <a:pt x="3177" y="4405"/>
                  </a:cubicBezTo>
                  <a:cubicBezTo>
                    <a:pt x="4934" y="4405"/>
                    <a:pt x="6364" y="3425"/>
                    <a:pt x="6364" y="2209"/>
                  </a:cubicBezTo>
                  <a:cubicBezTo>
                    <a:pt x="6364" y="992"/>
                    <a:pt x="4934" y="1"/>
                    <a:pt x="31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3"/>
            <p:cNvSpPr/>
            <p:nvPr/>
          </p:nvSpPr>
          <p:spPr>
            <a:xfrm>
              <a:off x="1542986" y="1962978"/>
              <a:ext cx="222361" cy="153469"/>
            </a:xfrm>
            <a:custGeom>
              <a:avLst/>
              <a:gdLst/>
              <a:ahLst/>
              <a:cxnLst/>
              <a:rect l="l" t="t" r="r" b="b"/>
              <a:pathLst>
                <a:path w="6365" h="4393" fill="none" extrusionOk="0">
                  <a:moveTo>
                    <a:pt x="5981" y="1149"/>
                  </a:moveTo>
                  <a:cubicBezTo>
                    <a:pt x="5452" y="462"/>
                    <a:pt x="4393" y="0"/>
                    <a:pt x="3188" y="0"/>
                  </a:cubicBezTo>
                  <a:cubicBezTo>
                    <a:pt x="1971" y="0"/>
                    <a:pt x="924" y="462"/>
                    <a:pt x="383" y="1149"/>
                  </a:cubicBezTo>
                  <a:lnTo>
                    <a:pt x="23" y="1149"/>
                  </a:lnTo>
                  <a:lnTo>
                    <a:pt x="12" y="2106"/>
                  </a:lnTo>
                  <a:cubicBezTo>
                    <a:pt x="12" y="2129"/>
                    <a:pt x="0" y="2163"/>
                    <a:pt x="0" y="2197"/>
                  </a:cubicBezTo>
                  <a:cubicBezTo>
                    <a:pt x="0" y="3413"/>
                    <a:pt x="1431" y="4393"/>
                    <a:pt x="3188" y="4393"/>
                  </a:cubicBezTo>
                  <a:cubicBezTo>
                    <a:pt x="4945" y="4393"/>
                    <a:pt x="6364" y="3413"/>
                    <a:pt x="6364" y="2197"/>
                  </a:cubicBezTo>
                  <a:lnTo>
                    <a:pt x="6364" y="1149"/>
                  </a:ln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3"/>
            <p:cNvSpPr/>
            <p:nvPr/>
          </p:nvSpPr>
          <p:spPr>
            <a:xfrm>
              <a:off x="1542986" y="1962559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fill="none" extrusionOk="0">
                  <a:moveTo>
                    <a:pt x="6364" y="2209"/>
                  </a:moveTo>
                  <a:cubicBezTo>
                    <a:pt x="6364" y="3425"/>
                    <a:pt x="4934" y="4405"/>
                    <a:pt x="3177" y="4405"/>
                  </a:cubicBezTo>
                  <a:cubicBezTo>
                    <a:pt x="1431" y="4405"/>
                    <a:pt x="0" y="3425"/>
                    <a:pt x="0" y="2209"/>
                  </a:cubicBezTo>
                  <a:cubicBezTo>
                    <a:pt x="0" y="992"/>
                    <a:pt x="1431" y="1"/>
                    <a:pt x="3177" y="1"/>
                  </a:cubicBezTo>
                  <a:cubicBezTo>
                    <a:pt x="4934" y="1"/>
                    <a:pt x="6364" y="992"/>
                    <a:pt x="6364" y="220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9" name="Google Shape;889;p33"/>
            <p:cNvSpPr/>
            <p:nvPr/>
          </p:nvSpPr>
          <p:spPr>
            <a:xfrm>
              <a:off x="1542986" y="1926368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extrusionOk="0">
                  <a:moveTo>
                    <a:pt x="3177" y="1"/>
                  </a:moveTo>
                  <a:cubicBezTo>
                    <a:pt x="1431" y="1"/>
                    <a:pt x="0" y="981"/>
                    <a:pt x="0" y="2197"/>
                  </a:cubicBezTo>
                  <a:cubicBezTo>
                    <a:pt x="0" y="3413"/>
                    <a:pt x="1431" y="4405"/>
                    <a:pt x="3177" y="4405"/>
                  </a:cubicBezTo>
                  <a:cubicBezTo>
                    <a:pt x="4934" y="4405"/>
                    <a:pt x="6364" y="3413"/>
                    <a:pt x="6364" y="2197"/>
                  </a:cubicBezTo>
                  <a:cubicBezTo>
                    <a:pt x="6364" y="981"/>
                    <a:pt x="4934" y="1"/>
                    <a:pt x="31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0" name="Google Shape;890;p33"/>
            <p:cNvSpPr/>
            <p:nvPr/>
          </p:nvSpPr>
          <p:spPr>
            <a:xfrm>
              <a:off x="1542986" y="1926368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fill="none" extrusionOk="0">
                  <a:moveTo>
                    <a:pt x="6364" y="2197"/>
                  </a:moveTo>
                  <a:cubicBezTo>
                    <a:pt x="6364" y="3413"/>
                    <a:pt x="4934" y="4405"/>
                    <a:pt x="3177" y="4405"/>
                  </a:cubicBezTo>
                  <a:cubicBezTo>
                    <a:pt x="1431" y="4405"/>
                    <a:pt x="0" y="3413"/>
                    <a:pt x="0" y="2197"/>
                  </a:cubicBezTo>
                  <a:cubicBezTo>
                    <a:pt x="0" y="981"/>
                    <a:pt x="1431" y="1"/>
                    <a:pt x="3177" y="1"/>
                  </a:cubicBezTo>
                  <a:cubicBezTo>
                    <a:pt x="4934" y="1"/>
                    <a:pt x="6364" y="981"/>
                    <a:pt x="6364" y="219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1" name="Google Shape;891;p33"/>
            <p:cNvSpPr/>
            <p:nvPr/>
          </p:nvSpPr>
          <p:spPr>
            <a:xfrm>
              <a:off x="1654739" y="208060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cubicBezTo>
                    <a:pt x="0" y="1003"/>
                    <a:pt x="0" y="970"/>
                    <a:pt x="0" y="947"/>
                  </a:cubicBez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2" name="Google Shape;892;p33"/>
            <p:cNvSpPr/>
            <p:nvPr/>
          </p:nvSpPr>
          <p:spPr>
            <a:xfrm>
              <a:off x="1678739" y="207826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3" name="Google Shape;893;p33"/>
            <p:cNvSpPr/>
            <p:nvPr/>
          </p:nvSpPr>
          <p:spPr>
            <a:xfrm>
              <a:off x="1701935" y="207312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" name="Google Shape;894;p33"/>
            <p:cNvSpPr/>
            <p:nvPr/>
          </p:nvSpPr>
          <p:spPr>
            <a:xfrm>
              <a:off x="1722790" y="2064496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3"/>
            <p:cNvSpPr/>
            <p:nvPr/>
          </p:nvSpPr>
          <p:spPr>
            <a:xfrm>
              <a:off x="1740886" y="205226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3"/>
            <p:cNvSpPr/>
            <p:nvPr/>
          </p:nvSpPr>
          <p:spPr>
            <a:xfrm>
              <a:off x="1757410" y="203221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3"/>
            <p:cNvSpPr/>
            <p:nvPr/>
          </p:nvSpPr>
          <p:spPr>
            <a:xfrm>
              <a:off x="1630321" y="207826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3"/>
            <p:cNvSpPr/>
            <p:nvPr/>
          </p:nvSpPr>
          <p:spPr>
            <a:xfrm>
              <a:off x="1607124" y="207312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3"/>
            <p:cNvSpPr/>
            <p:nvPr/>
          </p:nvSpPr>
          <p:spPr>
            <a:xfrm>
              <a:off x="1586269" y="2064496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3"/>
            <p:cNvSpPr/>
            <p:nvPr/>
          </p:nvSpPr>
          <p:spPr>
            <a:xfrm>
              <a:off x="1568173" y="205226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3"/>
            <p:cNvSpPr/>
            <p:nvPr/>
          </p:nvSpPr>
          <p:spPr>
            <a:xfrm>
              <a:off x="1551650" y="203221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3"/>
            <p:cNvSpPr/>
            <p:nvPr/>
          </p:nvSpPr>
          <p:spPr>
            <a:xfrm>
              <a:off x="1568173" y="1943695"/>
              <a:ext cx="171985" cy="118849"/>
            </a:xfrm>
            <a:custGeom>
              <a:avLst/>
              <a:gdLst/>
              <a:ahLst/>
              <a:cxnLst/>
              <a:rect l="l" t="t" r="r" b="b"/>
              <a:pathLst>
                <a:path w="4923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47"/>
                    <a:pt x="1104" y="3402"/>
                    <a:pt x="2456" y="3402"/>
                  </a:cubicBezTo>
                  <a:cubicBezTo>
                    <a:pt x="3819" y="3402"/>
                    <a:pt x="4922" y="2647"/>
                    <a:pt x="4922" y="1701"/>
                  </a:cubicBezTo>
                  <a:cubicBezTo>
                    <a:pt x="4922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3"/>
            <p:cNvSpPr/>
            <p:nvPr/>
          </p:nvSpPr>
          <p:spPr>
            <a:xfrm>
              <a:off x="1568173" y="1943695"/>
              <a:ext cx="171985" cy="118849"/>
            </a:xfrm>
            <a:custGeom>
              <a:avLst/>
              <a:gdLst/>
              <a:ahLst/>
              <a:cxnLst/>
              <a:rect l="l" t="t" r="r" b="b"/>
              <a:pathLst>
                <a:path w="4923" h="3402" fill="none" extrusionOk="0">
                  <a:moveTo>
                    <a:pt x="4922" y="1701"/>
                  </a:moveTo>
                  <a:cubicBezTo>
                    <a:pt x="4922" y="2647"/>
                    <a:pt x="3819" y="3402"/>
                    <a:pt x="2456" y="3402"/>
                  </a:cubicBezTo>
                  <a:cubicBezTo>
                    <a:pt x="1104" y="3402"/>
                    <a:pt x="0" y="2647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22" y="766"/>
                    <a:pt x="4922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3"/>
            <p:cNvSpPr/>
            <p:nvPr/>
          </p:nvSpPr>
          <p:spPr>
            <a:xfrm>
              <a:off x="1591369" y="1970035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1" y="1"/>
                  </a:moveTo>
                  <a:lnTo>
                    <a:pt x="68" y="125"/>
                  </a:lnTo>
                  <a:lnTo>
                    <a:pt x="282" y="237"/>
                  </a:lnTo>
                  <a:cubicBezTo>
                    <a:pt x="91" y="350"/>
                    <a:pt x="1" y="451"/>
                    <a:pt x="12" y="564"/>
                  </a:cubicBezTo>
                  <a:cubicBezTo>
                    <a:pt x="12" y="665"/>
                    <a:pt x="125" y="778"/>
                    <a:pt x="327" y="891"/>
                  </a:cubicBezTo>
                  <a:cubicBezTo>
                    <a:pt x="463" y="970"/>
                    <a:pt x="620" y="1026"/>
                    <a:pt x="778" y="1071"/>
                  </a:cubicBezTo>
                  <a:cubicBezTo>
                    <a:pt x="936" y="1105"/>
                    <a:pt x="1082" y="1127"/>
                    <a:pt x="1217" y="1138"/>
                  </a:cubicBezTo>
                  <a:cubicBezTo>
                    <a:pt x="1352" y="1138"/>
                    <a:pt x="1578" y="1138"/>
                    <a:pt x="1904" y="1127"/>
                  </a:cubicBezTo>
                  <a:cubicBezTo>
                    <a:pt x="2096" y="1127"/>
                    <a:pt x="2242" y="1138"/>
                    <a:pt x="2321" y="1161"/>
                  </a:cubicBezTo>
                  <a:cubicBezTo>
                    <a:pt x="2411" y="1195"/>
                    <a:pt x="2535" y="1251"/>
                    <a:pt x="2681" y="1330"/>
                  </a:cubicBezTo>
                  <a:cubicBezTo>
                    <a:pt x="2738" y="1364"/>
                    <a:pt x="2783" y="1398"/>
                    <a:pt x="2783" y="1420"/>
                  </a:cubicBezTo>
                  <a:cubicBezTo>
                    <a:pt x="2794" y="1454"/>
                    <a:pt x="2783" y="1476"/>
                    <a:pt x="2738" y="1488"/>
                  </a:cubicBezTo>
                  <a:cubicBezTo>
                    <a:pt x="2710" y="1499"/>
                    <a:pt x="2684" y="1505"/>
                    <a:pt x="2659" y="1505"/>
                  </a:cubicBezTo>
                  <a:cubicBezTo>
                    <a:pt x="2634" y="1505"/>
                    <a:pt x="2608" y="1499"/>
                    <a:pt x="2580" y="1488"/>
                  </a:cubicBezTo>
                  <a:cubicBezTo>
                    <a:pt x="2524" y="1476"/>
                    <a:pt x="2400" y="1409"/>
                    <a:pt x="2220" y="1307"/>
                  </a:cubicBezTo>
                  <a:lnTo>
                    <a:pt x="2051" y="1217"/>
                  </a:lnTo>
                  <a:lnTo>
                    <a:pt x="1409" y="1488"/>
                  </a:lnTo>
                  <a:lnTo>
                    <a:pt x="1544" y="1555"/>
                  </a:lnTo>
                  <a:cubicBezTo>
                    <a:pt x="1848" y="1724"/>
                    <a:pt x="2118" y="1814"/>
                    <a:pt x="2366" y="1826"/>
                  </a:cubicBezTo>
                  <a:cubicBezTo>
                    <a:pt x="2431" y="1831"/>
                    <a:pt x="2493" y="1834"/>
                    <a:pt x="2552" y="1834"/>
                  </a:cubicBezTo>
                  <a:cubicBezTo>
                    <a:pt x="2731" y="1834"/>
                    <a:pt x="2887" y="1809"/>
                    <a:pt x="3031" y="1758"/>
                  </a:cubicBezTo>
                  <a:lnTo>
                    <a:pt x="3290" y="1904"/>
                  </a:lnTo>
                  <a:lnTo>
                    <a:pt x="3583" y="1792"/>
                  </a:lnTo>
                  <a:lnTo>
                    <a:pt x="3335" y="1645"/>
                  </a:lnTo>
                  <a:cubicBezTo>
                    <a:pt x="3515" y="1533"/>
                    <a:pt x="3594" y="1420"/>
                    <a:pt x="3571" y="1296"/>
                  </a:cubicBezTo>
                  <a:cubicBezTo>
                    <a:pt x="3537" y="1172"/>
                    <a:pt x="3402" y="1048"/>
                    <a:pt x="3166" y="913"/>
                  </a:cubicBezTo>
                  <a:cubicBezTo>
                    <a:pt x="3008" y="834"/>
                    <a:pt x="2862" y="767"/>
                    <a:pt x="2726" y="733"/>
                  </a:cubicBezTo>
                  <a:cubicBezTo>
                    <a:pt x="2580" y="688"/>
                    <a:pt x="2456" y="665"/>
                    <a:pt x="2332" y="665"/>
                  </a:cubicBezTo>
                  <a:cubicBezTo>
                    <a:pt x="2276" y="660"/>
                    <a:pt x="2200" y="657"/>
                    <a:pt x="2106" y="657"/>
                  </a:cubicBezTo>
                  <a:cubicBezTo>
                    <a:pt x="2011" y="657"/>
                    <a:pt x="1899" y="660"/>
                    <a:pt x="1769" y="665"/>
                  </a:cubicBezTo>
                  <a:cubicBezTo>
                    <a:pt x="1611" y="671"/>
                    <a:pt x="1482" y="674"/>
                    <a:pt x="1382" y="674"/>
                  </a:cubicBezTo>
                  <a:cubicBezTo>
                    <a:pt x="1282" y="674"/>
                    <a:pt x="1212" y="671"/>
                    <a:pt x="1172" y="665"/>
                  </a:cubicBezTo>
                  <a:cubicBezTo>
                    <a:pt x="1082" y="665"/>
                    <a:pt x="992" y="632"/>
                    <a:pt x="891" y="564"/>
                  </a:cubicBezTo>
                  <a:cubicBezTo>
                    <a:pt x="823" y="530"/>
                    <a:pt x="789" y="508"/>
                    <a:pt x="767" y="474"/>
                  </a:cubicBezTo>
                  <a:cubicBezTo>
                    <a:pt x="755" y="451"/>
                    <a:pt x="767" y="429"/>
                    <a:pt x="812" y="418"/>
                  </a:cubicBezTo>
                  <a:cubicBezTo>
                    <a:pt x="838" y="404"/>
                    <a:pt x="868" y="399"/>
                    <a:pt x="898" y="399"/>
                  </a:cubicBezTo>
                  <a:cubicBezTo>
                    <a:pt x="919" y="399"/>
                    <a:pt x="939" y="402"/>
                    <a:pt x="958" y="406"/>
                  </a:cubicBezTo>
                  <a:cubicBezTo>
                    <a:pt x="1014" y="418"/>
                    <a:pt x="1105" y="463"/>
                    <a:pt x="1217" y="530"/>
                  </a:cubicBezTo>
                  <a:lnTo>
                    <a:pt x="1330" y="587"/>
                  </a:lnTo>
                  <a:lnTo>
                    <a:pt x="1972" y="328"/>
                  </a:lnTo>
                  <a:cubicBezTo>
                    <a:pt x="1916" y="294"/>
                    <a:pt x="1882" y="271"/>
                    <a:pt x="1848" y="260"/>
                  </a:cubicBezTo>
                  <a:cubicBezTo>
                    <a:pt x="1645" y="147"/>
                    <a:pt x="1442" y="80"/>
                    <a:pt x="1228" y="57"/>
                  </a:cubicBezTo>
                  <a:cubicBezTo>
                    <a:pt x="1175" y="52"/>
                    <a:pt x="1121" y="49"/>
                    <a:pt x="1068" y="49"/>
                  </a:cubicBezTo>
                  <a:cubicBezTo>
                    <a:pt x="907" y="49"/>
                    <a:pt x="744" y="74"/>
                    <a:pt x="575" y="125"/>
                  </a:cubicBezTo>
                  <a:lnTo>
                    <a:pt x="36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3"/>
            <p:cNvSpPr/>
            <p:nvPr/>
          </p:nvSpPr>
          <p:spPr>
            <a:xfrm>
              <a:off x="1591369" y="1970035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2" y="328"/>
                  </a:moveTo>
                  <a:lnTo>
                    <a:pt x="1330" y="587"/>
                  </a:lnTo>
                  <a:lnTo>
                    <a:pt x="1217" y="530"/>
                  </a:lnTo>
                  <a:cubicBezTo>
                    <a:pt x="1105" y="463"/>
                    <a:pt x="1014" y="418"/>
                    <a:pt x="958" y="406"/>
                  </a:cubicBezTo>
                  <a:cubicBezTo>
                    <a:pt x="913" y="395"/>
                    <a:pt x="857" y="395"/>
                    <a:pt x="812" y="418"/>
                  </a:cubicBezTo>
                  <a:cubicBezTo>
                    <a:pt x="767" y="429"/>
                    <a:pt x="755" y="451"/>
                    <a:pt x="767" y="474"/>
                  </a:cubicBezTo>
                  <a:cubicBezTo>
                    <a:pt x="789" y="508"/>
                    <a:pt x="823" y="530"/>
                    <a:pt x="891" y="564"/>
                  </a:cubicBezTo>
                  <a:cubicBezTo>
                    <a:pt x="992" y="632"/>
                    <a:pt x="1082" y="665"/>
                    <a:pt x="1172" y="665"/>
                  </a:cubicBezTo>
                  <a:cubicBezTo>
                    <a:pt x="1251" y="677"/>
                    <a:pt x="1454" y="677"/>
                    <a:pt x="1769" y="665"/>
                  </a:cubicBezTo>
                  <a:cubicBezTo>
                    <a:pt x="2028" y="654"/>
                    <a:pt x="2220" y="654"/>
                    <a:pt x="2332" y="665"/>
                  </a:cubicBezTo>
                  <a:cubicBezTo>
                    <a:pt x="2456" y="665"/>
                    <a:pt x="2580" y="688"/>
                    <a:pt x="2726" y="733"/>
                  </a:cubicBezTo>
                  <a:cubicBezTo>
                    <a:pt x="2862" y="767"/>
                    <a:pt x="3008" y="834"/>
                    <a:pt x="3166" y="913"/>
                  </a:cubicBezTo>
                  <a:cubicBezTo>
                    <a:pt x="3402" y="1048"/>
                    <a:pt x="3537" y="1172"/>
                    <a:pt x="3571" y="1296"/>
                  </a:cubicBezTo>
                  <a:cubicBezTo>
                    <a:pt x="3594" y="1420"/>
                    <a:pt x="3515" y="1533"/>
                    <a:pt x="3335" y="1645"/>
                  </a:cubicBezTo>
                  <a:lnTo>
                    <a:pt x="3583" y="1792"/>
                  </a:lnTo>
                  <a:lnTo>
                    <a:pt x="3290" y="1904"/>
                  </a:lnTo>
                  <a:lnTo>
                    <a:pt x="3031" y="1758"/>
                  </a:lnTo>
                  <a:cubicBezTo>
                    <a:pt x="2839" y="1826"/>
                    <a:pt x="2625" y="1848"/>
                    <a:pt x="2366" y="1826"/>
                  </a:cubicBezTo>
                  <a:cubicBezTo>
                    <a:pt x="2118" y="1814"/>
                    <a:pt x="1848" y="1724"/>
                    <a:pt x="1544" y="1555"/>
                  </a:cubicBezTo>
                  <a:lnTo>
                    <a:pt x="1409" y="1488"/>
                  </a:lnTo>
                  <a:lnTo>
                    <a:pt x="2051" y="1217"/>
                  </a:lnTo>
                  <a:lnTo>
                    <a:pt x="2220" y="1307"/>
                  </a:lnTo>
                  <a:cubicBezTo>
                    <a:pt x="2400" y="1409"/>
                    <a:pt x="2524" y="1476"/>
                    <a:pt x="2580" y="1488"/>
                  </a:cubicBezTo>
                  <a:cubicBezTo>
                    <a:pt x="2636" y="1510"/>
                    <a:pt x="2681" y="1510"/>
                    <a:pt x="2738" y="1488"/>
                  </a:cubicBezTo>
                  <a:cubicBezTo>
                    <a:pt x="2783" y="1476"/>
                    <a:pt x="2794" y="1454"/>
                    <a:pt x="2783" y="1420"/>
                  </a:cubicBezTo>
                  <a:cubicBezTo>
                    <a:pt x="2783" y="1398"/>
                    <a:pt x="2738" y="1364"/>
                    <a:pt x="2681" y="1330"/>
                  </a:cubicBezTo>
                  <a:cubicBezTo>
                    <a:pt x="2535" y="1251"/>
                    <a:pt x="2411" y="1195"/>
                    <a:pt x="2321" y="1161"/>
                  </a:cubicBezTo>
                  <a:cubicBezTo>
                    <a:pt x="2242" y="1138"/>
                    <a:pt x="2096" y="1127"/>
                    <a:pt x="1904" y="1127"/>
                  </a:cubicBezTo>
                  <a:cubicBezTo>
                    <a:pt x="1578" y="1138"/>
                    <a:pt x="1352" y="1138"/>
                    <a:pt x="1217" y="1138"/>
                  </a:cubicBezTo>
                  <a:cubicBezTo>
                    <a:pt x="1082" y="1127"/>
                    <a:pt x="936" y="1105"/>
                    <a:pt x="778" y="1071"/>
                  </a:cubicBezTo>
                  <a:cubicBezTo>
                    <a:pt x="620" y="1026"/>
                    <a:pt x="463" y="970"/>
                    <a:pt x="327" y="891"/>
                  </a:cubicBezTo>
                  <a:cubicBezTo>
                    <a:pt x="125" y="778"/>
                    <a:pt x="12" y="665"/>
                    <a:pt x="12" y="564"/>
                  </a:cubicBezTo>
                  <a:cubicBezTo>
                    <a:pt x="1" y="451"/>
                    <a:pt x="91" y="350"/>
                    <a:pt x="282" y="237"/>
                  </a:cubicBezTo>
                  <a:lnTo>
                    <a:pt x="68" y="125"/>
                  </a:lnTo>
                  <a:lnTo>
                    <a:pt x="361" y="1"/>
                  </a:lnTo>
                  <a:lnTo>
                    <a:pt x="575" y="125"/>
                  </a:lnTo>
                  <a:cubicBezTo>
                    <a:pt x="800" y="57"/>
                    <a:pt x="1014" y="35"/>
                    <a:pt x="1228" y="57"/>
                  </a:cubicBezTo>
                  <a:cubicBezTo>
                    <a:pt x="1442" y="80"/>
                    <a:pt x="1645" y="147"/>
                    <a:pt x="1848" y="260"/>
                  </a:cubicBezTo>
                  <a:cubicBezTo>
                    <a:pt x="1882" y="271"/>
                    <a:pt x="1916" y="294"/>
                    <a:pt x="1972" y="32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extrusionOk="0">
                  <a:moveTo>
                    <a:pt x="3176" y="0"/>
                  </a:moveTo>
                  <a:cubicBezTo>
                    <a:pt x="1960" y="0"/>
                    <a:pt x="912" y="473"/>
                    <a:pt x="372" y="1160"/>
                  </a:cubicBezTo>
                  <a:lnTo>
                    <a:pt x="11" y="1160"/>
                  </a:lnTo>
                  <a:lnTo>
                    <a:pt x="0" y="2106"/>
                  </a:lnTo>
                  <a:cubicBezTo>
                    <a:pt x="0" y="2140"/>
                    <a:pt x="0" y="2174"/>
                    <a:pt x="0" y="2208"/>
                  </a:cubicBezTo>
                  <a:cubicBezTo>
                    <a:pt x="0" y="3424"/>
                    <a:pt x="1419" y="4404"/>
                    <a:pt x="3176" y="4404"/>
                  </a:cubicBezTo>
                  <a:cubicBezTo>
                    <a:pt x="4933" y="4404"/>
                    <a:pt x="6353" y="3424"/>
                    <a:pt x="6353" y="2208"/>
                  </a:cubicBezTo>
                  <a:lnTo>
                    <a:pt x="6353" y="1160"/>
                  </a:lnTo>
                  <a:lnTo>
                    <a:pt x="5981" y="1160"/>
                  </a:lnTo>
                  <a:cubicBezTo>
                    <a:pt x="5440" y="473"/>
                    <a:pt x="4393" y="0"/>
                    <a:pt x="3176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extrusionOk="0">
                  <a:moveTo>
                    <a:pt x="3176" y="0"/>
                  </a:moveTo>
                  <a:cubicBezTo>
                    <a:pt x="1419" y="0"/>
                    <a:pt x="0" y="991"/>
                    <a:pt x="0" y="2208"/>
                  </a:cubicBezTo>
                  <a:cubicBezTo>
                    <a:pt x="0" y="3413"/>
                    <a:pt x="1419" y="4404"/>
                    <a:pt x="3176" y="4404"/>
                  </a:cubicBezTo>
                  <a:cubicBezTo>
                    <a:pt x="4933" y="4404"/>
                    <a:pt x="6353" y="3413"/>
                    <a:pt x="6353" y="2208"/>
                  </a:cubicBezTo>
                  <a:cubicBezTo>
                    <a:pt x="6353" y="991"/>
                    <a:pt x="4933" y="0"/>
                    <a:pt x="317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fill="none" extrusionOk="0">
                  <a:moveTo>
                    <a:pt x="5981" y="1160"/>
                  </a:moveTo>
                  <a:cubicBezTo>
                    <a:pt x="5440" y="473"/>
                    <a:pt x="4393" y="0"/>
                    <a:pt x="3176" y="0"/>
                  </a:cubicBezTo>
                  <a:cubicBezTo>
                    <a:pt x="1960" y="0"/>
                    <a:pt x="912" y="473"/>
                    <a:pt x="372" y="1160"/>
                  </a:cubicBezTo>
                  <a:lnTo>
                    <a:pt x="11" y="1160"/>
                  </a:lnTo>
                  <a:lnTo>
                    <a:pt x="0" y="2106"/>
                  </a:lnTo>
                  <a:cubicBezTo>
                    <a:pt x="0" y="2140"/>
                    <a:pt x="0" y="2174"/>
                    <a:pt x="0" y="2208"/>
                  </a:cubicBezTo>
                  <a:cubicBezTo>
                    <a:pt x="0" y="3424"/>
                    <a:pt x="1419" y="4404"/>
                    <a:pt x="3176" y="4404"/>
                  </a:cubicBezTo>
                  <a:cubicBezTo>
                    <a:pt x="4933" y="4404"/>
                    <a:pt x="6353" y="3424"/>
                    <a:pt x="6353" y="2208"/>
                  </a:cubicBezTo>
                  <a:lnTo>
                    <a:pt x="6353" y="1160"/>
                  </a:ln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fill="none" extrusionOk="0">
                  <a:moveTo>
                    <a:pt x="6353" y="2208"/>
                  </a:moveTo>
                  <a:cubicBezTo>
                    <a:pt x="6353" y="3413"/>
                    <a:pt x="4933" y="4404"/>
                    <a:pt x="3176" y="4404"/>
                  </a:cubicBezTo>
                  <a:cubicBezTo>
                    <a:pt x="1419" y="4404"/>
                    <a:pt x="0" y="3413"/>
                    <a:pt x="0" y="2208"/>
                  </a:cubicBezTo>
                  <a:cubicBezTo>
                    <a:pt x="0" y="991"/>
                    <a:pt x="1419" y="0"/>
                    <a:pt x="3176" y="0"/>
                  </a:cubicBezTo>
                  <a:cubicBezTo>
                    <a:pt x="4933" y="0"/>
                    <a:pt x="6353" y="991"/>
                    <a:pt x="6353" y="220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3"/>
            <p:cNvSpPr/>
            <p:nvPr/>
          </p:nvSpPr>
          <p:spPr>
            <a:xfrm>
              <a:off x="1720450" y="2031414"/>
              <a:ext cx="221942" cy="153504"/>
            </a:xfrm>
            <a:custGeom>
              <a:avLst/>
              <a:gdLst/>
              <a:ahLst/>
              <a:cxnLst/>
              <a:rect l="l" t="t" r="r" b="b"/>
              <a:pathLst>
                <a:path w="6353" h="4394" extrusionOk="0">
                  <a:moveTo>
                    <a:pt x="3176" y="1"/>
                  </a:moveTo>
                  <a:cubicBezTo>
                    <a:pt x="1419" y="1"/>
                    <a:pt x="0" y="981"/>
                    <a:pt x="0" y="2197"/>
                  </a:cubicBezTo>
                  <a:cubicBezTo>
                    <a:pt x="0" y="3414"/>
                    <a:pt x="1419" y="4394"/>
                    <a:pt x="3176" y="4394"/>
                  </a:cubicBezTo>
                  <a:cubicBezTo>
                    <a:pt x="4933" y="4394"/>
                    <a:pt x="6353" y="3414"/>
                    <a:pt x="6353" y="2197"/>
                  </a:cubicBezTo>
                  <a:cubicBezTo>
                    <a:pt x="6353" y="981"/>
                    <a:pt x="4933" y="1"/>
                    <a:pt x="317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" name="Google Shape;911;p33"/>
            <p:cNvSpPr/>
            <p:nvPr/>
          </p:nvSpPr>
          <p:spPr>
            <a:xfrm>
              <a:off x="1720450" y="2031414"/>
              <a:ext cx="221942" cy="153504"/>
            </a:xfrm>
            <a:custGeom>
              <a:avLst/>
              <a:gdLst/>
              <a:ahLst/>
              <a:cxnLst/>
              <a:rect l="l" t="t" r="r" b="b"/>
              <a:pathLst>
                <a:path w="6353" h="4394" fill="none" extrusionOk="0">
                  <a:moveTo>
                    <a:pt x="6353" y="2197"/>
                  </a:moveTo>
                  <a:cubicBezTo>
                    <a:pt x="6353" y="3414"/>
                    <a:pt x="4933" y="4394"/>
                    <a:pt x="3176" y="4394"/>
                  </a:cubicBezTo>
                  <a:cubicBezTo>
                    <a:pt x="1419" y="4394"/>
                    <a:pt x="0" y="3414"/>
                    <a:pt x="0" y="2197"/>
                  </a:cubicBezTo>
                  <a:cubicBezTo>
                    <a:pt x="0" y="981"/>
                    <a:pt x="1419" y="1"/>
                    <a:pt x="3176" y="1"/>
                  </a:cubicBezTo>
                  <a:cubicBezTo>
                    <a:pt x="4933" y="1"/>
                    <a:pt x="6353" y="981"/>
                    <a:pt x="6353" y="219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3"/>
            <p:cNvSpPr/>
            <p:nvPr/>
          </p:nvSpPr>
          <p:spPr>
            <a:xfrm>
              <a:off x="1832168" y="2185263"/>
              <a:ext cx="35" cy="36263"/>
            </a:xfrm>
            <a:custGeom>
              <a:avLst/>
              <a:gdLst/>
              <a:ahLst/>
              <a:cxnLst/>
              <a:rect l="l" t="t" r="r" b="b"/>
              <a:pathLst>
                <a:path w="1" h="1038" fill="none" extrusionOk="0">
                  <a:moveTo>
                    <a:pt x="1" y="1037"/>
                  </a:moveTo>
                  <a:cubicBezTo>
                    <a:pt x="1" y="1003"/>
                    <a:pt x="1" y="981"/>
                    <a:pt x="1" y="958"/>
                  </a:cubicBez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3"/>
            <p:cNvSpPr/>
            <p:nvPr/>
          </p:nvSpPr>
          <p:spPr>
            <a:xfrm>
              <a:off x="1856168" y="2183306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3"/>
            <p:cNvSpPr/>
            <p:nvPr/>
          </p:nvSpPr>
          <p:spPr>
            <a:xfrm>
              <a:off x="1879015" y="2178206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0" y="1014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3"/>
            <p:cNvSpPr/>
            <p:nvPr/>
          </p:nvSpPr>
          <p:spPr>
            <a:xfrm>
              <a:off x="1900254" y="216954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3"/>
            <p:cNvSpPr/>
            <p:nvPr/>
          </p:nvSpPr>
          <p:spPr>
            <a:xfrm>
              <a:off x="1918350" y="215735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3"/>
            <p:cNvSpPr/>
            <p:nvPr/>
          </p:nvSpPr>
          <p:spPr>
            <a:xfrm>
              <a:off x="1934489" y="213726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3"/>
            <p:cNvSpPr/>
            <p:nvPr/>
          </p:nvSpPr>
          <p:spPr>
            <a:xfrm>
              <a:off x="1807400" y="2183306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0" y="1014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3"/>
            <p:cNvSpPr/>
            <p:nvPr/>
          </p:nvSpPr>
          <p:spPr>
            <a:xfrm>
              <a:off x="1784588" y="2178206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0" y="1014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3"/>
            <p:cNvSpPr/>
            <p:nvPr/>
          </p:nvSpPr>
          <p:spPr>
            <a:xfrm>
              <a:off x="1763314" y="216954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3"/>
            <p:cNvSpPr/>
            <p:nvPr/>
          </p:nvSpPr>
          <p:spPr>
            <a:xfrm>
              <a:off x="1745218" y="215735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3"/>
            <p:cNvSpPr/>
            <p:nvPr/>
          </p:nvSpPr>
          <p:spPr>
            <a:xfrm>
              <a:off x="1729078" y="213726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3" name="Google Shape;923;p33"/>
            <p:cNvSpPr/>
            <p:nvPr/>
          </p:nvSpPr>
          <p:spPr>
            <a:xfrm>
              <a:off x="1745602" y="2048741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extrusionOk="0">
                  <a:moveTo>
                    <a:pt x="2456" y="1"/>
                  </a:moveTo>
                  <a:cubicBezTo>
                    <a:pt x="1094" y="1"/>
                    <a:pt x="1" y="766"/>
                    <a:pt x="1" y="1701"/>
                  </a:cubicBezTo>
                  <a:cubicBezTo>
                    <a:pt x="1" y="2636"/>
                    <a:pt x="1094" y="3402"/>
                    <a:pt x="2456" y="3402"/>
                  </a:cubicBezTo>
                  <a:cubicBezTo>
                    <a:pt x="3819" y="3402"/>
                    <a:pt x="4912" y="2636"/>
                    <a:pt x="4912" y="1701"/>
                  </a:cubicBezTo>
                  <a:cubicBezTo>
                    <a:pt x="4912" y="766"/>
                    <a:pt x="3819" y="1"/>
                    <a:pt x="24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3"/>
            <p:cNvSpPr/>
            <p:nvPr/>
          </p:nvSpPr>
          <p:spPr>
            <a:xfrm>
              <a:off x="1745602" y="2048741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fill="none" extrusionOk="0">
                  <a:moveTo>
                    <a:pt x="4912" y="1701"/>
                  </a:moveTo>
                  <a:cubicBezTo>
                    <a:pt x="4912" y="2636"/>
                    <a:pt x="3819" y="3402"/>
                    <a:pt x="2456" y="3402"/>
                  </a:cubicBezTo>
                  <a:cubicBezTo>
                    <a:pt x="1094" y="3402"/>
                    <a:pt x="1" y="2636"/>
                    <a:pt x="1" y="1701"/>
                  </a:cubicBezTo>
                  <a:cubicBezTo>
                    <a:pt x="1" y="766"/>
                    <a:pt x="1094" y="1"/>
                    <a:pt x="2456" y="1"/>
                  </a:cubicBezTo>
                  <a:cubicBezTo>
                    <a:pt x="3819" y="1"/>
                    <a:pt x="4912" y="766"/>
                    <a:pt x="4912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3"/>
            <p:cNvSpPr/>
            <p:nvPr/>
          </p:nvSpPr>
          <p:spPr>
            <a:xfrm>
              <a:off x="1768833" y="2074697"/>
              <a:ext cx="125556" cy="66935"/>
            </a:xfrm>
            <a:custGeom>
              <a:avLst/>
              <a:gdLst/>
              <a:ahLst/>
              <a:cxnLst/>
              <a:rect l="l" t="t" r="r" b="b"/>
              <a:pathLst>
                <a:path w="3594" h="1916" extrusionOk="0">
                  <a:moveTo>
                    <a:pt x="361" y="1"/>
                  </a:moveTo>
                  <a:lnTo>
                    <a:pt x="57" y="125"/>
                  </a:lnTo>
                  <a:lnTo>
                    <a:pt x="282" y="249"/>
                  </a:lnTo>
                  <a:cubicBezTo>
                    <a:pt x="91" y="350"/>
                    <a:pt x="1" y="463"/>
                    <a:pt x="1" y="564"/>
                  </a:cubicBezTo>
                  <a:cubicBezTo>
                    <a:pt x="12" y="677"/>
                    <a:pt x="113" y="789"/>
                    <a:pt x="316" y="902"/>
                  </a:cubicBezTo>
                  <a:cubicBezTo>
                    <a:pt x="462" y="981"/>
                    <a:pt x="609" y="1037"/>
                    <a:pt x="778" y="1082"/>
                  </a:cubicBezTo>
                  <a:cubicBezTo>
                    <a:pt x="935" y="1116"/>
                    <a:pt x="1082" y="1139"/>
                    <a:pt x="1217" y="1150"/>
                  </a:cubicBezTo>
                  <a:cubicBezTo>
                    <a:pt x="1341" y="1150"/>
                    <a:pt x="1577" y="1150"/>
                    <a:pt x="1904" y="1139"/>
                  </a:cubicBezTo>
                  <a:cubicBezTo>
                    <a:pt x="2096" y="1139"/>
                    <a:pt x="2231" y="1150"/>
                    <a:pt x="2321" y="1172"/>
                  </a:cubicBezTo>
                  <a:cubicBezTo>
                    <a:pt x="2411" y="1206"/>
                    <a:pt x="2524" y="1262"/>
                    <a:pt x="2681" y="1341"/>
                  </a:cubicBezTo>
                  <a:cubicBezTo>
                    <a:pt x="2738" y="1375"/>
                    <a:pt x="2771" y="1409"/>
                    <a:pt x="2783" y="1431"/>
                  </a:cubicBezTo>
                  <a:cubicBezTo>
                    <a:pt x="2794" y="1454"/>
                    <a:pt x="2783" y="1476"/>
                    <a:pt x="2738" y="1499"/>
                  </a:cubicBezTo>
                  <a:cubicBezTo>
                    <a:pt x="2709" y="1510"/>
                    <a:pt x="2681" y="1516"/>
                    <a:pt x="2653" y="1516"/>
                  </a:cubicBezTo>
                  <a:cubicBezTo>
                    <a:pt x="2625" y="1516"/>
                    <a:pt x="2597" y="1510"/>
                    <a:pt x="2569" y="1499"/>
                  </a:cubicBezTo>
                  <a:cubicBezTo>
                    <a:pt x="2512" y="1476"/>
                    <a:pt x="2400" y="1420"/>
                    <a:pt x="2208" y="1319"/>
                  </a:cubicBezTo>
                  <a:lnTo>
                    <a:pt x="2050" y="1229"/>
                  </a:lnTo>
                  <a:lnTo>
                    <a:pt x="1408" y="1488"/>
                  </a:lnTo>
                  <a:lnTo>
                    <a:pt x="1532" y="1567"/>
                  </a:lnTo>
                  <a:cubicBezTo>
                    <a:pt x="1836" y="1735"/>
                    <a:pt x="2118" y="1826"/>
                    <a:pt x="2366" y="1837"/>
                  </a:cubicBezTo>
                  <a:cubicBezTo>
                    <a:pt x="2407" y="1839"/>
                    <a:pt x="2448" y="1840"/>
                    <a:pt x="2488" y="1840"/>
                  </a:cubicBezTo>
                  <a:cubicBezTo>
                    <a:pt x="2687" y="1840"/>
                    <a:pt x="2869" y="1816"/>
                    <a:pt x="3019" y="1769"/>
                  </a:cubicBezTo>
                  <a:lnTo>
                    <a:pt x="3289" y="1916"/>
                  </a:lnTo>
                  <a:lnTo>
                    <a:pt x="3582" y="1792"/>
                  </a:lnTo>
                  <a:lnTo>
                    <a:pt x="3323" y="1657"/>
                  </a:lnTo>
                  <a:cubicBezTo>
                    <a:pt x="3515" y="1544"/>
                    <a:pt x="3594" y="1431"/>
                    <a:pt x="3560" y="1307"/>
                  </a:cubicBezTo>
                  <a:cubicBezTo>
                    <a:pt x="3537" y="1184"/>
                    <a:pt x="3402" y="1060"/>
                    <a:pt x="3154" y="925"/>
                  </a:cubicBezTo>
                  <a:cubicBezTo>
                    <a:pt x="3008" y="834"/>
                    <a:pt x="2861" y="778"/>
                    <a:pt x="2715" y="733"/>
                  </a:cubicBezTo>
                  <a:cubicBezTo>
                    <a:pt x="2580" y="699"/>
                    <a:pt x="2445" y="677"/>
                    <a:pt x="2332" y="665"/>
                  </a:cubicBezTo>
                  <a:cubicBezTo>
                    <a:pt x="2219" y="665"/>
                    <a:pt x="2028" y="665"/>
                    <a:pt x="1758" y="677"/>
                  </a:cubicBezTo>
                  <a:lnTo>
                    <a:pt x="1161" y="677"/>
                  </a:lnTo>
                  <a:cubicBezTo>
                    <a:pt x="1082" y="665"/>
                    <a:pt x="992" y="632"/>
                    <a:pt x="879" y="575"/>
                  </a:cubicBezTo>
                  <a:cubicBezTo>
                    <a:pt x="823" y="542"/>
                    <a:pt x="778" y="508"/>
                    <a:pt x="766" y="485"/>
                  </a:cubicBezTo>
                  <a:cubicBezTo>
                    <a:pt x="755" y="463"/>
                    <a:pt x="766" y="440"/>
                    <a:pt x="811" y="418"/>
                  </a:cubicBezTo>
                  <a:cubicBezTo>
                    <a:pt x="837" y="411"/>
                    <a:pt x="864" y="405"/>
                    <a:pt x="892" y="405"/>
                  </a:cubicBezTo>
                  <a:cubicBezTo>
                    <a:pt x="912" y="405"/>
                    <a:pt x="934" y="408"/>
                    <a:pt x="958" y="418"/>
                  </a:cubicBezTo>
                  <a:cubicBezTo>
                    <a:pt x="1014" y="429"/>
                    <a:pt x="1093" y="463"/>
                    <a:pt x="1217" y="530"/>
                  </a:cubicBezTo>
                  <a:lnTo>
                    <a:pt x="1330" y="598"/>
                  </a:lnTo>
                  <a:lnTo>
                    <a:pt x="1961" y="332"/>
                  </a:lnTo>
                  <a:lnTo>
                    <a:pt x="1961" y="332"/>
                  </a:lnTo>
                  <a:cubicBezTo>
                    <a:pt x="1964" y="334"/>
                    <a:pt x="1968" y="337"/>
                    <a:pt x="1972" y="339"/>
                  </a:cubicBezTo>
                  <a:lnTo>
                    <a:pt x="1972" y="328"/>
                  </a:lnTo>
                  <a:lnTo>
                    <a:pt x="1961" y="332"/>
                  </a:lnTo>
                  <a:lnTo>
                    <a:pt x="1961" y="332"/>
                  </a:lnTo>
                  <a:cubicBezTo>
                    <a:pt x="1909" y="302"/>
                    <a:pt x="1869" y="281"/>
                    <a:pt x="1848" y="260"/>
                  </a:cubicBezTo>
                  <a:cubicBezTo>
                    <a:pt x="1645" y="147"/>
                    <a:pt x="1442" y="80"/>
                    <a:pt x="1228" y="57"/>
                  </a:cubicBezTo>
                  <a:cubicBezTo>
                    <a:pt x="1175" y="52"/>
                    <a:pt x="1121" y="49"/>
                    <a:pt x="1068" y="49"/>
                  </a:cubicBezTo>
                  <a:cubicBezTo>
                    <a:pt x="907" y="49"/>
                    <a:pt x="744" y="74"/>
                    <a:pt x="575" y="125"/>
                  </a:cubicBezTo>
                  <a:lnTo>
                    <a:pt x="36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3"/>
            <p:cNvSpPr/>
            <p:nvPr/>
          </p:nvSpPr>
          <p:spPr>
            <a:xfrm>
              <a:off x="1768833" y="2074697"/>
              <a:ext cx="125556" cy="66935"/>
            </a:xfrm>
            <a:custGeom>
              <a:avLst/>
              <a:gdLst/>
              <a:ahLst/>
              <a:cxnLst/>
              <a:rect l="l" t="t" r="r" b="b"/>
              <a:pathLst>
                <a:path w="3594" h="1916" fill="none" extrusionOk="0">
                  <a:moveTo>
                    <a:pt x="1972" y="328"/>
                  </a:moveTo>
                  <a:lnTo>
                    <a:pt x="1330" y="598"/>
                  </a:lnTo>
                  <a:lnTo>
                    <a:pt x="1217" y="530"/>
                  </a:lnTo>
                  <a:cubicBezTo>
                    <a:pt x="1093" y="463"/>
                    <a:pt x="1014" y="429"/>
                    <a:pt x="958" y="418"/>
                  </a:cubicBezTo>
                  <a:cubicBezTo>
                    <a:pt x="902" y="395"/>
                    <a:pt x="857" y="406"/>
                    <a:pt x="811" y="418"/>
                  </a:cubicBezTo>
                  <a:cubicBezTo>
                    <a:pt x="766" y="440"/>
                    <a:pt x="755" y="463"/>
                    <a:pt x="766" y="485"/>
                  </a:cubicBezTo>
                  <a:cubicBezTo>
                    <a:pt x="778" y="508"/>
                    <a:pt x="823" y="542"/>
                    <a:pt x="879" y="575"/>
                  </a:cubicBezTo>
                  <a:cubicBezTo>
                    <a:pt x="992" y="632"/>
                    <a:pt x="1082" y="665"/>
                    <a:pt x="1161" y="677"/>
                  </a:cubicBezTo>
                  <a:cubicBezTo>
                    <a:pt x="1251" y="677"/>
                    <a:pt x="1442" y="677"/>
                    <a:pt x="1758" y="677"/>
                  </a:cubicBezTo>
                  <a:cubicBezTo>
                    <a:pt x="2028" y="665"/>
                    <a:pt x="2219" y="665"/>
                    <a:pt x="2332" y="665"/>
                  </a:cubicBezTo>
                  <a:cubicBezTo>
                    <a:pt x="2445" y="677"/>
                    <a:pt x="2580" y="699"/>
                    <a:pt x="2715" y="733"/>
                  </a:cubicBezTo>
                  <a:cubicBezTo>
                    <a:pt x="2861" y="778"/>
                    <a:pt x="3008" y="834"/>
                    <a:pt x="3154" y="925"/>
                  </a:cubicBezTo>
                  <a:cubicBezTo>
                    <a:pt x="3402" y="1060"/>
                    <a:pt x="3537" y="1184"/>
                    <a:pt x="3560" y="1307"/>
                  </a:cubicBezTo>
                  <a:cubicBezTo>
                    <a:pt x="3594" y="1431"/>
                    <a:pt x="3515" y="1544"/>
                    <a:pt x="3323" y="1657"/>
                  </a:cubicBezTo>
                  <a:lnTo>
                    <a:pt x="3582" y="1792"/>
                  </a:lnTo>
                  <a:lnTo>
                    <a:pt x="3289" y="1916"/>
                  </a:lnTo>
                  <a:lnTo>
                    <a:pt x="3019" y="1769"/>
                  </a:lnTo>
                  <a:cubicBezTo>
                    <a:pt x="2839" y="1826"/>
                    <a:pt x="2614" y="1848"/>
                    <a:pt x="2366" y="1837"/>
                  </a:cubicBezTo>
                  <a:cubicBezTo>
                    <a:pt x="2118" y="1826"/>
                    <a:pt x="1836" y="1735"/>
                    <a:pt x="1532" y="1567"/>
                  </a:cubicBezTo>
                  <a:lnTo>
                    <a:pt x="1408" y="1488"/>
                  </a:lnTo>
                  <a:lnTo>
                    <a:pt x="2050" y="1229"/>
                  </a:lnTo>
                  <a:lnTo>
                    <a:pt x="2208" y="1319"/>
                  </a:lnTo>
                  <a:cubicBezTo>
                    <a:pt x="2400" y="1420"/>
                    <a:pt x="2512" y="1476"/>
                    <a:pt x="2569" y="1499"/>
                  </a:cubicBezTo>
                  <a:cubicBezTo>
                    <a:pt x="2625" y="1521"/>
                    <a:pt x="2681" y="1521"/>
                    <a:pt x="2738" y="1499"/>
                  </a:cubicBezTo>
                  <a:cubicBezTo>
                    <a:pt x="2783" y="1476"/>
                    <a:pt x="2794" y="1454"/>
                    <a:pt x="2783" y="1431"/>
                  </a:cubicBezTo>
                  <a:cubicBezTo>
                    <a:pt x="2771" y="1409"/>
                    <a:pt x="2738" y="1375"/>
                    <a:pt x="2681" y="1341"/>
                  </a:cubicBezTo>
                  <a:cubicBezTo>
                    <a:pt x="2524" y="1262"/>
                    <a:pt x="2411" y="1206"/>
                    <a:pt x="2321" y="1172"/>
                  </a:cubicBezTo>
                  <a:cubicBezTo>
                    <a:pt x="2231" y="1150"/>
                    <a:pt x="2096" y="1139"/>
                    <a:pt x="1904" y="1139"/>
                  </a:cubicBezTo>
                  <a:cubicBezTo>
                    <a:pt x="1577" y="1150"/>
                    <a:pt x="1341" y="1150"/>
                    <a:pt x="1217" y="1150"/>
                  </a:cubicBezTo>
                  <a:cubicBezTo>
                    <a:pt x="1082" y="1139"/>
                    <a:pt x="935" y="1116"/>
                    <a:pt x="778" y="1082"/>
                  </a:cubicBezTo>
                  <a:cubicBezTo>
                    <a:pt x="609" y="1037"/>
                    <a:pt x="462" y="981"/>
                    <a:pt x="316" y="902"/>
                  </a:cubicBezTo>
                  <a:cubicBezTo>
                    <a:pt x="113" y="789"/>
                    <a:pt x="12" y="677"/>
                    <a:pt x="1" y="564"/>
                  </a:cubicBezTo>
                  <a:cubicBezTo>
                    <a:pt x="1" y="463"/>
                    <a:pt x="91" y="350"/>
                    <a:pt x="282" y="249"/>
                  </a:cubicBezTo>
                  <a:lnTo>
                    <a:pt x="57" y="125"/>
                  </a:lnTo>
                  <a:lnTo>
                    <a:pt x="361" y="1"/>
                  </a:lnTo>
                  <a:lnTo>
                    <a:pt x="575" y="125"/>
                  </a:lnTo>
                  <a:cubicBezTo>
                    <a:pt x="800" y="57"/>
                    <a:pt x="1014" y="35"/>
                    <a:pt x="1228" y="57"/>
                  </a:cubicBezTo>
                  <a:cubicBezTo>
                    <a:pt x="1442" y="80"/>
                    <a:pt x="1645" y="147"/>
                    <a:pt x="1848" y="260"/>
                  </a:cubicBezTo>
                  <a:cubicBezTo>
                    <a:pt x="1870" y="283"/>
                    <a:pt x="1915" y="305"/>
                    <a:pt x="1972" y="33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3"/>
            <p:cNvSpPr/>
            <p:nvPr/>
          </p:nvSpPr>
          <p:spPr>
            <a:xfrm>
              <a:off x="1477660" y="1901111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0"/>
                  </a:moveTo>
                  <a:cubicBezTo>
                    <a:pt x="9507" y="0"/>
                    <a:pt x="9400" y="31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3"/>
                    <a:pt x="226" y="5927"/>
                  </a:cubicBezTo>
                  <a:lnTo>
                    <a:pt x="5576" y="9081"/>
                  </a:lnTo>
                  <a:cubicBezTo>
                    <a:pt x="5694" y="9149"/>
                    <a:pt x="5824" y="9182"/>
                    <a:pt x="5952" y="9182"/>
                  </a:cubicBezTo>
                  <a:cubicBezTo>
                    <a:pt x="6080" y="9182"/>
                    <a:pt x="6207" y="9149"/>
                    <a:pt x="6319" y="9081"/>
                  </a:cubicBezTo>
                  <a:lnTo>
                    <a:pt x="15488" y="3742"/>
                  </a:lnTo>
                  <a:cubicBezTo>
                    <a:pt x="15645" y="3652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1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3"/>
            <p:cNvSpPr/>
            <p:nvPr/>
          </p:nvSpPr>
          <p:spPr>
            <a:xfrm>
              <a:off x="1477660" y="1900028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8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0"/>
                    <a:pt x="9496" y="0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4"/>
                    <a:pt x="226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3"/>
            <p:cNvSpPr/>
            <p:nvPr/>
          </p:nvSpPr>
          <p:spPr>
            <a:xfrm>
              <a:off x="1477660" y="1894683"/>
              <a:ext cx="546593" cy="320948"/>
            </a:xfrm>
            <a:custGeom>
              <a:avLst/>
              <a:gdLst/>
              <a:ahLst/>
              <a:cxnLst/>
              <a:rect l="l" t="t" r="r" b="b"/>
              <a:pathLst>
                <a:path w="15646" h="9187" extrusionOk="0">
                  <a:moveTo>
                    <a:pt x="9615" y="1"/>
                  </a:moveTo>
                  <a:cubicBezTo>
                    <a:pt x="9507" y="1"/>
                    <a:pt x="9400" y="29"/>
                    <a:pt x="9304" y="85"/>
                  </a:cubicBezTo>
                  <a:lnTo>
                    <a:pt x="226" y="5345"/>
                  </a:lnTo>
                  <a:cubicBezTo>
                    <a:pt x="1" y="5481"/>
                    <a:pt x="1" y="5796"/>
                    <a:pt x="226" y="5931"/>
                  </a:cubicBezTo>
                  <a:lnTo>
                    <a:pt x="5576" y="9085"/>
                  </a:lnTo>
                  <a:cubicBezTo>
                    <a:pt x="5694" y="9152"/>
                    <a:pt x="5824" y="9186"/>
                    <a:pt x="5952" y="9186"/>
                  </a:cubicBezTo>
                  <a:cubicBezTo>
                    <a:pt x="6080" y="9186"/>
                    <a:pt x="6207" y="9152"/>
                    <a:pt x="6319" y="9085"/>
                  </a:cubicBezTo>
                  <a:lnTo>
                    <a:pt x="15488" y="3746"/>
                  </a:lnTo>
                  <a:cubicBezTo>
                    <a:pt x="15645" y="3656"/>
                    <a:pt x="15645" y="3431"/>
                    <a:pt x="15488" y="3341"/>
                  </a:cubicBezTo>
                  <a:lnTo>
                    <a:pt x="9935" y="85"/>
                  </a:lnTo>
                  <a:cubicBezTo>
                    <a:pt x="9834" y="29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3"/>
            <p:cNvSpPr/>
            <p:nvPr/>
          </p:nvSpPr>
          <p:spPr>
            <a:xfrm>
              <a:off x="1477660" y="1893705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3"/>
                  </a:lnTo>
                  <a:cubicBezTo>
                    <a:pt x="5813" y="9248"/>
                    <a:pt x="6094" y="9248"/>
                    <a:pt x="6319" y="9113"/>
                  </a:cubicBezTo>
                  <a:lnTo>
                    <a:pt x="15488" y="3774"/>
                  </a:lnTo>
                  <a:cubicBezTo>
                    <a:pt x="15645" y="3684"/>
                    <a:pt x="15645" y="3459"/>
                    <a:pt x="15488" y="3369"/>
                  </a:cubicBezTo>
                  <a:lnTo>
                    <a:pt x="9935" y="113"/>
                  </a:lnTo>
                  <a:cubicBezTo>
                    <a:pt x="9732" y="1"/>
                    <a:pt x="9496" y="1"/>
                    <a:pt x="9304" y="113"/>
                  </a:cubicBezTo>
                  <a:lnTo>
                    <a:pt x="226" y="5373"/>
                  </a:lnTo>
                  <a:cubicBezTo>
                    <a:pt x="1" y="5509"/>
                    <a:pt x="1" y="5824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3"/>
            <p:cNvSpPr/>
            <p:nvPr/>
          </p:nvSpPr>
          <p:spPr>
            <a:xfrm>
              <a:off x="1531178" y="1927555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extrusionOk="0">
                  <a:moveTo>
                    <a:pt x="8752" y="0"/>
                  </a:moveTo>
                  <a:cubicBezTo>
                    <a:pt x="8628" y="169"/>
                    <a:pt x="8380" y="282"/>
                    <a:pt x="8088" y="282"/>
                  </a:cubicBezTo>
                  <a:cubicBezTo>
                    <a:pt x="7806" y="282"/>
                    <a:pt x="7558" y="169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8"/>
                    <a:pt x="271" y="4686"/>
                  </a:cubicBezTo>
                  <a:cubicBezTo>
                    <a:pt x="271" y="4855"/>
                    <a:pt x="169" y="4990"/>
                    <a:pt x="12" y="5091"/>
                  </a:cubicBezTo>
                  <a:lnTo>
                    <a:pt x="3774" y="7310"/>
                  </a:lnTo>
                  <a:cubicBezTo>
                    <a:pt x="3909" y="7153"/>
                    <a:pt x="4145" y="7051"/>
                    <a:pt x="4427" y="7051"/>
                  </a:cubicBezTo>
                  <a:cubicBezTo>
                    <a:pt x="4709" y="7051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2"/>
                    <a:pt x="12311" y="2276"/>
                    <a:pt x="12469" y="2174"/>
                  </a:cubicBezTo>
                  <a:lnTo>
                    <a:pt x="8752" y="0"/>
                  </a:ln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3"/>
            <p:cNvSpPr/>
            <p:nvPr/>
          </p:nvSpPr>
          <p:spPr>
            <a:xfrm>
              <a:off x="1531178" y="1927555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fill="none" extrusionOk="0">
                  <a:moveTo>
                    <a:pt x="12199" y="2580"/>
                  </a:moveTo>
                  <a:cubicBezTo>
                    <a:pt x="12199" y="2422"/>
                    <a:pt x="12311" y="2276"/>
                    <a:pt x="12469" y="2174"/>
                  </a:cubicBezTo>
                  <a:lnTo>
                    <a:pt x="8752" y="0"/>
                  </a:lnTo>
                  <a:cubicBezTo>
                    <a:pt x="8628" y="169"/>
                    <a:pt x="8380" y="282"/>
                    <a:pt x="8088" y="282"/>
                  </a:cubicBezTo>
                  <a:cubicBezTo>
                    <a:pt x="7806" y="282"/>
                    <a:pt x="7558" y="169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8"/>
                    <a:pt x="271" y="4686"/>
                  </a:cubicBezTo>
                  <a:cubicBezTo>
                    <a:pt x="271" y="4855"/>
                    <a:pt x="169" y="4990"/>
                    <a:pt x="12" y="5091"/>
                  </a:cubicBezTo>
                  <a:lnTo>
                    <a:pt x="3774" y="7310"/>
                  </a:lnTo>
                  <a:cubicBezTo>
                    <a:pt x="3909" y="7153"/>
                    <a:pt x="4145" y="7051"/>
                    <a:pt x="4427" y="7051"/>
                  </a:cubicBezTo>
                  <a:cubicBezTo>
                    <a:pt x="4709" y="7051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3"/>
            <p:cNvSpPr/>
            <p:nvPr/>
          </p:nvSpPr>
          <p:spPr>
            <a:xfrm>
              <a:off x="1671647" y="1987747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extrusionOk="0">
                  <a:moveTo>
                    <a:pt x="2456" y="1"/>
                  </a:moveTo>
                  <a:cubicBezTo>
                    <a:pt x="1104" y="1"/>
                    <a:pt x="0" y="767"/>
                    <a:pt x="0" y="1702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2"/>
                  </a:cubicBezTo>
                  <a:cubicBezTo>
                    <a:pt x="4911" y="767"/>
                    <a:pt x="3819" y="1"/>
                    <a:pt x="24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3"/>
            <p:cNvSpPr/>
            <p:nvPr/>
          </p:nvSpPr>
          <p:spPr>
            <a:xfrm>
              <a:off x="1671647" y="1987747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fill="none" extrusionOk="0">
                  <a:moveTo>
                    <a:pt x="4911" y="1702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2"/>
                  </a:cubicBezTo>
                  <a:cubicBezTo>
                    <a:pt x="0" y="767"/>
                    <a:pt x="1104" y="1"/>
                    <a:pt x="2456" y="1"/>
                  </a:cubicBezTo>
                  <a:cubicBezTo>
                    <a:pt x="3819" y="1"/>
                    <a:pt x="4911" y="767"/>
                    <a:pt x="4911" y="1702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3"/>
            <p:cNvSpPr/>
            <p:nvPr/>
          </p:nvSpPr>
          <p:spPr>
            <a:xfrm>
              <a:off x="1694878" y="2014122"/>
              <a:ext cx="125556" cy="66516"/>
            </a:xfrm>
            <a:custGeom>
              <a:avLst/>
              <a:gdLst/>
              <a:ahLst/>
              <a:cxnLst/>
              <a:rect l="l" t="t" r="r" b="b"/>
              <a:pathLst>
                <a:path w="3594" h="1904" extrusionOk="0">
                  <a:moveTo>
                    <a:pt x="360" y="0"/>
                  </a:moveTo>
                  <a:lnTo>
                    <a:pt x="68" y="113"/>
                  </a:lnTo>
                  <a:lnTo>
                    <a:pt x="282" y="237"/>
                  </a:lnTo>
                  <a:cubicBezTo>
                    <a:pt x="90" y="338"/>
                    <a:pt x="0" y="451"/>
                    <a:pt x="11" y="552"/>
                  </a:cubicBezTo>
                  <a:cubicBezTo>
                    <a:pt x="11" y="665"/>
                    <a:pt x="124" y="778"/>
                    <a:pt x="327" y="890"/>
                  </a:cubicBezTo>
                  <a:cubicBezTo>
                    <a:pt x="462" y="969"/>
                    <a:pt x="608" y="1025"/>
                    <a:pt x="777" y="1070"/>
                  </a:cubicBezTo>
                  <a:cubicBezTo>
                    <a:pt x="935" y="1104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4"/>
                    <a:pt x="2523" y="1251"/>
                    <a:pt x="2681" y="1329"/>
                  </a:cubicBezTo>
                  <a:cubicBezTo>
                    <a:pt x="2737" y="1363"/>
                    <a:pt x="2771" y="1397"/>
                    <a:pt x="2782" y="1420"/>
                  </a:cubicBezTo>
                  <a:cubicBezTo>
                    <a:pt x="2793" y="1442"/>
                    <a:pt x="2782" y="1465"/>
                    <a:pt x="2737" y="1487"/>
                  </a:cubicBezTo>
                  <a:cubicBezTo>
                    <a:pt x="2709" y="1498"/>
                    <a:pt x="2684" y="1504"/>
                    <a:pt x="2657" y="1504"/>
                  </a:cubicBezTo>
                  <a:cubicBezTo>
                    <a:pt x="2630" y="1504"/>
                    <a:pt x="2602" y="1498"/>
                    <a:pt x="2568" y="1487"/>
                  </a:cubicBezTo>
                  <a:cubicBezTo>
                    <a:pt x="2512" y="1476"/>
                    <a:pt x="2399" y="1408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5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4"/>
                    <a:pt x="3030" y="1757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2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6"/>
                    <a:pt x="2714" y="721"/>
                  </a:cubicBezTo>
                  <a:cubicBezTo>
                    <a:pt x="2579" y="687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3"/>
                    <a:pt x="1376" y="673"/>
                  </a:cubicBezTo>
                  <a:cubicBezTo>
                    <a:pt x="1278" y="673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3"/>
                  </a:cubicBezTo>
                  <a:cubicBezTo>
                    <a:pt x="755" y="451"/>
                    <a:pt x="766" y="428"/>
                    <a:pt x="811" y="406"/>
                  </a:cubicBezTo>
                  <a:cubicBezTo>
                    <a:pt x="837" y="399"/>
                    <a:pt x="863" y="393"/>
                    <a:pt x="891" y="393"/>
                  </a:cubicBezTo>
                  <a:cubicBezTo>
                    <a:pt x="912" y="393"/>
                    <a:pt x="934" y="396"/>
                    <a:pt x="957" y="406"/>
                  </a:cubicBezTo>
                  <a:cubicBezTo>
                    <a:pt x="1014" y="417"/>
                    <a:pt x="1093" y="462"/>
                    <a:pt x="1216" y="518"/>
                  </a:cubicBezTo>
                  <a:lnTo>
                    <a:pt x="1329" y="586"/>
                  </a:lnTo>
                  <a:lnTo>
                    <a:pt x="1971" y="327"/>
                  </a:lnTo>
                  <a:cubicBezTo>
                    <a:pt x="1915" y="293"/>
                    <a:pt x="1881" y="271"/>
                    <a:pt x="1847" y="248"/>
                  </a:cubicBezTo>
                  <a:cubicBezTo>
                    <a:pt x="1644" y="136"/>
                    <a:pt x="1442" y="68"/>
                    <a:pt x="1228" y="45"/>
                  </a:cubicBezTo>
                  <a:cubicBezTo>
                    <a:pt x="1174" y="40"/>
                    <a:pt x="1121" y="37"/>
                    <a:pt x="1067" y="37"/>
                  </a:cubicBezTo>
                  <a:cubicBezTo>
                    <a:pt x="906" y="37"/>
                    <a:pt x="743" y="62"/>
                    <a:pt x="574" y="113"/>
                  </a:cubicBezTo>
                  <a:lnTo>
                    <a:pt x="36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6" name="Google Shape;936;p33"/>
            <p:cNvSpPr/>
            <p:nvPr/>
          </p:nvSpPr>
          <p:spPr>
            <a:xfrm>
              <a:off x="1694878" y="2014122"/>
              <a:ext cx="125556" cy="66516"/>
            </a:xfrm>
            <a:custGeom>
              <a:avLst/>
              <a:gdLst/>
              <a:ahLst/>
              <a:cxnLst/>
              <a:rect l="l" t="t" r="r" b="b"/>
              <a:pathLst>
                <a:path w="3594" h="1904" fill="none" extrusionOk="0">
                  <a:moveTo>
                    <a:pt x="1971" y="327"/>
                  </a:moveTo>
                  <a:lnTo>
                    <a:pt x="1329" y="586"/>
                  </a:lnTo>
                  <a:lnTo>
                    <a:pt x="1216" y="518"/>
                  </a:lnTo>
                  <a:cubicBezTo>
                    <a:pt x="1093" y="462"/>
                    <a:pt x="1014" y="417"/>
                    <a:pt x="957" y="406"/>
                  </a:cubicBezTo>
                  <a:cubicBezTo>
                    <a:pt x="901" y="383"/>
                    <a:pt x="856" y="395"/>
                    <a:pt x="811" y="406"/>
                  </a:cubicBezTo>
                  <a:cubicBezTo>
                    <a:pt x="766" y="428"/>
                    <a:pt x="755" y="451"/>
                    <a:pt x="766" y="473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6"/>
                    <a:pt x="1442" y="676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7"/>
                    <a:pt x="2714" y="721"/>
                  </a:cubicBezTo>
                  <a:cubicBezTo>
                    <a:pt x="2861" y="766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2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7"/>
                  </a:lnTo>
                  <a:cubicBezTo>
                    <a:pt x="2838" y="1814"/>
                    <a:pt x="2613" y="1836"/>
                    <a:pt x="2365" y="1825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8"/>
                    <a:pt x="2512" y="1476"/>
                    <a:pt x="2568" y="1487"/>
                  </a:cubicBezTo>
                  <a:cubicBezTo>
                    <a:pt x="2636" y="1510"/>
                    <a:pt x="2681" y="1510"/>
                    <a:pt x="2737" y="1487"/>
                  </a:cubicBezTo>
                  <a:cubicBezTo>
                    <a:pt x="2782" y="1465"/>
                    <a:pt x="2793" y="1442"/>
                    <a:pt x="2782" y="1420"/>
                  </a:cubicBezTo>
                  <a:cubicBezTo>
                    <a:pt x="2771" y="1397"/>
                    <a:pt x="2737" y="1363"/>
                    <a:pt x="2681" y="1329"/>
                  </a:cubicBezTo>
                  <a:cubicBezTo>
                    <a:pt x="2523" y="1251"/>
                    <a:pt x="2410" y="1194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4"/>
                    <a:pt x="777" y="1070"/>
                  </a:cubicBezTo>
                  <a:cubicBezTo>
                    <a:pt x="608" y="1025"/>
                    <a:pt x="462" y="969"/>
                    <a:pt x="327" y="890"/>
                  </a:cubicBezTo>
                  <a:cubicBezTo>
                    <a:pt x="124" y="778"/>
                    <a:pt x="11" y="665"/>
                    <a:pt x="11" y="552"/>
                  </a:cubicBezTo>
                  <a:cubicBezTo>
                    <a:pt x="0" y="451"/>
                    <a:pt x="90" y="338"/>
                    <a:pt x="282" y="237"/>
                  </a:cubicBezTo>
                  <a:lnTo>
                    <a:pt x="68" y="113"/>
                  </a:lnTo>
                  <a:lnTo>
                    <a:pt x="360" y="0"/>
                  </a:lnTo>
                  <a:lnTo>
                    <a:pt x="574" y="113"/>
                  </a:lnTo>
                  <a:cubicBezTo>
                    <a:pt x="800" y="45"/>
                    <a:pt x="1014" y="23"/>
                    <a:pt x="1228" y="45"/>
                  </a:cubicBezTo>
                  <a:cubicBezTo>
                    <a:pt x="1442" y="68"/>
                    <a:pt x="1644" y="136"/>
                    <a:pt x="1847" y="248"/>
                  </a:cubicBezTo>
                  <a:cubicBezTo>
                    <a:pt x="1881" y="271"/>
                    <a:pt x="1915" y="293"/>
                    <a:pt x="1971" y="32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7" name="Google Shape;937;p33"/>
            <p:cNvSpPr/>
            <p:nvPr/>
          </p:nvSpPr>
          <p:spPr>
            <a:xfrm>
              <a:off x="1628364" y="2101072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7" y="1"/>
                  </a:moveTo>
                  <a:cubicBezTo>
                    <a:pt x="271" y="1"/>
                    <a:pt x="1" y="181"/>
                    <a:pt x="1" y="406"/>
                  </a:cubicBezTo>
                  <a:cubicBezTo>
                    <a:pt x="1" y="631"/>
                    <a:pt x="271" y="823"/>
                    <a:pt x="597" y="823"/>
                  </a:cubicBezTo>
                  <a:cubicBezTo>
                    <a:pt x="924" y="823"/>
                    <a:pt x="1183" y="631"/>
                    <a:pt x="1183" y="406"/>
                  </a:cubicBezTo>
                  <a:cubicBezTo>
                    <a:pt x="1183" y="181"/>
                    <a:pt x="924" y="1"/>
                    <a:pt x="59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8" name="Google Shape;938;p33"/>
            <p:cNvSpPr/>
            <p:nvPr/>
          </p:nvSpPr>
          <p:spPr>
            <a:xfrm>
              <a:off x="1843592" y="1975555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8" y="1"/>
                  </a:moveTo>
                  <a:cubicBezTo>
                    <a:pt x="260" y="1"/>
                    <a:pt x="1" y="181"/>
                    <a:pt x="1" y="406"/>
                  </a:cubicBezTo>
                  <a:cubicBezTo>
                    <a:pt x="1" y="631"/>
                    <a:pt x="260" y="823"/>
                    <a:pt x="598" y="823"/>
                  </a:cubicBezTo>
                  <a:cubicBezTo>
                    <a:pt x="924" y="823"/>
                    <a:pt x="1183" y="631"/>
                    <a:pt x="1183" y="406"/>
                  </a:cubicBezTo>
                  <a:cubicBezTo>
                    <a:pt x="1183" y="181"/>
                    <a:pt x="924" y="1"/>
                    <a:pt x="59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9" name="Google Shape;939;p33"/>
            <p:cNvSpPr/>
            <p:nvPr/>
          </p:nvSpPr>
          <p:spPr>
            <a:xfrm>
              <a:off x="1477660" y="1871591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0"/>
                  </a:moveTo>
                  <a:cubicBezTo>
                    <a:pt x="9507" y="0"/>
                    <a:pt x="9400" y="31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4"/>
                    <a:pt x="226" y="5928"/>
                  </a:cubicBezTo>
                  <a:lnTo>
                    <a:pt x="5576" y="9081"/>
                  </a:lnTo>
                  <a:cubicBezTo>
                    <a:pt x="5694" y="9149"/>
                    <a:pt x="5824" y="9183"/>
                    <a:pt x="5952" y="9183"/>
                  </a:cubicBezTo>
                  <a:cubicBezTo>
                    <a:pt x="6080" y="9183"/>
                    <a:pt x="6207" y="9149"/>
                    <a:pt x="6319" y="9081"/>
                  </a:cubicBezTo>
                  <a:lnTo>
                    <a:pt x="15488" y="3742"/>
                  </a:lnTo>
                  <a:cubicBezTo>
                    <a:pt x="15645" y="3652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1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3"/>
            <p:cNvSpPr/>
            <p:nvPr/>
          </p:nvSpPr>
          <p:spPr>
            <a:xfrm>
              <a:off x="1477660" y="1870508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0"/>
                    <a:pt x="9496" y="0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5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3"/>
            <p:cNvSpPr/>
            <p:nvPr/>
          </p:nvSpPr>
          <p:spPr>
            <a:xfrm>
              <a:off x="1477660" y="1865198"/>
              <a:ext cx="546593" cy="320913"/>
            </a:xfrm>
            <a:custGeom>
              <a:avLst/>
              <a:gdLst/>
              <a:ahLst/>
              <a:cxnLst/>
              <a:rect l="l" t="t" r="r" b="b"/>
              <a:pathLst>
                <a:path w="15646" h="9186" extrusionOk="0">
                  <a:moveTo>
                    <a:pt x="9615" y="0"/>
                  </a:moveTo>
                  <a:cubicBezTo>
                    <a:pt x="9507" y="0"/>
                    <a:pt x="9400" y="28"/>
                    <a:pt x="9304" y="85"/>
                  </a:cubicBezTo>
                  <a:lnTo>
                    <a:pt x="226" y="5345"/>
                  </a:lnTo>
                  <a:cubicBezTo>
                    <a:pt x="1" y="5480"/>
                    <a:pt x="1" y="5795"/>
                    <a:pt x="226" y="5930"/>
                  </a:cubicBezTo>
                  <a:lnTo>
                    <a:pt x="5576" y="9084"/>
                  </a:lnTo>
                  <a:cubicBezTo>
                    <a:pt x="5694" y="9152"/>
                    <a:pt x="5824" y="9185"/>
                    <a:pt x="5952" y="9185"/>
                  </a:cubicBezTo>
                  <a:cubicBezTo>
                    <a:pt x="6080" y="9185"/>
                    <a:pt x="6207" y="9152"/>
                    <a:pt x="6319" y="9084"/>
                  </a:cubicBezTo>
                  <a:lnTo>
                    <a:pt x="15488" y="3745"/>
                  </a:lnTo>
                  <a:cubicBezTo>
                    <a:pt x="15645" y="3655"/>
                    <a:pt x="15645" y="3430"/>
                    <a:pt x="15488" y="3340"/>
                  </a:cubicBezTo>
                  <a:lnTo>
                    <a:pt x="9935" y="85"/>
                  </a:lnTo>
                  <a:cubicBezTo>
                    <a:pt x="9834" y="28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3"/>
            <p:cNvSpPr/>
            <p:nvPr/>
          </p:nvSpPr>
          <p:spPr>
            <a:xfrm>
              <a:off x="1477660" y="1864220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8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13"/>
                  </a:lnTo>
                  <a:cubicBezTo>
                    <a:pt x="9732" y="0"/>
                    <a:pt x="9496" y="0"/>
                    <a:pt x="9304" y="113"/>
                  </a:cubicBezTo>
                  <a:lnTo>
                    <a:pt x="226" y="5373"/>
                  </a:lnTo>
                  <a:cubicBezTo>
                    <a:pt x="1" y="5508"/>
                    <a:pt x="1" y="5823"/>
                    <a:pt x="226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3"/>
            <p:cNvSpPr/>
            <p:nvPr/>
          </p:nvSpPr>
          <p:spPr>
            <a:xfrm>
              <a:off x="1531178" y="1898036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extrusionOk="0">
                  <a:moveTo>
                    <a:pt x="8752" y="1"/>
                  </a:moveTo>
                  <a:cubicBezTo>
                    <a:pt x="8628" y="170"/>
                    <a:pt x="8380" y="282"/>
                    <a:pt x="8088" y="282"/>
                  </a:cubicBezTo>
                  <a:cubicBezTo>
                    <a:pt x="7806" y="282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0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2"/>
                    <a:pt x="12311" y="2276"/>
                    <a:pt x="12469" y="2175"/>
                  </a:cubicBezTo>
                  <a:lnTo>
                    <a:pt x="8752" y="1"/>
                  </a:ln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3"/>
            <p:cNvSpPr/>
            <p:nvPr/>
          </p:nvSpPr>
          <p:spPr>
            <a:xfrm>
              <a:off x="1531178" y="1898036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fill="none" extrusionOk="0">
                  <a:moveTo>
                    <a:pt x="12199" y="2580"/>
                  </a:moveTo>
                  <a:cubicBezTo>
                    <a:pt x="12199" y="2422"/>
                    <a:pt x="12311" y="2276"/>
                    <a:pt x="12469" y="2175"/>
                  </a:cubicBezTo>
                  <a:lnTo>
                    <a:pt x="8752" y="1"/>
                  </a:lnTo>
                  <a:cubicBezTo>
                    <a:pt x="8628" y="170"/>
                    <a:pt x="8380" y="282"/>
                    <a:pt x="8088" y="282"/>
                  </a:cubicBezTo>
                  <a:cubicBezTo>
                    <a:pt x="7806" y="282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0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3"/>
            <p:cNvSpPr/>
            <p:nvPr/>
          </p:nvSpPr>
          <p:spPr>
            <a:xfrm>
              <a:off x="1671647" y="1958262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1"/>
                  </a:cubicBezTo>
                  <a:cubicBezTo>
                    <a:pt x="4911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3"/>
            <p:cNvSpPr/>
            <p:nvPr/>
          </p:nvSpPr>
          <p:spPr>
            <a:xfrm>
              <a:off x="1671647" y="1958262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fill="none" extrusionOk="0">
                  <a:moveTo>
                    <a:pt x="4911" y="1701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11" y="766"/>
                    <a:pt x="4911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3"/>
            <p:cNvSpPr/>
            <p:nvPr/>
          </p:nvSpPr>
          <p:spPr>
            <a:xfrm>
              <a:off x="1694878" y="1984602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0" y="1"/>
                  </a:moveTo>
                  <a:lnTo>
                    <a:pt x="68" y="113"/>
                  </a:lnTo>
                  <a:lnTo>
                    <a:pt x="282" y="237"/>
                  </a:lnTo>
                  <a:cubicBezTo>
                    <a:pt x="90" y="339"/>
                    <a:pt x="0" y="451"/>
                    <a:pt x="11" y="553"/>
                  </a:cubicBezTo>
                  <a:cubicBezTo>
                    <a:pt x="11" y="665"/>
                    <a:pt x="124" y="778"/>
                    <a:pt x="327" y="890"/>
                  </a:cubicBezTo>
                  <a:cubicBezTo>
                    <a:pt x="462" y="969"/>
                    <a:pt x="608" y="1026"/>
                    <a:pt x="777" y="1071"/>
                  </a:cubicBezTo>
                  <a:cubicBezTo>
                    <a:pt x="935" y="1104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5"/>
                    <a:pt x="2523" y="1251"/>
                    <a:pt x="2681" y="1330"/>
                  </a:cubicBezTo>
                  <a:cubicBezTo>
                    <a:pt x="2737" y="1363"/>
                    <a:pt x="2771" y="1397"/>
                    <a:pt x="2782" y="1420"/>
                  </a:cubicBezTo>
                  <a:cubicBezTo>
                    <a:pt x="2793" y="1442"/>
                    <a:pt x="2782" y="1465"/>
                    <a:pt x="2737" y="1487"/>
                  </a:cubicBezTo>
                  <a:cubicBezTo>
                    <a:pt x="2709" y="1499"/>
                    <a:pt x="2684" y="1504"/>
                    <a:pt x="2657" y="1504"/>
                  </a:cubicBezTo>
                  <a:cubicBezTo>
                    <a:pt x="2630" y="1504"/>
                    <a:pt x="2602" y="1499"/>
                    <a:pt x="2568" y="1487"/>
                  </a:cubicBezTo>
                  <a:cubicBezTo>
                    <a:pt x="2512" y="1476"/>
                    <a:pt x="2399" y="1409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5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5"/>
                    <a:pt x="3030" y="1758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2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7"/>
                    <a:pt x="2714" y="721"/>
                  </a:cubicBezTo>
                  <a:cubicBezTo>
                    <a:pt x="2579" y="688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4"/>
                    <a:pt x="1376" y="674"/>
                  </a:cubicBezTo>
                  <a:cubicBezTo>
                    <a:pt x="1278" y="674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4"/>
                  </a:cubicBezTo>
                  <a:cubicBezTo>
                    <a:pt x="755" y="451"/>
                    <a:pt x="766" y="429"/>
                    <a:pt x="811" y="406"/>
                  </a:cubicBezTo>
                  <a:cubicBezTo>
                    <a:pt x="837" y="400"/>
                    <a:pt x="863" y="393"/>
                    <a:pt x="891" y="393"/>
                  </a:cubicBezTo>
                  <a:cubicBezTo>
                    <a:pt x="912" y="393"/>
                    <a:pt x="934" y="397"/>
                    <a:pt x="957" y="406"/>
                  </a:cubicBezTo>
                  <a:cubicBezTo>
                    <a:pt x="1014" y="417"/>
                    <a:pt x="1093" y="462"/>
                    <a:pt x="1216" y="519"/>
                  </a:cubicBezTo>
                  <a:lnTo>
                    <a:pt x="1329" y="586"/>
                  </a:lnTo>
                  <a:lnTo>
                    <a:pt x="1971" y="327"/>
                  </a:lnTo>
                  <a:cubicBezTo>
                    <a:pt x="1915" y="293"/>
                    <a:pt x="1881" y="271"/>
                    <a:pt x="1847" y="248"/>
                  </a:cubicBezTo>
                  <a:cubicBezTo>
                    <a:pt x="1644" y="136"/>
                    <a:pt x="1442" y="68"/>
                    <a:pt x="1228" y="46"/>
                  </a:cubicBezTo>
                  <a:cubicBezTo>
                    <a:pt x="1174" y="40"/>
                    <a:pt x="1121" y="37"/>
                    <a:pt x="1067" y="37"/>
                  </a:cubicBezTo>
                  <a:cubicBezTo>
                    <a:pt x="906" y="37"/>
                    <a:pt x="743" y="63"/>
                    <a:pt x="574" y="113"/>
                  </a:cubicBezTo>
                  <a:lnTo>
                    <a:pt x="36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8" name="Google Shape;948;p33"/>
            <p:cNvSpPr/>
            <p:nvPr/>
          </p:nvSpPr>
          <p:spPr>
            <a:xfrm>
              <a:off x="1694878" y="1984602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1" y="327"/>
                  </a:moveTo>
                  <a:lnTo>
                    <a:pt x="1329" y="586"/>
                  </a:lnTo>
                  <a:lnTo>
                    <a:pt x="1216" y="519"/>
                  </a:lnTo>
                  <a:cubicBezTo>
                    <a:pt x="1093" y="462"/>
                    <a:pt x="1014" y="417"/>
                    <a:pt x="957" y="406"/>
                  </a:cubicBezTo>
                  <a:cubicBezTo>
                    <a:pt x="901" y="384"/>
                    <a:pt x="856" y="395"/>
                    <a:pt x="811" y="406"/>
                  </a:cubicBezTo>
                  <a:cubicBezTo>
                    <a:pt x="766" y="429"/>
                    <a:pt x="755" y="451"/>
                    <a:pt x="766" y="474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6"/>
                    <a:pt x="1442" y="676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8"/>
                    <a:pt x="2714" y="721"/>
                  </a:cubicBezTo>
                  <a:cubicBezTo>
                    <a:pt x="2861" y="767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2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8"/>
                  </a:lnTo>
                  <a:cubicBezTo>
                    <a:pt x="2838" y="1814"/>
                    <a:pt x="2613" y="1837"/>
                    <a:pt x="2365" y="1825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9"/>
                    <a:pt x="2512" y="1476"/>
                    <a:pt x="2568" y="1487"/>
                  </a:cubicBezTo>
                  <a:cubicBezTo>
                    <a:pt x="2636" y="1510"/>
                    <a:pt x="2681" y="1510"/>
                    <a:pt x="2737" y="1487"/>
                  </a:cubicBezTo>
                  <a:cubicBezTo>
                    <a:pt x="2782" y="1465"/>
                    <a:pt x="2793" y="1442"/>
                    <a:pt x="2782" y="1420"/>
                  </a:cubicBezTo>
                  <a:cubicBezTo>
                    <a:pt x="2771" y="1397"/>
                    <a:pt x="2737" y="1363"/>
                    <a:pt x="2681" y="1330"/>
                  </a:cubicBezTo>
                  <a:cubicBezTo>
                    <a:pt x="2523" y="1251"/>
                    <a:pt x="2410" y="1195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4"/>
                    <a:pt x="777" y="1071"/>
                  </a:cubicBezTo>
                  <a:cubicBezTo>
                    <a:pt x="608" y="1026"/>
                    <a:pt x="462" y="969"/>
                    <a:pt x="327" y="890"/>
                  </a:cubicBezTo>
                  <a:cubicBezTo>
                    <a:pt x="124" y="778"/>
                    <a:pt x="11" y="665"/>
                    <a:pt x="11" y="553"/>
                  </a:cubicBezTo>
                  <a:cubicBezTo>
                    <a:pt x="0" y="451"/>
                    <a:pt x="90" y="339"/>
                    <a:pt x="282" y="237"/>
                  </a:cubicBezTo>
                  <a:lnTo>
                    <a:pt x="68" y="113"/>
                  </a:lnTo>
                  <a:lnTo>
                    <a:pt x="360" y="1"/>
                  </a:lnTo>
                  <a:lnTo>
                    <a:pt x="574" y="113"/>
                  </a:lnTo>
                  <a:cubicBezTo>
                    <a:pt x="800" y="46"/>
                    <a:pt x="1014" y="23"/>
                    <a:pt x="1228" y="46"/>
                  </a:cubicBezTo>
                  <a:cubicBezTo>
                    <a:pt x="1442" y="68"/>
                    <a:pt x="1644" y="136"/>
                    <a:pt x="1847" y="248"/>
                  </a:cubicBezTo>
                  <a:cubicBezTo>
                    <a:pt x="1881" y="271"/>
                    <a:pt x="1915" y="293"/>
                    <a:pt x="1971" y="32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3"/>
            <p:cNvSpPr/>
            <p:nvPr/>
          </p:nvSpPr>
          <p:spPr>
            <a:xfrm>
              <a:off x="1628364" y="2071553"/>
              <a:ext cx="41363" cy="28786"/>
            </a:xfrm>
            <a:custGeom>
              <a:avLst/>
              <a:gdLst/>
              <a:ahLst/>
              <a:cxnLst/>
              <a:rect l="l" t="t" r="r" b="b"/>
              <a:pathLst>
                <a:path w="1184" h="824" extrusionOk="0">
                  <a:moveTo>
                    <a:pt x="597" y="1"/>
                  </a:moveTo>
                  <a:cubicBezTo>
                    <a:pt x="271" y="1"/>
                    <a:pt x="1" y="181"/>
                    <a:pt x="1" y="406"/>
                  </a:cubicBezTo>
                  <a:cubicBezTo>
                    <a:pt x="1" y="632"/>
                    <a:pt x="271" y="823"/>
                    <a:pt x="597" y="823"/>
                  </a:cubicBezTo>
                  <a:cubicBezTo>
                    <a:pt x="924" y="823"/>
                    <a:pt x="1183" y="632"/>
                    <a:pt x="1183" y="406"/>
                  </a:cubicBezTo>
                  <a:cubicBezTo>
                    <a:pt x="1183" y="181"/>
                    <a:pt x="924" y="1"/>
                    <a:pt x="59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3"/>
            <p:cNvSpPr/>
            <p:nvPr/>
          </p:nvSpPr>
          <p:spPr>
            <a:xfrm>
              <a:off x="1843592" y="1946035"/>
              <a:ext cx="41363" cy="28786"/>
            </a:xfrm>
            <a:custGeom>
              <a:avLst/>
              <a:gdLst/>
              <a:ahLst/>
              <a:cxnLst/>
              <a:rect l="l" t="t" r="r" b="b"/>
              <a:pathLst>
                <a:path w="1184" h="824" extrusionOk="0">
                  <a:moveTo>
                    <a:pt x="598" y="1"/>
                  </a:moveTo>
                  <a:cubicBezTo>
                    <a:pt x="260" y="1"/>
                    <a:pt x="1" y="181"/>
                    <a:pt x="1" y="406"/>
                  </a:cubicBezTo>
                  <a:cubicBezTo>
                    <a:pt x="1" y="632"/>
                    <a:pt x="260" y="823"/>
                    <a:pt x="598" y="823"/>
                  </a:cubicBezTo>
                  <a:cubicBezTo>
                    <a:pt x="924" y="823"/>
                    <a:pt x="1183" y="632"/>
                    <a:pt x="1183" y="406"/>
                  </a:cubicBezTo>
                  <a:cubicBezTo>
                    <a:pt x="1183" y="181"/>
                    <a:pt x="924" y="1"/>
                    <a:pt x="59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3"/>
            <p:cNvSpPr/>
            <p:nvPr/>
          </p:nvSpPr>
          <p:spPr>
            <a:xfrm>
              <a:off x="1477660" y="1842072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1"/>
                  </a:moveTo>
                  <a:cubicBezTo>
                    <a:pt x="9507" y="1"/>
                    <a:pt x="9400" y="32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4"/>
                    <a:pt x="226" y="5928"/>
                  </a:cubicBezTo>
                  <a:lnTo>
                    <a:pt x="5576" y="9082"/>
                  </a:lnTo>
                  <a:cubicBezTo>
                    <a:pt x="5694" y="9149"/>
                    <a:pt x="5824" y="9183"/>
                    <a:pt x="5952" y="9183"/>
                  </a:cubicBezTo>
                  <a:cubicBezTo>
                    <a:pt x="6080" y="9183"/>
                    <a:pt x="6207" y="9149"/>
                    <a:pt x="6319" y="9082"/>
                  </a:cubicBezTo>
                  <a:lnTo>
                    <a:pt x="15488" y="3743"/>
                  </a:lnTo>
                  <a:cubicBezTo>
                    <a:pt x="15645" y="3653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2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3"/>
            <p:cNvSpPr/>
            <p:nvPr/>
          </p:nvSpPr>
          <p:spPr>
            <a:xfrm>
              <a:off x="1477660" y="1840989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3"/>
                  </a:lnTo>
                  <a:cubicBezTo>
                    <a:pt x="5813" y="9248"/>
                    <a:pt x="6094" y="9248"/>
                    <a:pt x="6319" y="9113"/>
                  </a:cubicBezTo>
                  <a:lnTo>
                    <a:pt x="15488" y="3774"/>
                  </a:lnTo>
                  <a:cubicBezTo>
                    <a:pt x="15645" y="3684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1"/>
                    <a:pt x="9496" y="1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5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3"/>
            <p:cNvSpPr/>
            <p:nvPr/>
          </p:nvSpPr>
          <p:spPr>
            <a:xfrm>
              <a:off x="1477660" y="1835679"/>
              <a:ext cx="546593" cy="320913"/>
            </a:xfrm>
            <a:custGeom>
              <a:avLst/>
              <a:gdLst/>
              <a:ahLst/>
              <a:cxnLst/>
              <a:rect l="l" t="t" r="r" b="b"/>
              <a:pathLst>
                <a:path w="15646" h="9186" extrusionOk="0">
                  <a:moveTo>
                    <a:pt x="9615" y="1"/>
                  </a:moveTo>
                  <a:cubicBezTo>
                    <a:pt x="9507" y="1"/>
                    <a:pt x="9400" y="29"/>
                    <a:pt x="9304" y="85"/>
                  </a:cubicBezTo>
                  <a:lnTo>
                    <a:pt x="226" y="5345"/>
                  </a:lnTo>
                  <a:cubicBezTo>
                    <a:pt x="1" y="5480"/>
                    <a:pt x="1" y="5795"/>
                    <a:pt x="226" y="5931"/>
                  </a:cubicBezTo>
                  <a:lnTo>
                    <a:pt x="5576" y="9084"/>
                  </a:lnTo>
                  <a:cubicBezTo>
                    <a:pt x="5694" y="9152"/>
                    <a:pt x="5824" y="9186"/>
                    <a:pt x="5952" y="9186"/>
                  </a:cubicBezTo>
                  <a:cubicBezTo>
                    <a:pt x="6080" y="9186"/>
                    <a:pt x="6207" y="9152"/>
                    <a:pt x="6319" y="9084"/>
                  </a:cubicBezTo>
                  <a:lnTo>
                    <a:pt x="15488" y="3746"/>
                  </a:lnTo>
                  <a:cubicBezTo>
                    <a:pt x="15645" y="3655"/>
                    <a:pt x="15645" y="3430"/>
                    <a:pt x="15488" y="3340"/>
                  </a:cubicBezTo>
                  <a:lnTo>
                    <a:pt x="9935" y="85"/>
                  </a:lnTo>
                  <a:cubicBezTo>
                    <a:pt x="9834" y="29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3"/>
            <p:cNvSpPr/>
            <p:nvPr/>
          </p:nvSpPr>
          <p:spPr>
            <a:xfrm>
              <a:off x="1477660" y="1834701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4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13"/>
                  </a:lnTo>
                  <a:cubicBezTo>
                    <a:pt x="9732" y="0"/>
                    <a:pt x="9496" y="0"/>
                    <a:pt x="9304" y="113"/>
                  </a:cubicBezTo>
                  <a:lnTo>
                    <a:pt x="226" y="5373"/>
                  </a:lnTo>
                  <a:cubicBezTo>
                    <a:pt x="1" y="5508"/>
                    <a:pt x="1" y="5823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3"/>
            <p:cNvSpPr/>
            <p:nvPr/>
          </p:nvSpPr>
          <p:spPr>
            <a:xfrm>
              <a:off x="1531178" y="1868517"/>
              <a:ext cx="437980" cy="255829"/>
            </a:xfrm>
            <a:custGeom>
              <a:avLst/>
              <a:gdLst/>
              <a:ahLst/>
              <a:cxnLst/>
              <a:rect l="l" t="t" r="r" b="b"/>
              <a:pathLst>
                <a:path w="12537" h="7323" extrusionOk="0">
                  <a:moveTo>
                    <a:pt x="8752" y="1"/>
                  </a:moveTo>
                  <a:cubicBezTo>
                    <a:pt x="8628" y="170"/>
                    <a:pt x="8380" y="283"/>
                    <a:pt x="8088" y="283"/>
                  </a:cubicBezTo>
                  <a:cubicBezTo>
                    <a:pt x="7806" y="283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1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20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3"/>
                    <a:pt x="12311" y="2276"/>
                    <a:pt x="12469" y="2175"/>
                  </a:cubicBezTo>
                  <a:lnTo>
                    <a:pt x="8752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3"/>
            <p:cNvSpPr/>
            <p:nvPr/>
          </p:nvSpPr>
          <p:spPr>
            <a:xfrm>
              <a:off x="1531178" y="1868517"/>
              <a:ext cx="437980" cy="255829"/>
            </a:xfrm>
            <a:custGeom>
              <a:avLst/>
              <a:gdLst/>
              <a:ahLst/>
              <a:cxnLst/>
              <a:rect l="l" t="t" r="r" b="b"/>
              <a:pathLst>
                <a:path w="12537" h="7323" fill="none" extrusionOk="0">
                  <a:moveTo>
                    <a:pt x="12199" y="2580"/>
                  </a:moveTo>
                  <a:cubicBezTo>
                    <a:pt x="12199" y="2423"/>
                    <a:pt x="12311" y="2276"/>
                    <a:pt x="12469" y="2175"/>
                  </a:cubicBezTo>
                  <a:lnTo>
                    <a:pt x="8752" y="1"/>
                  </a:lnTo>
                  <a:cubicBezTo>
                    <a:pt x="8628" y="170"/>
                    <a:pt x="8380" y="283"/>
                    <a:pt x="8088" y="283"/>
                  </a:cubicBezTo>
                  <a:cubicBezTo>
                    <a:pt x="7806" y="283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1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20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3"/>
            <p:cNvSpPr/>
            <p:nvPr/>
          </p:nvSpPr>
          <p:spPr>
            <a:xfrm>
              <a:off x="1671647" y="1928743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1"/>
                  </a:cubicBezTo>
                  <a:cubicBezTo>
                    <a:pt x="4911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" name="Google Shape;958;p33"/>
            <p:cNvSpPr/>
            <p:nvPr/>
          </p:nvSpPr>
          <p:spPr>
            <a:xfrm>
              <a:off x="1671647" y="1928743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fill="none" extrusionOk="0">
                  <a:moveTo>
                    <a:pt x="4911" y="1701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11" y="766"/>
                    <a:pt x="4911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3"/>
            <p:cNvSpPr/>
            <p:nvPr/>
          </p:nvSpPr>
          <p:spPr>
            <a:xfrm>
              <a:off x="1694878" y="1955083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0" y="1"/>
                  </a:moveTo>
                  <a:lnTo>
                    <a:pt x="68" y="114"/>
                  </a:lnTo>
                  <a:lnTo>
                    <a:pt x="282" y="237"/>
                  </a:lnTo>
                  <a:cubicBezTo>
                    <a:pt x="90" y="339"/>
                    <a:pt x="0" y="451"/>
                    <a:pt x="11" y="553"/>
                  </a:cubicBezTo>
                  <a:cubicBezTo>
                    <a:pt x="11" y="665"/>
                    <a:pt x="124" y="778"/>
                    <a:pt x="327" y="891"/>
                  </a:cubicBezTo>
                  <a:cubicBezTo>
                    <a:pt x="462" y="970"/>
                    <a:pt x="608" y="1026"/>
                    <a:pt x="777" y="1071"/>
                  </a:cubicBezTo>
                  <a:cubicBezTo>
                    <a:pt x="935" y="1105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5"/>
                    <a:pt x="2523" y="1251"/>
                    <a:pt x="2681" y="1330"/>
                  </a:cubicBezTo>
                  <a:cubicBezTo>
                    <a:pt x="2737" y="1364"/>
                    <a:pt x="2771" y="1398"/>
                    <a:pt x="2782" y="1420"/>
                  </a:cubicBezTo>
                  <a:cubicBezTo>
                    <a:pt x="2793" y="1443"/>
                    <a:pt x="2782" y="1465"/>
                    <a:pt x="2737" y="1488"/>
                  </a:cubicBezTo>
                  <a:cubicBezTo>
                    <a:pt x="2709" y="1499"/>
                    <a:pt x="2684" y="1505"/>
                    <a:pt x="2657" y="1505"/>
                  </a:cubicBezTo>
                  <a:cubicBezTo>
                    <a:pt x="2630" y="1505"/>
                    <a:pt x="2602" y="1499"/>
                    <a:pt x="2568" y="1488"/>
                  </a:cubicBezTo>
                  <a:cubicBezTo>
                    <a:pt x="2512" y="1476"/>
                    <a:pt x="2399" y="1409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6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5"/>
                    <a:pt x="3030" y="1758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3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7"/>
                    <a:pt x="2714" y="722"/>
                  </a:cubicBezTo>
                  <a:cubicBezTo>
                    <a:pt x="2579" y="688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4"/>
                    <a:pt x="1376" y="674"/>
                  </a:cubicBezTo>
                  <a:cubicBezTo>
                    <a:pt x="1278" y="674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4"/>
                  </a:cubicBezTo>
                  <a:cubicBezTo>
                    <a:pt x="755" y="451"/>
                    <a:pt x="766" y="429"/>
                    <a:pt x="811" y="406"/>
                  </a:cubicBezTo>
                  <a:cubicBezTo>
                    <a:pt x="837" y="400"/>
                    <a:pt x="863" y="393"/>
                    <a:pt x="891" y="393"/>
                  </a:cubicBezTo>
                  <a:cubicBezTo>
                    <a:pt x="912" y="393"/>
                    <a:pt x="934" y="397"/>
                    <a:pt x="957" y="406"/>
                  </a:cubicBezTo>
                  <a:cubicBezTo>
                    <a:pt x="1014" y="418"/>
                    <a:pt x="1093" y="463"/>
                    <a:pt x="1216" y="519"/>
                  </a:cubicBezTo>
                  <a:lnTo>
                    <a:pt x="1329" y="587"/>
                  </a:lnTo>
                  <a:lnTo>
                    <a:pt x="1971" y="328"/>
                  </a:lnTo>
                  <a:cubicBezTo>
                    <a:pt x="1915" y="294"/>
                    <a:pt x="1881" y="271"/>
                    <a:pt x="1847" y="249"/>
                  </a:cubicBezTo>
                  <a:cubicBezTo>
                    <a:pt x="1644" y="136"/>
                    <a:pt x="1442" y="68"/>
                    <a:pt x="1228" y="46"/>
                  </a:cubicBezTo>
                  <a:cubicBezTo>
                    <a:pt x="1174" y="40"/>
                    <a:pt x="1121" y="38"/>
                    <a:pt x="1067" y="38"/>
                  </a:cubicBezTo>
                  <a:cubicBezTo>
                    <a:pt x="906" y="38"/>
                    <a:pt x="743" y="63"/>
                    <a:pt x="574" y="114"/>
                  </a:cubicBezTo>
                  <a:lnTo>
                    <a:pt x="360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3"/>
            <p:cNvSpPr/>
            <p:nvPr/>
          </p:nvSpPr>
          <p:spPr>
            <a:xfrm>
              <a:off x="1694878" y="1955083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1" y="328"/>
                  </a:moveTo>
                  <a:lnTo>
                    <a:pt x="1329" y="587"/>
                  </a:lnTo>
                  <a:lnTo>
                    <a:pt x="1216" y="519"/>
                  </a:lnTo>
                  <a:cubicBezTo>
                    <a:pt x="1093" y="463"/>
                    <a:pt x="1014" y="418"/>
                    <a:pt x="957" y="406"/>
                  </a:cubicBezTo>
                  <a:cubicBezTo>
                    <a:pt x="901" y="384"/>
                    <a:pt x="856" y="395"/>
                    <a:pt x="811" y="406"/>
                  </a:cubicBezTo>
                  <a:cubicBezTo>
                    <a:pt x="766" y="429"/>
                    <a:pt x="755" y="451"/>
                    <a:pt x="766" y="474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7"/>
                    <a:pt x="1442" y="677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8"/>
                    <a:pt x="2714" y="722"/>
                  </a:cubicBezTo>
                  <a:cubicBezTo>
                    <a:pt x="2861" y="767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3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8"/>
                  </a:lnTo>
                  <a:cubicBezTo>
                    <a:pt x="2838" y="1814"/>
                    <a:pt x="2613" y="1837"/>
                    <a:pt x="2365" y="1826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9"/>
                    <a:pt x="2512" y="1476"/>
                    <a:pt x="2568" y="1488"/>
                  </a:cubicBezTo>
                  <a:cubicBezTo>
                    <a:pt x="2636" y="1510"/>
                    <a:pt x="2681" y="1510"/>
                    <a:pt x="2737" y="1488"/>
                  </a:cubicBezTo>
                  <a:cubicBezTo>
                    <a:pt x="2782" y="1465"/>
                    <a:pt x="2793" y="1443"/>
                    <a:pt x="2782" y="1420"/>
                  </a:cubicBezTo>
                  <a:cubicBezTo>
                    <a:pt x="2771" y="1398"/>
                    <a:pt x="2737" y="1364"/>
                    <a:pt x="2681" y="1330"/>
                  </a:cubicBezTo>
                  <a:cubicBezTo>
                    <a:pt x="2523" y="1251"/>
                    <a:pt x="2410" y="1195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5"/>
                    <a:pt x="777" y="1071"/>
                  </a:cubicBezTo>
                  <a:cubicBezTo>
                    <a:pt x="608" y="1026"/>
                    <a:pt x="462" y="970"/>
                    <a:pt x="327" y="891"/>
                  </a:cubicBezTo>
                  <a:cubicBezTo>
                    <a:pt x="124" y="778"/>
                    <a:pt x="11" y="665"/>
                    <a:pt x="11" y="553"/>
                  </a:cubicBezTo>
                  <a:cubicBezTo>
                    <a:pt x="0" y="451"/>
                    <a:pt x="90" y="339"/>
                    <a:pt x="282" y="237"/>
                  </a:cubicBezTo>
                  <a:lnTo>
                    <a:pt x="68" y="114"/>
                  </a:lnTo>
                  <a:lnTo>
                    <a:pt x="360" y="1"/>
                  </a:lnTo>
                  <a:lnTo>
                    <a:pt x="574" y="114"/>
                  </a:lnTo>
                  <a:cubicBezTo>
                    <a:pt x="800" y="46"/>
                    <a:pt x="1014" y="23"/>
                    <a:pt x="1228" y="46"/>
                  </a:cubicBezTo>
                  <a:cubicBezTo>
                    <a:pt x="1442" y="68"/>
                    <a:pt x="1644" y="136"/>
                    <a:pt x="1847" y="249"/>
                  </a:cubicBezTo>
                  <a:cubicBezTo>
                    <a:pt x="1881" y="271"/>
                    <a:pt x="1915" y="294"/>
                    <a:pt x="1971" y="32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3"/>
            <p:cNvSpPr/>
            <p:nvPr/>
          </p:nvSpPr>
          <p:spPr>
            <a:xfrm>
              <a:off x="1628364" y="2042069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7" y="0"/>
                  </a:moveTo>
                  <a:cubicBezTo>
                    <a:pt x="271" y="0"/>
                    <a:pt x="1" y="180"/>
                    <a:pt x="1" y="406"/>
                  </a:cubicBezTo>
                  <a:cubicBezTo>
                    <a:pt x="1" y="631"/>
                    <a:pt x="271" y="822"/>
                    <a:pt x="597" y="822"/>
                  </a:cubicBezTo>
                  <a:cubicBezTo>
                    <a:pt x="924" y="822"/>
                    <a:pt x="1183" y="631"/>
                    <a:pt x="1183" y="406"/>
                  </a:cubicBezTo>
                  <a:cubicBezTo>
                    <a:pt x="1183" y="180"/>
                    <a:pt x="924" y="0"/>
                    <a:pt x="5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3"/>
            <p:cNvSpPr/>
            <p:nvPr/>
          </p:nvSpPr>
          <p:spPr>
            <a:xfrm>
              <a:off x="1843592" y="1916551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8" y="0"/>
                  </a:moveTo>
                  <a:cubicBezTo>
                    <a:pt x="260" y="0"/>
                    <a:pt x="1" y="180"/>
                    <a:pt x="1" y="406"/>
                  </a:cubicBezTo>
                  <a:cubicBezTo>
                    <a:pt x="1" y="631"/>
                    <a:pt x="260" y="822"/>
                    <a:pt x="598" y="822"/>
                  </a:cubicBezTo>
                  <a:cubicBezTo>
                    <a:pt x="924" y="822"/>
                    <a:pt x="1183" y="631"/>
                    <a:pt x="1183" y="406"/>
                  </a:cubicBezTo>
                  <a:cubicBezTo>
                    <a:pt x="1183" y="180"/>
                    <a:pt x="924" y="0"/>
                    <a:pt x="59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3" name="Google Shape;963;p33"/>
          <p:cNvGrpSpPr/>
          <p:nvPr/>
        </p:nvGrpSpPr>
        <p:grpSpPr>
          <a:xfrm>
            <a:off x="1051028" y="1240410"/>
            <a:ext cx="1226139" cy="1052197"/>
            <a:chOff x="3337647" y="-19723"/>
            <a:chExt cx="543453" cy="466358"/>
          </a:xfrm>
        </p:grpSpPr>
        <p:grpSp>
          <p:nvGrpSpPr>
            <p:cNvPr id="964" name="Google Shape;964;p33"/>
            <p:cNvGrpSpPr/>
            <p:nvPr/>
          </p:nvGrpSpPr>
          <p:grpSpPr>
            <a:xfrm>
              <a:off x="3337647" y="-19723"/>
              <a:ext cx="543453" cy="466358"/>
              <a:chOff x="3670072" y="965127"/>
              <a:chExt cx="543453" cy="466358"/>
            </a:xfrm>
          </p:grpSpPr>
          <p:sp>
            <p:nvSpPr>
              <p:cNvPr id="965" name="Google Shape;965;p33"/>
              <p:cNvSpPr/>
              <p:nvPr/>
            </p:nvSpPr>
            <p:spPr>
              <a:xfrm>
                <a:off x="3670077" y="1171687"/>
                <a:ext cx="543449" cy="259798"/>
              </a:xfrm>
              <a:custGeom>
                <a:avLst/>
                <a:gdLst/>
                <a:ahLst/>
                <a:cxnLst/>
                <a:rect l="l" t="t" r="r" b="b"/>
                <a:pathLst>
                  <a:path w="15556" h="6748" extrusionOk="0">
                    <a:moveTo>
                      <a:pt x="23" y="1"/>
                    </a:moveTo>
                    <a:cubicBezTo>
                      <a:pt x="35" y="46"/>
                      <a:pt x="35" y="80"/>
                      <a:pt x="46" y="125"/>
                    </a:cubicBezTo>
                    <a:cubicBezTo>
                      <a:pt x="12" y="249"/>
                      <a:pt x="1" y="372"/>
                      <a:pt x="1" y="508"/>
                    </a:cubicBezTo>
                    <a:cubicBezTo>
                      <a:pt x="1" y="586"/>
                      <a:pt x="1" y="654"/>
                      <a:pt x="12" y="733"/>
                    </a:cubicBezTo>
                    <a:lnTo>
                      <a:pt x="1" y="1397"/>
                    </a:lnTo>
                    <a:cubicBezTo>
                      <a:pt x="1" y="1454"/>
                      <a:pt x="1" y="1499"/>
                      <a:pt x="1" y="1544"/>
                    </a:cubicBezTo>
                    <a:cubicBezTo>
                      <a:pt x="1" y="1916"/>
                      <a:pt x="125" y="2265"/>
                      <a:pt x="361" y="2569"/>
                    </a:cubicBezTo>
                    <a:cubicBezTo>
                      <a:pt x="372" y="2580"/>
                      <a:pt x="384" y="2591"/>
                      <a:pt x="395" y="2614"/>
                    </a:cubicBezTo>
                    <a:cubicBezTo>
                      <a:pt x="936" y="3290"/>
                      <a:pt x="1983" y="3740"/>
                      <a:pt x="3177" y="3740"/>
                    </a:cubicBezTo>
                    <a:cubicBezTo>
                      <a:pt x="3898" y="3740"/>
                      <a:pt x="4551" y="3582"/>
                      <a:pt x="5092" y="3301"/>
                    </a:cubicBezTo>
                    <a:lnTo>
                      <a:pt x="5092" y="3301"/>
                    </a:lnTo>
                    <a:cubicBezTo>
                      <a:pt x="5081" y="3368"/>
                      <a:pt x="5069" y="3436"/>
                      <a:pt x="5069" y="3504"/>
                    </a:cubicBezTo>
                    <a:cubicBezTo>
                      <a:pt x="5069" y="3582"/>
                      <a:pt x="5081" y="3661"/>
                      <a:pt x="5092" y="3740"/>
                    </a:cubicBezTo>
                    <a:lnTo>
                      <a:pt x="5081" y="4405"/>
                    </a:lnTo>
                    <a:cubicBezTo>
                      <a:pt x="5081" y="4450"/>
                      <a:pt x="5069" y="4506"/>
                      <a:pt x="5069" y="4551"/>
                    </a:cubicBezTo>
                    <a:cubicBezTo>
                      <a:pt x="5069" y="4698"/>
                      <a:pt x="5092" y="4844"/>
                      <a:pt x="5137" y="4990"/>
                    </a:cubicBezTo>
                    <a:cubicBezTo>
                      <a:pt x="5430" y="5993"/>
                      <a:pt x="6714" y="6747"/>
                      <a:pt x="8257" y="6747"/>
                    </a:cubicBezTo>
                    <a:cubicBezTo>
                      <a:pt x="9000" y="6747"/>
                      <a:pt x="9687" y="6567"/>
                      <a:pt x="10239" y="6274"/>
                    </a:cubicBezTo>
                    <a:cubicBezTo>
                      <a:pt x="10262" y="6252"/>
                      <a:pt x="10295" y="6241"/>
                      <a:pt x="10318" y="6218"/>
                    </a:cubicBezTo>
                    <a:cubicBezTo>
                      <a:pt x="10611" y="6049"/>
                      <a:pt x="10847" y="5846"/>
                      <a:pt x="11039" y="5610"/>
                    </a:cubicBezTo>
                    <a:cubicBezTo>
                      <a:pt x="11050" y="5599"/>
                      <a:pt x="11061" y="5587"/>
                      <a:pt x="11073" y="5576"/>
                    </a:cubicBezTo>
                    <a:cubicBezTo>
                      <a:pt x="11208" y="5396"/>
                      <a:pt x="11309" y="5193"/>
                      <a:pt x="11365" y="4990"/>
                    </a:cubicBezTo>
                    <a:cubicBezTo>
                      <a:pt x="11411" y="4844"/>
                      <a:pt x="11433" y="4698"/>
                      <a:pt x="11433" y="4551"/>
                    </a:cubicBezTo>
                    <a:lnTo>
                      <a:pt x="11433" y="4258"/>
                    </a:lnTo>
                    <a:cubicBezTo>
                      <a:pt x="11726" y="4326"/>
                      <a:pt x="12041" y="4360"/>
                      <a:pt x="12368" y="4360"/>
                    </a:cubicBezTo>
                    <a:cubicBezTo>
                      <a:pt x="13123" y="4360"/>
                      <a:pt x="13810" y="4179"/>
                      <a:pt x="14350" y="3875"/>
                    </a:cubicBezTo>
                    <a:cubicBezTo>
                      <a:pt x="14384" y="3864"/>
                      <a:pt x="14407" y="3842"/>
                      <a:pt x="14440" y="3830"/>
                    </a:cubicBezTo>
                    <a:cubicBezTo>
                      <a:pt x="14722" y="3661"/>
                      <a:pt x="14970" y="3447"/>
                      <a:pt x="15150" y="3222"/>
                    </a:cubicBezTo>
                    <a:cubicBezTo>
                      <a:pt x="15161" y="3211"/>
                      <a:pt x="15172" y="3188"/>
                      <a:pt x="15184" y="3177"/>
                    </a:cubicBezTo>
                    <a:cubicBezTo>
                      <a:pt x="15319" y="2997"/>
                      <a:pt x="15432" y="2805"/>
                      <a:pt x="15488" y="2603"/>
                    </a:cubicBezTo>
                    <a:cubicBezTo>
                      <a:pt x="15533" y="2456"/>
                      <a:pt x="15555" y="2310"/>
                      <a:pt x="15555" y="2152"/>
                    </a:cubicBezTo>
                    <a:lnTo>
                      <a:pt x="15555" y="1116"/>
                    </a:lnTo>
                    <a:cubicBezTo>
                      <a:pt x="15555" y="981"/>
                      <a:pt x="15533" y="857"/>
                      <a:pt x="15499" y="733"/>
                    </a:cubicBezTo>
                    <a:cubicBezTo>
                      <a:pt x="15533" y="609"/>
                      <a:pt x="15555" y="485"/>
                      <a:pt x="15555" y="350"/>
                    </a:cubicBezTo>
                    <a:lnTo>
                      <a:pt x="15555" y="1"/>
                    </a:lnTo>
                    <a:close/>
                  </a:path>
                </a:pathLst>
              </a:custGeom>
              <a:solidFill>
                <a:srgbClr val="000000">
                  <a:alpha val="126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6" name="Google Shape;966;p33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lnTo>
                      <a:pt x="5981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7" name="Google Shape;967;p33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" name="Google Shape;968;p33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fill="none" extrusionOk="0">
                    <a:moveTo>
                      <a:pt x="5981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" name="Google Shape;969;p33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" name="Google Shape;970;p33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64" y="3413"/>
                      <a:pt x="6364" y="2197"/>
                    </a:cubicBezTo>
                    <a:cubicBezTo>
                      <a:pt x="6364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" name="Google Shape;971;p33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" name="Google Shape;972;p33"/>
              <p:cNvSpPr/>
              <p:nvPr/>
            </p:nvSpPr>
            <p:spPr>
              <a:xfrm>
                <a:off x="4102903" y="127478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cubicBezTo>
                      <a:pt x="0" y="1003"/>
                      <a:pt x="0" y="981"/>
                      <a:pt x="0" y="947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" name="Google Shape;973;p33"/>
              <p:cNvSpPr/>
              <p:nvPr/>
            </p:nvSpPr>
            <p:spPr>
              <a:xfrm>
                <a:off x="4078100" y="127244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" name="Google Shape;974;p33"/>
              <p:cNvSpPr/>
              <p:nvPr/>
            </p:nvSpPr>
            <p:spPr>
              <a:xfrm>
                <a:off x="4055288" y="126730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5" name="Google Shape;975;p33"/>
              <p:cNvSpPr/>
              <p:nvPr/>
            </p:nvSpPr>
            <p:spPr>
              <a:xfrm>
                <a:off x="4034048" y="125864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6" name="Google Shape;976;p33"/>
              <p:cNvSpPr/>
              <p:nvPr/>
            </p:nvSpPr>
            <p:spPr>
              <a:xfrm>
                <a:off x="4016337" y="124645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7" name="Google Shape;977;p33"/>
              <p:cNvSpPr/>
              <p:nvPr/>
            </p:nvSpPr>
            <p:spPr>
              <a:xfrm>
                <a:off x="3999813" y="122639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8" name="Google Shape;978;p33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23" y="2647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9" name="Google Shape;979;p33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0" name="Google Shape;980;p33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37"/>
                    </a:lnTo>
                    <a:cubicBezTo>
                      <a:pt x="90" y="350"/>
                      <a:pt x="0" y="451"/>
                      <a:pt x="11" y="564"/>
                    </a:cubicBezTo>
                    <a:cubicBezTo>
                      <a:pt x="11" y="665"/>
                      <a:pt x="124" y="778"/>
                      <a:pt x="327" y="891"/>
                    </a:cubicBezTo>
                    <a:cubicBezTo>
                      <a:pt x="462" y="969"/>
                      <a:pt x="620" y="1026"/>
                      <a:pt x="777" y="1071"/>
                    </a:cubicBezTo>
                    <a:cubicBezTo>
                      <a:pt x="935" y="1105"/>
                      <a:pt x="1081" y="1138"/>
                      <a:pt x="1216" y="1138"/>
                    </a:cubicBezTo>
                    <a:cubicBezTo>
                      <a:pt x="1352" y="1138"/>
                      <a:pt x="1577" y="1138"/>
                      <a:pt x="1904" y="1127"/>
                    </a:cubicBezTo>
                    <a:cubicBezTo>
                      <a:pt x="2095" y="1127"/>
                      <a:pt x="2241" y="1138"/>
                      <a:pt x="2320" y="1161"/>
                    </a:cubicBezTo>
                    <a:cubicBezTo>
                      <a:pt x="2410" y="1195"/>
                      <a:pt x="2534" y="1251"/>
                      <a:pt x="2681" y="1330"/>
                    </a:cubicBezTo>
                    <a:cubicBezTo>
                      <a:pt x="2737" y="1364"/>
                      <a:pt x="2782" y="1397"/>
                      <a:pt x="2782" y="1420"/>
                    </a:cubicBezTo>
                    <a:cubicBezTo>
                      <a:pt x="2793" y="1454"/>
                      <a:pt x="2782" y="1476"/>
                      <a:pt x="2737" y="1487"/>
                    </a:cubicBezTo>
                    <a:cubicBezTo>
                      <a:pt x="2709" y="1499"/>
                      <a:pt x="2684" y="1504"/>
                      <a:pt x="2658" y="1504"/>
                    </a:cubicBezTo>
                    <a:cubicBezTo>
                      <a:pt x="2633" y="1504"/>
                      <a:pt x="2608" y="1499"/>
                      <a:pt x="2579" y="1487"/>
                    </a:cubicBezTo>
                    <a:cubicBezTo>
                      <a:pt x="2512" y="1476"/>
                      <a:pt x="2399" y="1409"/>
                      <a:pt x="2219" y="1307"/>
                    </a:cubicBezTo>
                    <a:lnTo>
                      <a:pt x="2050" y="1217"/>
                    </a:lnTo>
                    <a:lnTo>
                      <a:pt x="1408" y="1487"/>
                    </a:lnTo>
                    <a:lnTo>
                      <a:pt x="1543" y="1555"/>
                    </a:lnTo>
                    <a:cubicBezTo>
                      <a:pt x="1847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4" y="1834"/>
                      <a:pt x="2886" y="1809"/>
                      <a:pt x="3030" y="1758"/>
                    </a:cubicBezTo>
                    <a:lnTo>
                      <a:pt x="3289" y="1904"/>
                    </a:lnTo>
                    <a:lnTo>
                      <a:pt x="3582" y="1792"/>
                    </a:lnTo>
                    <a:lnTo>
                      <a:pt x="3334" y="1645"/>
                    </a:lnTo>
                    <a:cubicBezTo>
                      <a:pt x="3514" y="1533"/>
                      <a:pt x="3593" y="1420"/>
                      <a:pt x="3571" y="1296"/>
                    </a:cubicBezTo>
                    <a:cubicBezTo>
                      <a:pt x="3537" y="1172"/>
                      <a:pt x="3402" y="1048"/>
                      <a:pt x="3165" y="913"/>
                    </a:cubicBezTo>
                    <a:cubicBezTo>
                      <a:pt x="3007" y="834"/>
                      <a:pt x="2861" y="767"/>
                      <a:pt x="2726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3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5" y="671"/>
                      <a:pt x="1478" y="674"/>
                      <a:pt x="1380" y="674"/>
                    </a:cubicBezTo>
                    <a:cubicBezTo>
                      <a:pt x="1281" y="674"/>
                      <a:pt x="1211" y="671"/>
                      <a:pt x="1171" y="665"/>
                    </a:cubicBezTo>
                    <a:cubicBezTo>
                      <a:pt x="1081" y="665"/>
                      <a:pt x="991" y="631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7" y="404"/>
                      <a:pt x="868" y="399"/>
                      <a:pt x="897" y="399"/>
                    </a:cubicBezTo>
                    <a:cubicBezTo>
                      <a:pt x="918" y="399"/>
                      <a:pt x="939" y="402"/>
                      <a:pt x="957" y="406"/>
                    </a:cubicBezTo>
                    <a:cubicBezTo>
                      <a:pt x="1014" y="417"/>
                      <a:pt x="1093" y="463"/>
                      <a:pt x="1216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81" y="271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1" name="Google Shape;981;p33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6" y="530"/>
                    </a:lnTo>
                    <a:cubicBezTo>
                      <a:pt x="1093" y="463"/>
                      <a:pt x="1014" y="417"/>
                      <a:pt x="957" y="406"/>
                    </a:cubicBezTo>
                    <a:cubicBezTo>
                      <a:pt x="912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31"/>
                      <a:pt x="1081" y="665"/>
                      <a:pt x="1171" y="665"/>
                    </a:cubicBezTo>
                    <a:cubicBezTo>
                      <a:pt x="1250" y="677"/>
                      <a:pt x="1453" y="677"/>
                      <a:pt x="1757" y="665"/>
                    </a:cubicBezTo>
                    <a:cubicBezTo>
                      <a:pt x="2027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26" y="733"/>
                    </a:cubicBezTo>
                    <a:cubicBezTo>
                      <a:pt x="2861" y="767"/>
                      <a:pt x="3007" y="834"/>
                      <a:pt x="3165" y="913"/>
                    </a:cubicBezTo>
                    <a:cubicBezTo>
                      <a:pt x="3402" y="1048"/>
                      <a:pt x="3537" y="1172"/>
                      <a:pt x="3571" y="1296"/>
                    </a:cubicBezTo>
                    <a:cubicBezTo>
                      <a:pt x="3593" y="1420"/>
                      <a:pt x="3514" y="1533"/>
                      <a:pt x="3334" y="1645"/>
                    </a:cubicBezTo>
                    <a:lnTo>
                      <a:pt x="3582" y="1792"/>
                    </a:lnTo>
                    <a:lnTo>
                      <a:pt x="3289" y="1904"/>
                    </a:lnTo>
                    <a:lnTo>
                      <a:pt x="3030" y="1758"/>
                    </a:lnTo>
                    <a:cubicBezTo>
                      <a:pt x="2838" y="1825"/>
                      <a:pt x="2613" y="1848"/>
                      <a:pt x="2365" y="1825"/>
                    </a:cubicBezTo>
                    <a:cubicBezTo>
                      <a:pt x="2118" y="1814"/>
                      <a:pt x="1847" y="1724"/>
                      <a:pt x="1543" y="1555"/>
                    </a:cubicBezTo>
                    <a:lnTo>
                      <a:pt x="1408" y="1487"/>
                    </a:lnTo>
                    <a:lnTo>
                      <a:pt x="2050" y="1217"/>
                    </a:lnTo>
                    <a:lnTo>
                      <a:pt x="2219" y="1307"/>
                    </a:lnTo>
                    <a:cubicBezTo>
                      <a:pt x="2399" y="1409"/>
                      <a:pt x="2512" y="1476"/>
                      <a:pt x="2579" y="1487"/>
                    </a:cubicBezTo>
                    <a:cubicBezTo>
                      <a:pt x="2636" y="1510"/>
                      <a:pt x="2681" y="1510"/>
                      <a:pt x="2737" y="1487"/>
                    </a:cubicBezTo>
                    <a:cubicBezTo>
                      <a:pt x="2782" y="1476"/>
                      <a:pt x="2793" y="1454"/>
                      <a:pt x="2782" y="1420"/>
                    </a:cubicBezTo>
                    <a:cubicBezTo>
                      <a:pt x="2782" y="1397"/>
                      <a:pt x="2737" y="1364"/>
                      <a:pt x="2681" y="1330"/>
                    </a:cubicBezTo>
                    <a:cubicBezTo>
                      <a:pt x="2534" y="1251"/>
                      <a:pt x="2410" y="1195"/>
                      <a:pt x="2320" y="1161"/>
                    </a:cubicBezTo>
                    <a:cubicBezTo>
                      <a:pt x="2241" y="1138"/>
                      <a:pt x="2095" y="1127"/>
                      <a:pt x="1904" y="1127"/>
                    </a:cubicBezTo>
                    <a:cubicBezTo>
                      <a:pt x="1577" y="1138"/>
                      <a:pt x="1352" y="1138"/>
                      <a:pt x="1216" y="1138"/>
                    </a:cubicBezTo>
                    <a:cubicBezTo>
                      <a:pt x="1081" y="1138"/>
                      <a:pt x="935" y="1105"/>
                      <a:pt x="777" y="1071"/>
                    </a:cubicBezTo>
                    <a:cubicBezTo>
                      <a:pt x="620" y="1026"/>
                      <a:pt x="462" y="969"/>
                      <a:pt x="327" y="891"/>
                    </a:cubicBezTo>
                    <a:cubicBezTo>
                      <a:pt x="124" y="778"/>
                      <a:pt x="11" y="665"/>
                      <a:pt x="11" y="564"/>
                    </a:cubicBezTo>
                    <a:cubicBezTo>
                      <a:pt x="0" y="451"/>
                      <a:pt x="90" y="350"/>
                      <a:pt x="282" y="237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2" name="Google Shape;982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3" name="Google Shape;983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4" name="Google Shape;984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5" name="Google Shape;985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6" name="Google Shape;986;p33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7"/>
                    </a:cubicBezTo>
                    <a:cubicBezTo>
                      <a:pt x="6364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7" name="Google Shape;987;p33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3"/>
                      <a:pt x="4934" y="4393"/>
                      <a:pt x="3177" y="4393"/>
                    </a:cubicBezTo>
                    <a:cubicBezTo>
                      <a:pt x="1420" y="4393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8" name="Google Shape;988;p33"/>
              <p:cNvSpPr/>
              <p:nvPr/>
            </p:nvSpPr>
            <p:spPr>
              <a:xfrm>
                <a:off x="4102903" y="121144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0" y="958"/>
                    </a:cubicBez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9" name="Google Shape;989;p33"/>
              <p:cNvSpPr/>
              <p:nvPr/>
            </p:nvSpPr>
            <p:spPr>
              <a:xfrm>
                <a:off x="4078100" y="1209490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0" name="Google Shape;990;p33"/>
              <p:cNvSpPr/>
              <p:nvPr/>
            </p:nvSpPr>
            <p:spPr>
              <a:xfrm>
                <a:off x="4055288" y="1204354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1" name="Google Shape;991;p33"/>
              <p:cNvSpPr/>
              <p:nvPr/>
            </p:nvSpPr>
            <p:spPr>
              <a:xfrm>
                <a:off x="4034048" y="119569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2" name="Google Shape;992;p33"/>
              <p:cNvSpPr/>
              <p:nvPr/>
            </p:nvSpPr>
            <p:spPr>
              <a:xfrm>
                <a:off x="4016337" y="118349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3" name="Google Shape;993;p33"/>
              <p:cNvSpPr/>
              <p:nvPr/>
            </p:nvSpPr>
            <p:spPr>
              <a:xfrm>
                <a:off x="3999813" y="116344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4" name="Google Shape;994;p33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37"/>
                      <a:pt x="1104" y="3402"/>
                      <a:pt x="2456" y="3402"/>
                    </a:cubicBezTo>
                    <a:cubicBezTo>
                      <a:pt x="3819" y="3402"/>
                      <a:pt x="4923" y="2637"/>
                      <a:pt x="4923" y="1702"/>
                    </a:cubicBezTo>
                    <a:cubicBezTo>
                      <a:pt x="4923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5" name="Google Shape;995;p33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fill="none" extrusionOk="0">
                    <a:moveTo>
                      <a:pt x="4923" y="1702"/>
                    </a:moveTo>
                    <a:cubicBezTo>
                      <a:pt x="4923" y="2637"/>
                      <a:pt x="3819" y="3402"/>
                      <a:pt x="2456" y="3402"/>
                    </a:cubicBezTo>
                    <a:cubicBezTo>
                      <a:pt x="1104" y="3402"/>
                      <a:pt x="1" y="2637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23" y="767"/>
                      <a:pt x="4923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6" name="Google Shape;996;p33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90" y="350"/>
                      <a:pt x="0" y="462"/>
                      <a:pt x="11" y="564"/>
                    </a:cubicBezTo>
                    <a:cubicBezTo>
                      <a:pt x="11" y="676"/>
                      <a:pt x="124" y="789"/>
                      <a:pt x="327" y="901"/>
                    </a:cubicBezTo>
                    <a:cubicBezTo>
                      <a:pt x="462" y="980"/>
                      <a:pt x="620" y="1037"/>
                      <a:pt x="777" y="1082"/>
                    </a:cubicBezTo>
                    <a:cubicBezTo>
                      <a:pt x="935" y="1115"/>
                      <a:pt x="1081" y="1138"/>
                      <a:pt x="1216" y="1149"/>
                    </a:cubicBezTo>
                    <a:cubicBezTo>
                      <a:pt x="1352" y="1149"/>
                      <a:pt x="1577" y="1149"/>
                      <a:pt x="1904" y="1138"/>
                    </a:cubicBezTo>
                    <a:cubicBezTo>
                      <a:pt x="2095" y="1138"/>
                      <a:pt x="2241" y="1149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4"/>
                      <a:pt x="2782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10"/>
                      <a:pt x="2684" y="1515"/>
                      <a:pt x="2658" y="1515"/>
                    </a:cubicBezTo>
                    <a:cubicBezTo>
                      <a:pt x="2633" y="1515"/>
                      <a:pt x="2608" y="1510"/>
                      <a:pt x="2579" y="1498"/>
                    </a:cubicBezTo>
                    <a:cubicBezTo>
                      <a:pt x="2512" y="1487"/>
                      <a:pt x="2399" y="1420"/>
                      <a:pt x="2219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34" y="1656"/>
                    </a:lnTo>
                    <a:cubicBezTo>
                      <a:pt x="3514" y="1543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2"/>
                    </a:cubicBezTo>
                    <a:cubicBezTo>
                      <a:pt x="2579" y="699"/>
                      <a:pt x="2444" y="676"/>
                      <a:pt x="2332" y="665"/>
                    </a:cubicBezTo>
                    <a:cubicBezTo>
                      <a:pt x="2219" y="665"/>
                      <a:pt x="2027" y="665"/>
                      <a:pt x="1757" y="676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5"/>
                    </a:cubicBezTo>
                    <a:cubicBezTo>
                      <a:pt x="755" y="462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8"/>
                      <a:pt x="1093" y="473"/>
                      <a:pt x="1216" y="530"/>
                    </a:cubicBezTo>
                    <a:lnTo>
                      <a:pt x="1329" y="597"/>
                    </a:lnTo>
                    <a:lnTo>
                      <a:pt x="1971" y="338"/>
                    </a:lnTo>
                    <a:cubicBezTo>
                      <a:pt x="1915" y="304"/>
                      <a:pt x="1881" y="282"/>
                      <a:pt x="1847" y="259"/>
                    </a:cubicBezTo>
                    <a:cubicBezTo>
                      <a:pt x="1644" y="147"/>
                      <a:pt x="1442" y="79"/>
                      <a:pt x="1228" y="57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3" y="74"/>
                      <a:pt x="574" y="124"/>
                    </a:cubicBezTo>
                    <a:lnTo>
                      <a:pt x="3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7" name="Google Shape;997;p33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8"/>
                    </a:moveTo>
                    <a:lnTo>
                      <a:pt x="1329" y="597"/>
                    </a:lnTo>
                    <a:lnTo>
                      <a:pt x="1216" y="530"/>
                    </a:lnTo>
                    <a:cubicBezTo>
                      <a:pt x="1093" y="473"/>
                      <a:pt x="1014" y="428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2"/>
                      <a:pt x="766" y="485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6"/>
                    </a:cubicBezTo>
                    <a:cubicBezTo>
                      <a:pt x="1250" y="687"/>
                      <a:pt x="1453" y="687"/>
                      <a:pt x="1757" y="676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6"/>
                      <a:pt x="2579" y="699"/>
                      <a:pt x="2726" y="732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3"/>
                      <a:pt x="3334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6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8"/>
                    </a:lnTo>
                    <a:cubicBezTo>
                      <a:pt x="2399" y="1420"/>
                      <a:pt x="2512" y="1487"/>
                      <a:pt x="2579" y="1498"/>
                    </a:cubicBezTo>
                    <a:cubicBezTo>
                      <a:pt x="2636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82" y="1408"/>
                      <a:pt x="2737" y="1374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49"/>
                      <a:pt x="2095" y="1138"/>
                      <a:pt x="1904" y="1138"/>
                    </a:cubicBezTo>
                    <a:cubicBezTo>
                      <a:pt x="1577" y="1149"/>
                      <a:pt x="1352" y="1149"/>
                      <a:pt x="1216" y="1149"/>
                    </a:cubicBezTo>
                    <a:cubicBezTo>
                      <a:pt x="1081" y="1138"/>
                      <a:pt x="935" y="1115"/>
                      <a:pt x="777" y="1082"/>
                    </a:cubicBezTo>
                    <a:cubicBezTo>
                      <a:pt x="620" y="1037"/>
                      <a:pt x="462" y="980"/>
                      <a:pt x="327" y="901"/>
                    </a:cubicBezTo>
                    <a:cubicBezTo>
                      <a:pt x="124" y="789"/>
                      <a:pt x="11" y="676"/>
                      <a:pt x="11" y="564"/>
                    </a:cubicBezTo>
                    <a:cubicBezTo>
                      <a:pt x="0" y="462"/>
                      <a:pt x="90" y="350"/>
                      <a:pt x="282" y="248"/>
                    </a:cubicBezTo>
                    <a:lnTo>
                      <a:pt x="68" y="124"/>
                    </a:lnTo>
                    <a:lnTo>
                      <a:pt x="360" y="0"/>
                    </a:lnTo>
                    <a:lnTo>
                      <a:pt x="574" y="124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4" y="147"/>
                      <a:pt x="1847" y="259"/>
                    </a:cubicBezTo>
                    <a:cubicBezTo>
                      <a:pt x="1881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8" name="Google Shape;998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9" name="Google Shape;999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0" name="Google Shape;1000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1" name="Google Shape;1001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9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2" name="Google Shape;1002;p33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1"/>
                    </a:moveTo>
                    <a:cubicBezTo>
                      <a:pt x="1420" y="1"/>
                      <a:pt x="1" y="981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64" y="3414"/>
                      <a:pt x="6364" y="2197"/>
                    </a:cubicBezTo>
                    <a:cubicBezTo>
                      <a:pt x="6364" y="981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3" name="Google Shape;1003;p33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4"/>
                      <a:pt x="4934" y="4393"/>
                      <a:pt x="3177" y="4393"/>
                    </a:cubicBezTo>
                    <a:cubicBezTo>
                      <a:pt x="1420" y="4393"/>
                      <a:pt x="1" y="3414"/>
                      <a:pt x="1" y="2197"/>
                    </a:cubicBezTo>
                    <a:cubicBezTo>
                      <a:pt x="1" y="981"/>
                      <a:pt x="1420" y="1"/>
                      <a:pt x="3177" y="1"/>
                    </a:cubicBezTo>
                    <a:cubicBezTo>
                      <a:pt x="4934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4" name="Google Shape;1004;p33"/>
              <p:cNvSpPr/>
              <p:nvPr/>
            </p:nvSpPr>
            <p:spPr>
              <a:xfrm>
                <a:off x="4102903" y="1147692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1"/>
                      <a:pt x="0" y="958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5" name="Google Shape;1005;p33"/>
              <p:cNvSpPr/>
              <p:nvPr/>
            </p:nvSpPr>
            <p:spPr>
              <a:xfrm>
                <a:off x="4078100" y="114573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6" name="Google Shape;1006;p33"/>
              <p:cNvSpPr/>
              <p:nvPr/>
            </p:nvSpPr>
            <p:spPr>
              <a:xfrm>
                <a:off x="4055288" y="1140600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7" name="Google Shape;1007;p33"/>
              <p:cNvSpPr/>
              <p:nvPr/>
            </p:nvSpPr>
            <p:spPr>
              <a:xfrm>
                <a:off x="4034048" y="113197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8" name="Google Shape;1008;p33"/>
              <p:cNvSpPr/>
              <p:nvPr/>
            </p:nvSpPr>
            <p:spPr>
              <a:xfrm>
                <a:off x="4016337" y="111974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9" name="Google Shape;1009;p33"/>
              <p:cNvSpPr/>
              <p:nvPr/>
            </p:nvSpPr>
            <p:spPr>
              <a:xfrm>
                <a:off x="3999813" y="109969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0" name="Google Shape;1010;p33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23" y="2636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1" name="Google Shape;1011;p33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2" name="Google Shape;1012;p33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49"/>
                    </a:lnTo>
                    <a:cubicBezTo>
                      <a:pt x="90" y="350"/>
                      <a:pt x="0" y="463"/>
                      <a:pt x="11" y="564"/>
                    </a:cubicBezTo>
                    <a:cubicBezTo>
                      <a:pt x="11" y="677"/>
                      <a:pt x="124" y="789"/>
                      <a:pt x="327" y="902"/>
                    </a:cubicBezTo>
                    <a:cubicBezTo>
                      <a:pt x="462" y="981"/>
                      <a:pt x="620" y="1037"/>
                      <a:pt x="777" y="1082"/>
                    </a:cubicBezTo>
                    <a:cubicBezTo>
                      <a:pt x="935" y="1116"/>
                      <a:pt x="1081" y="1138"/>
                      <a:pt x="1216" y="1150"/>
                    </a:cubicBezTo>
                    <a:cubicBezTo>
                      <a:pt x="1352" y="1150"/>
                      <a:pt x="1577" y="1150"/>
                      <a:pt x="1904" y="1138"/>
                    </a:cubicBezTo>
                    <a:cubicBezTo>
                      <a:pt x="2095" y="1138"/>
                      <a:pt x="2241" y="1150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5"/>
                      <a:pt x="2782" y="1409"/>
                      <a:pt x="2782" y="1431"/>
                    </a:cubicBezTo>
                    <a:cubicBezTo>
                      <a:pt x="2793" y="1454"/>
                      <a:pt x="2782" y="1476"/>
                      <a:pt x="2737" y="1499"/>
                    </a:cubicBezTo>
                    <a:cubicBezTo>
                      <a:pt x="2709" y="1510"/>
                      <a:pt x="2684" y="1516"/>
                      <a:pt x="2658" y="1516"/>
                    </a:cubicBezTo>
                    <a:cubicBezTo>
                      <a:pt x="2633" y="1516"/>
                      <a:pt x="2608" y="1510"/>
                      <a:pt x="2579" y="1499"/>
                    </a:cubicBezTo>
                    <a:cubicBezTo>
                      <a:pt x="2512" y="1487"/>
                      <a:pt x="2399" y="1420"/>
                      <a:pt x="2219" y="1319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7"/>
                    </a:cubicBezTo>
                    <a:cubicBezTo>
                      <a:pt x="2407" y="1839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2"/>
                    </a:lnTo>
                    <a:lnTo>
                      <a:pt x="3334" y="1656"/>
                    </a:lnTo>
                    <a:cubicBezTo>
                      <a:pt x="3514" y="1544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3"/>
                    </a:cubicBezTo>
                    <a:cubicBezTo>
                      <a:pt x="2579" y="699"/>
                      <a:pt x="2444" y="677"/>
                      <a:pt x="2332" y="665"/>
                    </a:cubicBezTo>
                    <a:cubicBezTo>
                      <a:pt x="2219" y="665"/>
                      <a:pt x="2027" y="665"/>
                      <a:pt x="1757" y="677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7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8"/>
                      <a:pt x="766" y="485"/>
                    </a:cubicBezTo>
                    <a:cubicBezTo>
                      <a:pt x="755" y="463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9"/>
                      <a:pt x="1093" y="474"/>
                      <a:pt x="1216" y="530"/>
                    </a:cubicBezTo>
                    <a:lnTo>
                      <a:pt x="1329" y="598"/>
                    </a:lnTo>
                    <a:lnTo>
                      <a:pt x="1971" y="339"/>
                    </a:lnTo>
                    <a:cubicBezTo>
                      <a:pt x="1915" y="305"/>
                      <a:pt x="1881" y="282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3" name="Google Shape;1013;p33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9"/>
                    </a:moveTo>
                    <a:lnTo>
                      <a:pt x="1329" y="598"/>
                    </a:lnTo>
                    <a:lnTo>
                      <a:pt x="1216" y="530"/>
                    </a:lnTo>
                    <a:cubicBezTo>
                      <a:pt x="1093" y="474"/>
                      <a:pt x="1014" y="429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3"/>
                      <a:pt x="766" y="485"/>
                    </a:cubicBezTo>
                    <a:cubicBezTo>
                      <a:pt x="777" y="508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7"/>
                    </a:cubicBezTo>
                    <a:cubicBezTo>
                      <a:pt x="1250" y="688"/>
                      <a:pt x="1453" y="688"/>
                      <a:pt x="1757" y="677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7"/>
                      <a:pt x="2579" y="699"/>
                      <a:pt x="2726" y="733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4"/>
                      <a:pt x="3334" y="1656"/>
                    </a:cubicBezTo>
                    <a:lnTo>
                      <a:pt x="3582" y="1792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7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9"/>
                    </a:lnTo>
                    <a:cubicBezTo>
                      <a:pt x="2399" y="1420"/>
                      <a:pt x="2512" y="1487"/>
                      <a:pt x="2579" y="1499"/>
                    </a:cubicBezTo>
                    <a:cubicBezTo>
                      <a:pt x="2636" y="1521"/>
                      <a:pt x="2681" y="1521"/>
                      <a:pt x="2737" y="1499"/>
                    </a:cubicBezTo>
                    <a:cubicBezTo>
                      <a:pt x="2782" y="1476"/>
                      <a:pt x="2793" y="1454"/>
                      <a:pt x="2782" y="1431"/>
                    </a:cubicBezTo>
                    <a:cubicBezTo>
                      <a:pt x="2782" y="1409"/>
                      <a:pt x="2737" y="1375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50"/>
                      <a:pt x="2095" y="1138"/>
                      <a:pt x="1904" y="1138"/>
                    </a:cubicBezTo>
                    <a:cubicBezTo>
                      <a:pt x="1577" y="1150"/>
                      <a:pt x="1352" y="1150"/>
                      <a:pt x="1216" y="1150"/>
                    </a:cubicBezTo>
                    <a:cubicBezTo>
                      <a:pt x="1081" y="1138"/>
                      <a:pt x="935" y="1116"/>
                      <a:pt x="777" y="1082"/>
                    </a:cubicBezTo>
                    <a:cubicBezTo>
                      <a:pt x="620" y="1037"/>
                      <a:pt x="462" y="981"/>
                      <a:pt x="327" y="902"/>
                    </a:cubicBezTo>
                    <a:cubicBezTo>
                      <a:pt x="124" y="789"/>
                      <a:pt x="11" y="677"/>
                      <a:pt x="11" y="564"/>
                    </a:cubicBezTo>
                    <a:cubicBezTo>
                      <a:pt x="0" y="463"/>
                      <a:pt x="90" y="350"/>
                      <a:pt x="282" y="249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82"/>
                      <a:pt x="1915" y="305"/>
                      <a:pt x="1971" y="33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4" name="Google Shape;1014;p33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extrusionOk="0">
                    <a:moveTo>
                      <a:pt x="3177" y="1"/>
                    </a:move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lnTo>
                      <a:pt x="5982" y="1150"/>
                    </a:lnTo>
                    <a:cubicBezTo>
                      <a:pt x="5441" y="463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5" name="Google Shape;1015;p33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4"/>
                      <a:pt x="3177" y="4404"/>
                    </a:cubicBezTo>
                    <a:cubicBezTo>
                      <a:pt x="4934" y="4404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6" name="Google Shape;1016;p33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fill="none" extrusionOk="0">
                    <a:moveTo>
                      <a:pt x="5982" y="1150"/>
                    </a:moveTo>
                    <a:cubicBezTo>
                      <a:pt x="5441" y="463"/>
                      <a:pt x="4393" y="1"/>
                      <a:pt x="3177" y="1"/>
                    </a:cubicBez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7" name="Google Shape;1017;p33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4"/>
                      <a:pt x="3177" y="4404"/>
                    </a:cubicBezTo>
                    <a:cubicBezTo>
                      <a:pt x="1420" y="4404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8" name="Google Shape;1018;p33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9" name="Google Shape;1019;p33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0" name="Google Shape;1020;p33"/>
              <p:cNvSpPr/>
              <p:nvPr/>
            </p:nvSpPr>
            <p:spPr>
              <a:xfrm>
                <a:off x="3781826" y="1253157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14"/>
                      <a:pt x="1" y="980"/>
                      <a:pt x="1" y="958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1" name="Google Shape;1021;p33"/>
              <p:cNvSpPr/>
              <p:nvPr/>
            </p:nvSpPr>
            <p:spPr>
              <a:xfrm>
                <a:off x="3805825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2" name="Google Shape;1022;p33"/>
              <p:cNvSpPr/>
              <p:nvPr/>
            </p:nvSpPr>
            <p:spPr>
              <a:xfrm>
                <a:off x="3828637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3" name="Google Shape;1023;p33"/>
              <p:cNvSpPr/>
              <p:nvPr/>
            </p:nvSpPr>
            <p:spPr>
              <a:xfrm>
                <a:off x="3849912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4" name="Google Shape;1024;p33"/>
              <p:cNvSpPr/>
              <p:nvPr/>
            </p:nvSpPr>
            <p:spPr>
              <a:xfrm>
                <a:off x="3868008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5" name="Google Shape;1025;p33"/>
              <p:cNvSpPr/>
              <p:nvPr/>
            </p:nvSpPr>
            <p:spPr>
              <a:xfrm>
                <a:off x="3884147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6" name="Google Shape;1026;p33"/>
              <p:cNvSpPr/>
              <p:nvPr/>
            </p:nvSpPr>
            <p:spPr>
              <a:xfrm>
                <a:off x="3757023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7" name="Google Shape;1027;p33"/>
              <p:cNvSpPr/>
              <p:nvPr/>
            </p:nvSpPr>
            <p:spPr>
              <a:xfrm>
                <a:off x="3734211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8" name="Google Shape;1028;p33"/>
              <p:cNvSpPr/>
              <p:nvPr/>
            </p:nvSpPr>
            <p:spPr>
              <a:xfrm>
                <a:off x="3712971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9" name="Google Shape;1029;p33"/>
              <p:cNvSpPr/>
              <p:nvPr/>
            </p:nvSpPr>
            <p:spPr>
              <a:xfrm>
                <a:off x="3694876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0" name="Google Shape;1030;p33"/>
              <p:cNvSpPr/>
              <p:nvPr/>
            </p:nvSpPr>
            <p:spPr>
              <a:xfrm>
                <a:off x="3678736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1" name="Google Shape;1031;p33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48"/>
                      <a:pt x="1104" y="3402"/>
                      <a:pt x="2456" y="3402"/>
                    </a:cubicBezTo>
                    <a:cubicBezTo>
                      <a:pt x="3819" y="3402"/>
                      <a:pt x="4911" y="2648"/>
                      <a:pt x="4911" y="1702"/>
                    </a:cubicBezTo>
                    <a:cubicBezTo>
                      <a:pt x="4911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2" name="Google Shape;1032;p33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48"/>
                      <a:pt x="3819" y="3402"/>
                      <a:pt x="2456" y="3402"/>
                    </a:cubicBezTo>
                    <a:cubicBezTo>
                      <a:pt x="1104" y="3402"/>
                      <a:pt x="1" y="2648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11" y="767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3" name="Google Shape;1033;p33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8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0"/>
                    </a:cubicBezTo>
                    <a:cubicBezTo>
                      <a:pt x="462" y="969"/>
                      <a:pt x="608" y="1025"/>
                      <a:pt x="777" y="1071"/>
                    </a:cubicBezTo>
                    <a:cubicBezTo>
                      <a:pt x="935" y="1104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4"/>
                      <a:pt x="2523" y="1251"/>
                      <a:pt x="2681" y="1330"/>
                    </a:cubicBezTo>
                    <a:cubicBezTo>
                      <a:pt x="2737" y="1363"/>
                      <a:pt x="2771" y="1397"/>
                      <a:pt x="2782" y="1420"/>
                    </a:cubicBezTo>
                    <a:cubicBezTo>
                      <a:pt x="2793" y="1453"/>
                      <a:pt x="2782" y="1465"/>
                      <a:pt x="2737" y="1487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7"/>
                    </a:cubicBezTo>
                    <a:cubicBezTo>
                      <a:pt x="2512" y="1476"/>
                      <a:pt x="2399" y="1408"/>
                      <a:pt x="2208" y="1307"/>
                    </a:cubicBezTo>
                    <a:lnTo>
                      <a:pt x="2050" y="1217"/>
                    </a:lnTo>
                    <a:lnTo>
                      <a:pt x="1408" y="1476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19" y="1828"/>
                      <a:pt x="2471" y="1829"/>
                      <a:pt x="2522" y="1829"/>
                    </a:cubicBezTo>
                    <a:cubicBezTo>
                      <a:pt x="2708" y="1829"/>
                      <a:pt x="2877" y="1811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2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6"/>
                      <a:pt x="2715" y="733"/>
                    </a:cubicBezTo>
                    <a:cubicBezTo>
                      <a:pt x="2579" y="688"/>
                      <a:pt x="2444" y="665"/>
                      <a:pt x="2332" y="654"/>
                    </a:cubicBezTo>
                    <a:cubicBezTo>
                      <a:pt x="2219" y="654"/>
                      <a:pt x="2028" y="654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20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1"/>
                      <a:pt x="958" y="406"/>
                    </a:cubicBezTo>
                    <a:cubicBezTo>
                      <a:pt x="1014" y="417"/>
                      <a:pt x="1093" y="462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3"/>
                      <a:pt x="1870" y="271"/>
                      <a:pt x="1847" y="248"/>
                    </a:cubicBezTo>
                    <a:cubicBezTo>
                      <a:pt x="1645" y="147"/>
                      <a:pt x="1442" y="79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1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4" name="Google Shape;1034;p33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2"/>
                      <a:pt x="1014" y="417"/>
                      <a:pt x="958" y="406"/>
                    </a:cubicBezTo>
                    <a:cubicBezTo>
                      <a:pt x="901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20"/>
                      <a:pt x="1081" y="665"/>
                      <a:pt x="1160" y="665"/>
                    </a:cubicBezTo>
                    <a:cubicBezTo>
                      <a:pt x="1250" y="676"/>
                      <a:pt x="1442" y="676"/>
                      <a:pt x="1757" y="665"/>
                    </a:cubicBezTo>
                    <a:cubicBezTo>
                      <a:pt x="2028" y="654"/>
                      <a:pt x="2219" y="654"/>
                      <a:pt x="2332" y="654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6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2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36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76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8"/>
                      <a:pt x="2512" y="1476"/>
                      <a:pt x="2568" y="1487"/>
                    </a:cubicBezTo>
                    <a:cubicBezTo>
                      <a:pt x="2625" y="1510"/>
                      <a:pt x="2681" y="1510"/>
                      <a:pt x="2737" y="1487"/>
                    </a:cubicBezTo>
                    <a:cubicBezTo>
                      <a:pt x="2782" y="1465"/>
                      <a:pt x="2793" y="1453"/>
                      <a:pt x="2782" y="1420"/>
                    </a:cubicBezTo>
                    <a:cubicBezTo>
                      <a:pt x="2771" y="1397"/>
                      <a:pt x="2737" y="1363"/>
                      <a:pt x="2681" y="1330"/>
                    </a:cubicBezTo>
                    <a:cubicBezTo>
                      <a:pt x="2523" y="1251"/>
                      <a:pt x="2411" y="1194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4"/>
                      <a:pt x="777" y="1071"/>
                    </a:cubicBezTo>
                    <a:cubicBezTo>
                      <a:pt x="608" y="1025"/>
                      <a:pt x="462" y="969"/>
                      <a:pt x="316" y="890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8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5" y="147"/>
                      <a:pt x="1847" y="248"/>
                    </a:cubicBezTo>
                    <a:cubicBezTo>
                      <a:pt x="1870" y="271"/>
                      <a:pt x="1915" y="293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5" name="Google Shape;1035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lnTo>
                      <a:pt x="5982" y="1161"/>
                    </a:lnTo>
                    <a:cubicBezTo>
                      <a:pt x="5441" y="473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6" name="Google Shape;1036;p33"/>
              <p:cNvSpPr/>
              <p:nvPr/>
            </p:nvSpPr>
            <p:spPr>
              <a:xfrm>
                <a:off x="3674793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92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92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7" name="Google Shape;1037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5982" y="1161"/>
                    </a:moveTo>
                    <a:cubicBezTo>
                      <a:pt x="5441" y="473"/>
                      <a:pt x="4393" y="0"/>
                      <a:pt x="3177" y="0"/>
                    </a:cubicBez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8" name="Google Shape;1038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92"/>
                      <a:pt x="1420" y="0"/>
                      <a:pt x="3177" y="0"/>
                    </a:cubicBezTo>
                    <a:cubicBezTo>
                      <a:pt x="4934" y="0"/>
                      <a:pt x="6353" y="992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9" name="Google Shape;1039;p33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9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0" name="Google Shape;1040;p33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9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1" name="Google Shape;1041;p33"/>
              <p:cNvSpPr/>
              <p:nvPr/>
            </p:nvSpPr>
            <p:spPr>
              <a:xfrm>
                <a:off x="3781826" y="119020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03"/>
                      <a:pt x="1" y="980"/>
                      <a:pt x="1" y="957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2" name="Google Shape;1042;p33"/>
              <p:cNvSpPr/>
              <p:nvPr/>
            </p:nvSpPr>
            <p:spPr>
              <a:xfrm>
                <a:off x="3805825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3" name="Google Shape;1043;p33"/>
              <p:cNvSpPr/>
              <p:nvPr/>
            </p:nvSpPr>
            <p:spPr>
              <a:xfrm>
                <a:off x="3828637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4" name="Google Shape;1044;p33"/>
              <p:cNvSpPr/>
              <p:nvPr/>
            </p:nvSpPr>
            <p:spPr>
              <a:xfrm>
                <a:off x="3849912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5" name="Google Shape;1045;p33"/>
              <p:cNvSpPr/>
              <p:nvPr/>
            </p:nvSpPr>
            <p:spPr>
              <a:xfrm>
                <a:off x="3868008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6" name="Google Shape;1046;p33"/>
              <p:cNvSpPr/>
              <p:nvPr/>
            </p:nvSpPr>
            <p:spPr>
              <a:xfrm>
                <a:off x="3884147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7" name="Google Shape;1047;p33"/>
              <p:cNvSpPr/>
              <p:nvPr/>
            </p:nvSpPr>
            <p:spPr>
              <a:xfrm>
                <a:off x="3757023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8" name="Google Shape;1048;p33"/>
              <p:cNvSpPr/>
              <p:nvPr/>
            </p:nvSpPr>
            <p:spPr>
              <a:xfrm>
                <a:off x="3734211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9" name="Google Shape;1049;p33"/>
              <p:cNvSpPr/>
              <p:nvPr/>
            </p:nvSpPr>
            <p:spPr>
              <a:xfrm>
                <a:off x="3712971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0" name="Google Shape;1050;p33"/>
              <p:cNvSpPr/>
              <p:nvPr/>
            </p:nvSpPr>
            <p:spPr>
              <a:xfrm>
                <a:off x="3694876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1" name="Google Shape;1051;p33"/>
              <p:cNvSpPr/>
              <p:nvPr/>
            </p:nvSpPr>
            <p:spPr>
              <a:xfrm>
                <a:off x="3678736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2" name="Google Shape;1052;p33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55"/>
                      <a:pt x="1" y="1702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11" y="2636"/>
                      <a:pt x="4911" y="1702"/>
                    </a:cubicBezTo>
                    <a:cubicBezTo>
                      <a:pt x="4911" y="755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3" name="Google Shape;1053;p33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2"/>
                    </a:cubicBezTo>
                    <a:cubicBezTo>
                      <a:pt x="1" y="755"/>
                      <a:pt x="1104" y="1"/>
                      <a:pt x="2456" y="1"/>
                    </a:cubicBezTo>
                    <a:cubicBezTo>
                      <a:pt x="3819" y="1"/>
                      <a:pt x="4911" y="755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4" name="Google Shape;1054;p33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extrusionOk="0">
                    <a:moveTo>
                      <a:pt x="361" y="0"/>
                    </a:moveTo>
                    <a:lnTo>
                      <a:pt x="57" y="124"/>
                    </a:lnTo>
                    <a:lnTo>
                      <a:pt x="282" y="248"/>
                    </a:lnTo>
                    <a:cubicBezTo>
                      <a:pt x="90" y="349"/>
                      <a:pt x="0" y="462"/>
                      <a:pt x="0" y="563"/>
                    </a:cubicBezTo>
                    <a:cubicBezTo>
                      <a:pt x="11" y="676"/>
                      <a:pt x="113" y="789"/>
                      <a:pt x="316" y="901"/>
                    </a:cubicBezTo>
                    <a:cubicBezTo>
                      <a:pt x="462" y="980"/>
                      <a:pt x="608" y="1036"/>
                      <a:pt x="777" y="1081"/>
                    </a:cubicBezTo>
                    <a:cubicBezTo>
                      <a:pt x="935" y="1115"/>
                      <a:pt x="1081" y="1138"/>
                      <a:pt x="1217" y="1149"/>
                    </a:cubicBezTo>
                    <a:cubicBezTo>
                      <a:pt x="1341" y="1149"/>
                      <a:pt x="1577" y="1149"/>
                      <a:pt x="1904" y="1138"/>
                    </a:cubicBezTo>
                    <a:cubicBezTo>
                      <a:pt x="2095" y="1138"/>
                      <a:pt x="2230" y="1149"/>
                      <a:pt x="2320" y="1172"/>
                    </a:cubicBezTo>
                    <a:cubicBezTo>
                      <a:pt x="2411" y="1205"/>
                      <a:pt x="2523" y="1262"/>
                      <a:pt x="2681" y="1340"/>
                    </a:cubicBezTo>
                    <a:cubicBezTo>
                      <a:pt x="2737" y="1374"/>
                      <a:pt x="2771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09"/>
                      <a:pt x="2681" y="1515"/>
                      <a:pt x="2653" y="1515"/>
                    </a:cubicBezTo>
                    <a:cubicBezTo>
                      <a:pt x="2625" y="1515"/>
                      <a:pt x="2596" y="1509"/>
                      <a:pt x="2568" y="1498"/>
                    </a:cubicBezTo>
                    <a:cubicBezTo>
                      <a:pt x="2512" y="1476"/>
                      <a:pt x="2399" y="1419"/>
                      <a:pt x="2208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32" y="1566"/>
                    </a:lnTo>
                    <a:cubicBezTo>
                      <a:pt x="1836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69" y="1815"/>
                      <a:pt x="3019" y="1768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23" y="1656"/>
                    </a:lnTo>
                    <a:cubicBezTo>
                      <a:pt x="3514" y="1543"/>
                      <a:pt x="3593" y="1431"/>
                      <a:pt x="3559" y="1307"/>
                    </a:cubicBezTo>
                    <a:cubicBezTo>
                      <a:pt x="3537" y="1183"/>
                      <a:pt x="3402" y="1059"/>
                      <a:pt x="3154" y="924"/>
                    </a:cubicBezTo>
                    <a:cubicBezTo>
                      <a:pt x="3007" y="834"/>
                      <a:pt x="2861" y="777"/>
                      <a:pt x="2715" y="732"/>
                    </a:cubicBezTo>
                    <a:cubicBezTo>
                      <a:pt x="2579" y="698"/>
                      <a:pt x="2444" y="676"/>
                      <a:pt x="2332" y="665"/>
                    </a:cubicBezTo>
                    <a:cubicBezTo>
                      <a:pt x="2219" y="665"/>
                      <a:pt x="2028" y="665"/>
                      <a:pt x="1757" y="676"/>
                    </a:cubicBezTo>
                    <a:cubicBezTo>
                      <a:pt x="1547" y="676"/>
                      <a:pt x="1392" y="681"/>
                      <a:pt x="1285" y="681"/>
                    </a:cubicBezTo>
                    <a:cubicBezTo>
                      <a:pt x="1232" y="681"/>
                      <a:pt x="1190" y="680"/>
                      <a:pt x="1160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4"/>
                    </a:cubicBezTo>
                    <a:cubicBezTo>
                      <a:pt x="755" y="462"/>
                      <a:pt x="766" y="439"/>
                      <a:pt x="811" y="417"/>
                    </a:cubicBezTo>
                    <a:cubicBezTo>
                      <a:pt x="837" y="410"/>
                      <a:pt x="863" y="404"/>
                      <a:pt x="891" y="404"/>
                    </a:cubicBezTo>
                    <a:cubicBezTo>
                      <a:pt x="912" y="404"/>
                      <a:pt x="934" y="407"/>
                      <a:pt x="958" y="417"/>
                    </a:cubicBezTo>
                    <a:cubicBezTo>
                      <a:pt x="1014" y="428"/>
                      <a:pt x="1093" y="462"/>
                      <a:pt x="1217" y="530"/>
                    </a:cubicBezTo>
                    <a:lnTo>
                      <a:pt x="1329" y="59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64" y="334"/>
                      <a:pt x="1968" y="336"/>
                      <a:pt x="1971" y="338"/>
                    </a:cubicBezTo>
                    <a:lnTo>
                      <a:pt x="1971" y="32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09" y="301"/>
                      <a:pt x="1868" y="280"/>
                      <a:pt x="1847" y="259"/>
                    </a:cubicBezTo>
                    <a:cubicBezTo>
                      <a:pt x="1645" y="147"/>
                      <a:pt x="1442" y="79"/>
                      <a:pt x="1228" y="56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4" y="73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5" name="Google Shape;1055;p33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fill="none" extrusionOk="0">
                    <a:moveTo>
                      <a:pt x="1971" y="327"/>
                    </a:moveTo>
                    <a:lnTo>
                      <a:pt x="1329" y="597"/>
                    </a:lnTo>
                    <a:lnTo>
                      <a:pt x="1217" y="530"/>
                    </a:lnTo>
                    <a:cubicBezTo>
                      <a:pt x="1093" y="462"/>
                      <a:pt x="1014" y="428"/>
                      <a:pt x="958" y="417"/>
                    </a:cubicBezTo>
                    <a:cubicBezTo>
                      <a:pt x="901" y="394"/>
                      <a:pt x="856" y="406"/>
                      <a:pt x="811" y="417"/>
                    </a:cubicBezTo>
                    <a:cubicBezTo>
                      <a:pt x="766" y="439"/>
                      <a:pt x="755" y="462"/>
                      <a:pt x="766" y="484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60" y="676"/>
                    </a:cubicBezTo>
                    <a:cubicBezTo>
                      <a:pt x="1250" y="687"/>
                      <a:pt x="1442" y="676"/>
                      <a:pt x="1757" y="676"/>
                    </a:cubicBezTo>
                    <a:cubicBezTo>
                      <a:pt x="2028" y="665"/>
                      <a:pt x="2219" y="665"/>
                      <a:pt x="2332" y="665"/>
                    </a:cubicBezTo>
                    <a:cubicBezTo>
                      <a:pt x="2444" y="676"/>
                      <a:pt x="2579" y="698"/>
                      <a:pt x="2715" y="732"/>
                    </a:cubicBezTo>
                    <a:cubicBezTo>
                      <a:pt x="2861" y="777"/>
                      <a:pt x="3007" y="834"/>
                      <a:pt x="3154" y="924"/>
                    </a:cubicBezTo>
                    <a:cubicBezTo>
                      <a:pt x="3402" y="1059"/>
                      <a:pt x="3537" y="1183"/>
                      <a:pt x="3559" y="1307"/>
                    </a:cubicBezTo>
                    <a:cubicBezTo>
                      <a:pt x="3593" y="1431"/>
                      <a:pt x="3514" y="1543"/>
                      <a:pt x="3323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19" y="1768"/>
                    </a:lnTo>
                    <a:cubicBezTo>
                      <a:pt x="2839" y="1825"/>
                      <a:pt x="2613" y="1847"/>
                      <a:pt x="2365" y="1836"/>
                    </a:cubicBezTo>
                    <a:cubicBezTo>
                      <a:pt x="2118" y="1825"/>
                      <a:pt x="1836" y="1735"/>
                      <a:pt x="1532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08" y="1318"/>
                    </a:lnTo>
                    <a:cubicBezTo>
                      <a:pt x="2399" y="1419"/>
                      <a:pt x="2512" y="1476"/>
                      <a:pt x="2568" y="1498"/>
                    </a:cubicBezTo>
                    <a:cubicBezTo>
                      <a:pt x="2625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71" y="1408"/>
                      <a:pt x="2737" y="1374"/>
                      <a:pt x="2681" y="1340"/>
                    </a:cubicBezTo>
                    <a:cubicBezTo>
                      <a:pt x="2523" y="1262"/>
                      <a:pt x="2411" y="1205"/>
                      <a:pt x="2320" y="1172"/>
                    </a:cubicBezTo>
                    <a:cubicBezTo>
                      <a:pt x="2230" y="1149"/>
                      <a:pt x="2095" y="1138"/>
                      <a:pt x="1904" y="1138"/>
                    </a:cubicBezTo>
                    <a:cubicBezTo>
                      <a:pt x="1577" y="1149"/>
                      <a:pt x="1341" y="1149"/>
                      <a:pt x="1217" y="1149"/>
                    </a:cubicBezTo>
                    <a:cubicBezTo>
                      <a:pt x="1081" y="1138"/>
                      <a:pt x="935" y="1115"/>
                      <a:pt x="777" y="1081"/>
                    </a:cubicBezTo>
                    <a:cubicBezTo>
                      <a:pt x="608" y="1036"/>
                      <a:pt x="462" y="980"/>
                      <a:pt x="316" y="901"/>
                    </a:cubicBezTo>
                    <a:cubicBezTo>
                      <a:pt x="113" y="789"/>
                      <a:pt x="11" y="676"/>
                      <a:pt x="0" y="563"/>
                    </a:cubicBezTo>
                    <a:cubicBezTo>
                      <a:pt x="0" y="462"/>
                      <a:pt x="90" y="349"/>
                      <a:pt x="282" y="248"/>
                    </a:cubicBezTo>
                    <a:lnTo>
                      <a:pt x="57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6"/>
                      <a:pt x="1014" y="34"/>
                      <a:pt x="1228" y="56"/>
                    </a:cubicBezTo>
                    <a:cubicBezTo>
                      <a:pt x="1442" y="79"/>
                      <a:pt x="1645" y="147"/>
                      <a:pt x="1847" y="259"/>
                    </a:cubicBezTo>
                    <a:cubicBezTo>
                      <a:pt x="1870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6" name="Google Shape;1056;p33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lnTo>
                      <a:pt x="5982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7" name="Google Shape;1057;p33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8" name="Google Shape;1058;p33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fill="none" extrusionOk="0">
                    <a:moveTo>
                      <a:pt x="5982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9" name="Google Shape;1059;p33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0" name="Google Shape;1060;p33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1" name="Google Shape;1061;p33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2" name="Google Shape;1062;p33"/>
              <p:cNvSpPr/>
              <p:nvPr/>
            </p:nvSpPr>
            <p:spPr>
              <a:xfrm>
                <a:off x="3781826" y="111936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cubicBezTo>
                      <a:pt x="1" y="1003"/>
                      <a:pt x="1" y="981"/>
                      <a:pt x="1" y="947"/>
                    </a:cubicBez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3" name="Google Shape;1063;p33"/>
              <p:cNvSpPr/>
              <p:nvPr/>
            </p:nvSpPr>
            <p:spPr>
              <a:xfrm>
                <a:off x="3805825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4" name="Google Shape;1064;p33"/>
              <p:cNvSpPr/>
              <p:nvPr/>
            </p:nvSpPr>
            <p:spPr>
              <a:xfrm>
                <a:off x="3828637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5" name="Google Shape;1065;p33"/>
              <p:cNvSpPr/>
              <p:nvPr/>
            </p:nvSpPr>
            <p:spPr>
              <a:xfrm>
                <a:off x="3849912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6" name="Google Shape;1066;p33"/>
              <p:cNvSpPr/>
              <p:nvPr/>
            </p:nvSpPr>
            <p:spPr>
              <a:xfrm>
                <a:off x="3868008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7" name="Google Shape;1067;p33"/>
              <p:cNvSpPr/>
              <p:nvPr/>
            </p:nvSpPr>
            <p:spPr>
              <a:xfrm>
                <a:off x="3884147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8" name="Google Shape;1068;p33"/>
              <p:cNvSpPr/>
              <p:nvPr/>
            </p:nvSpPr>
            <p:spPr>
              <a:xfrm>
                <a:off x="3757023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9" name="Google Shape;1069;p33"/>
              <p:cNvSpPr/>
              <p:nvPr/>
            </p:nvSpPr>
            <p:spPr>
              <a:xfrm>
                <a:off x="3734211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0" name="Google Shape;1070;p33"/>
              <p:cNvSpPr/>
              <p:nvPr/>
            </p:nvSpPr>
            <p:spPr>
              <a:xfrm>
                <a:off x="3712971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1" name="Google Shape;1071;p33"/>
              <p:cNvSpPr/>
              <p:nvPr/>
            </p:nvSpPr>
            <p:spPr>
              <a:xfrm>
                <a:off x="3694876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2" name="Google Shape;1072;p33"/>
              <p:cNvSpPr/>
              <p:nvPr/>
            </p:nvSpPr>
            <p:spPr>
              <a:xfrm>
                <a:off x="3678736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3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11" y="2647"/>
                      <a:pt x="4911" y="1701"/>
                    </a:cubicBezTo>
                    <a:cubicBezTo>
                      <a:pt x="4911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4" name="Google Shape;1074;p33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fill="none" extrusionOk="0">
                    <a:moveTo>
                      <a:pt x="4911" y="1701"/>
                    </a:moveTo>
                    <a:cubicBezTo>
                      <a:pt x="4911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11" y="766"/>
                      <a:pt x="4911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5" name="Google Shape;1075;p33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9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1"/>
                    </a:cubicBezTo>
                    <a:cubicBezTo>
                      <a:pt x="462" y="969"/>
                      <a:pt x="608" y="1026"/>
                      <a:pt x="777" y="1071"/>
                    </a:cubicBezTo>
                    <a:cubicBezTo>
                      <a:pt x="935" y="1105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5"/>
                      <a:pt x="2523" y="1251"/>
                      <a:pt x="2681" y="1330"/>
                    </a:cubicBezTo>
                    <a:cubicBezTo>
                      <a:pt x="2737" y="1364"/>
                      <a:pt x="2771" y="1397"/>
                      <a:pt x="2782" y="1420"/>
                    </a:cubicBezTo>
                    <a:cubicBezTo>
                      <a:pt x="2793" y="1454"/>
                      <a:pt x="2782" y="1465"/>
                      <a:pt x="2737" y="1488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8"/>
                    </a:cubicBezTo>
                    <a:cubicBezTo>
                      <a:pt x="2512" y="1476"/>
                      <a:pt x="2399" y="1409"/>
                      <a:pt x="2208" y="1307"/>
                    </a:cubicBezTo>
                    <a:lnTo>
                      <a:pt x="2050" y="1217"/>
                    </a:lnTo>
                    <a:lnTo>
                      <a:pt x="1408" y="1488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3" y="1834"/>
                      <a:pt x="2884" y="1809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3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7"/>
                      <a:pt x="2715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4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32"/>
                      <a:pt x="879" y="564"/>
                    </a:cubicBezTo>
                    <a:cubicBezTo>
                      <a:pt x="822" y="530"/>
                      <a:pt x="777" y="508"/>
                      <a:pt x="766" y="474"/>
                    </a:cubicBezTo>
                    <a:cubicBezTo>
                      <a:pt x="755" y="451"/>
                      <a:pt x="766" y="429"/>
                      <a:pt x="811" y="418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2"/>
                      <a:pt x="958" y="406"/>
                    </a:cubicBezTo>
                    <a:cubicBezTo>
                      <a:pt x="1014" y="418"/>
                      <a:pt x="1093" y="463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70" y="271"/>
                      <a:pt x="1847" y="249"/>
                    </a:cubicBezTo>
                    <a:cubicBezTo>
                      <a:pt x="1645" y="147"/>
                      <a:pt x="1442" y="80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2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6" name="Google Shape;1076;p33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3"/>
                      <a:pt x="1014" y="418"/>
                      <a:pt x="958" y="406"/>
                    </a:cubicBezTo>
                    <a:cubicBezTo>
                      <a:pt x="901" y="395"/>
                      <a:pt x="856" y="395"/>
                      <a:pt x="811" y="418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508"/>
                      <a:pt x="822" y="530"/>
                      <a:pt x="879" y="564"/>
                    </a:cubicBezTo>
                    <a:cubicBezTo>
                      <a:pt x="991" y="632"/>
                      <a:pt x="1081" y="665"/>
                      <a:pt x="1160" y="665"/>
                    </a:cubicBezTo>
                    <a:cubicBezTo>
                      <a:pt x="1250" y="677"/>
                      <a:pt x="1442" y="677"/>
                      <a:pt x="1757" y="665"/>
                    </a:cubicBezTo>
                    <a:cubicBezTo>
                      <a:pt x="2028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7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3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48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88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9"/>
                      <a:pt x="2512" y="1476"/>
                      <a:pt x="2568" y="1488"/>
                    </a:cubicBezTo>
                    <a:cubicBezTo>
                      <a:pt x="2625" y="1510"/>
                      <a:pt x="2681" y="1510"/>
                      <a:pt x="2737" y="1488"/>
                    </a:cubicBezTo>
                    <a:cubicBezTo>
                      <a:pt x="2782" y="1465"/>
                      <a:pt x="2793" y="1454"/>
                      <a:pt x="2782" y="1420"/>
                    </a:cubicBezTo>
                    <a:cubicBezTo>
                      <a:pt x="2771" y="1397"/>
                      <a:pt x="2737" y="1364"/>
                      <a:pt x="2681" y="1330"/>
                    </a:cubicBezTo>
                    <a:cubicBezTo>
                      <a:pt x="2523" y="1251"/>
                      <a:pt x="2411" y="1195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5"/>
                      <a:pt x="777" y="1071"/>
                    </a:cubicBezTo>
                    <a:cubicBezTo>
                      <a:pt x="608" y="1026"/>
                      <a:pt x="462" y="969"/>
                      <a:pt x="316" y="891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9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5" y="147"/>
                      <a:pt x="1847" y="249"/>
                    </a:cubicBezTo>
                    <a:cubicBezTo>
                      <a:pt x="1870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7" name="Google Shape;1077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74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8" name="Google Shape;1078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9" name="Google Shape;1079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74"/>
                      <a:pt x="4393" y="1"/>
                      <a:pt x="3188" y="1"/>
                    </a:cubicBez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0" name="Google Shape;1080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4"/>
                      <a:pt x="4945" y="4405"/>
                      <a:pt x="3188" y="4405"/>
                    </a:cubicBezTo>
                    <a:cubicBezTo>
                      <a:pt x="1431" y="4405"/>
                      <a:pt x="0" y="3414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1" name="Google Shape;1081;p33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2"/>
                      <a:pt x="0" y="2208"/>
                    </a:cubicBezTo>
                    <a:cubicBezTo>
                      <a:pt x="0" y="3424"/>
                      <a:pt x="1431" y="4404"/>
                      <a:pt x="3188" y="4404"/>
                    </a:cubicBezTo>
                    <a:cubicBezTo>
                      <a:pt x="4945" y="4404"/>
                      <a:pt x="6364" y="3424"/>
                      <a:pt x="6364" y="2208"/>
                    </a:cubicBezTo>
                    <a:cubicBezTo>
                      <a:pt x="6364" y="992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2" name="Google Shape;1082;p33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4"/>
                      <a:pt x="4945" y="4404"/>
                      <a:pt x="3188" y="4404"/>
                    </a:cubicBezTo>
                    <a:cubicBezTo>
                      <a:pt x="1431" y="4404"/>
                      <a:pt x="0" y="3424"/>
                      <a:pt x="0" y="2208"/>
                    </a:cubicBezTo>
                    <a:cubicBezTo>
                      <a:pt x="0" y="992"/>
                      <a:pt x="1431" y="0"/>
                      <a:pt x="3188" y="0"/>
                    </a:cubicBezTo>
                    <a:cubicBezTo>
                      <a:pt x="4945" y="0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3" name="Google Shape;1083;p33"/>
              <p:cNvSpPr/>
              <p:nvPr/>
            </p:nvSpPr>
            <p:spPr>
              <a:xfrm>
                <a:off x="3958905" y="1358203"/>
                <a:ext cx="419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11" y="958"/>
                    </a:cubicBezTo>
                    <a:lnTo>
                      <a:pt x="1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4" name="Google Shape;1084;p33"/>
              <p:cNvSpPr/>
              <p:nvPr/>
            </p:nvSpPr>
            <p:spPr>
              <a:xfrm>
                <a:off x="3983289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5" name="Google Shape;1085;p33"/>
              <p:cNvSpPr/>
              <p:nvPr/>
            </p:nvSpPr>
            <p:spPr>
              <a:xfrm>
                <a:off x="400610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6" name="Google Shape;1086;p33"/>
              <p:cNvSpPr/>
              <p:nvPr/>
            </p:nvSpPr>
            <p:spPr>
              <a:xfrm>
                <a:off x="4027341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7" name="Google Shape;1087;p33"/>
              <p:cNvSpPr/>
              <p:nvPr/>
            </p:nvSpPr>
            <p:spPr>
              <a:xfrm>
                <a:off x="4045052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8" name="Google Shape;1088;p33"/>
              <p:cNvSpPr/>
              <p:nvPr/>
            </p:nvSpPr>
            <p:spPr>
              <a:xfrm>
                <a:off x="406157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9" name="Google Shape;1089;p33"/>
              <p:cNvSpPr/>
              <p:nvPr/>
            </p:nvSpPr>
            <p:spPr>
              <a:xfrm>
                <a:off x="3934487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0" name="Google Shape;1090;p33"/>
              <p:cNvSpPr/>
              <p:nvPr/>
            </p:nvSpPr>
            <p:spPr>
              <a:xfrm>
                <a:off x="391129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1" name="Google Shape;1091;p33"/>
              <p:cNvSpPr/>
              <p:nvPr/>
            </p:nvSpPr>
            <p:spPr>
              <a:xfrm>
                <a:off x="3890435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2" name="Google Shape;1092;p33"/>
              <p:cNvSpPr/>
              <p:nvPr/>
            </p:nvSpPr>
            <p:spPr>
              <a:xfrm>
                <a:off x="3872339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3" name="Google Shape;1093;p33"/>
              <p:cNvSpPr/>
              <p:nvPr/>
            </p:nvSpPr>
            <p:spPr>
              <a:xfrm>
                <a:off x="385581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4" name="Google Shape;1094;p33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5" name="Google Shape;1095;p33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6" name="Google Shape;1096;p33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1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62"/>
                      <a:pt x="12" y="564"/>
                    </a:cubicBezTo>
                    <a:cubicBezTo>
                      <a:pt x="23" y="676"/>
                      <a:pt x="125" y="789"/>
                      <a:pt x="327" y="902"/>
                    </a:cubicBezTo>
                    <a:cubicBezTo>
                      <a:pt x="462" y="980"/>
                      <a:pt x="620" y="1037"/>
                      <a:pt x="778" y="1071"/>
                    </a:cubicBezTo>
                    <a:cubicBezTo>
                      <a:pt x="947" y="1116"/>
                      <a:pt x="1093" y="1138"/>
                      <a:pt x="1217" y="1138"/>
                    </a:cubicBezTo>
                    <a:cubicBezTo>
                      <a:pt x="1285" y="1144"/>
                      <a:pt x="1375" y="1147"/>
                      <a:pt x="1489" y="1147"/>
                    </a:cubicBezTo>
                    <a:cubicBezTo>
                      <a:pt x="1603" y="1147"/>
                      <a:pt x="1741" y="1144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7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408"/>
                      <a:pt x="2794" y="1431"/>
                    </a:cubicBezTo>
                    <a:cubicBezTo>
                      <a:pt x="2805" y="1454"/>
                      <a:pt x="2783" y="1476"/>
                      <a:pt x="2738" y="1499"/>
                    </a:cubicBezTo>
                    <a:cubicBezTo>
                      <a:pt x="2715" y="1510"/>
                      <a:pt x="2690" y="1515"/>
                      <a:pt x="2663" y="1515"/>
                    </a:cubicBezTo>
                    <a:cubicBezTo>
                      <a:pt x="2636" y="1515"/>
                      <a:pt x="2608" y="1510"/>
                      <a:pt x="2580" y="1499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28"/>
                    </a:lnTo>
                    <a:lnTo>
                      <a:pt x="1409" y="1487"/>
                    </a:lnTo>
                    <a:lnTo>
                      <a:pt x="1544" y="1566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31"/>
                      <a:pt x="3571" y="1307"/>
                    </a:cubicBezTo>
                    <a:cubicBezTo>
                      <a:pt x="3549" y="1183"/>
                      <a:pt x="3413" y="1048"/>
                      <a:pt x="3166" y="924"/>
                    </a:cubicBezTo>
                    <a:cubicBezTo>
                      <a:pt x="3019" y="834"/>
                      <a:pt x="2873" y="778"/>
                      <a:pt x="2726" y="733"/>
                    </a:cubicBezTo>
                    <a:cubicBezTo>
                      <a:pt x="2580" y="699"/>
                      <a:pt x="2456" y="676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454" y="676"/>
                      <a:pt x="1251" y="676"/>
                      <a:pt x="1172" y="676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41"/>
                      <a:pt x="789" y="507"/>
                      <a:pt x="778" y="485"/>
                    </a:cubicBezTo>
                    <a:cubicBezTo>
                      <a:pt x="767" y="451"/>
                      <a:pt x="778" y="440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29"/>
                      <a:pt x="1104" y="462"/>
                      <a:pt x="1217" y="530"/>
                    </a:cubicBezTo>
                    <a:lnTo>
                      <a:pt x="1330" y="598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60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7" name="Google Shape;1097;p33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98"/>
                    </a:lnTo>
                    <a:lnTo>
                      <a:pt x="1217" y="530"/>
                    </a:lnTo>
                    <a:cubicBezTo>
                      <a:pt x="1104" y="462"/>
                      <a:pt x="1014" y="429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40"/>
                      <a:pt x="767" y="451"/>
                      <a:pt x="778" y="485"/>
                    </a:cubicBezTo>
                    <a:cubicBezTo>
                      <a:pt x="789" y="507"/>
                      <a:pt x="823" y="541"/>
                      <a:pt x="890" y="575"/>
                    </a:cubicBezTo>
                    <a:cubicBezTo>
                      <a:pt x="992" y="631"/>
                      <a:pt x="1093" y="665"/>
                      <a:pt x="1172" y="676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76"/>
                      <a:pt x="2580" y="699"/>
                      <a:pt x="2726" y="733"/>
                    </a:cubicBezTo>
                    <a:cubicBezTo>
                      <a:pt x="2873" y="778"/>
                      <a:pt x="3019" y="834"/>
                      <a:pt x="3166" y="924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31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66"/>
                    </a:cubicBezTo>
                    <a:lnTo>
                      <a:pt x="1409" y="1487"/>
                    </a:lnTo>
                    <a:lnTo>
                      <a:pt x="2051" y="1228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9"/>
                    </a:cubicBezTo>
                    <a:cubicBezTo>
                      <a:pt x="2636" y="1521"/>
                      <a:pt x="2693" y="1521"/>
                      <a:pt x="2738" y="1499"/>
                    </a:cubicBezTo>
                    <a:cubicBezTo>
                      <a:pt x="2783" y="1476"/>
                      <a:pt x="2805" y="1454"/>
                      <a:pt x="2794" y="1431"/>
                    </a:cubicBezTo>
                    <a:cubicBezTo>
                      <a:pt x="2783" y="1408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49"/>
                      <a:pt x="1352" y="1149"/>
                      <a:pt x="1217" y="1138"/>
                    </a:cubicBezTo>
                    <a:cubicBezTo>
                      <a:pt x="1093" y="1138"/>
                      <a:pt x="947" y="1116"/>
                      <a:pt x="778" y="1071"/>
                    </a:cubicBezTo>
                    <a:cubicBezTo>
                      <a:pt x="620" y="1037"/>
                      <a:pt x="462" y="980"/>
                      <a:pt x="327" y="902"/>
                    </a:cubicBezTo>
                    <a:cubicBezTo>
                      <a:pt x="125" y="789"/>
                      <a:pt x="23" y="676"/>
                      <a:pt x="12" y="564"/>
                    </a:cubicBezTo>
                    <a:cubicBezTo>
                      <a:pt x="1" y="462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1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60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8" name="Google Shape;1098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62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9" name="Google Shape;1099;p33"/>
              <p:cNvSpPr/>
              <p:nvPr/>
            </p:nvSpPr>
            <p:spPr>
              <a:xfrm>
                <a:off x="3849895" y="117821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0" name="Google Shape;1100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62"/>
                      <a:pt x="4393" y="1"/>
                      <a:pt x="3188" y="1"/>
                    </a:cubicBez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1" name="Google Shape;1101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45" y="4405"/>
                      <a:pt x="3188" y="4405"/>
                    </a:cubicBezTo>
                    <a:cubicBezTo>
                      <a:pt x="1431" y="4405"/>
                      <a:pt x="0" y="3413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2" name="Google Shape;1102;p33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1"/>
                      <a:pt x="0" y="2208"/>
                    </a:cubicBezTo>
                    <a:cubicBezTo>
                      <a:pt x="0" y="3413"/>
                      <a:pt x="1431" y="4404"/>
                      <a:pt x="3188" y="4404"/>
                    </a:cubicBezTo>
                    <a:cubicBezTo>
                      <a:pt x="4945" y="4404"/>
                      <a:pt x="6364" y="3413"/>
                      <a:pt x="6364" y="2208"/>
                    </a:cubicBezTo>
                    <a:cubicBezTo>
                      <a:pt x="6364" y="991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3" name="Google Shape;1103;p33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13"/>
                      <a:pt x="4945" y="4404"/>
                      <a:pt x="3188" y="4404"/>
                    </a:cubicBezTo>
                    <a:cubicBezTo>
                      <a:pt x="1431" y="4404"/>
                      <a:pt x="0" y="3413"/>
                      <a:pt x="0" y="2208"/>
                    </a:cubicBezTo>
                    <a:cubicBezTo>
                      <a:pt x="0" y="991"/>
                      <a:pt x="1431" y="0"/>
                      <a:pt x="3188" y="0"/>
                    </a:cubicBezTo>
                    <a:cubicBezTo>
                      <a:pt x="4945" y="0"/>
                      <a:pt x="6364" y="991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4" name="Google Shape;1104;p33"/>
              <p:cNvSpPr/>
              <p:nvPr/>
            </p:nvSpPr>
            <p:spPr>
              <a:xfrm>
                <a:off x="3958905" y="1295252"/>
                <a:ext cx="419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26" fill="none" extrusionOk="0">
                    <a:moveTo>
                      <a:pt x="0" y="1025"/>
                    </a:moveTo>
                    <a:cubicBezTo>
                      <a:pt x="0" y="1003"/>
                      <a:pt x="0" y="980"/>
                      <a:pt x="11" y="947"/>
                    </a:cubicBezTo>
                    <a:lnTo>
                      <a:pt x="1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5" name="Google Shape;1105;p33"/>
              <p:cNvSpPr/>
              <p:nvPr/>
            </p:nvSpPr>
            <p:spPr>
              <a:xfrm>
                <a:off x="3983289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6" name="Google Shape;1106;p33"/>
              <p:cNvSpPr/>
              <p:nvPr/>
            </p:nvSpPr>
            <p:spPr>
              <a:xfrm>
                <a:off x="400610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7" name="Google Shape;1107;p33"/>
              <p:cNvSpPr/>
              <p:nvPr/>
            </p:nvSpPr>
            <p:spPr>
              <a:xfrm>
                <a:off x="4027341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8" name="Google Shape;1108;p33"/>
              <p:cNvSpPr/>
              <p:nvPr/>
            </p:nvSpPr>
            <p:spPr>
              <a:xfrm>
                <a:off x="4045052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7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9" name="Google Shape;1109;p33"/>
              <p:cNvSpPr/>
              <p:nvPr/>
            </p:nvSpPr>
            <p:spPr>
              <a:xfrm>
                <a:off x="406157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0" name="Google Shape;1110;p33"/>
              <p:cNvSpPr/>
              <p:nvPr/>
            </p:nvSpPr>
            <p:spPr>
              <a:xfrm>
                <a:off x="3934487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1" name="Google Shape;1111;p33"/>
              <p:cNvSpPr/>
              <p:nvPr/>
            </p:nvSpPr>
            <p:spPr>
              <a:xfrm>
                <a:off x="391129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2" name="Google Shape;1112;p33"/>
              <p:cNvSpPr/>
              <p:nvPr/>
            </p:nvSpPr>
            <p:spPr>
              <a:xfrm>
                <a:off x="3890435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" name="Google Shape;1113;p33"/>
              <p:cNvSpPr/>
              <p:nvPr/>
            </p:nvSpPr>
            <p:spPr>
              <a:xfrm>
                <a:off x="3872339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4" name="Google Shape;1114;p33"/>
              <p:cNvSpPr/>
              <p:nvPr/>
            </p:nvSpPr>
            <p:spPr>
              <a:xfrm>
                <a:off x="385581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5" name="Google Shape;1115;p33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6" name="Google Shape;1116;p33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7" name="Google Shape;1117;p33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51"/>
                      <a:pt x="12" y="564"/>
                    </a:cubicBezTo>
                    <a:cubicBezTo>
                      <a:pt x="23" y="676"/>
                      <a:pt x="125" y="778"/>
                      <a:pt x="327" y="890"/>
                    </a:cubicBezTo>
                    <a:cubicBezTo>
                      <a:pt x="462" y="969"/>
                      <a:pt x="620" y="1037"/>
                      <a:pt x="778" y="1070"/>
                    </a:cubicBezTo>
                    <a:cubicBezTo>
                      <a:pt x="947" y="1115"/>
                      <a:pt x="1093" y="1138"/>
                      <a:pt x="1217" y="1138"/>
                    </a:cubicBezTo>
                    <a:cubicBezTo>
                      <a:pt x="1262" y="1142"/>
                      <a:pt x="1317" y="1143"/>
                      <a:pt x="1383" y="1143"/>
                    </a:cubicBezTo>
                    <a:cubicBezTo>
                      <a:pt x="1514" y="1143"/>
                      <a:pt x="1686" y="1138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6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397"/>
                      <a:pt x="2794" y="1431"/>
                    </a:cubicBezTo>
                    <a:cubicBezTo>
                      <a:pt x="2805" y="1453"/>
                      <a:pt x="2783" y="1476"/>
                      <a:pt x="2738" y="1487"/>
                    </a:cubicBezTo>
                    <a:cubicBezTo>
                      <a:pt x="2711" y="1500"/>
                      <a:pt x="2681" y="1506"/>
                      <a:pt x="2649" y="1506"/>
                    </a:cubicBezTo>
                    <a:cubicBezTo>
                      <a:pt x="2627" y="1506"/>
                      <a:pt x="2603" y="1503"/>
                      <a:pt x="2580" y="1498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17"/>
                    </a:lnTo>
                    <a:lnTo>
                      <a:pt x="1409" y="1487"/>
                    </a:lnTo>
                    <a:lnTo>
                      <a:pt x="1544" y="1555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20"/>
                      <a:pt x="3571" y="1307"/>
                    </a:cubicBezTo>
                    <a:cubicBezTo>
                      <a:pt x="3549" y="1183"/>
                      <a:pt x="3413" y="1048"/>
                      <a:pt x="3166" y="913"/>
                    </a:cubicBezTo>
                    <a:cubicBezTo>
                      <a:pt x="3019" y="834"/>
                      <a:pt x="2873" y="766"/>
                      <a:pt x="2726" y="733"/>
                    </a:cubicBezTo>
                    <a:cubicBezTo>
                      <a:pt x="2580" y="687"/>
                      <a:pt x="2456" y="665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611" y="671"/>
                      <a:pt x="1482" y="673"/>
                      <a:pt x="1382" y="673"/>
                    </a:cubicBezTo>
                    <a:cubicBezTo>
                      <a:pt x="1282" y="673"/>
                      <a:pt x="1211" y="671"/>
                      <a:pt x="1172" y="665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30"/>
                      <a:pt x="789" y="507"/>
                      <a:pt x="778" y="473"/>
                    </a:cubicBezTo>
                    <a:cubicBezTo>
                      <a:pt x="767" y="451"/>
                      <a:pt x="778" y="428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17"/>
                      <a:pt x="1104" y="462"/>
                      <a:pt x="1217" y="530"/>
                    </a:cubicBezTo>
                    <a:lnTo>
                      <a:pt x="1330" y="586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59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8" name="Google Shape;1118;p33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86"/>
                    </a:lnTo>
                    <a:lnTo>
                      <a:pt x="1217" y="530"/>
                    </a:lnTo>
                    <a:cubicBezTo>
                      <a:pt x="1104" y="462"/>
                      <a:pt x="1014" y="417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28"/>
                      <a:pt x="767" y="451"/>
                      <a:pt x="778" y="473"/>
                    </a:cubicBezTo>
                    <a:cubicBezTo>
                      <a:pt x="789" y="507"/>
                      <a:pt x="823" y="530"/>
                      <a:pt x="890" y="575"/>
                    </a:cubicBezTo>
                    <a:cubicBezTo>
                      <a:pt x="992" y="631"/>
                      <a:pt x="1093" y="665"/>
                      <a:pt x="1172" y="665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65"/>
                      <a:pt x="2580" y="687"/>
                      <a:pt x="2726" y="733"/>
                    </a:cubicBezTo>
                    <a:cubicBezTo>
                      <a:pt x="2873" y="766"/>
                      <a:pt x="3019" y="834"/>
                      <a:pt x="3166" y="913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20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55"/>
                    </a:cubicBezTo>
                    <a:lnTo>
                      <a:pt x="1409" y="1487"/>
                    </a:lnTo>
                    <a:lnTo>
                      <a:pt x="2051" y="1217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8"/>
                    </a:cubicBezTo>
                    <a:cubicBezTo>
                      <a:pt x="2636" y="1510"/>
                      <a:pt x="2693" y="1510"/>
                      <a:pt x="2738" y="1487"/>
                    </a:cubicBezTo>
                    <a:cubicBezTo>
                      <a:pt x="2783" y="1476"/>
                      <a:pt x="2805" y="1453"/>
                      <a:pt x="2794" y="1431"/>
                    </a:cubicBezTo>
                    <a:cubicBezTo>
                      <a:pt x="2783" y="1397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38"/>
                      <a:pt x="1352" y="1149"/>
                      <a:pt x="1217" y="1138"/>
                    </a:cubicBezTo>
                    <a:cubicBezTo>
                      <a:pt x="1093" y="1138"/>
                      <a:pt x="947" y="1115"/>
                      <a:pt x="778" y="1070"/>
                    </a:cubicBezTo>
                    <a:cubicBezTo>
                      <a:pt x="620" y="1037"/>
                      <a:pt x="462" y="969"/>
                      <a:pt x="327" y="890"/>
                    </a:cubicBezTo>
                    <a:cubicBezTo>
                      <a:pt x="125" y="778"/>
                      <a:pt x="23" y="676"/>
                      <a:pt x="12" y="564"/>
                    </a:cubicBezTo>
                    <a:cubicBezTo>
                      <a:pt x="1" y="451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59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solidFill>
                <a:schemeClr val="dk2"/>
              </a:solidFill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19" name="Google Shape;1119;p33"/>
            <p:cNvSpPr/>
            <p:nvPr/>
          </p:nvSpPr>
          <p:spPr>
            <a:xfrm>
              <a:off x="3794477" y="28759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" name="Google Shape;1120;p33"/>
            <p:cNvSpPr/>
            <p:nvPr/>
          </p:nvSpPr>
          <p:spPr>
            <a:xfrm>
              <a:off x="3817289" y="28245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" name="Google Shape;1121;p33"/>
            <p:cNvSpPr/>
            <p:nvPr/>
          </p:nvSpPr>
          <p:spPr>
            <a:xfrm>
              <a:off x="3838529" y="27379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" name="Google Shape;1122;p33"/>
            <p:cNvSpPr/>
            <p:nvPr/>
          </p:nvSpPr>
          <p:spPr>
            <a:xfrm>
              <a:off x="3856660" y="26160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" name="Google Shape;1123;p33"/>
            <p:cNvSpPr/>
            <p:nvPr/>
          </p:nvSpPr>
          <p:spPr>
            <a:xfrm>
              <a:off x="3873183" y="241548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" name="Google Shape;1124;p33"/>
            <p:cNvSpPr/>
            <p:nvPr/>
          </p:nvSpPr>
          <p:spPr>
            <a:xfrm>
              <a:off x="3794477" y="224640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" name="Google Shape;1125;p33"/>
            <p:cNvSpPr/>
            <p:nvPr/>
          </p:nvSpPr>
          <p:spPr>
            <a:xfrm>
              <a:off x="3817289" y="219504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" name="Google Shape;1126;p33"/>
            <p:cNvSpPr/>
            <p:nvPr/>
          </p:nvSpPr>
          <p:spPr>
            <a:xfrm>
              <a:off x="3838529" y="21084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" name="Google Shape;1127;p33"/>
            <p:cNvSpPr/>
            <p:nvPr/>
          </p:nvSpPr>
          <p:spPr>
            <a:xfrm>
              <a:off x="3856660" y="19864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" name="Google Shape;1128;p33"/>
            <p:cNvSpPr/>
            <p:nvPr/>
          </p:nvSpPr>
          <p:spPr>
            <a:xfrm>
              <a:off x="3873183" y="17859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" name="Google Shape;1129;p33"/>
            <p:cNvSpPr/>
            <p:nvPr/>
          </p:nvSpPr>
          <p:spPr>
            <a:xfrm>
              <a:off x="3794477" y="160885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" name="Google Shape;1130;p33"/>
            <p:cNvSpPr/>
            <p:nvPr/>
          </p:nvSpPr>
          <p:spPr>
            <a:xfrm>
              <a:off x="3817289" y="155750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5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" name="Google Shape;1131;p33"/>
            <p:cNvSpPr/>
            <p:nvPr/>
          </p:nvSpPr>
          <p:spPr>
            <a:xfrm>
              <a:off x="3838529" y="14712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" name="Google Shape;1132;p33"/>
            <p:cNvSpPr/>
            <p:nvPr/>
          </p:nvSpPr>
          <p:spPr>
            <a:xfrm>
              <a:off x="3856660" y="13489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" name="Google Shape;1133;p33"/>
            <p:cNvSpPr/>
            <p:nvPr/>
          </p:nvSpPr>
          <p:spPr>
            <a:xfrm>
              <a:off x="3873183" y="11484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" name="Google Shape;1134;p33"/>
          <p:cNvGrpSpPr/>
          <p:nvPr/>
        </p:nvGrpSpPr>
        <p:grpSpPr>
          <a:xfrm>
            <a:off x="511753" y="2579144"/>
            <a:ext cx="1060745" cy="736755"/>
            <a:chOff x="-1693165" y="2708310"/>
            <a:chExt cx="597737" cy="415167"/>
          </a:xfrm>
        </p:grpSpPr>
        <p:sp>
          <p:nvSpPr>
            <p:cNvPr id="1135" name="Google Shape;1135;p33"/>
            <p:cNvSpPr/>
            <p:nvPr/>
          </p:nvSpPr>
          <p:spPr>
            <a:xfrm>
              <a:off x="-1692362" y="2734091"/>
              <a:ext cx="596131" cy="389386"/>
            </a:xfrm>
            <a:custGeom>
              <a:avLst/>
              <a:gdLst/>
              <a:ahLst/>
              <a:cxnLst/>
              <a:rect l="l" t="t" r="r" b="b"/>
              <a:pathLst>
                <a:path w="17064" h="11146" extrusionOk="0">
                  <a:moveTo>
                    <a:pt x="7475" y="1"/>
                  </a:moveTo>
                  <a:cubicBezTo>
                    <a:pt x="7366" y="1"/>
                    <a:pt x="7259" y="29"/>
                    <a:pt x="7164" y="85"/>
                  </a:cubicBezTo>
                  <a:lnTo>
                    <a:pt x="642" y="3881"/>
                  </a:lnTo>
                  <a:cubicBezTo>
                    <a:pt x="529" y="3948"/>
                    <a:pt x="496" y="4072"/>
                    <a:pt x="541" y="4174"/>
                  </a:cubicBezTo>
                  <a:cubicBezTo>
                    <a:pt x="496" y="4275"/>
                    <a:pt x="529" y="4410"/>
                    <a:pt x="642" y="4467"/>
                  </a:cubicBezTo>
                  <a:lnTo>
                    <a:pt x="935" y="4647"/>
                  </a:lnTo>
                  <a:lnTo>
                    <a:pt x="135" y="5109"/>
                  </a:lnTo>
                  <a:cubicBezTo>
                    <a:pt x="34" y="5176"/>
                    <a:pt x="0" y="5300"/>
                    <a:pt x="45" y="5401"/>
                  </a:cubicBezTo>
                  <a:cubicBezTo>
                    <a:pt x="0" y="5503"/>
                    <a:pt x="34" y="5638"/>
                    <a:pt x="135" y="5706"/>
                  </a:cubicBezTo>
                  <a:lnTo>
                    <a:pt x="9304" y="11044"/>
                  </a:lnTo>
                  <a:cubicBezTo>
                    <a:pt x="9416" y="11112"/>
                    <a:pt x="9546" y="11146"/>
                    <a:pt x="9675" y="11146"/>
                  </a:cubicBezTo>
                  <a:cubicBezTo>
                    <a:pt x="9805" y="11146"/>
                    <a:pt x="9934" y="11112"/>
                    <a:pt x="10047" y="11044"/>
                  </a:cubicBezTo>
                  <a:lnTo>
                    <a:pt x="16366" y="7339"/>
                  </a:lnTo>
                  <a:cubicBezTo>
                    <a:pt x="16512" y="7249"/>
                    <a:pt x="16557" y="7091"/>
                    <a:pt x="16523" y="6956"/>
                  </a:cubicBezTo>
                  <a:cubicBezTo>
                    <a:pt x="16557" y="6809"/>
                    <a:pt x="16512" y="6652"/>
                    <a:pt x="16366" y="6573"/>
                  </a:cubicBezTo>
                  <a:lnTo>
                    <a:pt x="16219" y="6483"/>
                  </a:lnTo>
                  <a:lnTo>
                    <a:pt x="16873" y="6111"/>
                  </a:lnTo>
                  <a:cubicBezTo>
                    <a:pt x="17008" y="6021"/>
                    <a:pt x="17064" y="5863"/>
                    <a:pt x="17019" y="5728"/>
                  </a:cubicBezTo>
                  <a:cubicBezTo>
                    <a:pt x="17064" y="5582"/>
                    <a:pt x="17008" y="5424"/>
                    <a:pt x="16873" y="5345"/>
                  </a:cubicBezTo>
                  <a:lnTo>
                    <a:pt x="16861" y="5345"/>
                  </a:lnTo>
                  <a:lnTo>
                    <a:pt x="7794" y="85"/>
                  </a:lnTo>
                  <a:cubicBezTo>
                    <a:pt x="7693" y="29"/>
                    <a:pt x="7583" y="1"/>
                    <a:pt x="7475" y="1"/>
                  </a:cubicBezTo>
                  <a:close/>
                </a:path>
              </a:pathLst>
            </a:cu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" name="Google Shape;1136;p33"/>
            <p:cNvSpPr/>
            <p:nvPr/>
          </p:nvSpPr>
          <p:spPr>
            <a:xfrm>
              <a:off x="-1693165" y="2758894"/>
              <a:ext cx="580410" cy="339813"/>
            </a:xfrm>
            <a:custGeom>
              <a:avLst/>
              <a:gdLst/>
              <a:ahLst/>
              <a:cxnLst/>
              <a:rect l="l" t="t" r="r" b="b"/>
              <a:pathLst>
                <a:path w="16614" h="9727" extrusionOk="0">
                  <a:moveTo>
                    <a:pt x="6999" y="0"/>
                  </a:moveTo>
                  <a:cubicBezTo>
                    <a:pt x="6891" y="0"/>
                    <a:pt x="6781" y="28"/>
                    <a:pt x="6680" y="85"/>
                  </a:cubicBezTo>
                  <a:lnTo>
                    <a:pt x="158" y="3881"/>
                  </a:lnTo>
                  <a:cubicBezTo>
                    <a:pt x="1" y="3971"/>
                    <a:pt x="1" y="4196"/>
                    <a:pt x="158" y="4286"/>
                  </a:cubicBezTo>
                  <a:lnTo>
                    <a:pt x="9327" y="9625"/>
                  </a:lnTo>
                  <a:cubicBezTo>
                    <a:pt x="9439" y="9692"/>
                    <a:pt x="9569" y="9726"/>
                    <a:pt x="9698" y="9726"/>
                  </a:cubicBezTo>
                  <a:cubicBezTo>
                    <a:pt x="9828" y="9726"/>
                    <a:pt x="9957" y="9692"/>
                    <a:pt x="10070" y="9625"/>
                  </a:cubicBezTo>
                  <a:lnTo>
                    <a:pt x="16389" y="5919"/>
                  </a:lnTo>
                  <a:cubicBezTo>
                    <a:pt x="16614" y="5795"/>
                    <a:pt x="16614" y="5469"/>
                    <a:pt x="16389" y="5345"/>
                  </a:cubicBezTo>
                  <a:lnTo>
                    <a:pt x="7310" y="85"/>
                  </a:lnTo>
                  <a:cubicBezTo>
                    <a:pt x="7215" y="28"/>
                    <a:pt x="7108" y="0"/>
                    <a:pt x="6999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" name="Google Shape;1137;p33"/>
            <p:cNvSpPr/>
            <p:nvPr/>
          </p:nvSpPr>
          <p:spPr>
            <a:xfrm>
              <a:off x="-1693165" y="2757916"/>
              <a:ext cx="580410" cy="341944"/>
            </a:xfrm>
            <a:custGeom>
              <a:avLst/>
              <a:gdLst/>
              <a:ahLst/>
              <a:cxnLst/>
              <a:rect l="l" t="t" r="r" b="b"/>
              <a:pathLst>
                <a:path w="16614" h="9788" fill="none" extrusionOk="0">
                  <a:moveTo>
                    <a:pt x="16389" y="5947"/>
                  </a:moveTo>
                  <a:lnTo>
                    <a:pt x="10070" y="9653"/>
                  </a:lnTo>
                  <a:cubicBezTo>
                    <a:pt x="9845" y="9788"/>
                    <a:pt x="9552" y="9788"/>
                    <a:pt x="9327" y="9653"/>
                  </a:cubicBezTo>
                  <a:lnTo>
                    <a:pt x="158" y="4314"/>
                  </a:lnTo>
                  <a:cubicBezTo>
                    <a:pt x="1" y="4224"/>
                    <a:pt x="1" y="3999"/>
                    <a:pt x="158" y="3909"/>
                  </a:cubicBezTo>
                  <a:lnTo>
                    <a:pt x="6680" y="113"/>
                  </a:lnTo>
                  <a:cubicBezTo>
                    <a:pt x="6882" y="0"/>
                    <a:pt x="7119" y="0"/>
                    <a:pt x="7310" y="113"/>
                  </a:cubicBezTo>
                  <a:lnTo>
                    <a:pt x="16389" y="5373"/>
                  </a:lnTo>
                  <a:cubicBezTo>
                    <a:pt x="16614" y="5497"/>
                    <a:pt x="16614" y="5823"/>
                    <a:pt x="16389" y="594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" name="Google Shape;1138;p33"/>
            <p:cNvSpPr/>
            <p:nvPr/>
          </p:nvSpPr>
          <p:spPr>
            <a:xfrm>
              <a:off x="-1693165" y="2752292"/>
              <a:ext cx="580410" cy="340092"/>
            </a:xfrm>
            <a:custGeom>
              <a:avLst/>
              <a:gdLst/>
              <a:ahLst/>
              <a:cxnLst/>
              <a:rect l="l" t="t" r="r" b="b"/>
              <a:pathLst>
                <a:path w="16614" h="9735" extrusionOk="0">
                  <a:moveTo>
                    <a:pt x="6999" y="1"/>
                  </a:moveTo>
                  <a:cubicBezTo>
                    <a:pt x="6891" y="1"/>
                    <a:pt x="6781" y="32"/>
                    <a:pt x="6680" y="94"/>
                  </a:cubicBezTo>
                  <a:lnTo>
                    <a:pt x="158" y="3889"/>
                  </a:lnTo>
                  <a:cubicBezTo>
                    <a:pt x="1" y="3979"/>
                    <a:pt x="1" y="4205"/>
                    <a:pt x="158" y="4295"/>
                  </a:cubicBezTo>
                  <a:lnTo>
                    <a:pt x="9327" y="9634"/>
                  </a:lnTo>
                  <a:cubicBezTo>
                    <a:pt x="9439" y="9701"/>
                    <a:pt x="9569" y="9735"/>
                    <a:pt x="9698" y="9735"/>
                  </a:cubicBezTo>
                  <a:cubicBezTo>
                    <a:pt x="9828" y="9735"/>
                    <a:pt x="9957" y="9701"/>
                    <a:pt x="10070" y="9634"/>
                  </a:cubicBezTo>
                  <a:lnTo>
                    <a:pt x="16389" y="5928"/>
                  </a:lnTo>
                  <a:cubicBezTo>
                    <a:pt x="16614" y="5804"/>
                    <a:pt x="16614" y="5477"/>
                    <a:pt x="16389" y="5354"/>
                  </a:cubicBezTo>
                  <a:lnTo>
                    <a:pt x="7310" y="94"/>
                  </a:lnTo>
                  <a:cubicBezTo>
                    <a:pt x="7215" y="32"/>
                    <a:pt x="7108" y="1"/>
                    <a:pt x="69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" name="Google Shape;1139;p33"/>
            <p:cNvSpPr/>
            <p:nvPr/>
          </p:nvSpPr>
          <p:spPr>
            <a:xfrm>
              <a:off x="-1693165" y="2751209"/>
              <a:ext cx="580410" cy="342363"/>
            </a:xfrm>
            <a:custGeom>
              <a:avLst/>
              <a:gdLst/>
              <a:ahLst/>
              <a:cxnLst/>
              <a:rect l="l" t="t" r="r" b="b"/>
              <a:pathLst>
                <a:path w="16614" h="9800" fill="none" extrusionOk="0">
                  <a:moveTo>
                    <a:pt x="16389" y="5959"/>
                  </a:moveTo>
                  <a:lnTo>
                    <a:pt x="10070" y="9665"/>
                  </a:lnTo>
                  <a:cubicBezTo>
                    <a:pt x="9845" y="9800"/>
                    <a:pt x="9552" y="9800"/>
                    <a:pt x="9327" y="9665"/>
                  </a:cubicBezTo>
                  <a:lnTo>
                    <a:pt x="158" y="4326"/>
                  </a:lnTo>
                  <a:cubicBezTo>
                    <a:pt x="1" y="4236"/>
                    <a:pt x="1" y="4010"/>
                    <a:pt x="158" y="3920"/>
                  </a:cubicBezTo>
                  <a:lnTo>
                    <a:pt x="6680" y="125"/>
                  </a:lnTo>
                  <a:cubicBezTo>
                    <a:pt x="6882" y="1"/>
                    <a:pt x="7119" y="1"/>
                    <a:pt x="7310" y="125"/>
                  </a:cubicBezTo>
                  <a:lnTo>
                    <a:pt x="16389" y="5385"/>
                  </a:lnTo>
                  <a:cubicBezTo>
                    <a:pt x="16614" y="5508"/>
                    <a:pt x="16614" y="5835"/>
                    <a:pt x="16389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" name="Google Shape;1140;p33"/>
            <p:cNvSpPr/>
            <p:nvPr/>
          </p:nvSpPr>
          <p:spPr>
            <a:xfrm>
              <a:off x="-1545989" y="2855871"/>
              <a:ext cx="251043" cy="146413"/>
            </a:xfrm>
            <a:custGeom>
              <a:avLst/>
              <a:gdLst/>
              <a:ahLst/>
              <a:cxnLst/>
              <a:rect l="l" t="t" r="r" b="b"/>
              <a:pathLst>
                <a:path w="7186" h="4191" fill="none" extrusionOk="0">
                  <a:moveTo>
                    <a:pt x="7186" y="4191"/>
                  </a:moveTo>
                  <a:lnTo>
                    <a:pt x="0" y="1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" name="Google Shape;1141;p33"/>
            <p:cNvSpPr/>
            <p:nvPr/>
          </p:nvSpPr>
          <p:spPr>
            <a:xfrm>
              <a:off x="-1564888" y="2868482"/>
              <a:ext cx="251078" cy="146413"/>
            </a:xfrm>
            <a:custGeom>
              <a:avLst/>
              <a:gdLst/>
              <a:ahLst/>
              <a:cxnLst/>
              <a:rect l="l" t="t" r="r" b="b"/>
              <a:pathLst>
                <a:path w="7187" h="4191" fill="none" extrusionOk="0">
                  <a:moveTo>
                    <a:pt x="7186" y="4190"/>
                  </a:moveTo>
                  <a:lnTo>
                    <a:pt x="0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" name="Google Shape;1142;p33"/>
            <p:cNvSpPr/>
            <p:nvPr/>
          </p:nvSpPr>
          <p:spPr>
            <a:xfrm>
              <a:off x="-1590460" y="2881442"/>
              <a:ext cx="251078" cy="146028"/>
            </a:xfrm>
            <a:custGeom>
              <a:avLst/>
              <a:gdLst/>
              <a:ahLst/>
              <a:cxnLst/>
              <a:rect l="l" t="t" r="r" b="b"/>
              <a:pathLst>
                <a:path w="7187" h="4180" fill="none" extrusionOk="0">
                  <a:moveTo>
                    <a:pt x="7186" y="4179"/>
                  </a:moveTo>
                  <a:lnTo>
                    <a:pt x="0" y="1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" name="Google Shape;1143;p33"/>
            <p:cNvSpPr/>
            <p:nvPr/>
          </p:nvSpPr>
          <p:spPr>
            <a:xfrm>
              <a:off x="-1298133" y="2907014"/>
              <a:ext cx="118884" cy="70534"/>
            </a:xfrm>
            <a:custGeom>
              <a:avLst/>
              <a:gdLst/>
              <a:ahLst/>
              <a:cxnLst/>
              <a:rect l="l" t="t" r="r" b="b"/>
              <a:pathLst>
                <a:path w="3403" h="2019" extrusionOk="0">
                  <a:moveTo>
                    <a:pt x="1707" y="1"/>
                  </a:moveTo>
                  <a:cubicBezTo>
                    <a:pt x="1662" y="1"/>
                    <a:pt x="1617" y="12"/>
                    <a:pt x="1578" y="35"/>
                  </a:cubicBezTo>
                  <a:lnTo>
                    <a:pt x="57" y="925"/>
                  </a:lnTo>
                  <a:cubicBezTo>
                    <a:pt x="1" y="958"/>
                    <a:pt x="1" y="1048"/>
                    <a:pt x="57" y="1082"/>
                  </a:cubicBezTo>
                  <a:lnTo>
                    <a:pt x="1555" y="1983"/>
                  </a:lnTo>
                  <a:cubicBezTo>
                    <a:pt x="1591" y="2007"/>
                    <a:pt x="1637" y="2019"/>
                    <a:pt x="1684" y="2019"/>
                  </a:cubicBezTo>
                  <a:cubicBezTo>
                    <a:pt x="1725" y="2019"/>
                    <a:pt x="1766" y="2010"/>
                    <a:pt x="1803" y="1995"/>
                  </a:cubicBezTo>
                  <a:lnTo>
                    <a:pt x="3312" y="1127"/>
                  </a:lnTo>
                  <a:cubicBezTo>
                    <a:pt x="3402" y="1082"/>
                    <a:pt x="3402" y="947"/>
                    <a:pt x="3312" y="902"/>
                  </a:cubicBezTo>
                  <a:lnTo>
                    <a:pt x="1837" y="35"/>
                  </a:lnTo>
                  <a:cubicBezTo>
                    <a:pt x="1797" y="12"/>
                    <a:pt x="1752" y="1"/>
                    <a:pt x="170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" name="Google Shape;1144;p33"/>
            <p:cNvSpPr/>
            <p:nvPr/>
          </p:nvSpPr>
          <p:spPr>
            <a:xfrm>
              <a:off x="-1298133" y="2906630"/>
              <a:ext cx="118884" cy="71267"/>
            </a:xfrm>
            <a:custGeom>
              <a:avLst/>
              <a:gdLst/>
              <a:ahLst/>
              <a:cxnLst/>
              <a:rect l="l" t="t" r="r" b="b"/>
              <a:pathLst>
                <a:path w="3403" h="2040" fill="none" extrusionOk="0">
                  <a:moveTo>
                    <a:pt x="3312" y="1138"/>
                  </a:moveTo>
                  <a:lnTo>
                    <a:pt x="1803" y="2006"/>
                  </a:lnTo>
                  <a:cubicBezTo>
                    <a:pt x="1724" y="2039"/>
                    <a:pt x="1623" y="2039"/>
                    <a:pt x="1555" y="1994"/>
                  </a:cubicBezTo>
                  <a:lnTo>
                    <a:pt x="57" y="1093"/>
                  </a:lnTo>
                  <a:cubicBezTo>
                    <a:pt x="1" y="1059"/>
                    <a:pt x="1" y="969"/>
                    <a:pt x="57" y="936"/>
                  </a:cubicBezTo>
                  <a:lnTo>
                    <a:pt x="1578" y="46"/>
                  </a:lnTo>
                  <a:cubicBezTo>
                    <a:pt x="1657" y="1"/>
                    <a:pt x="1758" y="1"/>
                    <a:pt x="1837" y="46"/>
                  </a:cubicBezTo>
                  <a:lnTo>
                    <a:pt x="3312" y="913"/>
                  </a:lnTo>
                  <a:cubicBezTo>
                    <a:pt x="3402" y="958"/>
                    <a:pt x="3402" y="1093"/>
                    <a:pt x="3312" y="113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" name="Google Shape;1145;p33"/>
            <p:cNvSpPr/>
            <p:nvPr/>
          </p:nvSpPr>
          <p:spPr>
            <a:xfrm>
              <a:off x="-1252091" y="2914490"/>
              <a:ext cx="62219" cy="36647"/>
            </a:xfrm>
            <a:custGeom>
              <a:avLst/>
              <a:gdLst/>
              <a:ahLst/>
              <a:cxnLst/>
              <a:rect l="l" t="t" r="r" b="b"/>
              <a:pathLst>
                <a:path w="1781" h="1049" fill="none" extrusionOk="0">
                  <a:moveTo>
                    <a:pt x="1780" y="1048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" name="Google Shape;1146;p33"/>
            <p:cNvSpPr/>
            <p:nvPr/>
          </p:nvSpPr>
          <p:spPr>
            <a:xfrm>
              <a:off x="-1284334" y="2932201"/>
              <a:ext cx="62184" cy="36647"/>
            </a:xfrm>
            <a:custGeom>
              <a:avLst/>
              <a:gdLst/>
              <a:ahLst/>
              <a:cxnLst/>
              <a:rect l="l" t="t" r="r" b="b"/>
              <a:pathLst>
                <a:path w="1780" h="1049" fill="none" extrusionOk="0">
                  <a:moveTo>
                    <a:pt x="1780" y="1048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" name="Google Shape;1147;p33"/>
            <p:cNvSpPr/>
            <p:nvPr/>
          </p:nvSpPr>
          <p:spPr>
            <a:xfrm>
              <a:off x="-1252475" y="2933005"/>
              <a:ext cx="62219" cy="37800"/>
            </a:xfrm>
            <a:custGeom>
              <a:avLst/>
              <a:gdLst/>
              <a:ahLst/>
              <a:cxnLst/>
              <a:rect l="l" t="t" r="r" b="b"/>
              <a:pathLst>
                <a:path w="1781" h="1082" fill="none" extrusionOk="0">
                  <a:moveTo>
                    <a:pt x="1780" y="0"/>
                  </a:moveTo>
                  <a:lnTo>
                    <a:pt x="0" y="1082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" name="Google Shape;1148;p33"/>
            <p:cNvSpPr/>
            <p:nvPr/>
          </p:nvSpPr>
          <p:spPr>
            <a:xfrm>
              <a:off x="-1247374" y="2935345"/>
              <a:ext cx="31127" cy="18935"/>
            </a:xfrm>
            <a:custGeom>
              <a:avLst/>
              <a:gdLst/>
              <a:ahLst/>
              <a:cxnLst/>
              <a:rect l="l" t="t" r="r" b="b"/>
              <a:pathLst>
                <a:path w="891" h="542" fill="none" extrusionOk="0">
                  <a:moveTo>
                    <a:pt x="891" y="1"/>
                  </a:moveTo>
                  <a:lnTo>
                    <a:pt x="1" y="542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" name="Google Shape;1149;p33"/>
            <p:cNvSpPr/>
            <p:nvPr/>
          </p:nvSpPr>
          <p:spPr>
            <a:xfrm>
              <a:off x="-1261138" y="2926298"/>
              <a:ext cx="30743" cy="18550"/>
            </a:xfrm>
            <a:custGeom>
              <a:avLst/>
              <a:gdLst/>
              <a:ahLst/>
              <a:cxnLst/>
              <a:rect l="l" t="t" r="r" b="b"/>
              <a:pathLst>
                <a:path w="880" h="531" fill="none" extrusionOk="0">
                  <a:moveTo>
                    <a:pt x="879" y="1"/>
                  </a:moveTo>
                  <a:lnTo>
                    <a:pt x="1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" name="Google Shape;1150;p33"/>
            <p:cNvSpPr/>
            <p:nvPr/>
          </p:nvSpPr>
          <p:spPr>
            <a:xfrm>
              <a:off x="-1290238" y="2911765"/>
              <a:ext cx="61416" cy="36996"/>
            </a:xfrm>
            <a:custGeom>
              <a:avLst/>
              <a:gdLst/>
              <a:ahLst/>
              <a:cxnLst/>
              <a:rect l="l" t="t" r="r" b="b"/>
              <a:pathLst>
                <a:path w="1758" h="1059" fill="none" extrusionOk="0">
                  <a:moveTo>
                    <a:pt x="1757" y="0"/>
                  </a:moveTo>
                  <a:cubicBezTo>
                    <a:pt x="1746" y="23"/>
                    <a:pt x="0" y="1059"/>
                    <a:pt x="0" y="1059"/>
                  </a:cubicBez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" name="Google Shape;1151;p33"/>
            <p:cNvSpPr/>
            <p:nvPr/>
          </p:nvSpPr>
          <p:spPr>
            <a:xfrm>
              <a:off x="-1675454" y="2715716"/>
              <a:ext cx="580026" cy="340092"/>
            </a:xfrm>
            <a:custGeom>
              <a:avLst/>
              <a:gdLst/>
              <a:ahLst/>
              <a:cxnLst/>
              <a:rect l="l" t="t" r="r" b="b"/>
              <a:pathLst>
                <a:path w="16603" h="9735" extrusionOk="0">
                  <a:moveTo>
                    <a:pt x="6991" y="0"/>
                  </a:moveTo>
                  <a:cubicBezTo>
                    <a:pt x="6882" y="0"/>
                    <a:pt x="6775" y="31"/>
                    <a:pt x="6680" y="93"/>
                  </a:cubicBezTo>
                  <a:lnTo>
                    <a:pt x="158" y="3889"/>
                  </a:lnTo>
                  <a:cubicBezTo>
                    <a:pt x="0" y="3979"/>
                    <a:pt x="0" y="4204"/>
                    <a:pt x="158" y="4294"/>
                  </a:cubicBezTo>
                  <a:lnTo>
                    <a:pt x="9315" y="9633"/>
                  </a:lnTo>
                  <a:cubicBezTo>
                    <a:pt x="9433" y="9701"/>
                    <a:pt x="9563" y="9734"/>
                    <a:pt x="9691" y="9734"/>
                  </a:cubicBezTo>
                  <a:cubicBezTo>
                    <a:pt x="9819" y="9734"/>
                    <a:pt x="9946" y="9701"/>
                    <a:pt x="10059" y="9633"/>
                  </a:cubicBezTo>
                  <a:lnTo>
                    <a:pt x="16377" y="5927"/>
                  </a:lnTo>
                  <a:cubicBezTo>
                    <a:pt x="16603" y="5804"/>
                    <a:pt x="16603" y="5477"/>
                    <a:pt x="16377" y="5353"/>
                  </a:cubicBezTo>
                  <a:lnTo>
                    <a:pt x="7310" y="93"/>
                  </a:lnTo>
                  <a:cubicBezTo>
                    <a:pt x="7209" y="31"/>
                    <a:pt x="7099" y="0"/>
                    <a:pt x="69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" name="Google Shape;1152;p33"/>
            <p:cNvSpPr/>
            <p:nvPr/>
          </p:nvSpPr>
          <p:spPr>
            <a:xfrm>
              <a:off x="-1675454" y="2714633"/>
              <a:ext cx="580026" cy="342363"/>
            </a:xfrm>
            <a:custGeom>
              <a:avLst/>
              <a:gdLst/>
              <a:ahLst/>
              <a:cxnLst/>
              <a:rect l="l" t="t" r="r" b="b"/>
              <a:pathLst>
                <a:path w="16603" h="9800" fill="none" extrusionOk="0">
                  <a:moveTo>
                    <a:pt x="16377" y="5958"/>
                  </a:moveTo>
                  <a:lnTo>
                    <a:pt x="10059" y="9664"/>
                  </a:lnTo>
                  <a:cubicBezTo>
                    <a:pt x="9833" y="9799"/>
                    <a:pt x="9552" y="9799"/>
                    <a:pt x="9315" y="9664"/>
                  </a:cubicBezTo>
                  <a:lnTo>
                    <a:pt x="158" y="4325"/>
                  </a:lnTo>
                  <a:cubicBezTo>
                    <a:pt x="0" y="4235"/>
                    <a:pt x="0" y="4010"/>
                    <a:pt x="158" y="3920"/>
                  </a:cubicBezTo>
                  <a:lnTo>
                    <a:pt x="6680" y="124"/>
                  </a:lnTo>
                  <a:cubicBezTo>
                    <a:pt x="6871" y="0"/>
                    <a:pt x="7108" y="0"/>
                    <a:pt x="7310" y="124"/>
                  </a:cubicBezTo>
                  <a:lnTo>
                    <a:pt x="16377" y="5384"/>
                  </a:lnTo>
                  <a:cubicBezTo>
                    <a:pt x="16603" y="5508"/>
                    <a:pt x="16603" y="5835"/>
                    <a:pt x="16377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" name="Google Shape;1153;p33"/>
            <p:cNvSpPr/>
            <p:nvPr/>
          </p:nvSpPr>
          <p:spPr>
            <a:xfrm>
              <a:off x="-1675454" y="2709323"/>
              <a:ext cx="580026" cy="340197"/>
            </a:xfrm>
            <a:custGeom>
              <a:avLst/>
              <a:gdLst/>
              <a:ahLst/>
              <a:cxnLst/>
              <a:rect l="l" t="t" r="r" b="b"/>
              <a:pathLst>
                <a:path w="16603" h="9738" extrusionOk="0">
                  <a:moveTo>
                    <a:pt x="6991" y="0"/>
                  </a:moveTo>
                  <a:cubicBezTo>
                    <a:pt x="6882" y="0"/>
                    <a:pt x="6775" y="28"/>
                    <a:pt x="6680" y="85"/>
                  </a:cubicBezTo>
                  <a:lnTo>
                    <a:pt x="158" y="3880"/>
                  </a:lnTo>
                  <a:cubicBezTo>
                    <a:pt x="0" y="3982"/>
                    <a:pt x="0" y="4207"/>
                    <a:pt x="158" y="4297"/>
                  </a:cubicBezTo>
                  <a:lnTo>
                    <a:pt x="9315" y="9636"/>
                  </a:lnTo>
                  <a:cubicBezTo>
                    <a:pt x="9433" y="9703"/>
                    <a:pt x="9563" y="9737"/>
                    <a:pt x="9691" y="9737"/>
                  </a:cubicBezTo>
                  <a:cubicBezTo>
                    <a:pt x="9819" y="9737"/>
                    <a:pt x="9946" y="9703"/>
                    <a:pt x="10059" y="9636"/>
                  </a:cubicBezTo>
                  <a:lnTo>
                    <a:pt x="16377" y="5930"/>
                  </a:lnTo>
                  <a:cubicBezTo>
                    <a:pt x="16603" y="5795"/>
                    <a:pt x="16603" y="5480"/>
                    <a:pt x="16377" y="5345"/>
                  </a:cubicBezTo>
                  <a:lnTo>
                    <a:pt x="7310" y="85"/>
                  </a:lnTo>
                  <a:cubicBezTo>
                    <a:pt x="7209" y="28"/>
                    <a:pt x="7099" y="0"/>
                    <a:pt x="699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" name="Google Shape;1154;p33"/>
            <p:cNvSpPr/>
            <p:nvPr/>
          </p:nvSpPr>
          <p:spPr>
            <a:xfrm>
              <a:off x="-1675454" y="2708310"/>
              <a:ext cx="580026" cy="342398"/>
            </a:xfrm>
            <a:custGeom>
              <a:avLst/>
              <a:gdLst/>
              <a:ahLst/>
              <a:cxnLst/>
              <a:rect l="l" t="t" r="r" b="b"/>
              <a:pathLst>
                <a:path w="16603" h="9801" fill="none" extrusionOk="0">
                  <a:moveTo>
                    <a:pt x="16377" y="5959"/>
                  </a:moveTo>
                  <a:lnTo>
                    <a:pt x="10059" y="9665"/>
                  </a:lnTo>
                  <a:cubicBezTo>
                    <a:pt x="9833" y="9800"/>
                    <a:pt x="9552" y="9800"/>
                    <a:pt x="9315" y="9665"/>
                  </a:cubicBezTo>
                  <a:lnTo>
                    <a:pt x="158" y="4326"/>
                  </a:lnTo>
                  <a:cubicBezTo>
                    <a:pt x="0" y="4236"/>
                    <a:pt x="0" y="4011"/>
                    <a:pt x="158" y="3909"/>
                  </a:cubicBezTo>
                  <a:lnTo>
                    <a:pt x="6680" y="114"/>
                  </a:lnTo>
                  <a:cubicBezTo>
                    <a:pt x="6871" y="1"/>
                    <a:pt x="7108" y="1"/>
                    <a:pt x="7310" y="114"/>
                  </a:cubicBezTo>
                  <a:lnTo>
                    <a:pt x="16377" y="5374"/>
                  </a:lnTo>
                  <a:cubicBezTo>
                    <a:pt x="16603" y="5509"/>
                    <a:pt x="16603" y="5824"/>
                    <a:pt x="16377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" name="Google Shape;1155;p33"/>
            <p:cNvSpPr/>
            <p:nvPr/>
          </p:nvSpPr>
          <p:spPr>
            <a:xfrm>
              <a:off x="-1528312" y="2813007"/>
              <a:ext cx="251078" cy="146378"/>
            </a:xfrm>
            <a:custGeom>
              <a:avLst/>
              <a:gdLst/>
              <a:ahLst/>
              <a:cxnLst/>
              <a:rect l="l" t="t" r="r" b="b"/>
              <a:pathLst>
                <a:path w="7187" h="4190" fill="none" extrusionOk="0">
                  <a:moveTo>
                    <a:pt x="7187" y="4190"/>
                  </a:moveTo>
                  <a:lnTo>
                    <a:pt x="1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" name="Google Shape;1156;p33"/>
            <p:cNvSpPr/>
            <p:nvPr/>
          </p:nvSpPr>
          <p:spPr>
            <a:xfrm>
              <a:off x="-1547596" y="2825583"/>
              <a:ext cx="251078" cy="146413"/>
            </a:xfrm>
            <a:custGeom>
              <a:avLst/>
              <a:gdLst/>
              <a:ahLst/>
              <a:cxnLst/>
              <a:rect l="l" t="t" r="r" b="b"/>
              <a:pathLst>
                <a:path w="7187" h="4191" fill="none" extrusionOk="0">
                  <a:moveTo>
                    <a:pt x="7187" y="4190"/>
                  </a:moveTo>
                  <a:lnTo>
                    <a:pt x="1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" name="Google Shape;1157;p33"/>
            <p:cNvSpPr/>
            <p:nvPr/>
          </p:nvSpPr>
          <p:spPr>
            <a:xfrm>
              <a:off x="-1572748" y="2838579"/>
              <a:ext cx="251078" cy="145993"/>
            </a:xfrm>
            <a:custGeom>
              <a:avLst/>
              <a:gdLst/>
              <a:ahLst/>
              <a:cxnLst/>
              <a:rect l="l" t="t" r="r" b="b"/>
              <a:pathLst>
                <a:path w="7187" h="4179" fill="none" extrusionOk="0">
                  <a:moveTo>
                    <a:pt x="7186" y="4179"/>
                  </a:moveTo>
                  <a:lnTo>
                    <a:pt x="0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" name="Google Shape;1158;p33"/>
            <p:cNvSpPr/>
            <p:nvPr/>
          </p:nvSpPr>
          <p:spPr>
            <a:xfrm>
              <a:off x="-1280806" y="2864150"/>
              <a:ext cx="119268" cy="70499"/>
            </a:xfrm>
            <a:custGeom>
              <a:avLst/>
              <a:gdLst/>
              <a:ahLst/>
              <a:cxnLst/>
              <a:rect l="l" t="t" r="r" b="b"/>
              <a:pathLst>
                <a:path w="3414" h="2018" extrusionOk="0">
                  <a:moveTo>
                    <a:pt x="1707" y="0"/>
                  </a:moveTo>
                  <a:cubicBezTo>
                    <a:pt x="1662" y="0"/>
                    <a:pt x="1617" y="11"/>
                    <a:pt x="1577" y="34"/>
                  </a:cubicBezTo>
                  <a:lnTo>
                    <a:pt x="68" y="924"/>
                  </a:lnTo>
                  <a:cubicBezTo>
                    <a:pt x="0" y="958"/>
                    <a:pt x="0" y="1048"/>
                    <a:pt x="68" y="1082"/>
                  </a:cubicBezTo>
                  <a:lnTo>
                    <a:pt x="1555" y="1983"/>
                  </a:lnTo>
                  <a:cubicBezTo>
                    <a:pt x="1597" y="2007"/>
                    <a:pt x="1643" y="2018"/>
                    <a:pt x="1688" y="2018"/>
                  </a:cubicBezTo>
                  <a:cubicBezTo>
                    <a:pt x="1727" y="2018"/>
                    <a:pt x="1766" y="2010"/>
                    <a:pt x="1803" y="1994"/>
                  </a:cubicBezTo>
                  <a:lnTo>
                    <a:pt x="3323" y="1127"/>
                  </a:lnTo>
                  <a:lnTo>
                    <a:pt x="3312" y="1127"/>
                  </a:lnTo>
                  <a:cubicBezTo>
                    <a:pt x="3402" y="1082"/>
                    <a:pt x="3413" y="946"/>
                    <a:pt x="3323" y="901"/>
                  </a:cubicBezTo>
                  <a:lnTo>
                    <a:pt x="1836" y="34"/>
                  </a:lnTo>
                  <a:cubicBezTo>
                    <a:pt x="1797" y="11"/>
                    <a:pt x="1752" y="0"/>
                    <a:pt x="170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" name="Google Shape;1159;p33"/>
            <p:cNvSpPr/>
            <p:nvPr/>
          </p:nvSpPr>
          <p:spPr>
            <a:xfrm>
              <a:off x="-1280806" y="2863731"/>
              <a:ext cx="119268" cy="71267"/>
            </a:xfrm>
            <a:custGeom>
              <a:avLst/>
              <a:gdLst/>
              <a:ahLst/>
              <a:cxnLst/>
              <a:rect l="l" t="t" r="r" b="b"/>
              <a:pathLst>
                <a:path w="3414" h="2040" fill="none" extrusionOk="0">
                  <a:moveTo>
                    <a:pt x="3323" y="1139"/>
                  </a:moveTo>
                  <a:lnTo>
                    <a:pt x="1803" y="2006"/>
                  </a:lnTo>
                  <a:cubicBezTo>
                    <a:pt x="1724" y="2040"/>
                    <a:pt x="1634" y="2040"/>
                    <a:pt x="1555" y="1995"/>
                  </a:cubicBezTo>
                  <a:lnTo>
                    <a:pt x="68" y="1094"/>
                  </a:lnTo>
                  <a:cubicBezTo>
                    <a:pt x="0" y="1060"/>
                    <a:pt x="0" y="970"/>
                    <a:pt x="68" y="936"/>
                  </a:cubicBezTo>
                  <a:lnTo>
                    <a:pt x="1577" y="46"/>
                  </a:lnTo>
                  <a:cubicBezTo>
                    <a:pt x="1656" y="1"/>
                    <a:pt x="1758" y="1"/>
                    <a:pt x="1836" y="46"/>
                  </a:cubicBezTo>
                  <a:lnTo>
                    <a:pt x="3323" y="913"/>
                  </a:lnTo>
                  <a:cubicBezTo>
                    <a:pt x="3413" y="958"/>
                    <a:pt x="3402" y="1094"/>
                    <a:pt x="3312" y="113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" name="Google Shape;1160;p33"/>
            <p:cNvSpPr/>
            <p:nvPr/>
          </p:nvSpPr>
          <p:spPr>
            <a:xfrm>
              <a:off x="-1234379" y="2871626"/>
              <a:ext cx="61800" cy="36612"/>
            </a:xfrm>
            <a:custGeom>
              <a:avLst/>
              <a:gdLst/>
              <a:ahLst/>
              <a:cxnLst/>
              <a:rect l="l" t="t" r="r" b="b"/>
              <a:pathLst>
                <a:path w="1769" h="1048" fill="none" extrusionOk="0">
                  <a:moveTo>
                    <a:pt x="1769" y="1048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" name="Google Shape;1161;p33"/>
            <p:cNvSpPr/>
            <p:nvPr/>
          </p:nvSpPr>
          <p:spPr>
            <a:xfrm>
              <a:off x="-1266658" y="2889338"/>
              <a:ext cx="61835" cy="36612"/>
            </a:xfrm>
            <a:custGeom>
              <a:avLst/>
              <a:gdLst/>
              <a:ahLst/>
              <a:cxnLst/>
              <a:rect l="l" t="t" r="r" b="b"/>
              <a:pathLst>
                <a:path w="1770" h="1048" fill="none" extrusionOk="0">
                  <a:moveTo>
                    <a:pt x="1769" y="1048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" name="Google Shape;1162;p33"/>
            <p:cNvSpPr/>
            <p:nvPr/>
          </p:nvSpPr>
          <p:spPr>
            <a:xfrm>
              <a:off x="-1235148" y="2890106"/>
              <a:ext cx="62569" cy="37415"/>
            </a:xfrm>
            <a:custGeom>
              <a:avLst/>
              <a:gdLst/>
              <a:ahLst/>
              <a:cxnLst/>
              <a:rect l="l" t="t" r="r" b="b"/>
              <a:pathLst>
                <a:path w="1791" h="1071" fill="none" extrusionOk="0">
                  <a:moveTo>
                    <a:pt x="1791" y="1"/>
                  </a:moveTo>
                  <a:lnTo>
                    <a:pt x="0" y="107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" name="Google Shape;1163;p33"/>
            <p:cNvSpPr/>
            <p:nvPr/>
          </p:nvSpPr>
          <p:spPr>
            <a:xfrm>
              <a:off x="-1229663" y="2892482"/>
              <a:ext cx="30743" cy="18516"/>
            </a:xfrm>
            <a:custGeom>
              <a:avLst/>
              <a:gdLst/>
              <a:ahLst/>
              <a:cxnLst/>
              <a:rect l="l" t="t" r="r" b="b"/>
              <a:pathLst>
                <a:path w="880" h="530" fill="none" extrusionOk="0">
                  <a:moveTo>
                    <a:pt x="879" y="0"/>
                  </a:moveTo>
                  <a:lnTo>
                    <a:pt x="1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" name="Google Shape;1164;p33"/>
            <p:cNvSpPr/>
            <p:nvPr/>
          </p:nvSpPr>
          <p:spPr>
            <a:xfrm>
              <a:off x="-1243811" y="2883434"/>
              <a:ext cx="30708" cy="18516"/>
            </a:xfrm>
            <a:custGeom>
              <a:avLst/>
              <a:gdLst/>
              <a:ahLst/>
              <a:cxnLst/>
              <a:rect l="l" t="t" r="r" b="b"/>
              <a:pathLst>
                <a:path w="879" h="530" fill="none" extrusionOk="0">
                  <a:moveTo>
                    <a:pt x="879" y="0"/>
                  </a:moveTo>
                  <a:lnTo>
                    <a:pt x="0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623369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1F1649E-E33F-87A8-E2E0-12CA10DC6C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F1649E-E33F-87A8-E2E0-12CA10DC6C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graph with blue bars&#10;&#10;Description automatically generated with medium confidence">
            <a:extLst>
              <a:ext uri="{FF2B5EF4-FFF2-40B4-BE49-F238E27FC236}">
                <a16:creationId xmlns:a16="http://schemas.microsoft.com/office/drawing/2014/main" id="{B2EE3187-8B49-4D95-C36E-6B30EDE6F3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5465" y="686529"/>
            <a:ext cx="4748202" cy="421897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Google Shape;1630;p44">
            <a:extLst>
              <a:ext uri="{FF2B5EF4-FFF2-40B4-BE49-F238E27FC236}">
                <a16:creationId xmlns:a16="http://schemas.microsoft.com/office/drawing/2014/main" id="{281F7879-1DD5-496A-1F56-80ABE92146F4}"/>
              </a:ext>
            </a:extLst>
          </p:cNvPr>
          <p:cNvSpPr txBox="1">
            <a:spLocks/>
          </p:cNvSpPr>
          <p:nvPr/>
        </p:nvSpPr>
        <p:spPr>
          <a:xfrm>
            <a:off x="435077" y="-1"/>
            <a:ext cx="8318091" cy="5488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r>
              <a:rPr lang="en-US" sz="1600">
                <a:solidFill>
                  <a:schemeClr val="accent2"/>
                </a:solidFill>
              </a:rPr>
              <a:t>Important features obtained from the best model align with the observations from the EDA  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FE87321-7709-6FF2-9714-B5F37A148562}"/>
              </a:ext>
            </a:extLst>
          </p:cNvPr>
          <p:cNvSpPr/>
          <p:nvPr/>
        </p:nvSpPr>
        <p:spPr>
          <a:xfrm>
            <a:off x="760889" y="839244"/>
            <a:ext cx="4748202" cy="713983"/>
          </a:xfrm>
          <a:prstGeom prst="rect">
            <a:avLst/>
          </a:prstGeom>
          <a:noFill/>
          <a:ln w="22225">
            <a:solidFill>
              <a:schemeClr val="tx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6145CD-9617-A04B-7819-4D6DED8F1A82}"/>
              </a:ext>
            </a:extLst>
          </p:cNvPr>
          <p:cNvSpPr/>
          <p:nvPr/>
        </p:nvSpPr>
        <p:spPr>
          <a:xfrm>
            <a:off x="5874707" y="839244"/>
            <a:ext cx="2878461" cy="3457183"/>
          </a:xfrm>
          <a:prstGeom prst="rect">
            <a:avLst/>
          </a:prstGeom>
          <a:noFill/>
          <a:ln>
            <a:solidFill>
              <a:schemeClr val="accent1">
                <a:shade val="15000"/>
                <a:alpha val="3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Key Features include a mix of </a:t>
            </a:r>
            <a:r>
              <a:rPr lang="en-US" b="1">
                <a:solidFill>
                  <a:schemeClr val="tx1"/>
                </a:solidFill>
              </a:rPr>
              <a:t>internal factors </a:t>
            </a:r>
            <a:r>
              <a:rPr lang="en-US">
                <a:solidFill>
                  <a:schemeClr val="tx1"/>
                </a:solidFill>
              </a:rPr>
              <a:t>and external </a:t>
            </a:r>
            <a:r>
              <a:rPr lang="en-US" b="1">
                <a:solidFill>
                  <a:schemeClr val="tx1"/>
                </a:solidFill>
              </a:rPr>
              <a:t>macro-economic factors</a:t>
            </a:r>
            <a:br>
              <a:rPr lang="en-US">
                <a:solidFill>
                  <a:schemeClr val="tx1"/>
                </a:solidFill>
              </a:rPr>
            </a:br>
            <a:endParaRPr lang="en-US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tx1"/>
                </a:solidFill>
              </a:rPr>
              <a:t>Duration of interaction </a:t>
            </a:r>
            <a:r>
              <a:rPr lang="en-US">
                <a:solidFill>
                  <a:schemeClr val="tx1"/>
                </a:solidFill>
              </a:rPr>
              <a:t>turns out to be the key differentiator in customer conver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The </a:t>
            </a:r>
            <a:r>
              <a:rPr lang="en-US" b="1">
                <a:solidFill>
                  <a:schemeClr val="tx1"/>
                </a:solidFill>
              </a:rPr>
              <a:t>Euribor Rate (3 Months) </a:t>
            </a:r>
            <a:r>
              <a:rPr lang="en-US">
                <a:solidFill>
                  <a:schemeClr val="tx1"/>
                </a:solidFill>
              </a:rPr>
              <a:t>is also an important </a:t>
            </a:r>
            <a:r>
              <a:rPr lang="en-US" b="1">
                <a:solidFill>
                  <a:schemeClr val="tx1"/>
                </a:solidFill>
              </a:rPr>
              <a:t>indicator of market conditions </a:t>
            </a:r>
            <a:r>
              <a:rPr lang="en-US">
                <a:solidFill>
                  <a:schemeClr val="tx1"/>
                </a:solidFill>
              </a:rPr>
              <a:t>and ultimately help in determining customer conversion</a:t>
            </a:r>
          </a:p>
        </p:txBody>
      </p:sp>
    </p:spTree>
    <p:extLst>
      <p:ext uri="{BB962C8B-B14F-4D97-AF65-F5344CB8AC3E}">
        <p14:creationId xmlns:p14="http://schemas.microsoft.com/office/powerpoint/2010/main" val="40593669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A6FEC8C-7617-6959-D0AB-5D2722372C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9176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6FEC8C-7617-6959-D0AB-5D2722372C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1" name="Google Shape;871;p33"/>
          <p:cNvSpPr txBox="1">
            <a:spLocks noGrp="1"/>
          </p:cNvSpPr>
          <p:nvPr>
            <p:ph type="title"/>
          </p:nvPr>
        </p:nvSpPr>
        <p:spPr>
          <a:xfrm>
            <a:off x="2788487" y="2154335"/>
            <a:ext cx="6505043" cy="1759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/>
              <a:t>Recommendations</a:t>
            </a:r>
            <a:endParaRPr sz="3600"/>
          </a:p>
        </p:txBody>
      </p:sp>
      <p:sp>
        <p:nvSpPr>
          <p:cNvPr id="872" name="Google Shape;872;p33"/>
          <p:cNvSpPr txBox="1">
            <a:spLocks noGrp="1"/>
          </p:cNvSpPr>
          <p:nvPr>
            <p:ph type="title" idx="2"/>
          </p:nvPr>
        </p:nvSpPr>
        <p:spPr>
          <a:xfrm>
            <a:off x="5060553" y="940516"/>
            <a:ext cx="1629300" cy="147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5</a:t>
            </a:r>
            <a:endParaRPr/>
          </a:p>
        </p:txBody>
      </p:sp>
      <p:grpSp>
        <p:nvGrpSpPr>
          <p:cNvPr id="873" name="Google Shape;873;p33"/>
          <p:cNvGrpSpPr/>
          <p:nvPr/>
        </p:nvGrpSpPr>
        <p:grpSpPr>
          <a:xfrm>
            <a:off x="351435" y="412016"/>
            <a:ext cx="1301097" cy="1072159"/>
            <a:chOff x="8077428" y="4048214"/>
            <a:chExt cx="933690" cy="788700"/>
          </a:xfrm>
        </p:grpSpPr>
        <p:sp>
          <p:nvSpPr>
            <p:cNvPr id="874" name="Google Shape;874;p33"/>
            <p:cNvSpPr/>
            <p:nvPr/>
          </p:nvSpPr>
          <p:spPr>
            <a:xfrm>
              <a:off x="8077428" y="4048214"/>
              <a:ext cx="235200" cy="7887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3"/>
            <p:cNvSpPr/>
            <p:nvPr/>
          </p:nvSpPr>
          <p:spPr>
            <a:xfrm>
              <a:off x="8426673" y="4191843"/>
              <a:ext cx="235200" cy="6450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6" name="Google Shape;876;p33"/>
            <p:cNvSpPr/>
            <p:nvPr/>
          </p:nvSpPr>
          <p:spPr>
            <a:xfrm>
              <a:off x="8775917" y="4392244"/>
              <a:ext cx="235200" cy="4446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77" name="Google Shape;877;p33"/>
          <p:cNvSpPr/>
          <p:nvPr/>
        </p:nvSpPr>
        <p:spPr>
          <a:xfrm>
            <a:off x="2968436" y="184686"/>
            <a:ext cx="140400" cy="1404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8" name="Google Shape;878;p33"/>
          <p:cNvSpPr/>
          <p:nvPr/>
        </p:nvSpPr>
        <p:spPr>
          <a:xfrm>
            <a:off x="211023" y="3265896"/>
            <a:ext cx="140400" cy="140400"/>
          </a:xfrm>
          <a:prstGeom prst="ellipse">
            <a:avLst/>
          </a:prstGeom>
          <a:solidFill>
            <a:srgbClr val="000000">
              <a:alpha val="12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79" name="Google Shape;879;p33"/>
          <p:cNvGrpSpPr/>
          <p:nvPr/>
        </p:nvGrpSpPr>
        <p:grpSpPr>
          <a:xfrm>
            <a:off x="351416" y="3830928"/>
            <a:ext cx="1133720" cy="1133717"/>
            <a:chOff x="10173800" y="2018150"/>
            <a:chExt cx="1448103" cy="1448100"/>
          </a:xfrm>
        </p:grpSpPr>
        <p:sp>
          <p:nvSpPr>
            <p:cNvPr id="880" name="Google Shape;880;p33"/>
            <p:cNvSpPr/>
            <p:nvPr/>
          </p:nvSpPr>
          <p:spPr>
            <a:xfrm>
              <a:off x="10173800" y="2018150"/>
              <a:ext cx="1448100" cy="1448100"/>
            </a:xfrm>
            <a:prstGeom prst="donut">
              <a:avLst>
                <a:gd name="adj" fmla="val 20968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" name="Google Shape;881;p33"/>
            <p:cNvSpPr/>
            <p:nvPr/>
          </p:nvSpPr>
          <p:spPr>
            <a:xfrm flipH="1">
              <a:off x="10173803" y="2018150"/>
              <a:ext cx="1448100" cy="1448100"/>
            </a:xfrm>
            <a:prstGeom prst="blockArc">
              <a:avLst>
                <a:gd name="adj1" fmla="val 10800000"/>
                <a:gd name="adj2" fmla="val 16161326"/>
                <a:gd name="adj3" fmla="val 20401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82" name="Google Shape;882;p33"/>
          <p:cNvSpPr/>
          <p:nvPr/>
        </p:nvSpPr>
        <p:spPr>
          <a:xfrm>
            <a:off x="2796527" y="2380950"/>
            <a:ext cx="171900" cy="148500"/>
          </a:xfrm>
          <a:prstGeom prst="triangle">
            <a:avLst>
              <a:gd name="adj" fmla="val 5000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3" name="Google Shape;883;p33"/>
          <p:cNvGrpSpPr/>
          <p:nvPr/>
        </p:nvGrpSpPr>
        <p:grpSpPr>
          <a:xfrm>
            <a:off x="1652514" y="3242074"/>
            <a:ext cx="1226117" cy="958679"/>
            <a:chOff x="1477660" y="1834701"/>
            <a:chExt cx="546593" cy="427390"/>
          </a:xfrm>
        </p:grpSpPr>
        <p:sp>
          <p:nvSpPr>
            <p:cNvPr id="884" name="Google Shape;884;p33"/>
            <p:cNvSpPr/>
            <p:nvPr/>
          </p:nvSpPr>
          <p:spPr>
            <a:xfrm>
              <a:off x="1542984" y="2006268"/>
              <a:ext cx="399412" cy="255824"/>
            </a:xfrm>
            <a:custGeom>
              <a:avLst/>
              <a:gdLst/>
              <a:ahLst/>
              <a:cxnLst/>
              <a:rect l="l" t="t" r="r" b="b"/>
              <a:pathLst>
                <a:path w="11433" h="6590" extrusionOk="0">
                  <a:moveTo>
                    <a:pt x="34" y="0"/>
                  </a:moveTo>
                  <a:cubicBezTo>
                    <a:pt x="12" y="113"/>
                    <a:pt x="0" y="225"/>
                    <a:pt x="0" y="349"/>
                  </a:cubicBezTo>
                  <a:cubicBezTo>
                    <a:pt x="0" y="428"/>
                    <a:pt x="0" y="496"/>
                    <a:pt x="12" y="575"/>
                  </a:cubicBezTo>
                  <a:lnTo>
                    <a:pt x="0" y="1239"/>
                  </a:lnTo>
                  <a:cubicBezTo>
                    <a:pt x="0" y="1284"/>
                    <a:pt x="0" y="1340"/>
                    <a:pt x="0" y="1386"/>
                  </a:cubicBezTo>
                  <a:cubicBezTo>
                    <a:pt x="0" y="1543"/>
                    <a:pt x="23" y="1690"/>
                    <a:pt x="57" y="1825"/>
                  </a:cubicBezTo>
                  <a:cubicBezTo>
                    <a:pt x="124" y="2039"/>
                    <a:pt x="226" y="2230"/>
                    <a:pt x="361" y="2410"/>
                  </a:cubicBezTo>
                  <a:cubicBezTo>
                    <a:pt x="372" y="2422"/>
                    <a:pt x="383" y="2433"/>
                    <a:pt x="395" y="2456"/>
                  </a:cubicBezTo>
                  <a:cubicBezTo>
                    <a:pt x="575" y="2681"/>
                    <a:pt x="823" y="2884"/>
                    <a:pt x="1115" y="3052"/>
                  </a:cubicBezTo>
                  <a:cubicBezTo>
                    <a:pt x="1138" y="3075"/>
                    <a:pt x="1172" y="3086"/>
                    <a:pt x="1194" y="3109"/>
                  </a:cubicBezTo>
                  <a:cubicBezTo>
                    <a:pt x="1735" y="3402"/>
                    <a:pt x="2433" y="3582"/>
                    <a:pt x="3177" y="3582"/>
                  </a:cubicBezTo>
                  <a:cubicBezTo>
                    <a:pt x="3931" y="3582"/>
                    <a:pt x="4551" y="3424"/>
                    <a:pt x="5091" y="3143"/>
                  </a:cubicBezTo>
                  <a:lnTo>
                    <a:pt x="5091" y="3143"/>
                  </a:lnTo>
                  <a:cubicBezTo>
                    <a:pt x="5080" y="3210"/>
                    <a:pt x="5069" y="3278"/>
                    <a:pt x="5069" y="3345"/>
                  </a:cubicBezTo>
                  <a:cubicBezTo>
                    <a:pt x="5069" y="3424"/>
                    <a:pt x="5080" y="3503"/>
                    <a:pt x="5091" y="3582"/>
                  </a:cubicBezTo>
                  <a:lnTo>
                    <a:pt x="5080" y="4246"/>
                  </a:lnTo>
                  <a:cubicBezTo>
                    <a:pt x="5080" y="4291"/>
                    <a:pt x="5069" y="4336"/>
                    <a:pt x="5069" y="4393"/>
                  </a:cubicBezTo>
                  <a:cubicBezTo>
                    <a:pt x="5069" y="4652"/>
                    <a:pt x="5136" y="4911"/>
                    <a:pt x="5260" y="5147"/>
                  </a:cubicBezTo>
                  <a:cubicBezTo>
                    <a:pt x="5283" y="5181"/>
                    <a:pt x="5305" y="5215"/>
                    <a:pt x="5317" y="5249"/>
                  </a:cubicBezTo>
                  <a:cubicBezTo>
                    <a:pt x="5362" y="5305"/>
                    <a:pt x="5407" y="5373"/>
                    <a:pt x="5452" y="5440"/>
                  </a:cubicBezTo>
                  <a:cubicBezTo>
                    <a:pt x="5486" y="5463"/>
                    <a:pt x="5508" y="5497"/>
                    <a:pt x="5531" y="5530"/>
                  </a:cubicBezTo>
                  <a:cubicBezTo>
                    <a:pt x="5610" y="5620"/>
                    <a:pt x="5700" y="5711"/>
                    <a:pt x="5801" y="5789"/>
                  </a:cubicBezTo>
                  <a:cubicBezTo>
                    <a:pt x="5835" y="5812"/>
                    <a:pt x="5869" y="5846"/>
                    <a:pt x="5902" y="5868"/>
                  </a:cubicBezTo>
                  <a:cubicBezTo>
                    <a:pt x="6477" y="6308"/>
                    <a:pt x="7322" y="6589"/>
                    <a:pt x="8256" y="6589"/>
                  </a:cubicBezTo>
                  <a:cubicBezTo>
                    <a:pt x="9191" y="6589"/>
                    <a:pt x="9980" y="6319"/>
                    <a:pt x="10565" y="5902"/>
                  </a:cubicBezTo>
                  <a:cubicBezTo>
                    <a:pt x="10610" y="5868"/>
                    <a:pt x="10655" y="5823"/>
                    <a:pt x="10701" y="5789"/>
                  </a:cubicBezTo>
                  <a:cubicBezTo>
                    <a:pt x="10802" y="5711"/>
                    <a:pt x="10892" y="5620"/>
                    <a:pt x="10971" y="5530"/>
                  </a:cubicBezTo>
                  <a:cubicBezTo>
                    <a:pt x="11016" y="5485"/>
                    <a:pt x="11050" y="5429"/>
                    <a:pt x="11083" y="5384"/>
                  </a:cubicBezTo>
                  <a:cubicBezTo>
                    <a:pt x="11117" y="5339"/>
                    <a:pt x="11151" y="5294"/>
                    <a:pt x="11185" y="5249"/>
                  </a:cubicBezTo>
                  <a:cubicBezTo>
                    <a:pt x="11196" y="5215"/>
                    <a:pt x="11219" y="5181"/>
                    <a:pt x="11241" y="5147"/>
                  </a:cubicBezTo>
                  <a:cubicBezTo>
                    <a:pt x="11365" y="4911"/>
                    <a:pt x="11433" y="4652"/>
                    <a:pt x="11433" y="4393"/>
                  </a:cubicBezTo>
                  <a:lnTo>
                    <a:pt x="11433" y="4122"/>
                  </a:lnTo>
                  <a:cubicBezTo>
                    <a:pt x="11286" y="4077"/>
                    <a:pt x="11151" y="4021"/>
                    <a:pt x="11027" y="3965"/>
                  </a:cubicBezTo>
                  <a:cubicBezTo>
                    <a:pt x="10881" y="3897"/>
                    <a:pt x="10723" y="3830"/>
                    <a:pt x="10577" y="3762"/>
                  </a:cubicBezTo>
                  <a:cubicBezTo>
                    <a:pt x="10543" y="3740"/>
                    <a:pt x="10498" y="3728"/>
                    <a:pt x="10441" y="3706"/>
                  </a:cubicBezTo>
                  <a:cubicBezTo>
                    <a:pt x="10205" y="3604"/>
                    <a:pt x="9957" y="3514"/>
                    <a:pt x="9721" y="3413"/>
                  </a:cubicBezTo>
                  <a:cubicBezTo>
                    <a:pt x="9022" y="3131"/>
                    <a:pt x="8324" y="2838"/>
                    <a:pt x="7648" y="2512"/>
                  </a:cubicBezTo>
                  <a:cubicBezTo>
                    <a:pt x="6578" y="1994"/>
                    <a:pt x="5553" y="1374"/>
                    <a:pt x="4528" y="777"/>
                  </a:cubicBezTo>
                  <a:cubicBezTo>
                    <a:pt x="4100" y="529"/>
                    <a:pt x="3672" y="270"/>
                    <a:pt x="3267" y="0"/>
                  </a:cubicBezTo>
                  <a:close/>
                </a:path>
              </a:pathLst>
            </a:cu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3"/>
            <p:cNvSpPr/>
            <p:nvPr/>
          </p:nvSpPr>
          <p:spPr>
            <a:xfrm>
              <a:off x="1542986" y="1962978"/>
              <a:ext cx="222361" cy="153469"/>
            </a:xfrm>
            <a:custGeom>
              <a:avLst/>
              <a:gdLst/>
              <a:ahLst/>
              <a:cxnLst/>
              <a:rect l="l" t="t" r="r" b="b"/>
              <a:pathLst>
                <a:path w="6365" h="4393" extrusionOk="0">
                  <a:moveTo>
                    <a:pt x="3188" y="0"/>
                  </a:moveTo>
                  <a:cubicBezTo>
                    <a:pt x="1971" y="0"/>
                    <a:pt x="924" y="462"/>
                    <a:pt x="383" y="1149"/>
                  </a:cubicBezTo>
                  <a:lnTo>
                    <a:pt x="23" y="1149"/>
                  </a:lnTo>
                  <a:lnTo>
                    <a:pt x="12" y="2106"/>
                  </a:lnTo>
                  <a:cubicBezTo>
                    <a:pt x="12" y="2129"/>
                    <a:pt x="0" y="2163"/>
                    <a:pt x="0" y="2197"/>
                  </a:cubicBezTo>
                  <a:cubicBezTo>
                    <a:pt x="0" y="3413"/>
                    <a:pt x="1431" y="4393"/>
                    <a:pt x="3188" y="4393"/>
                  </a:cubicBezTo>
                  <a:cubicBezTo>
                    <a:pt x="4945" y="4393"/>
                    <a:pt x="6364" y="3413"/>
                    <a:pt x="6364" y="2197"/>
                  </a:cubicBezTo>
                  <a:lnTo>
                    <a:pt x="6364" y="1149"/>
                  </a:lnTo>
                  <a:lnTo>
                    <a:pt x="5981" y="1149"/>
                  </a:lnTo>
                  <a:cubicBezTo>
                    <a:pt x="5452" y="462"/>
                    <a:pt x="4393" y="0"/>
                    <a:pt x="3188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3"/>
            <p:cNvSpPr/>
            <p:nvPr/>
          </p:nvSpPr>
          <p:spPr>
            <a:xfrm>
              <a:off x="1542986" y="1962559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extrusionOk="0">
                  <a:moveTo>
                    <a:pt x="3177" y="1"/>
                  </a:moveTo>
                  <a:cubicBezTo>
                    <a:pt x="1431" y="1"/>
                    <a:pt x="0" y="992"/>
                    <a:pt x="0" y="2209"/>
                  </a:cubicBezTo>
                  <a:cubicBezTo>
                    <a:pt x="0" y="3425"/>
                    <a:pt x="1431" y="4405"/>
                    <a:pt x="3177" y="4405"/>
                  </a:cubicBezTo>
                  <a:cubicBezTo>
                    <a:pt x="4934" y="4405"/>
                    <a:pt x="6364" y="3425"/>
                    <a:pt x="6364" y="2209"/>
                  </a:cubicBezTo>
                  <a:cubicBezTo>
                    <a:pt x="6364" y="992"/>
                    <a:pt x="4934" y="1"/>
                    <a:pt x="31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3"/>
            <p:cNvSpPr/>
            <p:nvPr/>
          </p:nvSpPr>
          <p:spPr>
            <a:xfrm>
              <a:off x="1542986" y="1962978"/>
              <a:ext cx="222361" cy="153469"/>
            </a:xfrm>
            <a:custGeom>
              <a:avLst/>
              <a:gdLst/>
              <a:ahLst/>
              <a:cxnLst/>
              <a:rect l="l" t="t" r="r" b="b"/>
              <a:pathLst>
                <a:path w="6365" h="4393" fill="none" extrusionOk="0">
                  <a:moveTo>
                    <a:pt x="5981" y="1149"/>
                  </a:moveTo>
                  <a:cubicBezTo>
                    <a:pt x="5452" y="462"/>
                    <a:pt x="4393" y="0"/>
                    <a:pt x="3188" y="0"/>
                  </a:cubicBezTo>
                  <a:cubicBezTo>
                    <a:pt x="1971" y="0"/>
                    <a:pt x="924" y="462"/>
                    <a:pt x="383" y="1149"/>
                  </a:cubicBezTo>
                  <a:lnTo>
                    <a:pt x="23" y="1149"/>
                  </a:lnTo>
                  <a:lnTo>
                    <a:pt x="12" y="2106"/>
                  </a:lnTo>
                  <a:cubicBezTo>
                    <a:pt x="12" y="2129"/>
                    <a:pt x="0" y="2163"/>
                    <a:pt x="0" y="2197"/>
                  </a:cubicBezTo>
                  <a:cubicBezTo>
                    <a:pt x="0" y="3413"/>
                    <a:pt x="1431" y="4393"/>
                    <a:pt x="3188" y="4393"/>
                  </a:cubicBezTo>
                  <a:cubicBezTo>
                    <a:pt x="4945" y="4393"/>
                    <a:pt x="6364" y="3413"/>
                    <a:pt x="6364" y="2197"/>
                  </a:cubicBezTo>
                  <a:lnTo>
                    <a:pt x="6364" y="1149"/>
                  </a:ln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3"/>
            <p:cNvSpPr/>
            <p:nvPr/>
          </p:nvSpPr>
          <p:spPr>
            <a:xfrm>
              <a:off x="1542986" y="1962559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fill="none" extrusionOk="0">
                  <a:moveTo>
                    <a:pt x="6364" y="2209"/>
                  </a:moveTo>
                  <a:cubicBezTo>
                    <a:pt x="6364" y="3425"/>
                    <a:pt x="4934" y="4405"/>
                    <a:pt x="3177" y="4405"/>
                  </a:cubicBezTo>
                  <a:cubicBezTo>
                    <a:pt x="1431" y="4405"/>
                    <a:pt x="0" y="3425"/>
                    <a:pt x="0" y="2209"/>
                  </a:cubicBezTo>
                  <a:cubicBezTo>
                    <a:pt x="0" y="992"/>
                    <a:pt x="1431" y="1"/>
                    <a:pt x="3177" y="1"/>
                  </a:cubicBezTo>
                  <a:cubicBezTo>
                    <a:pt x="4934" y="1"/>
                    <a:pt x="6364" y="992"/>
                    <a:pt x="6364" y="220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9" name="Google Shape;889;p33"/>
            <p:cNvSpPr/>
            <p:nvPr/>
          </p:nvSpPr>
          <p:spPr>
            <a:xfrm>
              <a:off x="1542986" y="1926368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extrusionOk="0">
                  <a:moveTo>
                    <a:pt x="3177" y="1"/>
                  </a:moveTo>
                  <a:cubicBezTo>
                    <a:pt x="1431" y="1"/>
                    <a:pt x="0" y="981"/>
                    <a:pt x="0" y="2197"/>
                  </a:cubicBezTo>
                  <a:cubicBezTo>
                    <a:pt x="0" y="3413"/>
                    <a:pt x="1431" y="4405"/>
                    <a:pt x="3177" y="4405"/>
                  </a:cubicBezTo>
                  <a:cubicBezTo>
                    <a:pt x="4934" y="4405"/>
                    <a:pt x="6364" y="3413"/>
                    <a:pt x="6364" y="2197"/>
                  </a:cubicBezTo>
                  <a:cubicBezTo>
                    <a:pt x="6364" y="981"/>
                    <a:pt x="4934" y="1"/>
                    <a:pt x="31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0" name="Google Shape;890;p33"/>
            <p:cNvSpPr/>
            <p:nvPr/>
          </p:nvSpPr>
          <p:spPr>
            <a:xfrm>
              <a:off x="1542986" y="1926368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fill="none" extrusionOk="0">
                  <a:moveTo>
                    <a:pt x="6364" y="2197"/>
                  </a:moveTo>
                  <a:cubicBezTo>
                    <a:pt x="6364" y="3413"/>
                    <a:pt x="4934" y="4405"/>
                    <a:pt x="3177" y="4405"/>
                  </a:cubicBezTo>
                  <a:cubicBezTo>
                    <a:pt x="1431" y="4405"/>
                    <a:pt x="0" y="3413"/>
                    <a:pt x="0" y="2197"/>
                  </a:cubicBezTo>
                  <a:cubicBezTo>
                    <a:pt x="0" y="981"/>
                    <a:pt x="1431" y="1"/>
                    <a:pt x="3177" y="1"/>
                  </a:cubicBezTo>
                  <a:cubicBezTo>
                    <a:pt x="4934" y="1"/>
                    <a:pt x="6364" y="981"/>
                    <a:pt x="6364" y="219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1" name="Google Shape;891;p33"/>
            <p:cNvSpPr/>
            <p:nvPr/>
          </p:nvSpPr>
          <p:spPr>
            <a:xfrm>
              <a:off x="1654739" y="208060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cubicBezTo>
                    <a:pt x="0" y="1003"/>
                    <a:pt x="0" y="970"/>
                    <a:pt x="0" y="947"/>
                  </a:cubicBez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2" name="Google Shape;892;p33"/>
            <p:cNvSpPr/>
            <p:nvPr/>
          </p:nvSpPr>
          <p:spPr>
            <a:xfrm>
              <a:off x="1678739" y="207826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3" name="Google Shape;893;p33"/>
            <p:cNvSpPr/>
            <p:nvPr/>
          </p:nvSpPr>
          <p:spPr>
            <a:xfrm>
              <a:off x="1701935" y="207312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" name="Google Shape;894;p33"/>
            <p:cNvSpPr/>
            <p:nvPr/>
          </p:nvSpPr>
          <p:spPr>
            <a:xfrm>
              <a:off x="1722790" y="2064496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3"/>
            <p:cNvSpPr/>
            <p:nvPr/>
          </p:nvSpPr>
          <p:spPr>
            <a:xfrm>
              <a:off x="1740886" y="205226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3"/>
            <p:cNvSpPr/>
            <p:nvPr/>
          </p:nvSpPr>
          <p:spPr>
            <a:xfrm>
              <a:off x="1757410" y="203221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3"/>
            <p:cNvSpPr/>
            <p:nvPr/>
          </p:nvSpPr>
          <p:spPr>
            <a:xfrm>
              <a:off x="1630321" y="207826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3"/>
            <p:cNvSpPr/>
            <p:nvPr/>
          </p:nvSpPr>
          <p:spPr>
            <a:xfrm>
              <a:off x="1607124" y="207312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3"/>
            <p:cNvSpPr/>
            <p:nvPr/>
          </p:nvSpPr>
          <p:spPr>
            <a:xfrm>
              <a:off x="1586269" y="2064496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3"/>
            <p:cNvSpPr/>
            <p:nvPr/>
          </p:nvSpPr>
          <p:spPr>
            <a:xfrm>
              <a:off x="1568173" y="205226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3"/>
            <p:cNvSpPr/>
            <p:nvPr/>
          </p:nvSpPr>
          <p:spPr>
            <a:xfrm>
              <a:off x="1551650" y="203221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3"/>
            <p:cNvSpPr/>
            <p:nvPr/>
          </p:nvSpPr>
          <p:spPr>
            <a:xfrm>
              <a:off x="1568173" y="1943695"/>
              <a:ext cx="171985" cy="118849"/>
            </a:xfrm>
            <a:custGeom>
              <a:avLst/>
              <a:gdLst/>
              <a:ahLst/>
              <a:cxnLst/>
              <a:rect l="l" t="t" r="r" b="b"/>
              <a:pathLst>
                <a:path w="4923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47"/>
                    <a:pt x="1104" y="3402"/>
                    <a:pt x="2456" y="3402"/>
                  </a:cubicBezTo>
                  <a:cubicBezTo>
                    <a:pt x="3819" y="3402"/>
                    <a:pt x="4922" y="2647"/>
                    <a:pt x="4922" y="1701"/>
                  </a:cubicBezTo>
                  <a:cubicBezTo>
                    <a:pt x="4922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3"/>
            <p:cNvSpPr/>
            <p:nvPr/>
          </p:nvSpPr>
          <p:spPr>
            <a:xfrm>
              <a:off x="1568173" y="1943695"/>
              <a:ext cx="171985" cy="118849"/>
            </a:xfrm>
            <a:custGeom>
              <a:avLst/>
              <a:gdLst/>
              <a:ahLst/>
              <a:cxnLst/>
              <a:rect l="l" t="t" r="r" b="b"/>
              <a:pathLst>
                <a:path w="4923" h="3402" fill="none" extrusionOk="0">
                  <a:moveTo>
                    <a:pt x="4922" y="1701"/>
                  </a:moveTo>
                  <a:cubicBezTo>
                    <a:pt x="4922" y="2647"/>
                    <a:pt x="3819" y="3402"/>
                    <a:pt x="2456" y="3402"/>
                  </a:cubicBezTo>
                  <a:cubicBezTo>
                    <a:pt x="1104" y="3402"/>
                    <a:pt x="0" y="2647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22" y="766"/>
                    <a:pt x="4922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3"/>
            <p:cNvSpPr/>
            <p:nvPr/>
          </p:nvSpPr>
          <p:spPr>
            <a:xfrm>
              <a:off x="1591369" y="1970035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1" y="1"/>
                  </a:moveTo>
                  <a:lnTo>
                    <a:pt x="68" y="125"/>
                  </a:lnTo>
                  <a:lnTo>
                    <a:pt x="282" y="237"/>
                  </a:lnTo>
                  <a:cubicBezTo>
                    <a:pt x="91" y="350"/>
                    <a:pt x="1" y="451"/>
                    <a:pt x="12" y="564"/>
                  </a:cubicBezTo>
                  <a:cubicBezTo>
                    <a:pt x="12" y="665"/>
                    <a:pt x="125" y="778"/>
                    <a:pt x="327" y="891"/>
                  </a:cubicBezTo>
                  <a:cubicBezTo>
                    <a:pt x="463" y="970"/>
                    <a:pt x="620" y="1026"/>
                    <a:pt x="778" y="1071"/>
                  </a:cubicBezTo>
                  <a:cubicBezTo>
                    <a:pt x="936" y="1105"/>
                    <a:pt x="1082" y="1127"/>
                    <a:pt x="1217" y="1138"/>
                  </a:cubicBezTo>
                  <a:cubicBezTo>
                    <a:pt x="1352" y="1138"/>
                    <a:pt x="1578" y="1138"/>
                    <a:pt x="1904" y="1127"/>
                  </a:cubicBezTo>
                  <a:cubicBezTo>
                    <a:pt x="2096" y="1127"/>
                    <a:pt x="2242" y="1138"/>
                    <a:pt x="2321" y="1161"/>
                  </a:cubicBezTo>
                  <a:cubicBezTo>
                    <a:pt x="2411" y="1195"/>
                    <a:pt x="2535" y="1251"/>
                    <a:pt x="2681" y="1330"/>
                  </a:cubicBezTo>
                  <a:cubicBezTo>
                    <a:pt x="2738" y="1364"/>
                    <a:pt x="2783" y="1398"/>
                    <a:pt x="2783" y="1420"/>
                  </a:cubicBezTo>
                  <a:cubicBezTo>
                    <a:pt x="2794" y="1454"/>
                    <a:pt x="2783" y="1476"/>
                    <a:pt x="2738" y="1488"/>
                  </a:cubicBezTo>
                  <a:cubicBezTo>
                    <a:pt x="2710" y="1499"/>
                    <a:pt x="2684" y="1505"/>
                    <a:pt x="2659" y="1505"/>
                  </a:cubicBezTo>
                  <a:cubicBezTo>
                    <a:pt x="2634" y="1505"/>
                    <a:pt x="2608" y="1499"/>
                    <a:pt x="2580" y="1488"/>
                  </a:cubicBezTo>
                  <a:cubicBezTo>
                    <a:pt x="2524" y="1476"/>
                    <a:pt x="2400" y="1409"/>
                    <a:pt x="2220" y="1307"/>
                  </a:cubicBezTo>
                  <a:lnTo>
                    <a:pt x="2051" y="1217"/>
                  </a:lnTo>
                  <a:lnTo>
                    <a:pt x="1409" y="1488"/>
                  </a:lnTo>
                  <a:lnTo>
                    <a:pt x="1544" y="1555"/>
                  </a:lnTo>
                  <a:cubicBezTo>
                    <a:pt x="1848" y="1724"/>
                    <a:pt x="2118" y="1814"/>
                    <a:pt x="2366" y="1826"/>
                  </a:cubicBezTo>
                  <a:cubicBezTo>
                    <a:pt x="2431" y="1831"/>
                    <a:pt x="2493" y="1834"/>
                    <a:pt x="2552" y="1834"/>
                  </a:cubicBezTo>
                  <a:cubicBezTo>
                    <a:pt x="2731" y="1834"/>
                    <a:pt x="2887" y="1809"/>
                    <a:pt x="3031" y="1758"/>
                  </a:cubicBezTo>
                  <a:lnTo>
                    <a:pt x="3290" y="1904"/>
                  </a:lnTo>
                  <a:lnTo>
                    <a:pt x="3583" y="1792"/>
                  </a:lnTo>
                  <a:lnTo>
                    <a:pt x="3335" y="1645"/>
                  </a:lnTo>
                  <a:cubicBezTo>
                    <a:pt x="3515" y="1533"/>
                    <a:pt x="3594" y="1420"/>
                    <a:pt x="3571" y="1296"/>
                  </a:cubicBezTo>
                  <a:cubicBezTo>
                    <a:pt x="3537" y="1172"/>
                    <a:pt x="3402" y="1048"/>
                    <a:pt x="3166" y="913"/>
                  </a:cubicBezTo>
                  <a:cubicBezTo>
                    <a:pt x="3008" y="834"/>
                    <a:pt x="2862" y="767"/>
                    <a:pt x="2726" y="733"/>
                  </a:cubicBezTo>
                  <a:cubicBezTo>
                    <a:pt x="2580" y="688"/>
                    <a:pt x="2456" y="665"/>
                    <a:pt x="2332" y="665"/>
                  </a:cubicBezTo>
                  <a:cubicBezTo>
                    <a:pt x="2276" y="660"/>
                    <a:pt x="2200" y="657"/>
                    <a:pt x="2106" y="657"/>
                  </a:cubicBezTo>
                  <a:cubicBezTo>
                    <a:pt x="2011" y="657"/>
                    <a:pt x="1899" y="660"/>
                    <a:pt x="1769" y="665"/>
                  </a:cubicBezTo>
                  <a:cubicBezTo>
                    <a:pt x="1611" y="671"/>
                    <a:pt x="1482" y="674"/>
                    <a:pt x="1382" y="674"/>
                  </a:cubicBezTo>
                  <a:cubicBezTo>
                    <a:pt x="1282" y="674"/>
                    <a:pt x="1212" y="671"/>
                    <a:pt x="1172" y="665"/>
                  </a:cubicBezTo>
                  <a:cubicBezTo>
                    <a:pt x="1082" y="665"/>
                    <a:pt x="992" y="632"/>
                    <a:pt x="891" y="564"/>
                  </a:cubicBezTo>
                  <a:cubicBezTo>
                    <a:pt x="823" y="530"/>
                    <a:pt x="789" y="508"/>
                    <a:pt x="767" y="474"/>
                  </a:cubicBezTo>
                  <a:cubicBezTo>
                    <a:pt x="755" y="451"/>
                    <a:pt x="767" y="429"/>
                    <a:pt x="812" y="418"/>
                  </a:cubicBezTo>
                  <a:cubicBezTo>
                    <a:pt x="838" y="404"/>
                    <a:pt x="868" y="399"/>
                    <a:pt x="898" y="399"/>
                  </a:cubicBezTo>
                  <a:cubicBezTo>
                    <a:pt x="919" y="399"/>
                    <a:pt x="939" y="402"/>
                    <a:pt x="958" y="406"/>
                  </a:cubicBezTo>
                  <a:cubicBezTo>
                    <a:pt x="1014" y="418"/>
                    <a:pt x="1105" y="463"/>
                    <a:pt x="1217" y="530"/>
                  </a:cubicBezTo>
                  <a:lnTo>
                    <a:pt x="1330" y="587"/>
                  </a:lnTo>
                  <a:lnTo>
                    <a:pt x="1972" y="328"/>
                  </a:lnTo>
                  <a:cubicBezTo>
                    <a:pt x="1916" y="294"/>
                    <a:pt x="1882" y="271"/>
                    <a:pt x="1848" y="260"/>
                  </a:cubicBezTo>
                  <a:cubicBezTo>
                    <a:pt x="1645" y="147"/>
                    <a:pt x="1442" y="80"/>
                    <a:pt x="1228" y="57"/>
                  </a:cubicBezTo>
                  <a:cubicBezTo>
                    <a:pt x="1175" y="52"/>
                    <a:pt x="1121" y="49"/>
                    <a:pt x="1068" y="49"/>
                  </a:cubicBezTo>
                  <a:cubicBezTo>
                    <a:pt x="907" y="49"/>
                    <a:pt x="744" y="74"/>
                    <a:pt x="575" y="125"/>
                  </a:cubicBezTo>
                  <a:lnTo>
                    <a:pt x="36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3"/>
            <p:cNvSpPr/>
            <p:nvPr/>
          </p:nvSpPr>
          <p:spPr>
            <a:xfrm>
              <a:off x="1591369" y="1970035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2" y="328"/>
                  </a:moveTo>
                  <a:lnTo>
                    <a:pt x="1330" y="587"/>
                  </a:lnTo>
                  <a:lnTo>
                    <a:pt x="1217" y="530"/>
                  </a:lnTo>
                  <a:cubicBezTo>
                    <a:pt x="1105" y="463"/>
                    <a:pt x="1014" y="418"/>
                    <a:pt x="958" y="406"/>
                  </a:cubicBezTo>
                  <a:cubicBezTo>
                    <a:pt x="913" y="395"/>
                    <a:pt x="857" y="395"/>
                    <a:pt x="812" y="418"/>
                  </a:cubicBezTo>
                  <a:cubicBezTo>
                    <a:pt x="767" y="429"/>
                    <a:pt x="755" y="451"/>
                    <a:pt x="767" y="474"/>
                  </a:cubicBezTo>
                  <a:cubicBezTo>
                    <a:pt x="789" y="508"/>
                    <a:pt x="823" y="530"/>
                    <a:pt x="891" y="564"/>
                  </a:cubicBezTo>
                  <a:cubicBezTo>
                    <a:pt x="992" y="632"/>
                    <a:pt x="1082" y="665"/>
                    <a:pt x="1172" y="665"/>
                  </a:cubicBezTo>
                  <a:cubicBezTo>
                    <a:pt x="1251" y="677"/>
                    <a:pt x="1454" y="677"/>
                    <a:pt x="1769" y="665"/>
                  </a:cubicBezTo>
                  <a:cubicBezTo>
                    <a:pt x="2028" y="654"/>
                    <a:pt x="2220" y="654"/>
                    <a:pt x="2332" y="665"/>
                  </a:cubicBezTo>
                  <a:cubicBezTo>
                    <a:pt x="2456" y="665"/>
                    <a:pt x="2580" y="688"/>
                    <a:pt x="2726" y="733"/>
                  </a:cubicBezTo>
                  <a:cubicBezTo>
                    <a:pt x="2862" y="767"/>
                    <a:pt x="3008" y="834"/>
                    <a:pt x="3166" y="913"/>
                  </a:cubicBezTo>
                  <a:cubicBezTo>
                    <a:pt x="3402" y="1048"/>
                    <a:pt x="3537" y="1172"/>
                    <a:pt x="3571" y="1296"/>
                  </a:cubicBezTo>
                  <a:cubicBezTo>
                    <a:pt x="3594" y="1420"/>
                    <a:pt x="3515" y="1533"/>
                    <a:pt x="3335" y="1645"/>
                  </a:cubicBezTo>
                  <a:lnTo>
                    <a:pt x="3583" y="1792"/>
                  </a:lnTo>
                  <a:lnTo>
                    <a:pt x="3290" y="1904"/>
                  </a:lnTo>
                  <a:lnTo>
                    <a:pt x="3031" y="1758"/>
                  </a:lnTo>
                  <a:cubicBezTo>
                    <a:pt x="2839" y="1826"/>
                    <a:pt x="2625" y="1848"/>
                    <a:pt x="2366" y="1826"/>
                  </a:cubicBezTo>
                  <a:cubicBezTo>
                    <a:pt x="2118" y="1814"/>
                    <a:pt x="1848" y="1724"/>
                    <a:pt x="1544" y="1555"/>
                  </a:cubicBezTo>
                  <a:lnTo>
                    <a:pt x="1409" y="1488"/>
                  </a:lnTo>
                  <a:lnTo>
                    <a:pt x="2051" y="1217"/>
                  </a:lnTo>
                  <a:lnTo>
                    <a:pt x="2220" y="1307"/>
                  </a:lnTo>
                  <a:cubicBezTo>
                    <a:pt x="2400" y="1409"/>
                    <a:pt x="2524" y="1476"/>
                    <a:pt x="2580" y="1488"/>
                  </a:cubicBezTo>
                  <a:cubicBezTo>
                    <a:pt x="2636" y="1510"/>
                    <a:pt x="2681" y="1510"/>
                    <a:pt x="2738" y="1488"/>
                  </a:cubicBezTo>
                  <a:cubicBezTo>
                    <a:pt x="2783" y="1476"/>
                    <a:pt x="2794" y="1454"/>
                    <a:pt x="2783" y="1420"/>
                  </a:cubicBezTo>
                  <a:cubicBezTo>
                    <a:pt x="2783" y="1398"/>
                    <a:pt x="2738" y="1364"/>
                    <a:pt x="2681" y="1330"/>
                  </a:cubicBezTo>
                  <a:cubicBezTo>
                    <a:pt x="2535" y="1251"/>
                    <a:pt x="2411" y="1195"/>
                    <a:pt x="2321" y="1161"/>
                  </a:cubicBezTo>
                  <a:cubicBezTo>
                    <a:pt x="2242" y="1138"/>
                    <a:pt x="2096" y="1127"/>
                    <a:pt x="1904" y="1127"/>
                  </a:cubicBezTo>
                  <a:cubicBezTo>
                    <a:pt x="1578" y="1138"/>
                    <a:pt x="1352" y="1138"/>
                    <a:pt x="1217" y="1138"/>
                  </a:cubicBezTo>
                  <a:cubicBezTo>
                    <a:pt x="1082" y="1127"/>
                    <a:pt x="936" y="1105"/>
                    <a:pt x="778" y="1071"/>
                  </a:cubicBezTo>
                  <a:cubicBezTo>
                    <a:pt x="620" y="1026"/>
                    <a:pt x="463" y="970"/>
                    <a:pt x="327" y="891"/>
                  </a:cubicBezTo>
                  <a:cubicBezTo>
                    <a:pt x="125" y="778"/>
                    <a:pt x="12" y="665"/>
                    <a:pt x="12" y="564"/>
                  </a:cubicBezTo>
                  <a:cubicBezTo>
                    <a:pt x="1" y="451"/>
                    <a:pt x="91" y="350"/>
                    <a:pt x="282" y="237"/>
                  </a:cubicBezTo>
                  <a:lnTo>
                    <a:pt x="68" y="125"/>
                  </a:lnTo>
                  <a:lnTo>
                    <a:pt x="361" y="1"/>
                  </a:lnTo>
                  <a:lnTo>
                    <a:pt x="575" y="125"/>
                  </a:lnTo>
                  <a:cubicBezTo>
                    <a:pt x="800" y="57"/>
                    <a:pt x="1014" y="35"/>
                    <a:pt x="1228" y="57"/>
                  </a:cubicBezTo>
                  <a:cubicBezTo>
                    <a:pt x="1442" y="80"/>
                    <a:pt x="1645" y="147"/>
                    <a:pt x="1848" y="260"/>
                  </a:cubicBezTo>
                  <a:cubicBezTo>
                    <a:pt x="1882" y="271"/>
                    <a:pt x="1916" y="294"/>
                    <a:pt x="1972" y="32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extrusionOk="0">
                  <a:moveTo>
                    <a:pt x="3176" y="0"/>
                  </a:moveTo>
                  <a:cubicBezTo>
                    <a:pt x="1960" y="0"/>
                    <a:pt x="912" y="473"/>
                    <a:pt x="372" y="1160"/>
                  </a:cubicBezTo>
                  <a:lnTo>
                    <a:pt x="11" y="1160"/>
                  </a:lnTo>
                  <a:lnTo>
                    <a:pt x="0" y="2106"/>
                  </a:lnTo>
                  <a:cubicBezTo>
                    <a:pt x="0" y="2140"/>
                    <a:pt x="0" y="2174"/>
                    <a:pt x="0" y="2208"/>
                  </a:cubicBezTo>
                  <a:cubicBezTo>
                    <a:pt x="0" y="3424"/>
                    <a:pt x="1419" y="4404"/>
                    <a:pt x="3176" y="4404"/>
                  </a:cubicBezTo>
                  <a:cubicBezTo>
                    <a:pt x="4933" y="4404"/>
                    <a:pt x="6353" y="3424"/>
                    <a:pt x="6353" y="2208"/>
                  </a:cubicBezTo>
                  <a:lnTo>
                    <a:pt x="6353" y="1160"/>
                  </a:lnTo>
                  <a:lnTo>
                    <a:pt x="5981" y="1160"/>
                  </a:lnTo>
                  <a:cubicBezTo>
                    <a:pt x="5440" y="473"/>
                    <a:pt x="4393" y="0"/>
                    <a:pt x="3176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extrusionOk="0">
                  <a:moveTo>
                    <a:pt x="3176" y="0"/>
                  </a:moveTo>
                  <a:cubicBezTo>
                    <a:pt x="1419" y="0"/>
                    <a:pt x="0" y="991"/>
                    <a:pt x="0" y="2208"/>
                  </a:cubicBezTo>
                  <a:cubicBezTo>
                    <a:pt x="0" y="3413"/>
                    <a:pt x="1419" y="4404"/>
                    <a:pt x="3176" y="4404"/>
                  </a:cubicBezTo>
                  <a:cubicBezTo>
                    <a:pt x="4933" y="4404"/>
                    <a:pt x="6353" y="3413"/>
                    <a:pt x="6353" y="2208"/>
                  </a:cubicBezTo>
                  <a:cubicBezTo>
                    <a:pt x="6353" y="991"/>
                    <a:pt x="4933" y="0"/>
                    <a:pt x="317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fill="none" extrusionOk="0">
                  <a:moveTo>
                    <a:pt x="5981" y="1160"/>
                  </a:moveTo>
                  <a:cubicBezTo>
                    <a:pt x="5440" y="473"/>
                    <a:pt x="4393" y="0"/>
                    <a:pt x="3176" y="0"/>
                  </a:cubicBezTo>
                  <a:cubicBezTo>
                    <a:pt x="1960" y="0"/>
                    <a:pt x="912" y="473"/>
                    <a:pt x="372" y="1160"/>
                  </a:cubicBezTo>
                  <a:lnTo>
                    <a:pt x="11" y="1160"/>
                  </a:lnTo>
                  <a:lnTo>
                    <a:pt x="0" y="2106"/>
                  </a:lnTo>
                  <a:cubicBezTo>
                    <a:pt x="0" y="2140"/>
                    <a:pt x="0" y="2174"/>
                    <a:pt x="0" y="2208"/>
                  </a:cubicBezTo>
                  <a:cubicBezTo>
                    <a:pt x="0" y="3424"/>
                    <a:pt x="1419" y="4404"/>
                    <a:pt x="3176" y="4404"/>
                  </a:cubicBezTo>
                  <a:cubicBezTo>
                    <a:pt x="4933" y="4404"/>
                    <a:pt x="6353" y="3424"/>
                    <a:pt x="6353" y="2208"/>
                  </a:cubicBezTo>
                  <a:lnTo>
                    <a:pt x="6353" y="1160"/>
                  </a:ln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fill="none" extrusionOk="0">
                  <a:moveTo>
                    <a:pt x="6353" y="2208"/>
                  </a:moveTo>
                  <a:cubicBezTo>
                    <a:pt x="6353" y="3413"/>
                    <a:pt x="4933" y="4404"/>
                    <a:pt x="3176" y="4404"/>
                  </a:cubicBezTo>
                  <a:cubicBezTo>
                    <a:pt x="1419" y="4404"/>
                    <a:pt x="0" y="3413"/>
                    <a:pt x="0" y="2208"/>
                  </a:cubicBezTo>
                  <a:cubicBezTo>
                    <a:pt x="0" y="991"/>
                    <a:pt x="1419" y="0"/>
                    <a:pt x="3176" y="0"/>
                  </a:cubicBezTo>
                  <a:cubicBezTo>
                    <a:pt x="4933" y="0"/>
                    <a:pt x="6353" y="991"/>
                    <a:pt x="6353" y="220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3"/>
            <p:cNvSpPr/>
            <p:nvPr/>
          </p:nvSpPr>
          <p:spPr>
            <a:xfrm>
              <a:off x="1720450" y="2031414"/>
              <a:ext cx="221942" cy="153504"/>
            </a:xfrm>
            <a:custGeom>
              <a:avLst/>
              <a:gdLst/>
              <a:ahLst/>
              <a:cxnLst/>
              <a:rect l="l" t="t" r="r" b="b"/>
              <a:pathLst>
                <a:path w="6353" h="4394" extrusionOk="0">
                  <a:moveTo>
                    <a:pt x="3176" y="1"/>
                  </a:moveTo>
                  <a:cubicBezTo>
                    <a:pt x="1419" y="1"/>
                    <a:pt x="0" y="981"/>
                    <a:pt x="0" y="2197"/>
                  </a:cubicBezTo>
                  <a:cubicBezTo>
                    <a:pt x="0" y="3414"/>
                    <a:pt x="1419" y="4394"/>
                    <a:pt x="3176" y="4394"/>
                  </a:cubicBezTo>
                  <a:cubicBezTo>
                    <a:pt x="4933" y="4394"/>
                    <a:pt x="6353" y="3414"/>
                    <a:pt x="6353" y="2197"/>
                  </a:cubicBezTo>
                  <a:cubicBezTo>
                    <a:pt x="6353" y="981"/>
                    <a:pt x="4933" y="1"/>
                    <a:pt x="317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" name="Google Shape;911;p33"/>
            <p:cNvSpPr/>
            <p:nvPr/>
          </p:nvSpPr>
          <p:spPr>
            <a:xfrm>
              <a:off x="1720450" y="2031414"/>
              <a:ext cx="221942" cy="153504"/>
            </a:xfrm>
            <a:custGeom>
              <a:avLst/>
              <a:gdLst/>
              <a:ahLst/>
              <a:cxnLst/>
              <a:rect l="l" t="t" r="r" b="b"/>
              <a:pathLst>
                <a:path w="6353" h="4394" fill="none" extrusionOk="0">
                  <a:moveTo>
                    <a:pt x="6353" y="2197"/>
                  </a:moveTo>
                  <a:cubicBezTo>
                    <a:pt x="6353" y="3414"/>
                    <a:pt x="4933" y="4394"/>
                    <a:pt x="3176" y="4394"/>
                  </a:cubicBezTo>
                  <a:cubicBezTo>
                    <a:pt x="1419" y="4394"/>
                    <a:pt x="0" y="3414"/>
                    <a:pt x="0" y="2197"/>
                  </a:cubicBezTo>
                  <a:cubicBezTo>
                    <a:pt x="0" y="981"/>
                    <a:pt x="1419" y="1"/>
                    <a:pt x="3176" y="1"/>
                  </a:cubicBezTo>
                  <a:cubicBezTo>
                    <a:pt x="4933" y="1"/>
                    <a:pt x="6353" y="981"/>
                    <a:pt x="6353" y="219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3"/>
            <p:cNvSpPr/>
            <p:nvPr/>
          </p:nvSpPr>
          <p:spPr>
            <a:xfrm>
              <a:off x="1832168" y="2185263"/>
              <a:ext cx="35" cy="36263"/>
            </a:xfrm>
            <a:custGeom>
              <a:avLst/>
              <a:gdLst/>
              <a:ahLst/>
              <a:cxnLst/>
              <a:rect l="l" t="t" r="r" b="b"/>
              <a:pathLst>
                <a:path w="1" h="1038" fill="none" extrusionOk="0">
                  <a:moveTo>
                    <a:pt x="1" y="1037"/>
                  </a:moveTo>
                  <a:cubicBezTo>
                    <a:pt x="1" y="1003"/>
                    <a:pt x="1" y="981"/>
                    <a:pt x="1" y="958"/>
                  </a:cubicBez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3"/>
            <p:cNvSpPr/>
            <p:nvPr/>
          </p:nvSpPr>
          <p:spPr>
            <a:xfrm>
              <a:off x="1856168" y="2183306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3"/>
            <p:cNvSpPr/>
            <p:nvPr/>
          </p:nvSpPr>
          <p:spPr>
            <a:xfrm>
              <a:off x="1879015" y="2178206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0" y="1014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3"/>
            <p:cNvSpPr/>
            <p:nvPr/>
          </p:nvSpPr>
          <p:spPr>
            <a:xfrm>
              <a:off x="1900254" y="216954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3"/>
            <p:cNvSpPr/>
            <p:nvPr/>
          </p:nvSpPr>
          <p:spPr>
            <a:xfrm>
              <a:off x="1918350" y="215735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3"/>
            <p:cNvSpPr/>
            <p:nvPr/>
          </p:nvSpPr>
          <p:spPr>
            <a:xfrm>
              <a:off x="1934489" y="213726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3"/>
            <p:cNvSpPr/>
            <p:nvPr/>
          </p:nvSpPr>
          <p:spPr>
            <a:xfrm>
              <a:off x="1807400" y="2183306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0" y="1014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3"/>
            <p:cNvSpPr/>
            <p:nvPr/>
          </p:nvSpPr>
          <p:spPr>
            <a:xfrm>
              <a:off x="1784588" y="2178206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0" y="1014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3"/>
            <p:cNvSpPr/>
            <p:nvPr/>
          </p:nvSpPr>
          <p:spPr>
            <a:xfrm>
              <a:off x="1763314" y="216954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3"/>
            <p:cNvSpPr/>
            <p:nvPr/>
          </p:nvSpPr>
          <p:spPr>
            <a:xfrm>
              <a:off x="1745218" y="215735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3"/>
            <p:cNvSpPr/>
            <p:nvPr/>
          </p:nvSpPr>
          <p:spPr>
            <a:xfrm>
              <a:off x="1729078" y="213726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3" name="Google Shape;923;p33"/>
            <p:cNvSpPr/>
            <p:nvPr/>
          </p:nvSpPr>
          <p:spPr>
            <a:xfrm>
              <a:off x="1745602" y="2048741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extrusionOk="0">
                  <a:moveTo>
                    <a:pt x="2456" y="1"/>
                  </a:moveTo>
                  <a:cubicBezTo>
                    <a:pt x="1094" y="1"/>
                    <a:pt x="1" y="766"/>
                    <a:pt x="1" y="1701"/>
                  </a:cubicBezTo>
                  <a:cubicBezTo>
                    <a:pt x="1" y="2636"/>
                    <a:pt x="1094" y="3402"/>
                    <a:pt x="2456" y="3402"/>
                  </a:cubicBezTo>
                  <a:cubicBezTo>
                    <a:pt x="3819" y="3402"/>
                    <a:pt x="4912" y="2636"/>
                    <a:pt x="4912" y="1701"/>
                  </a:cubicBezTo>
                  <a:cubicBezTo>
                    <a:pt x="4912" y="766"/>
                    <a:pt x="3819" y="1"/>
                    <a:pt x="24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3"/>
            <p:cNvSpPr/>
            <p:nvPr/>
          </p:nvSpPr>
          <p:spPr>
            <a:xfrm>
              <a:off x="1745602" y="2048741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fill="none" extrusionOk="0">
                  <a:moveTo>
                    <a:pt x="4912" y="1701"/>
                  </a:moveTo>
                  <a:cubicBezTo>
                    <a:pt x="4912" y="2636"/>
                    <a:pt x="3819" y="3402"/>
                    <a:pt x="2456" y="3402"/>
                  </a:cubicBezTo>
                  <a:cubicBezTo>
                    <a:pt x="1094" y="3402"/>
                    <a:pt x="1" y="2636"/>
                    <a:pt x="1" y="1701"/>
                  </a:cubicBezTo>
                  <a:cubicBezTo>
                    <a:pt x="1" y="766"/>
                    <a:pt x="1094" y="1"/>
                    <a:pt x="2456" y="1"/>
                  </a:cubicBezTo>
                  <a:cubicBezTo>
                    <a:pt x="3819" y="1"/>
                    <a:pt x="4912" y="766"/>
                    <a:pt x="4912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3"/>
            <p:cNvSpPr/>
            <p:nvPr/>
          </p:nvSpPr>
          <p:spPr>
            <a:xfrm>
              <a:off x="1768833" y="2074697"/>
              <a:ext cx="125556" cy="66935"/>
            </a:xfrm>
            <a:custGeom>
              <a:avLst/>
              <a:gdLst/>
              <a:ahLst/>
              <a:cxnLst/>
              <a:rect l="l" t="t" r="r" b="b"/>
              <a:pathLst>
                <a:path w="3594" h="1916" extrusionOk="0">
                  <a:moveTo>
                    <a:pt x="361" y="1"/>
                  </a:moveTo>
                  <a:lnTo>
                    <a:pt x="57" y="125"/>
                  </a:lnTo>
                  <a:lnTo>
                    <a:pt x="282" y="249"/>
                  </a:lnTo>
                  <a:cubicBezTo>
                    <a:pt x="91" y="350"/>
                    <a:pt x="1" y="463"/>
                    <a:pt x="1" y="564"/>
                  </a:cubicBezTo>
                  <a:cubicBezTo>
                    <a:pt x="12" y="677"/>
                    <a:pt x="113" y="789"/>
                    <a:pt x="316" y="902"/>
                  </a:cubicBezTo>
                  <a:cubicBezTo>
                    <a:pt x="462" y="981"/>
                    <a:pt x="609" y="1037"/>
                    <a:pt x="778" y="1082"/>
                  </a:cubicBezTo>
                  <a:cubicBezTo>
                    <a:pt x="935" y="1116"/>
                    <a:pt x="1082" y="1139"/>
                    <a:pt x="1217" y="1150"/>
                  </a:cubicBezTo>
                  <a:cubicBezTo>
                    <a:pt x="1341" y="1150"/>
                    <a:pt x="1577" y="1150"/>
                    <a:pt x="1904" y="1139"/>
                  </a:cubicBezTo>
                  <a:cubicBezTo>
                    <a:pt x="2096" y="1139"/>
                    <a:pt x="2231" y="1150"/>
                    <a:pt x="2321" y="1172"/>
                  </a:cubicBezTo>
                  <a:cubicBezTo>
                    <a:pt x="2411" y="1206"/>
                    <a:pt x="2524" y="1262"/>
                    <a:pt x="2681" y="1341"/>
                  </a:cubicBezTo>
                  <a:cubicBezTo>
                    <a:pt x="2738" y="1375"/>
                    <a:pt x="2771" y="1409"/>
                    <a:pt x="2783" y="1431"/>
                  </a:cubicBezTo>
                  <a:cubicBezTo>
                    <a:pt x="2794" y="1454"/>
                    <a:pt x="2783" y="1476"/>
                    <a:pt x="2738" y="1499"/>
                  </a:cubicBezTo>
                  <a:cubicBezTo>
                    <a:pt x="2709" y="1510"/>
                    <a:pt x="2681" y="1516"/>
                    <a:pt x="2653" y="1516"/>
                  </a:cubicBezTo>
                  <a:cubicBezTo>
                    <a:pt x="2625" y="1516"/>
                    <a:pt x="2597" y="1510"/>
                    <a:pt x="2569" y="1499"/>
                  </a:cubicBezTo>
                  <a:cubicBezTo>
                    <a:pt x="2512" y="1476"/>
                    <a:pt x="2400" y="1420"/>
                    <a:pt x="2208" y="1319"/>
                  </a:cubicBezTo>
                  <a:lnTo>
                    <a:pt x="2050" y="1229"/>
                  </a:lnTo>
                  <a:lnTo>
                    <a:pt x="1408" y="1488"/>
                  </a:lnTo>
                  <a:lnTo>
                    <a:pt x="1532" y="1567"/>
                  </a:lnTo>
                  <a:cubicBezTo>
                    <a:pt x="1836" y="1735"/>
                    <a:pt x="2118" y="1826"/>
                    <a:pt x="2366" y="1837"/>
                  </a:cubicBezTo>
                  <a:cubicBezTo>
                    <a:pt x="2407" y="1839"/>
                    <a:pt x="2448" y="1840"/>
                    <a:pt x="2488" y="1840"/>
                  </a:cubicBezTo>
                  <a:cubicBezTo>
                    <a:pt x="2687" y="1840"/>
                    <a:pt x="2869" y="1816"/>
                    <a:pt x="3019" y="1769"/>
                  </a:cubicBezTo>
                  <a:lnTo>
                    <a:pt x="3289" y="1916"/>
                  </a:lnTo>
                  <a:lnTo>
                    <a:pt x="3582" y="1792"/>
                  </a:lnTo>
                  <a:lnTo>
                    <a:pt x="3323" y="1657"/>
                  </a:lnTo>
                  <a:cubicBezTo>
                    <a:pt x="3515" y="1544"/>
                    <a:pt x="3594" y="1431"/>
                    <a:pt x="3560" y="1307"/>
                  </a:cubicBezTo>
                  <a:cubicBezTo>
                    <a:pt x="3537" y="1184"/>
                    <a:pt x="3402" y="1060"/>
                    <a:pt x="3154" y="925"/>
                  </a:cubicBezTo>
                  <a:cubicBezTo>
                    <a:pt x="3008" y="834"/>
                    <a:pt x="2861" y="778"/>
                    <a:pt x="2715" y="733"/>
                  </a:cubicBezTo>
                  <a:cubicBezTo>
                    <a:pt x="2580" y="699"/>
                    <a:pt x="2445" y="677"/>
                    <a:pt x="2332" y="665"/>
                  </a:cubicBezTo>
                  <a:cubicBezTo>
                    <a:pt x="2219" y="665"/>
                    <a:pt x="2028" y="665"/>
                    <a:pt x="1758" y="677"/>
                  </a:cubicBezTo>
                  <a:lnTo>
                    <a:pt x="1161" y="677"/>
                  </a:lnTo>
                  <a:cubicBezTo>
                    <a:pt x="1082" y="665"/>
                    <a:pt x="992" y="632"/>
                    <a:pt x="879" y="575"/>
                  </a:cubicBezTo>
                  <a:cubicBezTo>
                    <a:pt x="823" y="542"/>
                    <a:pt x="778" y="508"/>
                    <a:pt x="766" y="485"/>
                  </a:cubicBezTo>
                  <a:cubicBezTo>
                    <a:pt x="755" y="463"/>
                    <a:pt x="766" y="440"/>
                    <a:pt x="811" y="418"/>
                  </a:cubicBezTo>
                  <a:cubicBezTo>
                    <a:pt x="837" y="411"/>
                    <a:pt x="864" y="405"/>
                    <a:pt x="892" y="405"/>
                  </a:cubicBezTo>
                  <a:cubicBezTo>
                    <a:pt x="912" y="405"/>
                    <a:pt x="934" y="408"/>
                    <a:pt x="958" y="418"/>
                  </a:cubicBezTo>
                  <a:cubicBezTo>
                    <a:pt x="1014" y="429"/>
                    <a:pt x="1093" y="463"/>
                    <a:pt x="1217" y="530"/>
                  </a:cubicBezTo>
                  <a:lnTo>
                    <a:pt x="1330" y="598"/>
                  </a:lnTo>
                  <a:lnTo>
                    <a:pt x="1961" y="332"/>
                  </a:lnTo>
                  <a:lnTo>
                    <a:pt x="1961" y="332"/>
                  </a:lnTo>
                  <a:cubicBezTo>
                    <a:pt x="1964" y="334"/>
                    <a:pt x="1968" y="337"/>
                    <a:pt x="1972" y="339"/>
                  </a:cubicBezTo>
                  <a:lnTo>
                    <a:pt x="1972" y="328"/>
                  </a:lnTo>
                  <a:lnTo>
                    <a:pt x="1961" y="332"/>
                  </a:lnTo>
                  <a:lnTo>
                    <a:pt x="1961" y="332"/>
                  </a:lnTo>
                  <a:cubicBezTo>
                    <a:pt x="1909" y="302"/>
                    <a:pt x="1869" y="281"/>
                    <a:pt x="1848" y="260"/>
                  </a:cubicBezTo>
                  <a:cubicBezTo>
                    <a:pt x="1645" y="147"/>
                    <a:pt x="1442" y="80"/>
                    <a:pt x="1228" y="57"/>
                  </a:cubicBezTo>
                  <a:cubicBezTo>
                    <a:pt x="1175" y="52"/>
                    <a:pt x="1121" y="49"/>
                    <a:pt x="1068" y="49"/>
                  </a:cubicBezTo>
                  <a:cubicBezTo>
                    <a:pt x="907" y="49"/>
                    <a:pt x="744" y="74"/>
                    <a:pt x="575" y="125"/>
                  </a:cubicBezTo>
                  <a:lnTo>
                    <a:pt x="36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3"/>
            <p:cNvSpPr/>
            <p:nvPr/>
          </p:nvSpPr>
          <p:spPr>
            <a:xfrm>
              <a:off x="1768833" y="2074697"/>
              <a:ext cx="125556" cy="66935"/>
            </a:xfrm>
            <a:custGeom>
              <a:avLst/>
              <a:gdLst/>
              <a:ahLst/>
              <a:cxnLst/>
              <a:rect l="l" t="t" r="r" b="b"/>
              <a:pathLst>
                <a:path w="3594" h="1916" fill="none" extrusionOk="0">
                  <a:moveTo>
                    <a:pt x="1972" y="328"/>
                  </a:moveTo>
                  <a:lnTo>
                    <a:pt x="1330" y="598"/>
                  </a:lnTo>
                  <a:lnTo>
                    <a:pt x="1217" y="530"/>
                  </a:lnTo>
                  <a:cubicBezTo>
                    <a:pt x="1093" y="463"/>
                    <a:pt x="1014" y="429"/>
                    <a:pt x="958" y="418"/>
                  </a:cubicBezTo>
                  <a:cubicBezTo>
                    <a:pt x="902" y="395"/>
                    <a:pt x="857" y="406"/>
                    <a:pt x="811" y="418"/>
                  </a:cubicBezTo>
                  <a:cubicBezTo>
                    <a:pt x="766" y="440"/>
                    <a:pt x="755" y="463"/>
                    <a:pt x="766" y="485"/>
                  </a:cubicBezTo>
                  <a:cubicBezTo>
                    <a:pt x="778" y="508"/>
                    <a:pt x="823" y="542"/>
                    <a:pt x="879" y="575"/>
                  </a:cubicBezTo>
                  <a:cubicBezTo>
                    <a:pt x="992" y="632"/>
                    <a:pt x="1082" y="665"/>
                    <a:pt x="1161" y="677"/>
                  </a:cubicBezTo>
                  <a:cubicBezTo>
                    <a:pt x="1251" y="677"/>
                    <a:pt x="1442" y="677"/>
                    <a:pt x="1758" y="677"/>
                  </a:cubicBezTo>
                  <a:cubicBezTo>
                    <a:pt x="2028" y="665"/>
                    <a:pt x="2219" y="665"/>
                    <a:pt x="2332" y="665"/>
                  </a:cubicBezTo>
                  <a:cubicBezTo>
                    <a:pt x="2445" y="677"/>
                    <a:pt x="2580" y="699"/>
                    <a:pt x="2715" y="733"/>
                  </a:cubicBezTo>
                  <a:cubicBezTo>
                    <a:pt x="2861" y="778"/>
                    <a:pt x="3008" y="834"/>
                    <a:pt x="3154" y="925"/>
                  </a:cubicBezTo>
                  <a:cubicBezTo>
                    <a:pt x="3402" y="1060"/>
                    <a:pt x="3537" y="1184"/>
                    <a:pt x="3560" y="1307"/>
                  </a:cubicBezTo>
                  <a:cubicBezTo>
                    <a:pt x="3594" y="1431"/>
                    <a:pt x="3515" y="1544"/>
                    <a:pt x="3323" y="1657"/>
                  </a:cubicBezTo>
                  <a:lnTo>
                    <a:pt x="3582" y="1792"/>
                  </a:lnTo>
                  <a:lnTo>
                    <a:pt x="3289" y="1916"/>
                  </a:lnTo>
                  <a:lnTo>
                    <a:pt x="3019" y="1769"/>
                  </a:lnTo>
                  <a:cubicBezTo>
                    <a:pt x="2839" y="1826"/>
                    <a:pt x="2614" y="1848"/>
                    <a:pt x="2366" y="1837"/>
                  </a:cubicBezTo>
                  <a:cubicBezTo>
                    <a:pt x="2118" y="1826"/>
                    <a:pt x="1836" y="1735"/>
                    <a:pt x="1532" y="1567"/>
                  </a:cubicBezTo>
                  <a:lnTo>
                    <a:pt x="1408" y="1488"/>
                  </a:lnTo>
                  <a:lnTo>
                    <a:pt x="2050" y="1229"/>
                  </a:lnTo>
                  <a:lnTo>
                    <a:pt x="2208" y="1319"/>
                  </a:lnTo>
                  <a:cubicBezTo>
                    <a:pt x="2400" y="1420"/>
                    <a:pt x="2512" y="1476"/>
                    <a:pt x="2569" y="1499"/>
                  </a:cubicBezTo>
                  <a:cubicBezTo>
                    <a:pt x="2625" y="1521"/>
                    <a:pt x="2681" y="1521"/>
                    <a:pt x="2738" y="1499"/>
                  </a:cubicBezTo>
                  <a:cubicBezTo>
                    <a:pt x="2783" y="1476"/>
                    <a:pt x="2794" y="1454"/>
                    <a:pt x="2783" y="1431"/>
                  </a:cubicBezTo>
                  <a:cubicBezTo>
                    <a:pt x="2771" y="1409"/>
                    <a:pt x="2738" y="1375"/>
                    <a:pt x="2681" y="1341"/>
                  </a:cubicBezTo>
                  <a:cubicBezTo>
                    <a:pt x="2524" y="1262"/>
                    <a:pt x="2411" y="1206"/>
                    <a:pt x="2321" y="1172"/>
                  </a:cubicBezTo>
                  <a:cubicBezTo>
                    <a:pt x="2231" y="1150"/>
                    <a:pt x="2096" y="1139"/>
                    <a:pt x="1904" y="1139"/>
                  </a:cubicBezTo>
                  <a:cubicBezTo>
                    <a:pt x="1577" y="1150"/>
                    <a:pt x="1341" y="1150"/>
                    <a:pt x="1217" y="1150"/>
                  </a:cubicBezTo>
                  <a:cubicBezTo>
                    <a:pt x="1082" y="1139"/>
                    <a:pt x="935" y="1116"/>
                    <a:pt x="778" y="1082"/>
                  </a:cubicBezTo>
                  <a:cubicBezTo>
                    <a:pt x="609" y="1037"/>
                    <a:pt x="462" y="981"/>
                    <a:pt x="316" y="902"/>
                  </a:cubicBezTo>
                  <a:cubicBezTo>
                    <a:pt x="113" y="789"/>
                    <a:pt x="12" y="677"/>
                    <a:pt x="1" y="564"/>
                  </a:cubicBezTo>
                  <a:cubicBezTo>
                    <a:pt x="1" y="463"/>
                    <a:pt x="91" y="350"/>
                    <a:pt x="282" y="249"/>
                  </a:cubicBezTo>
                  <a:lnTo>
                    <a:pt x="57" y="125"/>
                  </a:lnTo>
                  <a:lnTo>
                    <a:pt x="361" y="1"/>
                  </a:lnTo>
                  <a:lnTo>
                    <a:pt x="575" y="125"/>
                  </a:lnTo>
                  <a:cubicBezTo>
                    <a:pt x="800" y="57"/>
                    <a:pt x="1014" y="35"/>
                    <a:pt x="1228" y="57"/>
                  </a:cubicBezTo>
                  <a:cubicBezTo>
                    <a:pt x="1442" y="80"/>
                    <a:pt x="1645" y="147"/>
                    <a:pt x="1848" y="260"/>
                  </a:cubicBezTo>
                  <a:cubicBezTo>
                    <a:pt x="1870" y="283"/>
                    <a:pt x="1915" y="305"/>
                    <a:pt x="1972" y="33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3"/>
            <p:cNvSpPr/>
            <p:nvPr/>
          </p:nvSpPr>
          <p:spPr>
            <a:xfrm>
              <a:off x="1477660" y="1901111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0"/>
                  </a:moveTo>
                  <a:cubicBezTo>
                    <a:pt x="9507" y="0"/>
                    <a:pt x="9400" y="31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3"/>
                    <a:pt x="226" y="5927"/>
                  </a:cubicBezTo>
                  <a:lnTo>
                    <a:pt x="5576" y="9081"/>
                  </a:lnTo>
                  <a:cubicBezTo>
                    <a:pt x="5694" y="9149"/>
                    <a:pt x="5824" y="9182"/>
                    <a:pt x="5952" y="9182"/>
                  </a:cubicBezTo>
                  <a:cubicBezTo>
                    <a:pt x="6080" y="9182"/>
                    <a:pt x="6207" y="9149"/>
                    <a:pt x="6319" y="9081"/>
                  </a:cubicBezTo>
                  <a:lnTo>
                    <a:pt x="15488" y="3742"/>
                  </a:lnTo>
                  <a:cubicBezTo>
                    <a:pt x="15645" y="3652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1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3"/>
            <p:cNvSpPr/>
            <p:nvPr/>
          </p:nvSpPr>
          <p:spPr>
            <a:xfrm>
              <a:off x="1477660" y="1900028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8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0"/>
                    <a:pt x="9496" y="0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4"/>
                    <a:pt x="226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3"/>
            <p:cNvSpPr/>
            <p:nvPr/>
          </p:nvSpPr>
          <p:spPr>
            <a:xfrm>
              <a:off x="1477660" y="1894683"/>
              <a:ext cx="546593" cy="320948"/>
            </a:xfrm>
            <a:custGeom>
              <a:avLst/>
              <a:gdLst/>
              <a:ahLst/>
              <a:cxnLst/>
              <a:rect l="l" t="t" r="r" b="b"/>
              <a:pathLst>
                <a:path w="15646" h="9187" extrusionOk="0">
                  <a:moveTo>
                    <a:pt x="9615" y="1"/>
                  </a:moveTo>
                  <a:cubicBezTo>
                    <a:pt x="9507" y="1"/>
                    <a:pt x="9400" y="29"/>
                    <a:pt x="9304" y="85"/>
                  </a:cubicBezTo>
                  <a:lnTo>
                    <a:pt x="226" y="5345"/>
                  </a:lnTo>
                  <a:cubicBezTo>
                    <a:pt x="1" y="5481"/>
                    <a:pt x="1" y="5796"/>
                    <a:pt x="226" y="5931"/>
                  </a:cubicBezTo>
                  <a:lnTo>
                    <a:pt x="5576" y="9085"/>
                  </a:lnTo>
                  <a:cubicBezTo>
                    <a:pt x="5694" y="9152"/>
                    <a:pt x="5824" y="9186"/>
                    <a:pt x="5952" y="9186"/>
                  </a:cubicBezTo>
                  <a:cubicBezTo>
                    <a:pt x="6080" y="9186"/>
                    <a:pt x="6207" y="9152"/>
                    <a:pt x="6319" y="9085"/>
                  </a:cubicBezTo>
                  <a:lnTo>
                    <a:pt x="15488" y="3746"/>
                  </a:lnTo>
                  <a:cubicBezTo>
                    <a:pt x="15645" y="3656"/>
                    <a:pt x="15645" y="3431"/>
                    <a:pt x="15488" y="3341"/>
                  </a:cubicBezTo>
                  <a:lnTo>
                    <a:pt x="9935" y="85"/>
                  </a:lnTo>
                  <a:cubicBezTo>
                    <a:pt x="9834" y="29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3"/>
            <p:cNvSpPr/>
            <p:nvPr/>
          </p:nvSpPr>
          <p:spPr>
            <a:xfrm>
              <a:off x="1477660" y="1893705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3"/>
                  </a:lnTo>
                  <a:cubicBezTo>
                    <a:pt x="5813" y="9248"/>
                    <a:pt x="6094" y="9248"/>
                    <a:pt x="6319" y="9113"/>
                  </a:cubicBezTo>
                  <a:lnTo>
                    <a:pt x="15488" y="3774"/>
                  </a:lnTo>
                  <a:cubicBezTo>
                    <a:pt x="15645" y="3684"/>
                    <a:pt x="15645" y="3459"/>
                    <a:pt x="15488" y="3369"/>
                  </a:cubicBezTo>
                  <a:lnTo>
                    <a:pt x="9935" y="113"/>
                  </a:lnTo>
                  <a:cubicBezTo>
                    <a:pt x="9732" y="1"/>
                    <a:pt x="9496" y="1"/>
                    <a:pt x="9304" y="113"/>
                  </a:cubicBezTo>
                  <a:lnTo>
                    <a:pt x="226" y="5373"/>
                  </a:lnTo>
                  <a:cubicBezTo>
                    <a:pt x="1" y="5509"/>
                    <a:pt x="1" y="5824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3"/>
            <p:cNvSpPr/>
            <p:nvPr/>
          </p:nvSpPr>
          <p:spPr>
            <a:xfrm>
              <a:off x="1531178" y="1927555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extrusionOk="0">
                  <a:moveTo>
                    <a:pt x="8752" y="0"/>
                  </a:moveTo>
                  <a:cubicBezTo>
                    <a:pt x="8628" y="169"/>
                    <a:pt x="8380" y="282"/>
                    <a:pt x="8088" y="282"/>
                  </a:cubicBezTo>
                  <a:cubicBezTo>
                    <a:pt x="7806" y="282"/>
                    <a:pt x="7558" y="169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8"/>
                    <a:pt x="271" y="4686"/>
                  </a:cubicBezTo>
                  <a:cubicBezTo>
                    <a:pt x="271" y="4855"/>
                    <a:pt x="169" y="4990"/>
                    <a:pt x="12" y="5091"/>
                  </a:cubicBezTo>
                  <a:lnTo>
                    <a:pt x="3774" y="7310"/>
                  </a:lnTo>
                  <a:cubicBezTo>
                    <a:pt x="3909" y="7153"/>
                    <a:pt x="4145" y="7051"/>
                    <a:pt x="4427" y="7051"/>
                  </a:cubicBezTo>
                  <a:cubicBezTo>
                    <a:pt x="4709" y="7051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2"/>
                    <a:pt x="12311" y="2276"/>
                    <a:pt x="12469" y="2174"/>
                  </a:cubicBezTo>
                  <a:lnTo>
                    <a:pt x="8752" y="0"/>
                  </a:ln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3"/>
            <p:cNvSpPr/>
            <p:nvPr/>
          </p:nvSpPr>
          <p:spPr>
            <a:xfrm>
              <a:off x="1531178" y="1927555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fill="none" extrusionOk="0">
                  <a:moveTo>
                    <a:pt x="12199" y="2580"/>
                  </a:moveTo>
                  <a:cubicBezTo>
                    <a:pt x="12199" y="2422"/>
                    <a:pt x="12311" y="2276"/>
                    <a:pt x="12469" y="2174"/>
                  </a:cubicBezTo>
                  <a:lnTo>
                    <a:pt x="8752" y="0"/>
                  </a:lnTo>
                  <a:cubicBezTo>
                    <a:pt x="8628" y="169"/>
                    <a:pt x="8380" y="282"/>
                    <a:pt x="8088" y="282"/>
                  </a:cubicBezTo>
                  <a:cubicBezTo>
                    <a:pt x="7806" y="282"/>
                    <a:pt x="7558" y="169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8"/>
                    <a:pt x="271" y="4686"/>
                  </a:cubicBezTo>
                  <a:cubicBezTo>
                    <a:pt x="271" y="4855"/>
                    <a:pt x="169" y="4990"/>
                    <a:pt x="12" y="5091"/>
                  </a:cubicBezTo>
                  <a:lnTo>
                    <a:pt x="3774" y="7310"/>
                  </a:lnTo>
                  <a:cubicBezTo>
                    <a:pt x="3909" y="7153"/>
                    <a:pt x="4145" y="7051"/>
                    <a:pt x="4427" y="7051"/>
                  </a:cubicBezTo>
                  <a:cubicBezTo>
                    <a:pt x="4709" y="7051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3"/>
            <p:cNvSpPr/>
            <p:nvPr/>
          </p:nvSpPr>
          <p:spPr>
            <a:xfrm>
              <a:off x="1671647" y="1987747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extrusionOk="0">
                  <a:moveTo>
                    <a:pt x="2456" y="1"/>
                  </a:moveTo>
                  <a:cubicBezTo>
                    <a:pt x="1104" y="1"/>
                    <a:pt x="0" y="767"/>
                    <a:pt x="0" y="1702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2"/>
                  </a:cubicBezTo>
                  <a:cubicBezTo>
                    <a:pt x="4911" y="767"/>
                    <a:pt x="3819" y="1"/>
                    <a:pt x="24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3"/>
            <p:cNvSpPr/>
            <p:nvPr/>
          </p:nvSpPr>
          <p:spPr>
            <a:xfrm>
              <a:off x="1671647" y="1987747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fill="none" extrusionOk="0">
                  <a:moveTo>
                    <a:pt x="4911" y="1702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2"/>
                  </a:cubicBezTo>
                  <a:cubicBezTo>
                    <a:pt x="0" y="767"/>
                    <a:pt x="1104" y="1"/>
                    <a:pt x="2456" y="1"/>
                  </a:cubicBezTo>
                  <a:cubicBezTo>
                    <a:pt x="3819" y="1"/>
                    <a:pt x="4911" y="767"/>
                    <a:pt x="4911" y="1702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3"/>
            <p:cNvSpPr/>
            <p:nvPr/>
          </p:nvSpPr>
          <p:spPr>
            <a:xfrm>
              <a:off x="1694878" y="2014122"/>
              <a:ext cx="125556" cy="66516"/>
            </a:xfrm>
            <a:custGeom>
              <a:avLst/>
              <a:gdLst/>
              <a:ahLst/>
              <a:cxnLst/>
              <a:rect l="l" t="t" r="r" b="b"/>
              <a:pathLst>
                <a:path w="3594" h="1904" extrusionOk="0">
                  <a:moveTo>
                    <a:pt x="360" y="0"/>
                  </a:moveTo>
                  <a:lnTo>
                    <a:pt x="68" y="113"/>
                  </a:lnTo>
                  <a:lnTo>
                    <a:pt x="282" y="237"/>
                  </a:lnTo>
                  <a:cubicBezTo>
                    <a:pt x="90" y="338"/>
                    <a:pt x="0" y="451"/>
                    <a:pt x="11" y="552"/>
                  </a:cubicBezTo>
                  <a:cubicBezTo>
                    <a:pt x="11" y="665"/>
                    <a:pt x="124" y="778"/>
                    <a:pt x="327" y="890"/>
                  </a:cubicBezTo>
                  <a:cubicBezTo>
                    <a:pt x="462" y="969"/>
                    <a:pt x="608" y="1025"/>
                    <a:pt x="777" y="1070"/>
                  </a:cubicBezTo>
                  <a:cubicBezTo>
                    <a:pt x="935" y="1104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4"/>
                    <a:pt x="2523" y="1251"/>
                    <a:pt x="2681" y="1329"/>
                  </a:cubicBezTo>
                  <a:cubicBezTo>
                    <a:pt x="2737" y="1363"/>
                    <a:pt x="2771" y="1397"/>
                    <a:pt x="2782" y="1420"/>
                  </a:cubicBezTo>
                  <a:cubicBezTo>
                    <a:pt x="2793" y="1442"/>
                    <a:pt x="2782" y="1465"/>
                    <a:pt x="2737" y="1487"/>
                  </a:cubicBezTo>
                  <a:cubicBezTo>
                    <a:pt x="2709" y="1498"/>
                    <a:pt x="2684" y="1504"/>
                    <a:pt x="2657" y="1504"/>
                  </a:cubicBezTo>
                  <a:cubicBezTo>
                    <a:pt x="2630" y="1504"/>
                    <a:pt x="2602" y="1498"/>
                    <a:pt x="2568" y="1487"/>
                  </a:cubicBezTo>
                  <a:cubicBezTo>
                    <a:pt x="2512" y="1476"/>
                    <a:pt x="2399" y="1408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5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4"/>
                    <a:pt x="3030" y="1757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2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6"/>
                    <a:pt x="2714" y="721"/>
                  </a:cubicBezTo>
                  <a:cubicBezTo>
                    <a:pt x="2579" y="687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3"/>
                    <a:pt x="1376" y="673"/>
                  </a:cubicBezTo>
                  <a:cubicBezTo>
                    <a:pt x="1278" y="673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3"/>
                  </a:cubicBezTo>
                  <a:cubicBezTo>
                    <a:pt x="755" y="451"/>
                    <a:pt x="766" y="428"/>
                    <a:pt x="811" y="406"/>
                  </a:cubicBezTo>
                  <a:cubicBezTo>
                    <a:pt x="837" y="399"/>
                    <a:pt x="863" y="393"/>
                    <a:pt x="891" y="393"/>
                  </a:cubicBezTo>
                  <a:cubicBezTo>
                    <a:pt x="912" y="393"/>
                    <a:pt x="934" y="396"/>
                    <a:pt x="957" y="406"/>
                  </a:cubicBezTo>
                  <a:cubicBezTo>
                    <a:pt x="1014" y="417"/>
                    <a:pt x="1093" y="462"/>
                    <a:pt x="1216" y="518"/>
                  </a:cubicBezTo>
                  <a:lnTo>
                    <a:pt x="1329" y="586"/>
                  </a:lnTo>
                  <a:lnTo>
                    <a:pt x="1971" y="327"/>
                  </a:lnTo>
                  <a:cubicBezTo>
                    <a:pt x="1915" y="293"/>
                    <a:pt x="1881" y="271"/>
                    <a:pt x="1847" y="248"/>
                  </a:cubicBezTo>
                  <a:cubicBezTo>
                    <a:pt x="1644" y="136"/>
                    <a:pt x="1442" y="68"/>
                    <a:pt x="1228" y="45"/>
                  </a:cubicBezTo>
                  <a:cubicBezTo>
                    <a:pt x="1174" y="40"/>
                    <a:pt x="1121" y="37"/>
                    <a:pt x="1067" y="37"/>
                  </a:cubicBezTo>
                  <a:cubicBezTo>
                    <a:pt x="906" y="37"/>
                    <a:pt x="743" y="62"/>
                    <a:pt x="574" y="113"/>
                  </a:cubicBezTo>
                  <a:lnTo>
                    <a:pt x="36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6" name="Google Shape;936;p33"/>
            <p:cNvSpPr/>
            <p:nvPr/>
          </p:nvSpPr>
          <p:spPr>
            <a:xfrm>
              <a:off x="1694878" y="2014122"/>
              <a:ext cx="125556" cy="66516"/>
            </a:xfrm>
            <a:custGeom>
              <a:avLst/>
              <a:gdLst/>
              <a:ahLst/>
              <a:cxnLst/>
              <a:rect l="l" t="t" r="r" b="b"/>
              <a:pathLst>
                <a:path w="3594" h="1904" fill="none" extrusionOk="0">
                  <a:moveTo>
                    <a:pt x="1971" y="327"/>
                  </a:moveTo>
                  <a:lnTo>
                    <a:pt x="1329" y="586"/>
                  </a:lnTo>
                  <a:lnTo>
                    <a:pt x="1216" y="518"/>
                  </a:lnTo>
                  <a:cubicBezTo>
                    <a:pt x="1093" y="462"/>
                    <a:pt x="1014" y="417"/>
                    <a:pt x="957" y="406"/>
                  </a:cubicBezTo>
                  <a:cubicBezTo>
                    <a:pt x="901" y="383"/>
                    <a:pt x="856" y="395"/>
                    <a:pt x="811" y="406"/>
                  </a:cubicBezTo>
                  <a:cubicBezTo>
                    <a:pt x="766" y="428"/>
                    <a:pt x="755" y="451"/>
                    <a:pt x="766" y="473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6"/>
                    <a:pt x="1442" y="676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7"/>
                    <a:pt x="2714" y="721"/>
                  </a:cubicBezTo>
                  <a:cubicBezTo>
                    <a:pt x="2861" y="766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2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7"/>
                  </a:lnTo>
                  <a:cubicBezTo>
                    <a:pt x="2838" y="1814"/>
                    <a:pt x="2613" y="1836"/>
                    <a:pt x="2365" y="1825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8"/>
                    <a:pt x="2512" y="1476"/>
                    <a:pt x="2568" y="1487"/>
                  </a:cubicBezTo>
                  <a:cubicBezTo>
                    <a:pt x="2636" y="1510"/>
                    <a:pt x="2681" y="1510"/>
                    <a:pt x="2737" y="1487"/>
                  </a:cubicBezTo>
                  <a:cubicBezTo>
                    <a:pt x="2782" y="1465"/>
                    <a:pt x="2793" y="1442"/>
                    <a:pt x="2782" y="1420"/>
                  </a:cubicBezTo>
                  <a:cubicBezTo>
                    <a:pt x="2771" y="1397"/>
                    <a:pt x="2737" y="1363"/>
                    <a:pt x="2681" y="1329"/>
                  </a:cubicBezTo>
                  <a:cubicBezTo>
                    <a:pt x="2523" y="1251"/>
                    <a:pt x="2410" y="1194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4"/>
                    <a:pt x="777" y="1070"/>
                  </a:cubicBezTo>
                  <a:cubicBezTo>
                    <a:pt x="608" y="1025"/>
                    <a:pt x="462" y="969"/>
                    <a:pt x="327" y="890"/>
                  </a:cubicBezTo>
                  <a:cubicBezTo>
                    <a:pt x="124" y="778"/>
                    <a:pt x="11" y="665"/>
                    <a:pt x="11" y="552"/>
                  </a:cubicBezTo>
                  <a:cubicBezTo>
                    <a:pt x="0" y="451"/>
                    <a:pt x="90" y="338"/>
                    <a:pt x="282" y="237"/>
                  </a:cubicBezTo>
                  <a:lnTo>
                    <a:pt x="68" y="113"/>
                  </a:lnTo>
                  <a:lnTo>
                    <a:pt x="360" y="0"/>
                  </a:lnTo>
                  <a:lnTo>
                    <a:pt x="574" y="113"/>
                  </a:lnTo>
                  <a:cubicBezTo>
                    <a:pt x="800" y="45"/>
                    <a:pt x="1014" y="23"/>
                    <a:pt x="1228" y="45"/>
                  </a:cubicBezTo>
                  <a:cubicBezTo>
                    <a:pt x="1442" y="68"/>
                    <a:pt x="1644" y="136"/>
                    <a:pt x="1847" y="248"/>
                  </a:cubicBezTo>
                  <a:cubicBezTo>
                    <a:pt x="1881" y="271"/>
                    <a:pt x="1915" y="293"/>
                    <a:pt x="1971" y="32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7" name="Google Shape;937;p33"/>
            <p:cNvSpPr/>
            <p:nvPr/>
          </p:nvSpPr>
          <p:spPr>
            <a:xfrm>
              <a:off x="1628364" y="2101072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7" y="1"/>
                  </a:moveTo>
                  <a:cubicBezTo>
                    <a:pt x="271" y="1"/>
                    <a:pt x="1" y="181"/>
                    <a:pt x="1" y="406"/>
                  </a:cubicBezTo>
                  <a:cubicBezTo>
                    <a:pt x="1" y="631"/>
                    <a:pt x="271" y="823"/>
                    <a:pt x="597" y="823"/>
                  </a:cubicBezTo>
                  <a:cubicBezTo>
                    <a:pt x="924" y="823"/>
                    <a:pt x="1183" y="631"/>
                    <a:pt x="1183" y="406"/>
                  </a:cubicBezTo>
                  <a:cubicBezTo>
                    <a:pt x="1183" y="181"/>
                    <a:pt x="924" y="1"/>
                    <a:pt x="59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8" name="Google Shape;938;p33"/>
            <p:cNvSpPr/>
            <p:nvPr/>
          </p:nvSpPr>
          <p:spPr>
            <a:xfrm>
              <a:off x="1843592" y="1975555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8" y="1"/>
                  </a:moveTo>
                  <a:cubicBezTo>
                    <a:pt x="260" y="1"/>
                    <a:pt x="1" y="181"/>
                    <a:pt x="1" y="406"/>
                  </a:cubicBezTo>
                  <a:cubicBezTo>
                    <a:pt x="1" y="631"/>
                    <a:pt x="260" y="823"/>
                    <a:pt x="598" y="823"/>
                  </a:cubicBezTo>
                  <a:cubicBezTo>
                    <a:pt x="924" y="823"/>
                    <a:pt x="1183" y="631"/>
                    <a:pt x="1183" y="406"/>
                  </a:cubicBezTo>
                  <a:cubicBezTo>
                    <a:pt x="1183" y="181"/>
                    <a:pt x="924" y="1"/>
                    <a:pt x="59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9" name="Google Shape;939;p33"/>
            <p:cNvSpPr/>
            <p:nvPr/>
          </p:nvSpPr>
          <p:spPr>
            <a:xfrm>
              <a:off x="1477660" y="1871591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0"/>
                  </a:moveTo>
                  <a:cubicBezTo>
                    <a:pt x="9507" y="0"/>
                    <a:pt x="9400" y="31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4"/>
                    <a:pt x="226" y="5928"/>
                  </a:cubicBezTo>
                  <a:lnTo>
                    <a:pt x="5576" y="9081"/>
                  </a:lnTo>
                  <a:cubicBezTo>
                    <a:pt x="5694" y="9149"/>
                    <a:pt x="5824" y="9183"/>
                    <a:pt x="5952" y="9183"/>
                  </a:cubicBezTo>
                  <a:cubicBezTo>
                    <a:pt x="6080" y="9183"/>
                    <a:pt x="6207" y="9149"/>
                    <a:pt x="6319" y="9081"/>
                  </a:cubicBezTo>
                  <a:lnTo>
                    <a:pt x="15488" y="3742"/>
                  </a:lnTo>
                  <a:cubicBezTo>
                    <a:pt x="15645" y="3652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1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3"/>
            <p:cNvSpPr/>
            <p:nvPr/>
          </p:nvSpPr>
          <p:spPr>
            <a:xfrm>
              <a:off x="1477660" y="1870508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0"/>
                    <a:pt x="9496" y="0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5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3"/>
            <p:cNvSpPr/>
            <p:nvPr/>
          </p:nvSpPr>
          <p:spPr>
            <a:xfrm>
              <a:off x="1477660" y="1865198"/>
              <a:ext cx="546593" cy="320913"/>
            </a:xfrm>
            <a:custGeom>
              <a:avLst/>
              <a:gdLst/>
              <a:ahLst/>
              <a:cxnLst/>
              <a:rect l="l" t="t" r="r" b="b"/>
              <a:pathLst>
                <a:path w="15646" h="9186" extrusionOk="0">
                  <a:moveTo>
                    <a:pt x="9615" y="0"/>
                  </a:moveTo>
                  <a:cubicBezTo>
                    <a:pt x="9507" y="0"/>
                    <a:pt x="9400" y="28"/>
                    <a:pt x="9304" y="85"/>
                  </a:cubicBezTo>
                  <a:lnTo>
                    <a:pt x="226" y="5345"/>
                  </a:lnTo>
                  <a:cubicBezTo>
                    <a:pt x="1" y="5480"/>
                    <a:pt x="1" y="5795"/>
                    <a:pt x="226" y="5930"/>
                  </a:cubicBezTo>
                  <a:lnTo>
                    <a:pt x="5576" y="9084"/>
                  </a:lnTo>
                  <a:cubicBezTo>
                    <a:pt x="5694" y="9152"/>
                    <a:pt x="5824" y="9185"/>
                    <a:pt x="5952" y="9185"/>
                  </a:cubicBezTo>
                  <a:cubicBezTo>
                    <a:pt x="6080" y="9185"/>
                    <a:pt x="6207" y="9152"/>
                    <a:pt x="6319" y="9084"/>
                  </a:cubicBezTo>
                  <a:lnTo>
                    <a:pt x="15488" y="3745"/>
                  </a:lnTo>
                  <a:cubicBezTo>
                    <a:pt x="15645" y="3655"/>
                    <a:pt x="15645" y="3430"/>
                    <a:pt x="15488" y="3340"/>
                  </a:cubicBezTo>
                  <a:lnTo>
                    <a:pt x="9935" y="85"/>
                  </a:lnTo>
                  <a:cubicBezTo>
                    <a:pt x="9834" y="28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3"/>
            <p:cNvSpPr/>
            <p:nvPr/>
          </p:nvSpPr>
          <p:spPr>
            <a:xfrm>
              <a:off x="1477660" y="1864220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8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13"/>
                  </a:lnTo>
                  <a:cubicBezTo>
                    <a:pt x="9732" y="0"/>
                    <a:pt x="9496" y="0"/>
                    <a:pt x="9304" y="113"/>
                  </a:cubicBezTo>
                  <a:lnTo>
                    <a:pt x="226" y="5373"/>
                  </a:lnTo>
                  <a:cubicBezTo>
                    <a:pt x="1" y="5508"/>
                    <a:pt x="1" y="5823"/>
                    <a:pt x="226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3"/>
            <p:cNvSpPr/>
            <p:nvPr/>
          </p:nvSpPr>
          <p:spPr>
            <a:xfrm>
              <a:off x="1531178" y="1898036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extrusionOk="0">
                  <a:moveTo>
                    <a:pt x="8752" y="1"/>
                  </a:moveTo>
                  <a:cubicBezTo>
                    <a:pt x="8628" y="170"/>
                    <a:pt x="8380" y="282"/>
                    <a:pt x="8088" y="282"/>
                  </a:cubicBezTo>
                  <a:cubicBezTo>
                    <a:pt x="7806" y="282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0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2"/>
                    <a:pt x="12311" y="2276"/>
                    <a:pt x="12469" y="2175"/>
                  </a:cubicBezTo>
                  <a:lnTo>
                    <a:pt x="8752" y="1"/>
                  </a:ln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3"/>
            <p:cNvSpPr/>
            <p:nvPr/>
          </p:nvSpPr>
          <p:spPr>
            <a:xfrm>
              <a:off x="1531178" y="1898036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fill="none" extrusionOk="0">
                  <a:moveTo>
                    <a:pt x="12199" y="2580"/>
                  </a:moveTo>
                  <a:cubicBezTo>
                    <a:pt x="12199" y="2422"/>
                    <a:pt x="12311" y="2276"/>
                    <a:pt x="12469" y="2175"/>
                  </a:cubicBezTo>
                  <a:lnTo>
                    <a:pt x="8752" y="1"/>
                  </a:lnTo>
                  <a:cubicBezTo>
                    <a:pt x="8628" y="170"/>
                    <a:pt x="8380" y="282"/>
                    <a:pt x="8088" y="282"/>
                  </a:cubicBezTo>
                  <a:cubicBezTo>
                    <a:pt x="7806" y="282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0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3"/>
            <p:cNvSpPr/>
            <p:nvPr/>
          </p:nvSpPr>
          <p:spPr>
            <a:xfrm>
              <a:off x="1671647" y="1958262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1"/>
                  </a:cubicBezTo>
                  <a:cubicBezTo>
                    <a:pt x="4911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3"/>
            <p:cNvSpPr/>
            <p:nvPr/>
          </p:nvSpPr>
          <p:spPr>
            <a:xfrm>
              <a:off x="1671647" y="1958262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fill="none" extrusionOk="0">
                  <a:moveTo>
                    <a:pt x="4911" y="1701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11" y="766"/>
                    <a:pt x="4911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3"/>
            <p:cNvSpPr/>
            <p:nvPr/>
          </p:nvSpPr>
          <p:spPr>
            <a:xfrm>
              <a:off x="1694878" y="1984602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0" y="1"/>
                  </a:moveTo>
                  <a:lnTo>
                    <a:pt x="68" y="113"/>
                  </a:lnTo>
                  <a:lnTo>
                    <a:pt x="282" y="237"/>
                  </a:lnTo>
                  <a:cubicBezTo>
                    <a:pt x="90" y="339"/>
                    <a:pt x="0" y="451"/>
                    <a:pt x="11" y="553"/>
                  </a:cubicBezTo>
                  <a:cubicBezTo>
                    <a:pt x="11" y="665"/>
                    <a:pt x="124" y="778"/>
                    <a:pt x="327" y="890"/>
                  </a:cubicBezTo>
                  <a:cubicBezTo>
                    <a:pt x="462" y="969"/>
                    <a:pt x="608" y="1026"/>
                    <a:pt x="777" y="1071"/>
                  </a:cubicBezTo>
                  <a:cubicBezTo>
                    <a:pt x="935" y="1104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5"/>
                    <a:pt x="2523" y="1251"/>
                    <a:pt x="2681" y="1330"/>
                  </a:cubicBezTo>
                  <a:cubicBezTo>
                    <a:pt x="2737" y="1363"/>
                    <a:pt x="2771" y="1397"/>
                    <a:pt x="2782" y="1420"/>
                  </a:cubicBezTo>
                  <a:cubicBezTo>
                    <a:pt x="2793" y="1442"/>
                    <a:pt x="2782" y="1465"/>
                    <a:pt x="2737" y="1487"/>
                  </a:cubicBezTo>
                  <a:cubicBezTo>
                    <a:pt x="2709" y="1499"/>
                    <a:pt x="2684" y="1504"/>
                    <a:pt x="2657" y="1504"/>
                  </a:cubicBezTo>
                  <a:cubicBezTo>
                    <a:pt x="2630" y="1504"/>
                    <a:pt x="2602" y="1499"/>
                    <a:pt x="2568" y="1487"/>
                  </a:cubicBezTo>
                  <a:cubicBezTo>
                    <a:pt x="2512" y="1476"/>
                    <a:pt x="2399" y="1409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5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5"/>
                    <a:pt x="3030" y="1758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2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7"/>
                    <a:pt x="2714" y="721"/>
                  </a:cubicBezTo>
                  <a:cubicBezTo>
                    <a:pt x="2579" y="688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4"/>
                    <a:pt x="1376" y="674"/>
                  </a:cubicBezTo>
                  <a:cubicBezTo>
                    <a:pt x="1278" y="674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4"/>
                  </a:cubicBezTo>
                  <a:cubicBezTo>
                    <a:pt x="755" y="451"/>
                    <a:pt x="766" y="429"/>
                    <a:pt x="811" y="406"/>
                  </a:cubicBezTo>
                  <a:cubicBezTo>
                    <a:pt x="837" y="400"/>
                    <a:pt x="863" y="393"/>
                    <a:pt x="891" y="393"/>
                  </a:cubicBezTo>
                  <a:cubicBezTo>
                    <a:pt x="912" y="393"/>
                    <a:pt x="934" y="397"/>
                    <a:pt x="957" y="406"/>
                  </a:cubicBezTo>
                  <a:cubicBezTo>
                    <a:pt x="1014" y="417"/>
                    <a:pt x="1093" y="462"/>
                    <a:pt x="1216" y="519"/>
                  </a:cubicBezTo>
                  <a:lnTo>
                    <a:pt x="1329" y="586"/>
                  </a:lnTo>
                  <a:lnTo>
                    <a:pt x="1971" y="327"/>
                  </a:lnTo>
                  <a:cubicBezTo>
                    <a:pt x="1915" y="293"/>
                    <a:pt x="1881" y="271"/>
                    <a:pt x="1847" y="248"/>
                  </a:cubicBezTo>
                  <a:cubicBezTo>
                    <a:pt x="1644" y="136"/>
                    <a:pt x="1442" y="68"/>
                    <a:pt x="1228" y="46"/>
                  </a:cubicBezTo>
                  <a:cubicBezTo>
                    <a:pt x="1174" y="40"/>
                    <a:pt x="1121" y="37"/>
                    <a:pt x="1067" y="37"/>
                  </a:cubicBezTo>
                  <a:cubicBezTo>
                    <a:pt x="906" y="37"/>
                    <a:pt x="743" y="63"/>
                    <a:pt x="574" y="113"/>
                  </a:cubicBezTo>
                  <a:lnTo>
                    <a:pt x="36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8" name="Google Shape;948;p33"/>
            <p:cNvSpPr/>
            <p:nvPr/>
          </p:nvSpPr>
          <p:spPr>
            <a:xfrm>
              <a:off x="1694878" y="1984602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1" y="327"/>
                  </a:moveTo>
                  <a:lnTo>
                    <a:pt x="1329" y="586"/>
                  </a:lnTo>
                  <a:lnTo>
                    <a:pt x="1216" y="519"/>
                  </a:lnTo>
                  <a:cubicBezTo>
                    <a:pt x="1093" y="462"/>
                    <a:pt x="1014" y="417"/>
                    <a:pt x="957" y="406"/>
                  </a:cubicBezTo>
                  <a:cubicBezTo>
                    <a:pt x="901" y="384"/>
                    <a:pt x="856" y="395"/>
                    <a:pt x="811" y="406"/>
                  </a:cubicBezTo>
                  <a:cubicBezTo>
                    <a:pt x="766" y="429"/>
                    <a:pt x="755" y="451"/>
                    <a:pt x="766" y="474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6"/>
                    <a:pt x="1442" y="676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8"/>
                    <a:pt x="2714" y="721"/>
                  </a:cubicBezTo>
                  <a:cubicBezTo>
                    <a:pt x="2861" y="767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2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8"/>
                  </a:lnTo>
                  <a:cubicBezTo>
                    <a:pt x="2838" y="1814"/>
                    <a:pt x="2613" y="1837"/>
                    <a:pt x="2365" y="1825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9"/>
                    <a:pt x="2512" y="1476"/>
                    <a:pt x="2568" y="1487"/>
                  </a:cubicBezTo>
                  <a:cubicBezTo>
                    <a:pt x="2636" y="1510"/>
                    <a:pt x="2681" y="1510"/>
                    <a:pt x="2737" y="1487"/>
                  </a:cubicBezTo>
                  <a:cubicBezTo>
                    <a:pt x="2782" y="1465"/>
                    <a:pt x="2793" y="1442"/>
                    <a:pt x="2782" y="1420"/>
                  </a:cubicBezTo>
                  <a:cubicBezTo>
                    <a:pt x="2771" y="1397"/>
                    <a:pt x="2737" y="1363"/>
                    <a:pt x="2681" y="1330"/>
                  </a:cubicBezTo>
                  <a:cubicBezTo>
                    <a:pt x="2523" y="1251"/>
                    <a:pt x="2410" y="1195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4"/>
                    <a:pt x="777" y="1071"/>
                  </a:cubicBezTo>
                  <a:cubicBezTo>
                    <a:pt x="608" y="1026"/>
                    <a:pt x="462" y="969"/>
                    <a:pt x="327" y="890"/>
                  </a:cubicBezTo>
                  <a:cubicBezTo>
                    <a:pt x="124" y="778"/>
                    <a:pt x="11" y="665"/>
                    <a:pt x="11" y="553"/>
                  </a:cubicBezTo>
                  <a:cubicBezTo>
                    <a:pt x="0" y="451"/>
                    <a:pt x="90" y="339"/>
                    <a:pt x="282" y="237"/>
                  </a:cubicBezTo>
                  <a:lnTo>
                    <a:pt x="68" y="113"/>
                  </a:lnTo>
                  <a:lnTo>
                    <a:pt x="360" y="1"/>
                  </a:lnTo>
                  <a:lnTo>
                    <a:pt x="574" y="113"/>
                  </a:lnTo>
                  <a:cubicBezTo>
                    <a:pt x="800" y="46"/>
                    <a:pt x="1014" y="23"/>
                    <a:pt x="1228" y="46"/>
                  </a:cubicBezTo>
                  <a:cubicBezTo>
                    <a:pt x="1442" y="68"/>
                    <a:pt x="1644" y="136"/>
                    <a:pt x="1847" y="248"/>
                  </a:cubicBezTo>
                  <a:cubicBezTo>
                    <a:pt x="1881" y="271"/>
                    <a:pt x="1915" y="293"/>
                    <a:pt x="1971" y="32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3"/>
            <p:cNvSpPr/>
            <p:nvPr/>
          </p:nvSpPr>
          <p:spPr>
            <a:xfrm>
              <a:off x="1628364" y="2071553"/>
              <a:ext cx="41363" cy="28786"/>
            </a:xfrm>
            <a:custGeom>
              <a:avLst/>
              <a:gdLst/>
              <a:ahLst/>
              <a:cxnLst/>
              <a:rect l="l" t="t" r="r" b="b"/>
              <a:pathLst>
                <a:path w="1184" h="824" extrusionOk="0">
                  <a:moveTo>
                    <a:pt x="597" y="1"/>
                  </a:moveTo>
                  <a:cubicBezTo>
                    <a:pt x="271" y="1"/>
                    <a:pt x="1" y="181"/>
                    <a:pt x="1" y="406"/>
                  </a:cubicBezTo>
                  <a:cubicBezTo>
                    <a:pt x="1" y="632"/>
                    <a:pt x="271" y="823"/>
                    <a:pt x="597" y="823"/>
                  </a:cubicBezTo>
                  <a:cubicBezTo>
                    <a:pt x="924" y="823"/>
                    <a:pt x="1183" y="632"/>
                    <a:pt x="1183" y="406"/>
                  </a:cubicBezTo>
                  <a:cubicBezTo>
                    <a:pt x="1183" y="181"/>
                    <a:pt x="924" y="1"/>
                    <a:pt x="59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3"/>
            <p:cNvSpPr/>
            <p:nvPr/>
          </p:nvSpPr>
          <p:spPr>
            <a:xfrm>
              <a:off x="1843592" y="1946035"/>
              <a:ext cx="41363" cy="28786"/>
            </a:xfrm>
            <a:custGeom>
              <a:avLst/>
              <a:gdLst/>
              <a:ahLst/>
              <a:cxnLst/>
              <a:rect l="l" t="t" r="r" b="b"/>
              <a:pathLst>
                <a:path w="1184" h="824" extrusionOk="0">
                  <a:moveTo>
                    <a:pt x="598" y="1"/>
                  </a:moveTo>
                  <a:cubicBezTo>
                    <a:pt x="260" y="1"/>
                    <a:pt x="1" y="181"/>
                    <a:pt x="1" y="406"/>
                  </a:cubicBezTo>
                  <a:cubicBezTo>
                    <a:pt x="1" y="632"/>
                    <a:pt x="260" y="823"/>
                    <a:pt x="598" y="823"/>
                  </a:cubicBezTo>
                  <a:cubicBezTo>
                    <a:pt x="924" y="823"/>
                    <a:pt x="1183" y="632"/>
                    <a:pt x="1183" y="406"/>
                  </a:cubicBezTo>
                  <a:cubicBezTo>
                    <a:pt x="1183" y="181"/>
                    <a:pt x="924" y="1"/>
                    <a:pt x="59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3"/>
            <p:cNvSpPr/>
            <p:nvPr/>
          </p:nvSpPr>
          <p:spPr>
            <a:xfrm>
              <a:off x="1477660" y="1842072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1"/>
                  </a:moveTo>
                  <a:cubicBezTo>
                    <a:pt x="9507" y="1"/>
                    <a:pt x="9400" y="32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4"/>
                    <a:pt x="226" y="5928"/>
                  </a:cubicBezTo>
                  <a:lnTo>
                    <a:pt x="5576" y="9082"/>
                  </a:lnTo>
                  <a:cubicBezTo>
                    <a:pt x="5694" y="9149"/>
                    <a:pt x="5824" y="9183"/>
                    <a:pt x="5952" y="9183"/>
                  </a:cubicBezTo>
                  <a:cubicBezTo>
                    <a:pt x="6080" y="9183"/>
                    <a:pt x="6207" y="9149"/>
                    <a:pt x="6319" y="9082"/>
                  </a:cubicBezTo>
                  <a:lnTo>
                    <a:pt x="15488" y="3743"/>
                  </a:lnTo>
                  <a:cubicBezTo>
                    <a:pt x="15645" y="3653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2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3"/>
            <p:cNvSpPr/>
            <p:nvPr/>
          </p:nvSpPr>
          <p:spPr>
            <a:xfrm>
              <a:off x="1477660" y="1840989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3"/>
                  </a:lnTo>
                  <a:cubicBezTo>
                    <a:pt x="5813" y="9248"/>
                    <a:pt x="6094" y="9248"/>
                    <a:pt x="6319" y="9113"/>
                  </a:cubicBezTo>
                  <a:lnTo>
                    <a:pt x="15488" y="3774"/>
                  </a:lnTo>
                  <a:cubicBezTo>
                    <a:pt x="15645" y="3684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1"/>
                    <a:pt x="9496" y="1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5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3"/>
            <p:cNvSpPr/>
            <p:nvPr/>
          </p:nvSpPr>
          <p:spPr>
            <a:xfrm>
              <a:off x="1477660" y="1835679"/>
              <a:ext cx="546593" cy="320913"/>
            </a:xfrm>
            <a:custGeom>
              <a:avLst/>
              <a:gdLst/>
              <a:ahLst/>
              <a:cxnLst/>
              <a:rect l="l" t="t" r="r" b="b"/>
              <a:pathLst>
                <a:path w="15646" h="9186" extrusionOk="0">
                  <a:moveTo>
                    <a:pt x="9615" y="1"/>
                  </a:moveTo>
                  <a:cubicBezTo>
                    <a:pt x="9507" y="1"/>
                    <a:pt x="9400" y="29"/>
                    <a:pt x="9304" y="85"/>
                  </a:cubicBezTo>
                  <a:lnTo>
                    <a:pt x="226" y="5345"/>
                  </a:lnTo>
                  <a:cubicBezTo>
                    <a:pt x="1" y="5480"/>
                    <a:pt x="1" y="5795"/>
                    <a:pt x="226" y="5931"/>
                  </a:cubicBezTo>
                  <a:lnTo>
                    <a:pt x="5576" y="9084"/>
                  </a:lnTo>
                  <a:cubicBezTo>
                    <a:pt x="5694" y="9152"/>
                    <a:pt x="5824" y="9186"/>
                    <a:pt x="5952" y="9186"/>
                  </a:cubicBezTo>
                  <a:cubicBezTo>
                    <a:pt x="6080" y="9186"/>
                    <a:pt x="6207" y="9152"/>
                    <a:pt x="6319" y="9084"/>
                  </a:cubicBezTo>
                  <a:lnTo>
                    <a:pt x="15488" y="3746"/>
                  </a:lnTo>
                  <a:cubicBezTo>
                    <a:pt x="15645" y="3655"/>
                    <a:pt x="15645" y="3430"/>
                    <a:pt x="15488" y="3340"/>
                  </a:cubicBezTo>
                  <a:lnTo>
                    <a:pt x="9935" y="85"/>
                  </a:lnTo>
                  <a:cubicBezTo>
                    <a:pt x="9834" y="29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3"/>
            <p:cNvSpPr/>
            <p:nvPr/>
          </p:nvSpPr>
          <p:spPr>
            <a:xfrm>
              <a:off x="1477660" y="1834701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4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13"/>
                  </a:lnTo>
                  <a:cubicBezTo>
                    <a:pt x="9732" y="0"/>
                    <a:pt x="9496" y="0"/>
                    <a:pt x="9304" y="113"/>
                  </a:cubicBezTo>
                  <a:lnTo>
                    <a:pt x="226" y="5373"/>
                  </a:lnTo>
                  <a:cubicBezTo>
                    <a:pt x="1" y="5508"/>
                    <a:pt x="1" y="5823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3"/>
            <p:cNvSpPr/>
            <p:nvPr/>
          </p:nvSpPr>
          <p:spPr>
            <a:xfrm>
              <a:off x="1531178" y="1868517"/>
              <a:ext cx="437980" cy="255829"/>
            </a:xfrm>
            <a:custGeom>
              <a:avLst/>
              <a:gdLst/>
              <a:ahLst/>
              <a:cxnLst/>
              <a:rect l="l" t="t" r="r" b="b"/>
              <a:pathLst>
                <a:path w="12537" h="7323" extrusionOk="0">
                  <a:moveTo>
                    <a:pt x="8752" y="1"/>
                  </a:moveTo>
                  <a:cubicBezTo>
                    <a:pt x="8628" y="170"/>
                    <a:pt x="8380" y="283"/>
                    <a:pt x="8088" y="283"/>
                  </a:cubicBezTo>
                  <a:cubicBezTo>
                    <a:pt x="7806" y="283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1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20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3"/>
                    <a:pt x="12311" y="2276"/>
                    <a:pt x="12469" y="2175"/>
                  </a:cubicBezTo>
                  <a:lnTo>
                    <a:pt x="8752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3"/>
            <p:cNvSpPr/>
            <p:nvPr/>
          </p:nvSpPr>
          <p:spPr>
            <a:xfrm>
              <a:off x="1531178" y="1868517"/>
              <a:ext cx="437980" cy="255829"/>
            </a:xfrm>
            <a:custGeom>
              <a:avLst/>
              <a:gdLst/>
              <a:ahLst/>
              <a:cxnLst/>
              <a:rect l="l" t="t" r="r" b="b"/>
              <a:pathLst>
                <a:path w="12537" h="7323" fill="none" extrusionOk="0">
                  <a:moveTo>
                    <a:pt x="12199" y="2580"/>
                  </a:moveTo>
                  <a:cubicBezTo>
                    <a:pt x="12199" y="2423"/>
                    <a:pt x="12311" y="2276"/>
                    <a:pt x="12469" y="2175"/>
                  </a:cubicBezTo>
                  <a:lnTo>
                    <a:pt x="8752" y="1"/>
                  </a:lnTo>
                  <a:cubicBezTo>
                    <a:pt x="8628" y="170"/>
                    <a:pt x="8380" y="283"/>
                    <a:pt x="8088" y="283"/>
                  </a:cubicBezTo>
                  <a:cubicBezTo>
                    <a:pt x="7806" y="283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1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20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3"/>
            <p:cNvSpPr/>
            <p:nvPr/>
          </p:nvSpPr>
          <p:spPr>
            <a:xfrm>
              <a:off x="1671647" y="1928743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1"/>
                  </a:cubicBezTo>
                  <a:cubicBezTo>
                    <a:pt x="4911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" name="Google Shape;958;p33"/>
            <p:cNvSpPr/>
            <p:nvPr/>
          </p:nvSpPr>
          <p:spPr>
            <a:xfrm>
              <a:off x="1671647" y="1928743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fill="none" extrusionOk="0">
                  <a:moveTo>
                    <a:pt x="4911" y="1701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11" y="766"/>
                    <a:pt x="4911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3"/>
            <p:cNvSpPr/>
            <p:nvPr/>
          </p:nvSpPr>
          <p:spPr>
            <a:xfrm>
              <a:off x="1694878" y="1955083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0" y="1"/>
                  </a:moveTo>
                  <a:lnTo>
                    <a:pt x="68" y="114"/>
                  </a:lnTo>
                  <a:lnTo>
                    <a:pt x="282" y="237"/>
                  </a:lnTo>
                  <a:cubicBezTo>
                    <a:pt x="90" y="339"/>
                    <a:pt x="0" y="451"/>
                    <a:pt x="11" y="553"/>
                  </a:cubicBezTo>
                  <a:cubicBezTo>
                    <a:pt x="11" y="665"/>
                    <a:pt x="124" y="778"/>
                    <a:pt x="327" y="891"/>
                  </a:cubicBezTo>
                  <a:cubicBezTo>
                    <a:pt x="462" y="970"/>
                    <a:pt x="608" y="1026"/>
                    <a:pt x="777" y="1071"/>
                  </a:cubicBezTo>
                  <a:cubicBezTo>
                    <a:pt x="935" y="1105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5"/>
                    <a:pt x="2523" y="1251"/>
                    <a:pt x="2681" y="1330"/>
                  </a:cubicBezTo>
                  <a:cubicBezTo>
                    <a:pt x="2737" y="1364"/>
                    <a:pt x="2771" y="1398"/>
                    <a:pt x="2782" y="1420"/>
                  </a:cubicBezTo>
                  <a:cubicBezTo>
                    <a:pt x="2793" y="1443"/>
                    <a:pt x="2782" y="1465"/>
                    <a:pt x="2737" y="1488"/>
                  </a:cubicBezTo>
                  <a:cubicBezTo>
                    <a:pt x="2709" y="1499"/>
                    <a:pt x="2684" y="1505"/>
                    <a:pt x="2657" y="1505"/>
                  </a:cubicBezTo>
                  <a:cubicBezTo>
                    <a:pt x="2630" y="1505"/>
                    <a:pt x="2602" y="1499"/>
                    <a:pt x="2568" y="1488"/>
                  </a:cubicBezTo>
                  <a:cubicBezTo>
                    <a:pt x="2512" y="1476"/>
                    <a:pt x="2399" y="1409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6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5"/>
                    <a:pt x="3030" y="1758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3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7"/>
                    <a:pt x="2714" y="722"/>
                  </a:cubicBezTo>
                  <a:cubicBezTo>
                    <a:pt x="2579" y="688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4"/>
                    <a:pt x="1376" y="674"/>
                  </a:cubicBezTo>
                  <a:cubicBezTo>
                    <a:pt x="1278" y="674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4"/>
                  </a:cubicBezTo>
                  <a:cubicBezTo>
                    <a:pt x="755" y="451"/>
                    <a:pt x="766" y="429"/>
                    <a:pt x="811" y="406"/>
                  </a:cubicBezTo>
                  <a:cubicBezTo>
                    <a:pt x="837" y="400"/>
                    <a:pt x="863" y="393"/>
                    <a:pt x="891" y="393"/>
                  </a:cubicBezTo>
                  <a:cubicBezTo>
                    <a:pt x="912" y="393"/>
                    <a:pt x="934" y="397"/>
                    <a:pt x="957" y="406"/>
                  </a:cubicBezTo>
                  <a:cubicBezTo>
                    <a:pt x="1014" y="418"/>
                    <a:pt x="1093" y="463"/>
                    <a:pt x="1216" y="519"/>
                  </a:cubicBezTo>
                  <a:lnTo>
                    <a:pt x="1329" y="587"/>
                  </a:lnTo>
                  <a:lnTo>
                    <a:pt x="1971" y="328"/>
                  </a:lnTo>
                  <a:cubicBezTo>
                    <a:pt x="1915" y="294"/>
                    <a:pt x="1881" y="271"/>
                    <a:pt x="1847" y="249"/>
                  </a:cubicBezTo>
                  <a:cubicBezTo>
                    <a:pt x="1644" y="136"/>
                    <a:pt x="1442" y="68"/>
                    <a:pt x="1228" y="46"/>
                  </a:cubicBezTo>
                  <a:cubicBezTo>
                    <a:pt x="1174" y="40"/>
                    <a:pt x="1121" y="38"/>
                    <a:pt x="1067" y="38"/>
                  </a:cubicBezTo>
                  <a:cubicBezTo>
                    <a:pt x="906" y="38"/>
                    <a:pt x="743" y="63"/>
                    <a:pt x="574" y="114"/>
                  </a:cubicBezTo>
                  <a:lnTo>
                    <a:pt x="360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3"/>
            <p:cNvSpPr/>
            <p:nvPr/>
          </p:nvSpPr>
          <p:spPr>
            <a:xfrm>
              <a:off x="1694878" y="1955083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1" y="328"/>
                  </a:moveTo>
                  <a:lnTo>
                    <a:pt x="1329" y="587"/>
                  </a:lnTo>
                  <a:lnTo>
                    <a:pt x="1216" y="519"/>
                  </a:lnTo>
                  <a:cubicBezTo>
                    <a:pt x="1093" y="463"/>
                    <a:pt x="1014" y="418"/>
                    <a:pt x="957" y="406"/>
                  </a:cubicBezTo>
                  <a:cubicBezTo>
                    <a:pt x="901" y="384"/>
                    <a:pt x="856" y="395"/>
                    <a:pt x="811" y="406"/>
                  </a:cubicBezTo>
                  <a:cubicBezTo>
                    <a:pt x="766" y="429"/>
                    <a:pt x="755" y="451"/>
                    <a:pt x="766" y="474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7"/>
                    <a:pt x="1442" y="677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8"/>
                    <a:pt x="2714" y="722"/>
                  </a:cubicBezTo>
                  <a:cubicBezTo>
                    <a:pt x="2861" y="767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3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8"/>
                  </a:lnTo>
                  <a:cubicBezTo>
                    <a:pt x="2838" y="1814"/>
                    <a:pt x="2613" y="1837"/>
                    <a:pt x="2365" y="1826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9"/>
                    <a:pt x="2512" y="1476"/>
                    <a:pt x="2568" y="1488"/>
                  </a:cubicBezTo>
                  <a:cubicBezTo>
                    <a:pt x="2636" y="1510"/>
                    <a:pt x="2681" y="1510"/>
                    <a:pt x="2737" y="1488"/>
                  </a:cubicBezTo>
                  <a:cubicBezTo>
                    <a:pt x="2782" y="1465"/>
                    <a:pt x="2793" y="1443"/>
                    <a:pt x="2782" y="1420"/>
                  </a:cubicBezTo>
                  <a:cubicBezTo>
                    <a:pt x="2771" y="1398"/>
                    <a:pt x="2737" y="1364"/>
                    <a:pt x="2681" y="1330"/>
                  </a:cubicBezTo>
                  <a:cubicBezTo>
                    <a:pt x="2523" y="1251"/>
                    <a:pt x="2410" y="1195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5"/>
                    <a:pt x="777" y="1071"/>
                  </a:cubicBezTo>
                  <a:cubicBezTo>
                    <a:pt x="608" y="1026"/>
                    <a:pt x="462" y="970"/>
                    <a:pt x="327" y="891"/>
                  </a:cubicBezTo>
                  <a:cubicBezTo>
                    <a:pt x="124" y="778"/>
                    <a:pt x="11" y="665"/>
                    <a:pt x="11" y="553"/>
                  </a:cubicBezTo>
                  <a:cubicBezTo>
                    <a:pt x="0" y="451"/>
                    <a:pt x="90" y="339"/>
                    <a:pt x="282" y="237"/>
                  </a:cubicBezTo>
                  <a:lnTo>
                    <a:pt x="68" y="114"/>
                  </a:lnTo>
                  <a:lnTo>
                    <a:pt x="360" y="1"/>
                  </a:lnTo>
                  <a:lnTo>
                    <a:pt x="574" y="114"/>
                  </a:lnTo>
                  <a:cubicBezTo>
                    <a:pt x="800" y="46"/>
                    <a:pt x="1014" y="23"/>
                    <a:pt x="1228" y="46"/>
                  </a:cubicBezTo>
                  <a:cubicBezTo>
                    <a:pt x="1442" y="68"/>
                    <a:pt x="1644" y="136"/>
                    <a:pt x="1847" y="249"/>
                  </a:cubicBezTo>
                  <a:cubicBezTo>
                    <a:pt x="1881" y="271"/>
                    <a:pt x="1915" y="294"/>
                    <a:pt x="1971" y="32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3"/>
            <p:cNvSpPr/>
            <p:nvPr/>
          </p:nvSpPr>
          <p:spPr>
            <a:xfrm>
              <a:off x="1628364" y="2042069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7" y="0"/>
                  </a:moveTo>
                  <a:cubicBezTo>
                    <a:pt x="271" y="0"/>
                    <a:pt x="1" y="180"/>
                    <a:pt x="1" y="406"/>
                  </a:cubicBezTo>
                  <a:cubicBezTo>
                    <a:pt x="1" y="631"/>
                    <a:pt x="271" y="822"/>
                    <a:pt x="597" y="822"/>
                  </a:cubicBezTo>
                  <a:cubicBezTo>
                    <a:pt x="924" y="822"/>
                    <a:pt x="1183" y="631"/>
                    <a:pt x="1183" y="406"/>
                  </a:cubicBezTo>
                  <a:cubicBezTo>
                    <a:pt x="1183" y="180"/>
                    <a:pt x="924" y="0"/>
                    <a:pt x="5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3"/>
            <p:cNvSpPr/>
            <p:nvPr/>
          </p:nvSpPr>
          <p:spPr>
            <a:xfrm>
              <a:off x="1843592" y="1916551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8" y="0"/>
                  </a:moveTo>
                  <a:cubicBezTo>
                    <a:pt x="260" y="0"/>
                    <a:pt x="1" y="180"/>
                    <a:pt x="1" y="406"/>
                  </a:cubicBezTo>
                  <a:cubicBezTo>
                    <a:pt x="1" y="631"/>
                    <a:pt x="260" y="822"/>
                    <a:pt x="598" y="822"/>
                  </a:cubicBezTo>
                  <a:cubicBezTo>
                    <a:pt x="924" y="822"/>
                    <a:pt x="1183" y="631"/>
                    <a:pt x="1183" y="406"/>
                  </a:cubicBezTo>
                  <a:cubicBezTo>
                    <a:pt x="1183" y="180"/>
                    <a:pt x="924" y="0"/>
                    <a:pt x="59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3" name="Google Shape;963;p33"/>
          <p:cNvGrpSpPr/>
          <p:nvPr/>
        </p:nvGrpSpPr>
        <p:grpSpPr>
          <a:xfrm>
            <a:off x="1051028" y="1240410"/>
            <a:ext cx="1226139" cy="1052197"/>
            <a:chOff x="3337647" y="-19723"/>
            <a:chExt cx="543453" cy="466358"/>
          </a:xfrm>
        </p:grpSpPr>
        <p:grpSp>
          <p:nvGrpSpPr>
            <p:cNvPr id="964" name="Google Shape;964;p33"/>
            <p:cNvGrpSpPr/>
            <p:nvPr/>
          </p:nvGrpSpPr>
          <p:grpSpPr>
            <a:xfrm>
              <a:off x="3337647" y="-19723"/>
              <a:ext cx="543453" cy="466358"/>
              <a:chOff x="3670072" y="965127"/>
              <a:chExt cx="543453" cy="466358"/>
            </a:xfrm>
          </p:grpSpPr>
          <p:sp>
            <p:nvSpPr>
              <p:cNvPr id="965" name="Google Shape;965;p33"/>
              <p:cNvSpPr/>
              <p:nvPr/>
            </p:nvSpPr>
            <p:spPr>
              <a:xfrm>
                <a:off x="3670077" y="1171687"/>
                <a:ext cx="543449" cy="259798"/>
              </a:xfrm>
              <a:custGeom>
                <a:avLst/>
                <a:gdLst/>
                <a:ahLst/>
                <a:cxnLst/>
                <a:rect l="l" t="t" r="r" b="b"/>
                <a:pathLst>
                  <a:path w="15556" h="6748" extrusionOk="0">
                    <a:moveTo>
                      <a:pt x="23" y="1"/>
                    </a:moveTo>
                    <a:cubicBezTo>
                      <a:pt x="35" y="46"/>
                      <a:pt x="35" y="80"/>
                      <a:pt x="46" y="125"/>
                    </a:cubicBezTo>
                    <a:cubicBezTo>
                      <a:pt x="12" y="249"/>
                      <a:pt x="1" y="372"/>
                      <a:pt x="1" y="508"/>
                    </a:cubicBezTo>
                    <a:cubicBezTo>
                      <a:pt x="1" y="586"/>
                      <a:pt x="1" y="654"/>
                      <a:pt x="12" y="733"/>
                    </a:cubicBezTo>
                    <a:lnTo>
                      <a:pt x="1" y="1397"/>
                    </a:lnTo>
                    <a:cubicBezTo>
                      <a:pt x="1" y="1454"/>
                      <a:pt x="1" y="1499"/>
                      <a:pt x="1" y="1544"/>
                    </a:cubicBezTo>
                    <a:cubicBezTo>
                      <a:pt x="1" y="1916"/>
                      <a:pt x="125" y="2265"/>
                      <a:pt x="361" y="2569"/>
                    </a:cubicBezTo>
                    <a:cubicBezTo>
                      <a:pt x="372" y="2580"/>
                      <a:pt x="384" y="2591"/>
                      <a:pt x="395" y="2614"/>
                    </a:cubicBezTo>
                    <a:cubicBezTo>
                      <a:pt x="936" y="3290"/>
                      <a:pt x="1983" y="3740"/>
                      <a:pt x="3177" y="3740"/>
                    </a:cubicBezTo>
                    <a:cubicBezTo>
                      <a:pt x="3898" y="3740"/>
                      <a:pt x="4551" y="3582"/>
                      <a:pt x="5092" y="3301"/>
                    </a:cubicBezTo>
                    <a:lnTo>
                      <a:pt x="5092" y="3301"/>
                    </a:lnTo>
                    <a:cubicBezTo>
                      <a:pt x="5081" y="3368"/>
                      <a:pt x="5069" y="3436"/>
                      <a:pt x="5069" y="3504"/>
                    </a:cubicBezTo>
                    <a:cubicBezTo>
                      <a:pt x="5069" y="3582"/>
                      <a:pt x="5081" y="3661"/>
                      <a:pt x="5092" y="3740"/>
                    </a:cubicBezTo>
                    <a:lnTo>
                      <a:pt x="5081" y="4405"/>
                    </a:lnTo>
                    <a:cubicBezTo>
                      <a:pt x="5081" y="4450"/>
                      <a:pt x="5069" y="4506"/>
                      <a:pt x="5069" y="4551"/>
                    </a:cubicBezTo>
                    <a:cubicBezTo>
                      <a:pt x="5069" y="4698"/>
                      <a:pt x="5092" y="4844"/>
                      <a:pt x="5137" y="4990"/>
                    </a:cubicBezTo>
                    <a:cubicBezTo>
                      <a:pt x="5430" y="5993"/>
                      <a:pt x="6714" y="6747"/>
                      <a:pt x="8257" y="6747"/>
                    </a:cubicBezTo>
                    <a:cubicBezTo>
                      <a:pt x="9000" y="6747"/>
                      <a:pt x="9687" y="6567"/>
                      <a:pt x="10239" y="6274"/>
                    </a:cubicBezTo>
                    <a:cubicBezTo>
                      <a:pt x="10262" y="6252"/>
                      <a:pt x="10295" y="6241"/>
                      <a:pt x="10318" y="6218"/>
                    </a:cubicBezTo>
                    <a:cubicBezTo>
                      <a:pt x="10611" y="6049"/>
                      <a:pt x="10847" y="5846"/>
                      <a:pt x="11039" y="5610"/>
                    </a:cubicBezTo>
                    <a:cubicBezTo>
                      <a:pt x="11050" y="5599"/>
                      <a:pt x="11061" y="5587"/>
                      <a:pt x="11073" y="5576"/>
                    </a:cubicBezTo>
                    <a:cubicBezTo>
                      <a:pt x="11208" y="5396"/>
                      <a:pt x="11309" y="5193"/>
                      <a:pt x="11365" y="4990"/>
                    </a:cubicBezTo>
                    <a:cubicBezTo>
                      <a:pt x="11411" y="4844"/>
                      <a:pt x="11433" y="4698"/>
                      <a:pt x="11433" y="4551"/>
                    </a:cubicBezTo>
                    <a:lnTo>
                      <a:pt x="11433" y="4258"/>
                    </a:lnTo>
                    <a:cubicBezTo>
                      <a:pt x="11726" y="4326"/>
                      <a:pt x="12041" y="4360"/>
                      <a:pt x="12368" y="4360"/>
                    </a:cubicBezTo>
                    <a:cubicBezTo>
                      <a:pt x="13123" y="4360"/>
                      <a:pt x="13810" y="4179"/>
                      <a:pt x="14350" y="3875"/>
                    </a:cubicBezTo>
                    <a:cubicBezTo>
                      <a:pt x="14384" y="3864"/>
                      <a:pt x="14407" y="3842"/>
                      <a:pt x="14440" y="3830"/>
                    </a:cubicBezTo>
                    <a:cubicBezTo>
                      <a:pt x="14722" y="3661"/>
                      <a:pt x="14970" y="3447"/>
                      <a:pt x="15150" y="3222"/>
                    </a:cubicBezTo>
                    <a:cubicBezTo>
                      <a:pt x="15161" y="3211"/>
                      <a:pt x="15172" y="3188"/>
                      <a:pt x="15184" y="3177"/>
                    </a:cubicBezTo>
                    <a:cubicBezTo>
                      <a:pt x="15319" y="2997"/>
                      <a:pt x="15432" y="2805"/>
                      <a:pt x="15488" y="2603"/>
                    </a:cubicBezTo>
                    <a:cubicBezTo>
                      <a:pt x="15533" y="2456"/>
                      <a:pt x="15555" y="2310"/>
                      <a:pt x="15555" y="2152"/>
                    </a:cubicBezTo>
                    <a:lnTo>
                      <a:pt x="15555" y="1116"/>
                    </a:lnTo>
                    <a:cubicBezTo>
                      <a:pt x="15555" y="981"/>
                      <a:pt x="15533" y="857"/>
                      <a:pt x="15499" y="733"/>
                    </a:cubicBezTo>
                    <a:cubicBezTo>
                      <a:pt x="15533" y="609"/>
                      <a:pt x="15555" y="485"/>
                      <a:pt x="15555" y="350"/>
                    </a:cubicBezTo>
                    <a:lnTo>
                      <a:pt x="15555" y="1"/>
                    </a:lnTo>
                    <a:close/>
                  </a:path>
                </a:pathLst>
              </a:custGeom>
              <a:solidFill>
                <a:srgbClr val="000000">
                  <a:alpha val="126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6" name="Google Shape;966;p33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lnTo>
                      <a:pt x="5981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7" name="Google Shape;967;p33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" name="Google Shape;968;p33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fill="none" extrusionOk="0">
                    <a:moveTo>
                      <a:pt x="5981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" name="Google Shape;969;p33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" name="Google Shape;970;p33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64" y="3413"/>
                      <a:pt x="6364" y="2197"/>
                    </a:cubicBezTo>
                    <a:cubicBezTo>
                      <a:pt x="6364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" name="Google Shape;971;p33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" name="Google Shape;972;p33"/>
              <p:cNvSpPr/>
              <p:nvPr/>
            </p:nvSpPr>
            <p:spPr>
              <a:xfrm>
                <a:off x="4102903" y="127478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cubicBezTo>
                      <a:pt x="0" y="1003"/>
                      <a:pt x="0" y="981"/>
                      <a:pt x="0" y="947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" name="Google Shape;973;p33"/>
              <p:cNvSpPr/>
              <p:nvPr/>
            </p:nvSpPr>
            <p:spPr>
              <a:xfrm>
                <a:off x="4078100" y="127244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" name="Google Shape;974;p33"/>
              <p:cNvSpPr/>
              <p:nvPr/>
            </p:nvSpPr>
            <p:spPr>
              <a:xfrm>
                <a:off x="4055288" y="126730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5" name="Google Shape;975;p33"/>
              <p:cNvSpPr/>
              <p:nvPr/>
            </p:nvSpPr>
            <p:spPr>
              <a:xfrm>
                <a:off x="4034048" y="125864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6" name="Google Shape;976;p33"/>
              <p:cNvSpPr/>
              <p:nvPr/>
            </p:nvSpPr>
            <p:spPr>
              <a:xfrm>
                <a:off x="4016337" y="124645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7" name="Google Shape;977;p33"/>
              <p:cNvSpPr/>
              <p:nvPr/>
            </p:nvSpPr>
            <p:spPr>
              <a:xfrm>
                <a:off x="3999813" y="122639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8" name="Google Shape;978;p33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23" y="2647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9" name="Google Shape;979;p33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0" name="Google Shape;980;p33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37"/>
                    </a:lnTo>
                    <a:cubicBezTo>
                      <a:pt x="90" y="350"/>
                      <a:pt x="0" y="451"/>
                      <a:pt x="11" y="564"/>
                    </a:cubicBezTo>
                    <a:cubicBezTo>
                      <a:pt x="11" y="665"/>
                      <a:pt x="124" y="778"/>
                      <a:pt x="327" y="891"/>
                    </a:cubicBezTo>
                    <a:cubicBezTo>
                      <a:pt x="462" y="969"/>
                      <a:pt x="620" y="1026"/>
                      <a:pt x="777" y="1071"/>
                    </a:cubicBezTo>
                    <a:cubicBezTo>
                      <a:pt x="935" y="1105"/>
                      <a:pt x="1081" y="1138"/>
                      <a:pt x="1216" y="1138"/>
                    </a:cubicBezTo>
                    <a:cubicBezTo>
                      <a:pt x="1352" y="1138"/>
                      <a:pt x="1577" y="1138"/>
                      <a:pt x="1904" y="1127"/>
                    </a:cubicBezTo>
                    <a:cubicBezTo>
                      <a:pt x="2095" y="1127"/>
                      <a:pt x="2241" y="1138"/>
                      <a:pt x="2320" y="1161"/>
                    </a:cubicBezTo>
                    <a:cubicBezTo>
                      <a:pt x="2410" y="1195"/>
                      <a:pt x="2534" y="1251"/>
                      <a:pt x="2681" y="1330"/>
                    </a:cubicBezTo>
                    <a:cubicBezTo>
                      <a:pt x="2737" y="1364"/>
                      <a:pt x="2782" y="1397"/>
                      <a:pt x="2782" y="1420"/>
                    </a:cubicBezTo>
                    <a:cubicBezTo>
                      <a:pt x="2793" y="1454"/>
                      <a:pt x="2782" y="1476"/>
                      <a:pt x="2737" y="1487"/>
                    </a:cubicBezTo>
                    <a:cubicBezTo>
                      <a:pt x="2709" y="1499"/>
                      <a:pt x="2684" y="1504"/>
                      <a:pt x="2658" y="1504"/>
                    </a:cubicBezTo>
                    <a:cubicBezTo>
                      <a:pt x="2633" y="1504"/>
                      <a:pt x="2608" y="1499"/>
                      <a:pt x="2579" y="1487"/>
                    </a:cubicBezTo>
                    <a:cubicBezTo>
                      <a:pt x="2512" y="1476"/>
                      <a:pt x="2399" y="1409"/>
                      <a:pt x="2219" y="1307"/>
                    </a:cubicBezTo>
                    <a:lnTo>
                      <a:pt x="2050" y="1217"/>
                    </a:lnTo>
                    <a:lnTo>
                      <a:pt x="1408" y="1487"/>
                    </a:lnTo>
                    <a:lnTo>
                      <a:pt x="1543" y="1555"/>
                    </a:lnTo>
                    <a:cubicBezTo>
                      <a:pt x="1847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4" y="1834"/>
                      <a:pt x="2886" y="1809"/>
                      <a:pt x="3030" y="1758"/>
                    </a:cubicBezTo>
                    <a:lnTo>
                      <a:pt x="3289" y="1904"/>
                    </a:lnTo>
                    <a:lnTo>
                      <a:pt x="3582" y="1792"/>
                    </a:lnTo>
                    <a:lnTo>
                      <a:pt x="3334" y="1645"/>
                    </a:lnTo>
                    <a:cubicBezTo>
                      <a:pt x="3514" y="1533"/>
                      <a:pt x="3593" y="1420"/>
                      <a:pt x="3571" y="1296"/>
                    </a:cubicBezTo>
                    <a:cubicBezTo>
                      <a:pt x="3537" y="1172"/>
                      <a:pt x="3402" y="1048"/>
                      <a:pt x="3165" y="913"/>
                    </a:cubicBezTo>
                    <a:cubicBezTo>
                      <a:pt x="3007" y="834"/>
                      <a:pt x="2861" y="767"/>
                      <a:pt x="2726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3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5" y="671"/>
                      <a:pt x="1478" y="674"/>
                      <a:pt x="1380" y="674"/>
                    </a:cubicBezTo>
                    <a:cubicBezTo>
                      <a:pt x="1281" y="674"/>
                      <a:pt x="1211" y="671"/>
                      <a:pt x="1171" y="665"/>
                    </a:cubicBezTo>
                    <a:cubicBezTo>
                      <a:pt x="1081" y="665"/>
                      <a:pt x="991" y="631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7" y="404"/>
                      <a:pt x="868" y="399"/>
                      <a:pt x="897" y="399"/>
                    </a:cubicBezTo>
                    <a:cubicBezTo>
                      <a:pt x="918" y="399"/>
                      <a:pt x="939" y="402"/>
                      <a:pt x="957" y="406"/>
                    </a:cubicBezTo>
                    <a:cubicBezTo>
                      <a:pt x="1014" y="417"/>
                      <a:pt x="1093" y="463"/>
                      <a:pt x="1216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81" y="271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1" name="Google Shape;981;p33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6" y="530"/>
                    </a:lnTo>
                    <a:cubicBezTo>
                      <a:pt x="1093" y="463"/>
                      <a:pt x="1014" y="417"/>
                      <a:pt x="957" y="406"/>
                    </a:cubicBezTo>
                    <a:cubicBezTo>
                      <a:pt x="912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31"/>
                      <a:pt x="1081" y="665"/>
                      <a:pt x="1171" y="665"/>
                    </a:cubicBezTo>
                    <a:cubicBezTo>
                      <a:pt x="1250" y="677"/>
                      <a:pt x="1453" y="677"/>
                      <a:pt x="1757" y="665"/>
                    </a:cubicBezTo>
                    <a:cubicBezTo>
                      <a:pt x="2027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26" y="733"/>
                    </a:cubicBezTo>
                    <a:cubicBezTo>
                      <a:pt x="2861" y="767"/>
                      <a:pt x="3007" y="834"/>
                      <a:pt x="3165" y="913"/>
                    </a:cubicBezTo>
                    <a:cubicBezTo>
                      <a:pt x="3402" y="1048"/>
                      <a:pt x="3537" y="1172"/>
                      <a:pt x="3571" y="1296"/>
                    </a:cubicBezTo>
                    <a:cubicBezTo>
                      <a:pt x="3593" y="1420"/>
                      <a:pt x="3514" y="1533"/>
                      <a:pt x="3334" y="1645"/>
                    </a:cubicBezTo>
                    <a:lnTo>
                      <a:pt x="3582" y="1792"/>
                    </a:lnTo>
                    <a:lnTo>
                      <a:pt x="3289" y="1904"/>
                    </a:lnTo>
                    <a:lnTo>
                      <a:pt x="3030" y="1758"/>
                    </a:lnTo>
                    <a:cubicBezTo>
                      <a:pt x="2838" y="1825"/>
                      <a:pt x="2613" y="1848"/>
                      <a:pt x="2365" y="1825"/>
                    </a:cubicBezTo>
                    <a:cubicBezTo>
                      <a:pt x="2118" y="1814"/>
                      <a:pt x="1847" y="1724"/>
                      <a:pt x="1543" y="1555"/>
                    </a:cubicBezTo>
                    <a:lnTo>
                      <a:pt x="1408" y="1487"/>
                    </a:lnTo>
                    <a:lnTo>
                      <a:pt x="2050" y="1217"/>
                    </a:lnTo>
                    <a:lnTo>
                      <a:pt x="2219" y="1307"/>
                    </a:lnTo>
                    <a:cubicBezTo>
                      <a:pt x="2399" y="1409"/>
                      <a:pt x="2512" y="1476"/>
                      <a:pt x="2579" y="1487"/>
                    </a:cubicBezTo>
                    <a:cubicBezTo>
                      <a:pt x="2636" y="1510"/>
                      <a:pt x="2681" y="1510"/>
                      <a:pt x="2737" y="1487"/>
                    </a:cubicBezTo>
                    <a:cubicBezTo>
                      <a:pt x="2782" y="1476"/>
                      <a:pt x="2793" y="1454"/>
                      <a:pt x="2782" y="1420"/>
                    </a:cubicBezTo>
                    <a:cubicBezTo>
                      <a:pt x="2782" y="1397"/>
                      <a:pt x="2737" y="1364"/>
                      <a:pt x="2681" y="1330"/>
                    </a:cubicBezTo>
                    <a:cubicBezTo>
                      <a:pt x="2534" y="1251"/>
                      <a:pt x="2410" y="1195"/>
                      <a:pt x="2320" y="1161"/>
                    </a:cubicBezTo>
                    <a:cubicBezTo>
                      <a:pt x="2241" y="1138"/>
                      <a:pt x="2095" y="1127"/>
                      <a:pt x="1904" y="1127"/>
                    </a:cubicBezTo>
                    <a:cubicBezTo>
                      <a:pt x="1577" y="1138"/>
                      <a:pt x="1352" y="1138"/>
                      <a:pt x="1216" y="1138"/>
                    </a:cubicBezTo>
                    <a:cubicBezTo>
                      <a:pt x="1081" y="1138"/>
                      <a:pt x="935" y="1105"/>
                      <a:pt x="777" y="1071"/>
                    </a:cubicBezTo>
                    <a:cubicBezTo>
                      <a:pt x="620" y="1026"/>
                      <a:pt x="462" y="969"/>
                      <a:pt x="327" y="891"/>
                    </a:cubicBezTo>
                    <a:cubicBezTo>
                      <a:pt x="124" y="778"/>
                      <a:pt x="11" y="665"/>
                      <a:pt x="11" y="564"/>
                    </a:cubicBezTo>
                    <a:cubicBezTo>
                      <a:pt x="0" y="451"/>
                      <a:pt x="90" y="350"/>
                      <a:pt x="282" y="237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2" name="Google Shape;982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3" name="Google Shape;983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4" name="Google Shape;984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5" name="Google Shape;985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6" name="Google Shape;986;p33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7"/>
                    </a:cubicBezTo>
                    <a:cubicBezTo>
                      <a:pt x="6364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7" name="Google Shape;987;p33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3"/>
                      <a:pt x="4934" y="4393"/>
                      <a:pt x="3177" y="4393"/>
                    </a:cubicBezTo>
                    <a:cubicBezTo>
                      <a:pt x="1420" y="4393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8" name="Google Shape;988;p33"/>
              <p:cNvSpPr/>
              <p:nvPr/>
            </p:nvSpPr>
            <p:spPr>
              <a:xfrm>
                <a:off x="4102903" y="121144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0" y="958"/>
                    </a:cubicBez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9" name="Google Shape;989;p33"/>
              <p:cNvSpPr/>
              <p:nvPr/>
            </p:nvSpPr>
            <p:spPr>
              <a:xfrm>
                <a:off x="4078100" y="1209490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0" name="Google Shape;990;p33"/>
              <p:cNvSpPr/>
              <p:nvPr/>
            </p:nvSpPr>
            <p:spPr>
              <a:xfrm>
                <a:off x="4055288" y="1204354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1" name="Google Shape;991;p33"/>
              <p:cNvSpPr/>
              <p:nvPr/>
            </p:nvSpPr>
            <p:spPr>
              <a:xfrm>
                <a:off x="4034048" y="119569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2" name="Google Shape;992;p33"/>
              <p:cNvSpPr/>
              <p:nvPr/>
            </p:nvSpPr>
            <p:spPr>
              <a:xfrm>
                <a:off x="4016337" y="118349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3" name="Google Shape;993;p33"/>
              <p:cNvSpPr/>
              <p:nvPr/>
            </p:nvSpPr>
            <p:spPr>
              <a:xfrm>
                <a:off x="3999813" y="116344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4" name="Google Shape;994;p33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37"/>
                      <a:pt x="1104" y="3402"/>
                      <a:pt x="2456" y="3402"/>
                    </a:cubicBezTo>
                    <a:cubicBezTo>
                      <a:pt x="3819" y="3402"/>
                      <a:pt x="4923" y="2637"/>
                      <a:pt x="4923" y="1702"/>
                    </a:cubicBezTo>
                    <a:cubicBezTo>
                      <a:pt x="4923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5" name="Google Shape;995;p33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fill="none" extrusionOk="0">
                    <a:moveTo>
                      <a:pt x="4923" y="1702"/>
                    </a:moveTo>
                    <a:cubicBezTo>
                      <a:pt x="4923" y="2637"/>
                      <a:pt x="3819" y="3402"/>
                      <a:pt x="2456" y="3402"/>
                    </a:cubicBezTo>
                    <a:cubicBezTo>
                      <a:pt x="1104" y="3402"/>
                      <a:pt x="1" y="2637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23" y="767"/>
                      <a:pt x="4923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6" name="Google Shape;996;p33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90" y="350"/>
                      <a:pt x="0" y="462"/>
                      <a:pt x="11" y="564"/>
                    </a:cubicBezTo>
                    <a:cubicBezTo>
                      <a:pt x="11" y="676"/>
                      <a:pt x="124" y="789"/>
                      <a:pt x="327" y="901"/>
                    </a:cubicBezTo>
                    <a:cubicBezTo>
                      <a:pt x="462" y="980"/>
                      <a:pt x="620" y="1037"/>
                      <a:pt x="777" y="1082"/>
                    </a:cubicBezTo>
                    <a:cubicBezTo>
                      <a:pt x="935" y="1115"/>
                      <a:pt x="1081" y="1138"/>
                      <a:pt x="1216" y="1149"/>
                    </a:cubicBezTo>
                    <a:cubicBezTo>
                      <a:pt x="1352" y="1149"/>
                      <a:pt x="1577" y="1149"/>
                      <a:pt x="1904" y="1138"/>
                    </a:cubicBezTo>
                    <a:cubicBezTo>
                      <a:pt x="2095" y="1138"/>
                      <a:pt x="2241" y="1149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4"/>
                      <a:pt x="2782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10"/>
                      <a:pt x="2684" y="1515"/>
                      <a:pt x="2658" y="1515"/>
                    </a:cubicBezTo>
                    <a:cubicBezTo>
                      <a:pt x="2633" y="1515"/>
                      <a:pt x="2608" y="1510"/>
                      <a:pt x="2579" y="1498"/>
                    </a:cubicBezTo>
                    <a:cubicBezTo>
                      <a:pt x="2512" y="1487"/>
                      <a:pt x="2399" y="1420"/>
                      <a:pt x="2219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34" y="1656"/>
                    </a:lnTo>
                    <a:cubicBezTo>
                      <a:pt x="3514" y="1543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2"/>
                    </a:cubicBezTo>
                    <a:cubicBezTo>
                      <a:pt x="2579" y="699"/>
                      <a:pt x="2444" y="676"/>
                      <a:pt x="2332" y="665"/>
                    </a:cubicBezTo>
                    <a:cubicBezTo>
                      <a:pt x="2219" y="665"/>
                      <a:pt x="2027" y="665"/>
                      <a:pt x="1757" y="676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5"/>
                    </a:cubicBezTo>
                    <a:cubicBezTo>
                      <a:pt x="755" y="462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8"/>
                      <a:pt x="1093" y="473"/>
                      <a:pt x="1216" y="530"/>
                    </a:cubicBezTo>
                    <a:lnTo>
                      <a:pt x="1329" y="597"/>
                    </a:lnTo>
                    <a:lnTo>
                      <a:pt x="1971" y="338"/>
                    </a:lnTo>
                    <a:cubicBezTo>
                      <a:pt x="1915" y="304"/>
                      <a:pt x="1881" y="282"/>
                      <a:pt x="1847" y="259"/>
                    </a:cubicBezTo>
                    <a:cubicBezTo>
                      <a:pt x="1644" y="147"/>
                      <a:pt x="1442" y="79"/>
                      <a:pt x="1228" y="57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3" y="74"/>
                      <a:pt x="574" y="124"/>
                    </a:cubicBezTo>
                    <a:lnTo>
                      <a:pt x="3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7" name="Google Shape;997;p33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8"/>
                    </a:moveTo>
                    <a:lnTo>
                      <a:pt x="1329" y="597"/>
                    </a:lnTo>
                    <a:lnTo>
                      <a:pt x="1216" y="530"/>
                    </a:lnTo>
                    <a:cubicBezTo>
                      <a:pt x="1093" y="473"/>
                      <a:pt x="1014" y="428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2"/>
                      <a:pt x="766" y="485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6"/>
                    </a:cubicBezTo>
                    <a:cubicBezTo>
                      <a:pt x="1250" y="687"/>
                      <a:pt x="1453" y="687"/>
                      <a:pt x="1757" y="676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6"/>
                      <a:pt x="2579" y="699"/>
                      <a:pt x="2726" y="732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3"/>
                      <a:pt x="3334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6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8"/>
                    </a:lnTo>
                    <a:cubicBezTo>
                      <a:pt x="2399" y="1420"/>
                      <a:pt x="2512" y="1487"/>
                      <a:pt x="2579" y="1498"/>
                    </a:cubicBezTo>
                    <a:cubicBezTo>
                      <a:pt x="2636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82" y="1408"/>
                      <a:pt x="2737" y="1374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49"/>
                      <a:pt x="2095" y="1138"/>
                      <a:pt x="1904" y="1138"/>
                    </a:cubicBezTo>
                    <a:cubicBezTo>
                      <a:pt x="1577" y="1149"/>
                      <a:pt x="1352" y="1149"/>
                      <a:pt x="1216" y="1149"/>
                    </a:cubicBezTo>
                    <a:cubicBezTo>
                      <a:pt x="1081" y="1138"/>
                      <a:pt x="935" y="1115"/>
                      <a:pt x="777" y="1082"/>
                    </a:cubicBezTo>
                    <a:cubicBezTo>
                      <a:pt x="620" y="1037"/>
                      <a:pt x="462" y="980"/>
                      <a:pt x="327" y="901"/>
                    </a:cubicBezTo>
                    <a:cubicBezTo>
                      <a:pt x="124" y="789"/>
                      <a:pt x="11" y="676"/>
                      <a:pt x="11" y="564"/>
                    </a:cubicBezTo>
                    <a:cubicBezTo>
                      <a:pt x="0" y="462"/>
                      <a:pt x="90" y="350"/>
                      <a:pt x="282" y="248"/>
                    </a:cubicBezTo>
                    <a:lnTo>
                      <a:pt x="68" y="124"/>
                    </a:lnTo>
                    <a:lnTo>
                      <a:pt x="360" y="0"/>
                    </a:lnTo>
                    <a:lnTo>
                      <a:pt x="574" y="124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4" y="147"/>
                      <a:pt x="1847" y="259"/>
                    </a:cubicBezTo>
                    <a:cubicBezTo>
                      <a:pt x="1881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8" name="Google Shape;998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9" name="Google Shape;999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0" name="Google Shape;1000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1" name="Google Shape;1001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9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2" name="Google Shape;1002;p33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1"/>
                    </a:moveTo>
                    <a:cubicBezTo>
                      <a:pt x="1420" y="1"/>
                      <a:pt x="1" y="981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64" y="3414"/>
                      <a:pt x="6364" y="2197"/>
                    </a:cubicBezTo>
                    <a:cubicBezTo>
                      <a:pt x="6364" y="981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3" name="Google Shape;1003;p33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4"/>
                      <a:pt x="4934" y="4393"/>
                      <a:pt x="3177" y="4393"/>
                    </a:cubicBezTo>
                    <a:cubicBezTo>
                      <a:pt x="1420" y="4393"/>
                      <a:pt x="1" y="3414"/>
                      <a:pt x="1" y="2197"/>
                    </a:cubicBezTo>
                    <a:cubicBezTo>
                      <a:pt x="1" y="981"/>
                      <a:pt x="1420" y="1"/>
                      <a:pt x="3177" y="1"/>
                    </a:cubicBezTo>
                    <a:cubicBezTo>
                      <a:pt x="4934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4" name="Google Shape;1004;p33"/>
              <p:cNvSpPr/>
              <p:nvPr/>
            </p:nvSpPr>
            <p:spPr>
              <a:xfrm>
                <a:off x="4102903" y="1147692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1"/>
                      <a:pt x="0" y="958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5" name="Google Shape;1005;p33"/>
              <p:cNvSpPr/>
              <p:nvPr/>
            </p:nvSpPr>
            <p:spPr>
              <a:xfrm>
                <a:off x="4078100" y="114573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6" name="Google Shape;1006;p33"/>
              <p:cNvSpPr/>
              <p:nvPr/>
            </p:nvSpPr>
            <p:spPr>
              <a:xfrm>
                <a:off x="4055288" y="1140600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7" name="Google Shape;1007;p33"/>
              <p:cNvSpPr/>
              <p:nvPr/>
            </p:nvSpPr>
            <p:spPr>
              <a:xfrm>
                <a:off x="4034048" y="113197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8" name="Google Shape;1008;p33"/>
              <p:cNvSpPr/>
              <p:nvPr/>
            </p:nvSpPr>
            <p:spPr>
              <a:xfrm>
                <a:off x="4016337" y="111974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9" name="Google Shape;1009;p33"/>
              <p:cNvSpPr/>
              <p:nvPr/>
            </p:nvSpPr>
            <p:spPr>
              <a:xfrm>
                <a:off x="3999813" y="109969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0" name="Google Shape;1010;p33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23" y="2636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1" name="Google Shape;1011;p33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2" name="Google Shape;1012;p33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49"/>
                    </a:lnTo>
                    <a:cubicBezTo>
                      <a:pt x="90" y="350"/>
                      <a:pt x="0" y="463"/>
                      <a:pt x="11" y="564"/>
                    </a:cubicBezTo>
                    <a:cubicBezTo>
                      <a:pt x="11" y="677"/>
                      <a:pt x="124" y="789"/>
                      <a:pt x="327" y="902"/>
                    </a:cubicBezTo>
                    <a:cubicBezTo>
                      <a:pt x="462" y="981"/>
                      <a:pt x="620" y="1037"/>
                      <a:pt x="777" y="1082"/>
                    </a:cubicBezTo>
                    <a:cubicBezTo>
                      <a:pt x="935" y="1116"/>
                      <a:pt x="1081" y="1138"/>
                      <a:pt x="1216" y="1150"/>
                    </a:cubicBezTo>
                    <a:cubicBezTo>
                      <a:pt x="1352" y="1150"/>
                      <a:pt x="1577" y="1150"/>
                      <a:pt x="1904" y="1138"/>
                    </a:cubicBezTo>
                    <a:cubicBezTo>
                      <a:pt x="2095" y="1138"/>
                      <a:pt x="2241" y="1150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5"/>
                      <a:pt x="2782" y="1409"/>
                      <a:pt x="2782" y="1431"/>
                    </a:cubicBezTo>
                    <a:cubicBezTo>
                      <a:pt x="2793" y="1454"/>
                      <a:pt x="2782" y="1476"/>
                      <a:pt x="2737" y="1499"/>
                    </a:cubicBezTo>
                    <a:cubicBezTo>
                      <a:pt x="2709" y="1510"/>
                      <a:pt x="2684" y="1516"/>
                      <a:pt x="2658" y="1516"/>
                    </a:cubicBezTo>
                    <a:cubicBezTo>
                      <a:pt x="2633" y="1516"/>
                      <a:pt x="2608" y="1510"/>
                      <a:pt x="2579" y="1499"/>
                    </a:cubicBezTo>
                    <a:cubicBezTo>
                      <a:pt x="2512" y="1487"/>
                      <a:pt x="2399" y="1420"/>
                      <a:pt x="2219" y="1319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7"/>
                    </a:cubicBezTo>
                    <a:cubicBezTo>
                      <a:pt x="2407" y="1839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2"/>
                    </a:lnTo>
                    <a:lnTo>
                      <a:pt x="3334" y="1656"/>
                    </a:lnTo>
                    <a:cubicBezTo>
                      <a:pt x="3514" y="1544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3"/>
                    </a:cubicBezTo>
                    <a:cubicBezTo>
                      <a:pt x="2579" y="699"/>
                      <a:pt x="2444" y="677"/>
                      <a:pt x="2332" y="665"/>
                    </a:cubicBezTo>
                    <a:cubicBezTo>
                      <a:pt x="2219" y="665"/>
                      <a:pt x="2027" y="665"/>
                      <a:pt x="1757" y="677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7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8"/>
                      <a:pt x="766" y="485"/>
                    </a:cubicBezTo>
                    <a:cubicBezTo>
                      <a:pt x="755" y="463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9"/>
                      <a:pt x="1093" y="474"/>
                      <a:pt x="1216" y="530"/>
                    </a:cubicBezTo>
                    <a:lnTo>
                      <a:pt x="1329" y="598"/>
                    </a:lnTo>
                    <a:lnTo>
                      <a:pt x="1971" y="339"/>
                    </a:lnTo>
                    <a:cubicBezTo>
                      <a:pt x="1915" y="305"/>
                      <a:pt x="1881" y="282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3" name="Google Shape;1013;p33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9"/>
                    </a:moveTo>
                    <a:lnTo>
                      <a:pt x="1329" y="598"/>
                    </a:lnTo>
                    <a:lnTo>
                      <a:pt x="1216" y="530"/>
                    </a:lnTo>
                    <a:cubicBezTo>
                      <a:pt x="1093" y="474"/>
                      <a:pt x="1014" y="429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3"/>
                      <a:pt x="766" y="485"/>
                    </a:cubicBezTo>
                    <a:cubicBezTo>
                      <a:pt x="777" y="508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7"/>
                    </a:cubicBezTo>
                    <a:cubicBezTo>
                      <a:pt x="1250" y="688"/>
                      <a:pt x="1453" y="688"/>
                      <a:pt x="1757" y="677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7"/>
                      <a:pt x="2579" y="699"/>
                      <a:pt x="2726" y="733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4"/>
                      <a:pt x="3334" y="1656"/>
                    </a:cubicBezTo>
                    <a:lnTo>
                      <a:pt x="3582" y="1792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7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9"/>
                    </a:lnTo>
                    <a:cubicBezTo>
                      <a:pt x="2399" y="1420"/>
                      <a:pt x="2512" y="1487"/>
                      <a:pt x="2579" y="1499"/>
                    </a:cubicBezTo>
                    <a:cubicBezTo>
                      <a:pt x="2636" y="1521"/>
                      <a:pt x="2681" y="1521"/>
                      <a:pt x="2737" y="1499"/>
                    </a:cubicBezTo>
                    <a:cubicBezTo>
                      <a:pt x="2782" y="1476"/>
                      <a:pt x="2793" y="1454"/>
                      <a:pt x="2782" y="1431"/>
                    </a:cubicBezTo>
                    <a:cubicBezTo>
                      <a:pt x="2782" y="1409"/>
                      <a:pt x="2737" y="1375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50"/>
                      <a:pt x="2095" y="1138"/>
                      <a:pt x="1904" y="1138"/>
                    </a:cubicBezTo>
                    <a:cubicBezTo>
                      <a:pt x="1577" y="1150"/>
                      <a:pt x="1352" y="1150"/>
                      <a:pt x="1216" y="1150"/>
                    </a:cubicBezTo>
                    <a:cubicBezTo>
                      <a:pt x="1081" y="1138"/>
                      <a:pt x="935" y="1116"/>
                      <a:pt x="777" y="1082"/>
                    </a:cubicBezTo>
                    <a:cubicBezTo>
                      <a:pt x="620" y="1037"/>
                      <a:pt x="462" y="981"/>
                      <a:pt x="327" y="902"/>
                    </a:cubicBezTo>
                    <a:cubicBezTo>
                      <a:pt x="124" y="789"/>
                      <a:pt x="11" y="677"/>
                      <a:pt x="11" y="564"/>
                    </a:cubicBezTo>
                    <a:cubicBezTo>
                      <a:pt x="0" y="463"/>
                      <a:pt x="90" y="350"/>
                      <a:pt x="282" y="249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82"/>
                      <a:pt x="1915" y="305"/>
                      <a:pt x="1971" y="33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4" name="Google Shape;1014;p33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extrusionOk="0">
                    <a:moveTo>
                      <a:pt x="3177" y="1"/>
                    </a:move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lnTo>
                      <a:pt x="5982" y="1150"/>
                    </a:lnTo>
                    <a:cubicBezTo>
                      <a:pt x="5441" y="463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5" name="Google Shape;1015;p33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4"/>
                      <a:pt x="3177" y="4404"/>
                    </a:cubicBezTo>
                    <a:cubicBezTo>
                      <a:pt x="4934" y="4404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6" name="Google Shape;1016;p33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fill="none" extrusionOk="0">
                    <a:moveTo>
                      <a:pt x="5982" y="1150"/>
                    </a:moveTo>
                    <a:cubicBezTo>
                      <a:pt x="5441" y="463"/>
                      <a:pt x="4393" y="1"/>
                      <a:pt x="3177" y="1"/>
                    </a:cubicBez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7" name="Google Shape;1017;p33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4"/>
                      <a:pt x="3177" y="4404"/>
                    </a:cubicBezTo>
                    <a:cubicBezTo>
                      <a:pt x="1420" y="4404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8" name="Google Shape;1018;p33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9" name="Google Shape;1019;p33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0" name="Google Shape;1020;p33"/>
              <p:cNvSpPr/>
              <p:nvPr/>
            </p:nvSpPr>
            <p:spPr>
              <a:xfrm>
                <a:off x="3781826" y="1253157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14"/>
                      <a:pt x="1" y="980"/>
                      <a:pt x="1" y="958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1" name="Google Shape;1021;p33"/>
              <p:cNvSpPr/>
              <p:nvPr/>
            </p:nvSpPr>
            <p:spPr>
              <a:xfrm>
                <a:off x="3805825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2" name="Google Shape;1022;p33"/>
              <p:cNvSpPr/>
              <p:nvPr/>
            </p:nvSpPr>
            <p:spPr>
              <a:xfrm>
                <a:off x="3828637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3" name="Google Shape;1023;p33"/>
              <p:cNvSpPr/>
              <p:nvPr/>
            </p:nvSpPr>
            <p:spPr>
              <a:xfrm>
                <a:off x="3849912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4" name="Google Shape;1024;p33"/>
              <p:cNvSpPr/>
              <p:nvPr/>
            </p:nvSpPr>
            <p:spPr>
              <a:xfrm>
                <a:off x="3868008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5" name="Google Shape;1025;p33"/>
              <p:cNvSpPr/>
              <p:nvPr/>
            </p:nvSpPr>
            <p:spPr>
              <a:xfrm>
                <a:off x="3884147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6" name="Google Shape;1026;p33"/>
              <p:cNvSpPr/>
              <p:nvPr/>
            </p:nvSpPr>
            <p:spPr>
              <a:xfrm>
                <a:off x="3757023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7" name="Google Shape;1027;p33"/>
              <p:cNvSpPr/>
              <p:nvPr/>
            </p:nvSpPr>
            <p:spPr>
              <a:xfrm>
                <a:off x="3734211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8" name="Google Shape;1028;p33"/>
              <p:cNvSpPr/>
              <p:nvPr/>
            </p:nvSpPr>
            <p:spPr>
              <a:xfrm>
                <a:off x="3712971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9" name="Google Shape;1029;p33"/>
              <p:cNvSpPr/>
              <p:nvPr/>
            </p:nvSpPr>
            <p:spPr>
              <a:xfrm>
                <a:off x="3694876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0" name="Google Shape;1030;p33"/>
              <p:cNvSpPr/>
              <p:nvPr/>
            </p:nvSpPr>
            <p:spPr>
              <a:xfrm>
                <a:off x="3678736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1" name="Google Shape;1031;p33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48"/>
                      <a:pt x="1104" y="3402"/>
                      <a:pt x="2456" y="3402"/>
                    </a:cubicBezTo>
                    <a:cubicBezTo>
                      <a:pt x="3819" y="3402"/>
                      <a:pt x="4911" y="2648"/>
                      <a:pt x="4911" y="1702"/>
                    </a:cubicBezTo>
                    <a:cubicBezTo>
                      <a:pt x="4911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2" name="Google Shape;1032;p33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48"/>
                      <a:pt x="3819" y="3402"/>
                      <a:pt x="2456" y="3402"/>
                    </a:cubicBezTo>
                    <a:cubicBezTo>
                      <a:pt x="1104" y="3402"/>
                      <a:pt x="1" y="2648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11" y="767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3" name="Google Shape;1033;p33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8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0"/>
                    </a:cubicBezTo>
                    <a:cubicBezTo>
                      <a:pt x="462" y="969"/>
                      <a:pt x="608" y="1025"/>
                      <a:pt x="777" y="1071"/>
                    </a:cubicBezTo>
                    <a:cubicBezTo>
                      <a:pt x="935" y="1104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4"/>
                      <a:pt x="2523" y="1251"/>
                      <a:pt x="2681" y="1330"/>
                    </a:cubicBezTo>
                    <a:cubicBezTo>
                      <a:pt x="2737" y="1363"/>
                      <a:pt x="2771" y="1397"/>
                      <a:pt x="2782" y="1420"/>
                    </a:cubicBezTo>
                    <a:cubicBezTo>
                      <a:pt x="2793" y="1453"/>
                      <a:pt x="2782" y="1465"/>
                      <a:pt x="2737" y="1487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7"/>
                    </a:cubicBezTo>
                    <a:cubicBezTo>
                      <a:pt x="2512" y="1476"/>
                      <a:pt x="2399" y="1408"/>
                      <a:pt x="2208" y="1307"/>
                    </a:cubicBezTo>
                    <a:lnTo>
                      <a:pt x="2050" y="1217"/>
                    </a:lnTo>
                    <a:lnTo>
                      <a:pt x="1408" y="1476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19" y="1828"/>
                      <a:pt x="2471" y="1829"/>
                      <a:pt x="2522" y="1829"/>
                    </a:cubicBezTo>
                    <a:cubicBezTo>
                      <a:pt x="2708" y="1829"/>
                      <a:pt x="2877" y="1811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2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6"/>
                      <a:pt x="2715" y="733"/>
                    </a:cubicBezTo>
                    <a:cubicBezTo>
                      <a:pt x="2579" y="688"/>
                      <a:pt x="2444" y="665"/>
                      <a:pt x="2332" y="654"/>
                    </a:cubicBezTo>
                    <a:cubicBezTo>
                      <a:pt x="2219" y="654"/>
                      <a:pt x="2028" y="654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20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1"/>
                      <a:pt x="958" y="406"/>
                    </a:cubicBezTo>
                    <a:cubicBezTo>
                      <a:pt x="1014" y="417"/>
                      <a:pt x="1093" y="462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3"/>
                      <a:pt x="1870" y="271"/>
                      <a:pt x="1847" y="248"/>
                    </a:cubicBezTo>
                    <a:cubicBezTo>
                      <a:pt x="1645" y="147"/>
                      <a:pt x="1442" y="79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1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4" name="Google Shape;1034;p33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2"/>
                      <a:pt x="1014" y="417"/>
                      <a:pt x="958" y="406"/>
                    </a:cubicBezTo>
                    <a:cubicBezTo>
                      <a:pt x="901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20"/>
                      <a:pt x="1081" y="665"/>
                      <a:pt x="1160" y="665"/>
                    </a:cubicBezTo>
                    <a:cubicBezTo>
                      <a:pt x="1250" y="676"/>
                      <a:pt x="1442" y="676"/>
                      <a:pt x="1757" y="665"/>
                    </a:cubicBezTo>
                    <a:cubicBezTo>
                      <a:pt x="2028" y="654"/>
                      <a:pt x="2219" y="654"/>
                      <a:pt x="2332" y="654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6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2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36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76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8"/>
                      <a:pt x="2512" y="1476"/>
                      <a:pt x="2568" y="1487"/>
                    </a:cubicBezTo>
                    <a:cubicBezTo>
                      <a:pt x="2625" y="1510"/>
                      <a:pt x="2681" y="1510"/>
                      <a:pt x="2737" y="1487"/>
                    </a:cubicBezTo>
                    <a:cubicBezTo>
                      <a:pt x="2782" y="1465"/>
                      <a:pt x="2793" y="1453"/>
                      <a:pt x="2782" y="1420"/>
                    </a:cubicBezTo>
                    <a:cubicBezTo>
                      <a:pt x="2771" y="1397"/>
                      <a:pt x="2737" y="1363"/>
                      <a:pt x="2681" y="1330"/>
                    </a:cubicBezTo>
                    <a:cubicBezTo>
                      <a:pt x="2523" y="1251"/>
                      <a:pt x="2411" y="1194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4"/>
                      <a:pt x="777" y="1071"/>
                    </a:cubicBezTo>
                    <a:cubicBezTo>
                      <a:pt x="608" y="1025"/>
                      <a:pt x="462" y="969"/>
                      <a:pt x="316" y="890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8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5" y="147"/>
                      <a:pt x="1847" y="248"/>
                    </a:cubicBezTo>
                    <a:cubicBezTo>
                      <a:pt x="1870" y="271"/>
                      <a:pt x="1915" y="293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5" name="Google Shape;1035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lnTo>
                      <a:pt x="5982" y="1161"/>
                    </a:lnTo>
                    <a:cubicBezTo>
                      <a:pt x="5441" y="473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6" name="Google Shape;1036;p33"/>
              <p:cNvSpPr/>
              <p:nvPr/>
            </p:nvSpPr>
            <p:spPr>
              <a:xfrm>
                <a:off x="3674793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92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92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7" name="Google Shape;1037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5982" y="1161"/>
                    </a:moveTo>
                    <a:cubicBezTo>
                      <a:pt x="5441" y="473"/>
                      <a:pt x="4393" y="0"/>
                      <a:pt x="3177" y="0"/>
                    </a:cubicBez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8" name="Google Shape;1038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92"/>
                      <a:pt x="1420" y="0"/>
                      <a:pt x="3177" y="0"/>
                    </a:cubicBezTo>
                    <a:cubicBezTo>
                      <a:pt x="4934" y="0"/>
                      <a:pt x="6353" y="992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9" name="Google Shape;1039;p33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9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0" name="Google Shape;1040;p33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9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1" name="Google Shape;1041;p33"/>
              <p:cNvSpPr/>
              <p:nvPr/>
            </p:nvSpPr>
            <p:spPr>
              <a:xfrm>
                <a:off x="3781826" y="119020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03"/>
                      <a:pt x="1" y="980"/>
                      <a:pt x="1" y="957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2" name="Google Shape;1042;p33"/>
              <p:cNvSpPr/>
              <p:nvPr/>
            </p:nvSpPr>
            <p:spPr>
              <a:xfrm>
                <a:off x="3805825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3" name="Google Shape;1043;p33"/>
              <p:cNvSpPr/>
              <p:nvPr/>
            </p:nvSpPr>
            <p:spPr>
              <a:xfrm>
                <a:off x="3828637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4" name="Google Shape;1044;p33"/>
              <p:cNvSpPr/>
              <p:nvPr/>
            </p:nvSpPr>
            <p:spPr>
              <a:xfrm>
                <a:off x="3849912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5" name="Google Shape;1045;p33"/>
              <p:cNvSpPr/>
              <p:nvPr/>
            </p:nvSpPr>
            <p:spPr>
              <a:xfrm>
                <a:off x="3868008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6" name="Google Shape;1046;p33"/>
              <p:cNvSpPr/>
              <p:nvPr/>
            </p:nvSpPr>
            <p:spPr>
              <a:xfrm>
                <a:off x="3884147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7" name="Google Shape;1047;p33"/>
              <p:cNvSpPr/>
              <p:nvPr/>
            </p:nvSpPr>
            <p:spPr>
              <a:xfrm>
                <a:off x="3757023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8" name="Google Shape;1048;p33"/>
              <p:cNvSpPr/>
              <p:nvPr/>
            </p:nvSpPr>
            <p:spPr>
              <a:xfrm>
                <a:off x="3734211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9" name="Google Shape;1049;p33"/>
              <p:cNvSpPr/>
              <p:nvPr/>
            </p:nvSpPr>
            <p:spPr>
              <a:xfrm>
                <a:off x="3712971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0" name="Google Shape;1050;p33"/>
              <p:cNvSpPr/>
              <p:nvPr/>
            </p:nvSpPr>
            <p:spPr>
              <a:xfrm>
                <a:off x="3694876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1" name="Google Shape;1051;p33"/>
              <p:cNvSpPr/>
              <p:nvPr/>
            </p:nvSpPr>
            <p:spPr>
              <a:xfrm>
                <a:off x="3678736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2" name="Google Shape;1052;p33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55"/>
                      <a:pt x="1" y="1702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11" y="2636"/>
                      <a:pt x="4911" y="1702"/>
                    </a:cubicBezTo>
                    <a:cubicBezTo>
                      <a:pt x="4911" y="755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3" name="Google Shape;1053;p33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2"/>
                    </a:cubicBezTo>
                    <a:cubicBezTo>
                      <a:pt x="1" y="755"/>
                      <a:pt x="1104" y="1"/>
                      <a:pt x="2456" y="1"/>
                    </a:cubicBezTo>
                    <a:cubicBezTo>
                      <a:pt x="3819" y="1"/>
                      <a:pt x="4911" y="755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4" name="Google Shape;1054;p33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extrusionOk="0">
                    <a:moveTo>
                      <a:pt x="361" y="0"/>
                    </a:moveTo>
                    <a:lnTo>
                      <a:pt x="57" y="124"/>
                    </a:lnTo>
                    <a:lnTo>
                      <a:pt x="282" y="248"/>
                    </a:lnTo>
                    <a:cubicBezTo>
                      <a:pt x="90" y="349"/>
                      <a:pt x="0" y="462"/>
                      <a:pt x="0" y="563"/>
                    </a:cubicBezTo>
                    <a:cubicBezTo>
                      <a:pt x="11" y="676"/>
                      <a:pt x="113" y="789"/>
                      <a:pt x="316" y="901"/>
                    </a:cubicBezTo>
                    <a:cubicBezTo>
                      <a:pt x="462" y="980"/>
                      <a:pt x="608" y="1036"/>
                      <a:pt x="777" y="1081"/>
                    </a:cubicBezTo>
                    <a:cubicBezTo>
                      <a:pt x="935" y="1115"/>
                      <a:pt x="1081" y="1138"/>
                      <a:pt x="1217" y="1149"/>
                    </a:cubicBezTo>
                    <a:cubicBezTo>
                      <a:pt x="1341" y="1149"/>
                      <a:pt x="1577" y="1149"/>
                      <a:pt x="1904" y="1138"/>
                    </a:cubicBezTo>
                    <a:cubicBezTo>
                      <a:pt x="2095" y="1138"/>
                      <a:pt x="2230" y="1149"/>
                      <a:pt x="2320" y="1172"/>
                    </a:cubicBezTo>
                    <a:cubicBezTo>
                      <a:pt x="2411" y="1205"/>
                      <a:pt x="2523" y="1262"/>
                      <a:pt x="2681" y="1340"/>
                    </a:cubicBezTo>
                    <a:cubicBezTo>
                      <a:pt x="2737" y="1374"/>
                      <a:pt x="2771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09"/>
                      <a:pt x="2681" y="1515"/>
                      <a:pt x="2653" y="1515"/>
                    </a:cubicBezTo>
                    <a:cubicBezTo>
                      <a:pt x="2625" y="1515"/>
                      <a:pt x="2596" y="1509"/>
                      <a:pt x="2568" y="1498"/>
                    </a:cubicBezTo>
                    <a:cubicBezTo>
                      <a:pt x="2512" y="1476"/>
                      <a:pt x="2399" y="1419"/>
                      <a:pt x="2208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32" y="1566"/>
                    </a:lnTo>
                    <a:cubicBezTo>
                      <a:pt x="1836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69" y="1815"/>
                      <a:pt x="3019" y="1768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23" y="1656"/>
                    </a:lnTo>
                    <a:cubicBezTo>
                      <a:pt x="3514" y="1543"/>
                      <a:pt x="3593" y="1431"/>
                      <a:pt x="3559" y="1307"/>
                    </a:cubicBezTo>
                    <a:cubicBezTo>
                      <a:pt x="3537" y="1183"/>
                      <a:pt x="3402" y="1059"/>
                      <a:pt x="3154" y="924"/>
                    </a:cubicBezTo>
                    <a:cubicBezTo>
                      <a:pt x="3007" y="834"/>
                      <a:pt x="2861" y="777"/>
                      <a:pt x="2715" y="732"/>
                    </a:cubicBezTo>
                    <a:cubicBezTo>
                      <a:pt x="2579" y="698"/>
                      <a:pt x="2444" y="676"/>
                      <a:pt x="2332" y="665"/>
                    </a:cubicBezTo>
                    <a:cubicBezTo>
                      <a:pt x="2219" y="665"/>
                      <a:pt x="2028" y="665"/>
                      <a:pt x="1757" y="676"/>
                    </a:cubicBezTo>
                    <a:cubicBezTo>
                      <a:pt x="1547" y="676"/>
                      <a:pt x="1392" y="681"/>
                      <a:pt x="1285" y="681"/>
                    </a:cubicBezTo>
                    <a:cubicBezTo>
                      <a:pt x="1232" y="681"/>
                      <a:pt x="1190" y="680"/>
                      <a:pt x="1160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4"/>
                    </a:cubicBezTo>
                    <a:cubicBezTo>
                      <a:pt x="755" y="462"/>
                      <a:pt x="766" y="439"/>
                      <a:pt x="811" y="417"/>
                    </a:cubicBezTo>
                    <a:cubicBezTo>
                      <a:pt x="837" y="410"/>
                      <a:pt x="863" y="404"/>
                      <a:pt x="891" y="404"/>
                    </a:cubicBezTo>
                    <a:cubicBezTo>
                      <a:pt x="912" y="404"/>
                      <a:pt x="934" y="407"/>
                      <a:pt x="958" y="417"/>
                    </a:cubicBezTo>
                    <a:cubicBezTo>
                      <a:pt x="1014" y="428"/>
                      <a:pt x="1093" y="462"/>
                      <a:pt x="1217" y="530"/>
                    </a:cubicBezTo>
                    <a:lnTo>
                      <a:pt x="1329" y="59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64" y="334"/>
                      <a:pt x="1968" y="336"/>
                      <a:pt x="1971" y="338"/>
                    </a:cubicBezTo>
                    <a:lnTo>
                      <a:pt x="1971" y="32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09" y="301"/>
                      <a:pt x="1868" y="280"/>
                      <a:pt x="1847" y="259"/>
                    </a:cubicBezTo>
                    <a:cubicBezTo>
                      <a:pt x="1645" y="147"/>
                      <a:pt x="1442" y="79"/>
                      <a:pt x="1228" y="56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4" y="73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5" name="Google Shape;1055;p33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fill="none" extrusionOk="0">
                    <a:moveTo>
                      <a:pt x="1971" y="327"/>
                    </a:moveTo>
                    <a:lnTo>
                      <a:pt x="1329" y="597"/>
                    </a:lnTo>
                    <a:lnTo>
                      <a:pt x="1217" y="530"/>
                    </a:lnTo>
                    <a:cubicBezTo>
                      <a:pt x="1093" y="462"/>
                      <a:pt x="1014" y="428"/>
                      <a:pt x="958" y="417"/>
                    </a:cubicBezTo>
                    <a:cubicBezTo>
                      <a:pt x="901" y="394"/>
                      <a:pt x="856" y="406"/>
                      <a:pt x="811" y="417"/>
                    </a:cubicBezTo>
                    <a:cubicBezTo>
                      <a:pt x="766" y="439"/>
                      <a:pt x="755" y="462"/>
                      <a:pt x="766" y="484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60" y="676"/>
                    </a:cubicBezTo>
                    <a:cubicBezTo>
                      <a:pt x="1250" y="687"/>
                      <a:pt x="1442" y="676"/>
                      <a:pt x="1757" y="676"/>
                    </a:cubicBezTo>
                    <a:cubicBezTo>
                      <a:pt x="2028" y="665"/>
                      <a:pt x="2219" y="665"/>
                      <a:pt x="2332" y="665"/>
                    </a:cubicBezTo>
                    <a:cubicBezTo>
                      <a:pt x="2444" y="676"/>
                      <a:pt x="2579" y="698"/>
                      <a:pt x="2715" y="732"/>
                    </a:cubicBezTo>
                    <a:cubicBezTo>
                      <a:pt x="2861" y="777"/>
                      <a:pt x="3007" y="834"/>
                      <a:pt x="3154" y="924"/>
                    </a:cubicBezTo>
                    <a:cubicBezTo>
                      <a:pt x="3402" y="1059"/>
                      <a:pt x="3537" y="1183"/>
                      <a:pt x="3559" y="1307"/>
                    </a:cubicBezTo>
                    <a:cubicBezTo>
                      <a:pt x="3593" y="1431"/>
                      <a:pt x="3514" y="1543"/>
                      <a:pt x="3323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19" y="1768"/>
                    </a:lnTo>
                    <a:cubicBezTo>
                      <a:pt x="2839" y="1825"/>
                      <a:pt x="2613" y="1847"/>
                      <a:pt x="2365" y="1836"/>
                    </a:cubicBezTo>
                    <a:cubicBezTo>
                      <a:pt x="2118" y="1825"/>
                      <a:pt x="1836" y="1735"/>
                      <a:pt x="1532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08" y="1318"/>
                    </a:lnTo>
                    <a:cubicBezTo>
                      <a:pt x="2399" y="1419"/>
                      <a:pt x="2512" y="1476"/>
                      <a:pt x="2568" y="1498"/>
                    </a:cubicBezTo>
                    <a:cubicBezTo>
                      <a:pt x="2625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71" y="1408"/>
                      <a:pt x="2737" y="1374"/>
                      <a:pt x="2681" y="1340"/>
                    </a:cubicBezTo>
                    <a:cubicBezTo>
                      <a:pt x="2523" y="1262"/>
                      <a:pt x="2411" y="1205"/>
                      <a:pt x="2320" y="1172"/>
                    </a:cubicBezTo>
                    <a:cubicBezTo>
                      <a:pt x="2230" y="1149"/>
                      <a:pt x="2095" y="1138"/>
                      <a:pt x="1904" y="1138"/>
                    </a:cubicBezTo>
                    <a:cubicBezTo>
                      <a:pt x="1577" y="1149"/>
                      <a:pt x="1341" y="1149"/>
                      <a:pt x="1217" y="1149"/>
                    </a:cubicBezTo>
                    <a:cubicBezTo>
                      <a:pt x="1081" y="1138"/>
                      <a:pt x="935" y="1115"/>
                      <a:pt x="777" y="1081"/>
                    </a:cubicBezTo>
                    <a:cubicBezTo>
                      <a:pt x="608" y="1036"/>
                      <a:pt x="462" y="980"/>
                      <a:pt x="316" y="901"/>
                    </a:cubicBezTo>
                    <a:cubicBezTo>
                      <a:pt x="113" y="789"/>
                      <a:pt x="11" y="676"/>
                      <a:pt x="0" y="563"/>
                    </a:cubicBezTo>
                    <a:cubicBezTo>
                      <a:pt x="0" y="462"/>
                      <a:pt x="90" y="349"/>
                      <a:pt x="282" y="248"/>
                    </a:cubicBezTo>
                    <a:lnTo>
                      <a:pt x="57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6"/>
                      <a:pt x="1014" y="34"/>
                      <a:pt x="1228" y="56"/>
                    </a:cubicBezTo>
                    <a:cubicBezTo>
                      <a:pt x="1442" y="79"/>
                      <a:pt x="1645" y="147"/>
                      <a:pt x="1847" y="259"/>
                    </a:cubicBezTo>
                    <a:cubicBezTo>
                      <a:pt x="1870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6" name="Google Shape;1056;p33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lnTo>
                      <a:pt x="5982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7" name="Google Shape;1057;p33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8" name="Google Shape;1058;p33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fill="none" extrusionOk="0">
                    <a:moveTo>
                      <a:pt x="5982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9" name="Google Shape;1059;p33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0" name="Google Shape;1060;p33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1" name="Google Shape;1061;p33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2" name="Google Shape;1062;p33"/>
              <p:cNvSpPr/>
              <p:nvPr/>
            </p:nvSpPr>
            <p:spPr>
              <a:xfrm>
                <a:off x="3781826" y="111936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cubicBezTo>
                      <a:pt x="1" y="1003"/>
                      <a:pt x="1" y="981"/>
                      <a:pt x="1" y="947"/>
                    </a:cubicBez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3" name="Google Shape;1063;p33"/>
              <p:cNvSpPr/>
              <p:nvPr/>
            </p:nvSpPr>
            <p:spPr>
              <a:xfrm>
                <a:off x="3805825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4" name="Google Shape;1064;p33"/>
              <p:cNvSpPr/>
              <p:nvPr/>
            </p:nvSpPr>
            <p:spPr>
              <a:xfrm>
                <a:off x="3828637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5" name="Google Shape;1065;p33"/>
              <p:cNvSpPr/>
              <p:nvPr/>
            </p:nvSpPr>
            <p:spPr>
              <a:xfrm>
                <a:off x="3849912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6" name="Google Shape;1066;p33"/>
              <p:cNvSpPr/>
              <p:nvPr/>
            </p:nvSpPr>
            <p:spPr>
              <a:xfrm>
                <a:off x="3868008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7" name="Google Shape;1067;p33"/>
              <p:cNvSpPr/>
              <p:nvPr/>
            </p:nvSpPr>
            <p:spPr>
              <a:xfrm>
                <a:off x="3884147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8" name="Google Shape;1068;p33"/>
              <p:cNvSpPr/>
              <p:nvPr/>
            </p:nvSpPr>
            <p:spPr>
              <a:xfrm>
                <a:off x="3757023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9" name="Google Shape;1069;p33"/>
              <p:cNvSpPr/>
              <p:nvPr/>
            </p:nvSpPr>
            <p:spPr>
              <a:xfrm>
                <a:off x="3734211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0" name="Google Shape;1070;p33"/>
              <p:cNvSpPr/>
              <p:nvPr/>
            </p:nvSpPr>
            <p:spPr>
              <a:xfrm>
                <a:off x="3712971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1" name="Google Shape;1071;p33"/>
              <p:cNvSpPr/>
              <p:nvPr/>
            </p:nvSpPr>
            <p:spPr>
              <a:xfrm>
                <a:off x="3694876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2" name="Google Shape;1072;p33"/>
              <p:cNvSpPr/>
              <p:nvPr/>
            </p:nvSpPr>
            <p:spPr>
              <a:xfrm>
                <a:off x="3678736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3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11" y="2647"/>
                      <a:pt x="4911" y="1701"/>
                    </a:cubicBezTo>
                    <a:cubicBezTo>
                      <a:pt x="4911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4" name="Google Shape;1074;p33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fill="none" extrusionOk="0">
                    <a:moveTo>
                      <a:pt x="4911" y="1701"/>
                    </a:moveTo>
                    <a:cubicBezTo>
                      <a:pt x="4911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11" y="766"/>
                      <a:pt x="4911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5" name="Google Shape;1075;p33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9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1"/>
                    </a:cubicBezTo>
                    <a:cubicBezTo>
                      <a:pt x="462" y="969"/>
                      <a:pt x="608" y="1026"/>
                      <a:pt x="777" y="1071"/>
                    </a:cubicBezTo>
                    <a:cubicBezTo>
                      <a:pt x="935" y="1105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5"/>
                      <a:pt x="2523" y="1251"/>
                      <a:pt x="2681" y="1330"/>
                    </a:cubicBezTo>
                    <a:cubicBezTo>
                      <a:pt x="2737" y="1364"/>
                      <a:pt x="2771" y="1397"/>
                      <a:pt x="2782" y="1420"/>
                    </a:cubicBezTo>
                    <a:cubicBezTo>
                      <a:pt x="2793" y="1454"/>
                      <a:pt x="2782" y="1465"/>
                      <a:pt x="2737" y="1488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8"/>
                    </a:cubicBezTo>
                    <a:cubicBezTo>
                      <a:pt x="2512" y="1476"/>
                      <a:pt x="2399" y="1409"/>
                      <a:pt x="2208" y="1307"/>
                    </a:cubicBezTo>
                    <a:lnTo>
                      <a:pt x="2050" y="1217"/>
                    </a:lnTo>
                    <a:lnTo>
                      <a:pt x="1408" y="1488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3" y="1834"/>
                      <a:pt x="2884" y="1809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3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7"/>
                      <a:pt x="2715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4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32"/>
                      <a:pt x="879" y="564"/>
                    </a:cubicBezTo>
                    <a:cubicBezTo>
                      <a:pt x="822" y="530"/>
                      <a:pt x="777" y="508"/>
                      <a:pt x="766" y="474"/>
                    </a:cubicBezTo>
                    <a:cubicBezTo>
                      <a:pt x="755" y="451"/>
                      <a:pt x="766" y="429"/>
                      <a:pt x="811" y="418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2"/>
                      <a:pt x="958" y="406"/>
                    </a:cubicBezTo>
                    <a:cubicBezTo>
                      <a:pt x="1014" y="418"/>
                      <a:pt x="1093" y="463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70" y="271"/>
                      <a:pt x="1847" y="249"/>
                    </a:cubicBezTo>
                    <a:cubicBezTo>
                      <a:pt x="1645" y="147"/>
                      <a:pt x="1442" y="80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2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6" name="Google Shape;1076;p33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3"/>
                      <a:pt x="1014" y="418"/>
                      <a:pt x="958" y="406"/>
                    </a:cubicBezTo>
                    <a:cubicBezTo>
                      <a:pt x="901" y="395"/>
                      <a:pt x="856" y="395"/>
                      <a:pt x="811" y="418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508"/>
                      <a:pt x="822" y="530"/>
                      <a:pt x="879" y="564"/>
                    </a:cubicBezTo>
                    <a:cubicBezTo>
                      <a:pt x="991" y="632"/>
                      <a:pt x="1081" y="665"/>
                      <a:pt x="1160" y="665"/>
                    </a:cubicBezTo>
                    <a:cubicBezTo>
                      <a:pt x="1250" y="677"/>
                      <a:pt x="1442" y="677"/>
                      <a:pt x="1757" y="665"/>
                    </a:cubicBezTo>
                    <a:cubicBezTo>
                      <a:pt x="2028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7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3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48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88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9"/>
                      <a:pt x="2512" y="1476"/>
                      <a:pt x="2568" y="1488"/>
                    </a:cubicBezTo>
                    <a:cubicBezTo>
                      <a:pt x="2625" y="1510"/>
                      <a:pt x="2681" y="1510"/>
                      <a:pt x="2737" y="1488"/>
                    </a:cubicBezTo>
                    <a:cubicBezTo>
                      <a:pt x="2782" y="1465"/>
                      <a:pt x="2793" y="1454"/>
                      <a:pt x="2782" y="1420"/>
                    </a:cubicBezTo>
                    <a:cubicBezTo>
                      <a:pt x="2771" y="1397"/>
                      <a:pt x="2737" y="1364"/>
                      <a:pt x="2681" y="1330"/>
                    </a:cubicBezTo>
                    <a:cubicBezTo>
                      <a:pt x="2523" y="1251"/>
                      <a:pt x="2411" y="1195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5"/>
                      <a:pt x="777" y="1071"/>
                    </a:cubicBezTo>
                    <a:cubicBezTo>
                      <a:pt x="608" y="1026"/>
                      <a:pt x="462" y="969"/>
                      <a:pt x="316" y="891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9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5" y="147"/>
                      <a:pt x="1847" y="249"/>
                    </a:cubicBezTo>
                    <a:cubicBezTo>
                      <a:pt x="1870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7" name="Google Shape;1077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74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8" name="Google Shape;1078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9" name="Google Shape;1079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74"/>
                      <a:pt x="4393" y="1"/>
                      <a:pt x="3188" y="1"/>
                    </a:cubicBez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0" name="Google Shape;1080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4"/>
                      <a:pt x="4945" y="4405"/>
                      <a:pt x="3188" y="4405"/>
                    </a:cubicBezTo>
                    <a:cubicBezTo>
                      <a:pt x="1431" y="4405"/>
                      <a:pt x="0" y="3414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1" name="Google Shape;1081;p33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2"/>
                      <a:pt x="0" y="2208"/>
                    </a:cubicBezTo>
                    <a:cubicBezTo>
                      <a:pt x="0" y="3424"/>
                      <a:pt x="1431" y="4404"/>
                      <a:pt x="3188" y="4404"/>
                    </a:cubicBezTo>
                    <a:cubicBezTo>
                      <a:pt x="4945" y="4404"/>
                      <a:pt x="6364" y="3424"/>
                      <a:pt x="6364" y="2208"/>
                    </a:cubicBezTo>
                    <a:cubicBezTo>
                      <a:pt x="6364" y="992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2" name="Google Shape;1082;p33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4"/>
                      <a:pt x="4945" y="4404"/>
                      <a:pt x="3188" y="4404"/>
                    </a:cubicBezTo>
                    <a:cubicBezTo>
                      <a:pt x="1431" y="4404"/>
                      <a:pt x="0" y="3424"/>
                      <a:pt x="0" y="2208"/>
                    </a:cubicBezTo>
                    <a:cubicBezTo>
                      <a:pt x="0" y="992"/>
                      <a:pt x="1431" y="0"/>
                      <a:pt x="3188" y="0"/>
                    </a:cubicBezTo>
                    <a:cubicBezTo>
                      <a:pt x="4945" y="0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3" name="Google Shape;1083;p33"/>
              <p:cNvSpPr/>
              <p:nvPr/>
            </p:nvSpPr>
            <p:spPr>
              <a:xfrm>
                <a:off x="3958905" y="1358203"/>
                <a:ext cx="419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11" y="958"/>
                    </a:cubicBezTo>
                    <a:lnTo>
                      <a:pt x="1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4" name="Google Shape;1084;p33"/>
              <p:cNvSpPr/>
              <p:nvPr/>
            </p:nvSpPr>
            <p:spPr>
              <a:xfrm>
                <a:off x="3983289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5" name="Google Shape;1085;p33"/>
              <p:cNvSpPr/>
              <p:nvPr/>
            </p:nvSpPr>
            <p:spPr>
              <a:xfrm>
                <a:off x="400610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6" name="Google Shape;1086;p33"/>
              <p:cNvSpPr/>
              <p:nvPr/>
            </p:nvSpPr>
            <p:spPr>
              <a:xfrm>
                <a:off x="4027341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7" name="Google Shape;1087;p33"/>
              <p:cNvSpPr/>
              <p:nvPr/>
            </p:nvSpPr>
            <p:spPr>
              <a:xfrm>
                <a:off x="4045052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8" name="Google Shape;1088;p33"/>
              <p:cNvSpPr/>
              <p:nvPr/>
            </p:nvSpPr>
            <p:spPr>
              <a:xfrm>
                <a:off x="406157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9" name="Google Shape;1089;p33"/>
              <p:cNvSpPr/>
              <p:nvPr/>
            </p:nvSpPr>
            <p:spPr>
              <a:xfrm>
                <a:off x="3934487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0" name="Google Shape;1090;p33"/>
              <p:cNvSpPr/>
              <p:nvPr/>
            </p:nvSpPr>
            <p:spPr>
              <a:xfrm>
                <a:off x="391129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1" name="Google Shape;1091;p33"/>
              <p:cNvSpPr/>
              <p:nvPr/>
            </p:nvSpPr>
            <p:spPr>
              <a:xfrm>
                <a:off x="3890435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2" name="Google Shape;1092;p33"/>
              <p:cNvSpPr/>
              <p:nvPr/>
            </p:nvSpPr>
            <p:spPr>
              <a:xfrm>
                <a:off x="3872339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3" name="Google Shape;1093;p33"/>
              <p:cNvSpPr/>
              <p:nvPr/>
            </p:nvSpPr>
            <p:spPr>
              <a:xfrm>
                <a:off x="385581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4" name="Google Shape;1094;p33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5" name="Google Shape;1095;p33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6" name="Google Shape;1096;p33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1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62"/>
                      <a:pt x="12" y="564"/>
                    </a:cubicBezTo>
                    <a:cubicBezTo>
                      <a:pt x="23" y="676"/>
                      <a:pt x="125" y="789"/>
                      <a:pt x="327" y="902"/>
                    </a:cubicBezTo>
                    <a:cubicBezTo>
                      <a:pt x="462" y="980"/>
                      <a:pt x="620" y="1037"/>
                      <a:pt x="778" y="1071"/>
                    </a:cubicBezTo>
                    <a:cubicBezTo>
                      <a:pt x="947" y="1116"/>
                      <a:pt x="1093" y="1138"/>
                      <a:pt x="1217" y="1138"/>
                    </a:cubicBezTo>
                    <a:cubicBezTo>
                      <a:pt x="1285" y="1144"/>
                      <a:pt x="1375" y="1147"/>
                      <a:pt x="1489" y="1147"/>
                    </a:cubicBezTo>
                    <a:cubicBezTo>
                      <a:pt x="1603" y="1147"/>
                      <a:pt x="1741" y="1144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7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408"/>
                      <a:pt x="2794" y="1431"/>
                    </a:cubicBezTo>
                    <a:cubicBezTo>
                      <a:pt x="2805" y="1454"/>
                      <a:pt x="2783" y="1476"/>
                      <a:pt x="2738" y="1499"/>
                    </a:cubicBezTo>
                    <a:cubicBezTo>
                      <a:pt x="2715" y="1510"/>
                      <a:pt x="2690" y="1515"/>
                      <a:pt x="2663" y="1515"/>
                    </a:cubicBezTo>
                    <a:cubicBezTo>
                      <a:pt x="2636" y="1515"/>
                      <a:pt x="2608" y="1510"/>
                      <a:pt x="2580" y="1499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28"/>
                    </a:lnTo>
                    <a:lnTo>
                      <a:pt x="1409" y="1487"/>
                    </a:lnTo>
                    <a:lnTo>
                      <a:pt x="1544" y="1566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31"/>
                      <a:pt x="3571" y="1307"/>
                    </a:cubicBezTo>
                    <a:cubicBezTo>
                      <a:pt x="3549" y="1183"/>
                      <a:pt x="3413" y="1048"/>
                      <a:pt x="3166" y="924"/>
                    </a:cubicBezTo>
                    <a:cubicBezTo>
                      <a:pt x="3019" y="834"/>
                      <a:pt x="2873" y="778"/>
                      <a:pt x="2726" y="733"/>
                    </a:cubicBezTo>
                    <a:cubicBezTo>
                      <a:pt x="2580" y="699"/>
                      <a:pt x="2456" y="676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454" y="676"/>
                      <a:pt x="1251" y="676"/>
                      <a:pt x="1172" y="676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41"/>
                      <a:pt x="789" y="507"/>
                      <a:pt x="778" y="485"/>
                    </a:cubicBezTo>
                    <a:cubicBezTo>
                      <a:pt x="767" y="451"/>
                      <a:pt x="778" y="440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29"/>
                      <a:pt x="1104" y="462"/>
                      <a:pt x="1217" y="530"/>
                    </a:cubicBezTo>
                    <a:lnTo>
                      <a:pt x="1330" y="598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60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7" name="Google Shape;1097;p33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98"/>
                    </a:lnTo>
                    <a:lnTo>
                      <a:pt x="1217" y="530"/>
                    </a:lnTo>
                    <a:cubicBezTo>
                      <a:pt x="1104" y="462"/>
                      <a:pt x="1014" y="429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40"/>
                      <a:pt x="767" y="451"/>
                      <a:pt x="778" y="485"/>
                    </a:cubicBezTo>
                    <a:cubicBezTo>
                      <a:pt x="789" y="507"/>
                      <a:pt x="823" y="541"/>
                      <a:pt x="890" y="575"/>
                    </a:cubicBezTo>
                    <a:cubicBezTo>
                      <a:pt x="992" y="631"/>
                      <a:pt x="1093" y="665"/>
                      <a:pt x="1172" y="676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76"/>
                      <a:pt x="2580" y="699"/>
                      <a:pt x="2726" y="733"/>
                    </a:cubicBezTo>
                    <a:cubicBezTo>
                      <a:pt x="2873" y="778"/>
                      <a:pt x="3019" y="834"/>
                      <a:pt x="3166" y="924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31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66"/>
                    </a:cubicBezTo>
                    <a:lnTo>
                      <a:pt x="1409" y="1487"/>
                    </a:lnTo>
                    <a:lnTo>
                      <a:pt x="2051" y="1228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9"/>
                    </a:cubicBezTo>
                    <a:cubicBezTo>
                      <a:pt x="2636" y="1521"/>
                      <a:pt x="2693" y="1521"/>
                      <a:pt x="2738" y="1499"/>
                    </a:cubicBezTo>
                    <a:cubicBezTo>
                      <a:pt x="2783" y="1476"/>
                      <a:pt x="2805" y="1454"/>
                      <a:pt x="2794" y="1431"/>
                    </a:cubicBezTo>
                    <a:cubicBezTo>
                      <a:pt x="2783" y="1408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49"/>
                      <a:pt x="1352" y="1149"/>
                      <a:pt x="1217" y="1138"/>
                    </a:cubicBezTo>
                    <a:cubicBezTo>
                      <a:pt x="1093" y="1138"/>
                      <a:pt x="947" y="1116"/>
                      <a:pt x="778" y="1071"/>
                    </a:cubicBezTo>
                    <a:cubicBezTo>
                      <a:pt x="620" y="1037"/>
                      <a:pt x="462" y="980"/>
                      <a:pt x="327" y="902"/>
                    </a:cubicBezTo>
                    <a:cubicBezTo>
                      <a:pt x="125" y="789"/>
                      <a:pt x="23" y="676"/>
                      <a:pt x="12" y="564"/>
                    </a:cubicBezTo>
                    <a:cubicBezTo>
                      <a:pt x="1" y="462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1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60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8" name="Google Shape;1098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62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9" name="Google Shape;1099;p33"/>
              <p:cNvSpPr/>
              <p:nvPr/>
            </p:nvSpPr>
            <p:spPr>
              <a:xfrm>
                <a:off x="3849895" y="117821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0" name="Google Shape;1100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62"/>
                      <a:pt x="4393" y="1"/>
                      <a:pt x="3188" y="1"/>
                    </a:cubicBez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1" name="Google Shape;1101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45" y="4405"/>
                      <a:pt x="3188" y="4405"/>
                    </a:cubicBezTo>
                    <a:cubicBezTo>
                      <a:pt x="1431" y="4405"/>
                      <a:pt x="0" y="3413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2" name="Google Shape;1102;p33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1"/>
                      <a:pt x="0" y="2208"/>
                    </a:cubicBezTo>
                    <a:cubicBezTo>
                      <a:pt x="0" y="3413"/>
                      <a:pt x="1431" y="4404"/>
                      <a:pt x="3188" y="4404"/>
                    </a:cubicBezTo>
                    <a:cubicBezTo>
                      <a:pt x="4945" y="4404"/>
                      <a:pt x="6364" y="3413"/>
                      <a:pt x="6364" y="2208"/>
                    </a:cubicBezTo>
                    <a:cubicBezTo>
                      <a:pt x="6364" y="991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3" name="Google Shape;1103;p33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13"/>
                      <a:pt x="4945" y="4404"/>
                      <a:pt x="3188" y="4404"/>
                    </a:cubicBezTo>
                    <a:cubicBezTo>
                      <a:pt x="1431" y="4404"/>
                      <a:pt x="0" y="3413"/>
                      <a:pt x="0" y="2208"/>
                    </a:cubicBezTo>
                    <a:cubicBezTo>
                      <a:pt x="0" y="991"/>
                      <a:pt x="1431" y="0"/>
                      <a:pt x="3188" y="0"/>
                    </a:cubicBezTo>
                    <a:cubicBezTo>
                      <a:pt x="4945" y="0"/>
                      <a:pt x="6364" y="991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4" name="Google Shape;1104;p33"/>
              <p:cNvSpPr/>
              <p:nvPr/>
            </p:nvSpPr>
            <p:spPr>
              <a:xfrm>
                <a:off x="3958905" y="1295252"/>
                <a:ext cx="419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26" fill="none" extrusionOk="0">
                    <a:moveTo>
                      <a:pt x="0" y="1025"/>
                    </a:moveTo>
                    <a:cubicBezTo>
                      <a:pt x="0" y="1003"/>
                      <a:pt x="0" y="980"/>
                      <a:pt x="11" y="947"/>
                    </a:cubicBezTo>
                    <a:lnTo>
                      <a:pt x="1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5" name="Google Shape;1105;p33"/>
              <p:cNvSpPr/>
              <p:nvPr/>
            </p:nvSpPr>
            <p:spPr>
              <a:xfrm>
                <a:off x="3983289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6" name="Google Shape;1106;p33"/>
              <p:cNvSpPr/>
              <p:nvPr/>
            </p:nvSpPr>
            <p:spPr>
              <a:xfrm>
                <a:off x="400610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7" name="Google Shape;1107;p33"/>
              <p:cNvSpPr/>
              <p:nvPr/>
            </p:nvSpPr>
            <p:spPr>
              <a:xfrm>
                <a:off x="4027341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8" name="Google Shape;1108;p33"/>
              <p:cNvSpPr/>
              <p:nvPr/>
            </p:nvSpPr>
            <p:spPr>
              <a:xfrm>
                <a:off x="4045052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7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9" name="Google Shape;1109;p33"/>
              <p:cNvSpPr/>
              <p:nvPr/>
            </p:nvSpPr>
            <p:spPr>
              <a:xfrm>
                <a:off x="406157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0" name="Google Shape;1110;p33"/>
              <p:cNvSpPr/>
              <p:nvPr/>
            </p:nvSpPr>
            <p:spPr>
              <a:xfrm>
                <a:off x="3934487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1" name="Google Shape;1111;p33"/>
              <p:cNvSpPr/>
              <p:nvPr/>
            </p:nvSpPr>
            <p:spPr>
              <a:xfrm>
                <a:off x="391129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2" name="Google Shape;1112;p33"/>
              <p:cNvSpPr/>
              <p:nvPr/>
            </p:nvSpPr>
            <p:spPr>
              <a:xfrm>
                <a:off x="3890435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" name="Google Shape;1113;p33"/>
              <p:cNvSpPr/>
              <p:nvPr/>
            </p:nvSpPr>
            <p:spPr>
              <a:xfrm>
                <a:off x="3872339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4" name="Google Shape;1114;p33"/>
              <p:cNvSpPr/>
              <p:nvPr/>
            </p:nvSpPr>
            <p:spPr>
              <a:xfrm>
                <a:off x="385581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5" name="Google Shape;1115;p33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6" name="Google Shape;1116;p33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7" name="Google Shape;1117;p33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51"/>
                      <a:pt x="12" y="564"/>
                    </a:cubicBezTo>
                    <a:cubicBezTo>
                      <a:pt x="23" y="676"/>
                      <a:pt x="125" y="778"/>
                      <a:pt x="327" y="890"/>
                    </a:cubicBezTo>
                    <a:cubicBezTo>
                      <a:pt x="462" y="969"/>
                      <a:pt x="620" y="1037"/>
                      <a:pt x="778" y="1070"/>
                    </a:cubicBezTo>
                    <a:cubicBezTo>
                      <a:pt x="947" y="1115"/>
                      <a:pt x="1093" y="1138"/>
                      <a:pt x="1217" y="1138"/>
                    </a:cubicBezTo>
                    <a:cubicBezTo>
                      <a:pt x="1262" y="1142"/>
                      <a:pt x="1317" y="1143"/>
                      <a:pt x="1383" y="1143"/>
                    </a:cubicBezTo>
                    <a:cubicBezTo>
                      <a:pt x="1514" y="1143"/>
                      <a:pt x="1686" y="1138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6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397"/>
                      <a:pt x="2794" y="1431"/>
                    </a:cubicBezTo>
                    <a:cubicBezTo>
                      <a:pt x="2805" y="1453"/>
                      <a:pt x="2783" y="1476"/>
                      <a:pt x="2738" y="1487"/>
                    </a:cubicBezTo>
                    <a:cubicBezTo>
                      <a:pt x="2711" y="1500"/>
                      <a:pt x="2681" y="1506"/>
                      <a:pt x="2649" y="1506"/>
                    </a:cubicBezTo>
                    <a:cubicBezTo>
                      <a:pt x="2627" y="1506"/>
                      <a:pt x="2603" y="1503"/>
                      <a:pt x="2580" y="1498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17"/>
                    </a:lnTo>
                    <a:lnTo>
                      <a:pt x="1409" y="1487"/>
                    </a:lnTo>
                    <a:lnTo>
                      <a:pt x="1544" y="1555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20"/>
                      <a:pt x="3571" y="1307"/>
                    </a:cubicBezTo>
                    <a:cubicBezTo>
                      <a:pt x="3549" y="1183"/>
                      <a:pt x="3413" y="1048"/>
                      <a:pt x="3166" y="913"/>
                    </a:cubicBezTo>
                    <a:cubicBezTo>
                      <a:pt x="3019" y="834"/>
                      <a:pt x="2873" y="766"/>
                      <a:pt x="2726" y="733"/>
                    </a:cubicBezTo>
                    <a:cubicBezTo>
                      <a:pt x="2580" y="687"/>
                      <a:pt x="2456" y="665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611" y="671"/>
                      <a:pt x="1482" y="673"/>
                      <a:pt x="1382" y="673"/>
                    </a:cubicBezTo>
                    <a:cubicBezTo>
                      <a:pt x="1282" y="673"/>
                      <a:pt x="1211" y="671"/>
                      <a:pt x="1172" y="665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30"/>
                      <a:pt x="789" y="507"/>
                      <a:pt x="778" y="473"/>
                    </a:cubicBezTo>
                    <a:cubicBezTo>
                      <a:pt x="767" y="451"/>
                      <a:pt x="778" y="428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17"/>
                      <a:pt x="1104" y="462"/>
                      <a:pt x="1217" y="530"/>
                    </a:cubicBezTo>
                    <a:lnTo>
                      <a:pt x="1330" y="586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59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8" name="Google Shape;1118;p33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86"/>
                    </a:lnTo>
                    <a:lnTo>
                      <a:pt x="1217" y="530"/>
                    </a:lnTo>
                    <a:cubicBezTo>
                      <a:pt x="1104" y="462"/>
                      <a:pt x="1014" y="417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28"/>
                      <a:pt x="767" y="451"/>
                      <a:pt x="778" y="473"/>
                    </a:cubicBezTo>
                    <a:cubicBezTo>
                      <a:pt x="789" y="507"/>
                      <a:pt x="823" y="530"/>
                      <a:pt x="890" y="575"/>
                    </a:cubicBezTo>
                    <a:cubicBezTo>
                      <a:pt x="992" y="631"/>
                      <a:pt x="1093" y="665"/>
                      <a:pt x="1172" y="665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65"/>
                      <a:pt x="2580" y="687"/>
                      <a:pt x="2726" y="733"/>
                    </a:cubicBezTo>
                    <a:cubicBezTo>
                      <a:pt x="2873" y="766"/>
                      <a:pt x="3019" y="834"/>
                      <a:pt x="3166" y="913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20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55"/>
                    </a:cubicBezTo>
                    <a:lnTo>
                      <a:pt x="1409" y="1487"/>
                    </a:lnTo>
                    <a:lnTo>
                      <a:pt x="2051" y="1217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8"/>
                    </a:cubicBezTo>
                    <a:cubicBezTo>
                      <a:pt x="2636" y="1510"/>
                      <a:pt x="2693" y="1510"/>
                      <a:pt x="2738" y="1487"/>
                    </a:cubicBezTo>
                    <a:cubicBezTo>
                      <a:pt x="2783" y="1476"/>
                      <a:pt x="2805" y="1453"/>
                      <a:pt x="2794" y="1431"/>
                    </a:cubicBezTo>
                    <a:cubicBezTo>
                      <a:pt x="2783" y="1397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38"/>
                      <a:pt x="1352" y="1149"/>
                      <a:pt x="1217" y="1138"/>
                    </a:cubicBezTo>
                    <a:cubicBezTo>
                      <a:pt x="1093" y="1138"/>
                      <a:pt x="947" y="1115"/>
                      <a:pt x="778" y="1070"/>
                    </a:cubicBezTo>
                    <a:cubicBezTo>
                      <a:pt x="620" y="1037"/>
                      <a:pt x="462" y="969"/>
                      <a:pt x="327" y="890"/>
                    </a:cubicBezTo>
                    <a:cubicBezTo>
                      <a:pt x="125" y="778"/>
                      <a:pt x="23" y="676"/>
                      <a:pt x="12" y="564"/>
                    </a:cubicBezTo>
                    <a:cubicBezTo>
                      <a:pt x="1" y="451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59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solidFill>
                <a:schemeClr val="dk2"/>
              </a:solidFill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19" name="Google Shape;1119;p33"/>
            <p:cNvSpPr/>
            <p:nvPr/>
          </p:nvSpPr>
          <p:spPr>
            <a:xfrm>
              <a:off x="3794477" y="28759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" name="Google Shape;1120;p33"/>
            <p:cNvSpPr/>
            <p:nvPr/>
          </p:nvSpPr>
          <p:spPr>
            <a:xfrm>
              <a:off x="3817289" y="28245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" name="Google Shape;1121;p33"/>
            <p:cNvSpPr/>
            <p:nvPr/>
          </p:nvSpPr>
          <p:spPr>
            <a:xfrm>
              <a:off x="3838529" y="27379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" name="Google Shape;1122;p33"/>
            <p:cNvSpPr/>
            <p:nvPr/>
          </p:nvSpPr>
          <p:spPr>
            <a:xfrm>
              <a:off x="3856660" y="26160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" name="Google Shape;1123;p33"/>
            <p:cNvSpPr/>
            <p:nvPr/>
          </p:nvSpPr>
          <p:spPr>
            <a:xfrm>
              <a:off x="3873183" y="241548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" name="Google Shape;1124;p33"/>
            <p:cNvSpPr/>
            <p:nvPr/>
          </p:nvSpPr>
          <p:spPr>
            <a:xfrm>
              <a:off x="3794477" y="224640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" name="Google Shape;1125;p33"/>
            <p:cNvSpPr/>
            <p:nvPr/>
          </p:nvSpPr>
          <p:spPr>
            <a:xfrm>
              <a:off x="3817289" y="219504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" name="Google Shape;1126;p33"/>
            <p:cNvSpPr/>
            <p:nvPr/>
          </p:nvSpPr>
          <p:spPr>
            <a:xfrm>
              <a:off x="3838529" y="21084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" name="Google Shape;1127;p33"/>
            <p:cNvSpPr/>
            <p:nvPr/>
          </p:nvSpPr>
          <p:spPr>
            <a:xfrm>
              <a:off x="3856660" y="19864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" name="Google Shape;1128;p33"/>
            <p:cNvSpPr/>
            <p:nvPr/>
          </p:nvSpPr>
          <p:spPr>
            <a:xfrm>
              <a:off x="3873183" y="17859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" name="Google Shape;1129;p33"/>
            <p:cNvSpPr/>
            <p:nvPr/>
          </p:nvSpPr>
          <p:spPr>
            <a:xfrm>
              <a:off x="3794477" y="160885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" name="Google Shape;1130;p33"/>
            <p:cNvSpPr/>
            <p:nvPr/>
          </p:nvSpPr>
          <p:spPr>
            <a:xfrm>
              <a:off x="3817289" y="155750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5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" name="Google Shape;1131;p33"/>
            <p:cNvSpPr/>
            <p:nvPr/>
          </p:nvSpPr>
          <p:spPr>
            <a:xfrm>
              <a:off x="3838529" y="14712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" name="Google Shape;1132;p33"/>
            <p:cNvSpPr/>
            <p:nvPr/>
          </p:nvSpPr>
          <p:spPr>
            <a:xfrm>
              <a:off x="3856660" y="13489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" name="Google Shape;1133;p33"/>
            <p:cNvSpPr/>
            <p:nvPr/>
          </p:nvSpPr>
          <p:spPr>
            <a:xfrm>
              <a:off x="3873183" y="11484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" name="Google Shape;1134;p33"/>
          <p:cNvGrpSpPr/>
          <p:nvPr/>
        </p:nvGrpSpPr>
        <p:grpSpPr>
          <a:xfrm>
            <a:off x="511753" y="2579144"/>
            <a:ext cx="1060745" cy="736755"/>
            <a:chOff x="-1693165" y="2708310"/>
            <a:chExt cx="597737" cy="415167"/>
          </a:xfrm>
        </p:grpSpPr>
        <p:sp>
          <p:nvSpPr>
            <p:cNvPr id="1135" name="Google Shape;1135;p33"/>
            <p:cNvSpPr/>
            <p:nvPr/>
          </p:nvSpPr>
          <p:spPr>
            <a:xfrm>
              <a:off x="-1692362" y="2734091"/>
              <a:ext cx="596131" cy="389386"/>
            </a:xfrm>
            <a:custGeom>
              <a:avLst/>
              <a:gdLst/>
              <a:ahLst/>
              <a:cxnLst/>
              <a:rect l="l" t="t" r="r" b="b"/>
              <a:pathLst>
                <a:path w="17064" h="11146" extrusionOk="0">
                  <a:moveTo>
                    <a:pt x="7475" y="1"/>
                  </a:moveTo>
                  <a:cubicBezTo>
                    <a:pt x="7366" y="1"/>
                    <a:pt x="7259" y="29"/>
                    <a:pt x="7164" y="85"/>
                  </a:cubicBezTo>
                  <a:lnTo>
                    <a:pt x="642" y="3881"/>
                  </a:lnTo>
                  <a:cubicBezTo>
                    <a:pt x="529" y="3948"/>
                    <a:pt x="496" y="4072"/>
                    <a:pt x="541" y="4174"/>
                  </a:cubicBezTo>
                  <a:cubicBezTo>
                    <a:pt x="496" y="4275"/>
                    <a:pt x="529" y="4410"/>
                    <a:pt x="642" y="4467"/>
                  </a:cubicBezTo>
                  <a:lnTo>
                    <a:pt x="935" y="4647"/>
                  </a:lnTo>
                  <a:lnTo>
                    <a:pt x="135" y="5109"/>
                  </a:lnTo>
                  <a:cubicBezTo>
                    <a:pt x="34" y="5176"/>
                    <a:pt x="0" y="5300"/>
                    <a:pt x="45" y="5401"/>
                  </a:cubicBezTo>
                  <a:cubicBezTo>
                    <a:pt x="0" y="5503"/>
                    <a:pt x="34" y="5638"/>
                    <a:pt x="135" y="5706"/>
                  </a:cubicBezTo>
                  <a:lnTo>
                    <a:pt x="9304" y="11044"/>
                  </a:lnTo>
                  <a:cubicBezTo>
                    <a:pt x="9416" y="11112"/>
                    <a:pt x="9546" y="11146"/>
                    <a:pt x="9675" y="11146"/>
                  </a:cubicBezTo>
                  <a:cubicBezTo>
                    <a:pt x="9805" y="11146"/>
                    <a:pt x="9934" y="11112"/>
                    <a:pt x="10047" y="11044"/>
                  </a:cubicBezTo>
                  <a:lnTo>
                    <a:pt x="16366" y="7339"/>
                  </a:lnTo>
                  <a:cubicBezTo>
                    <a:pt x="16512" y="7249"/>
                    <a:pt x="16557" y="7091"/>
                    <a:pt x="16523" y="6956"/>
                  </a:cubicBezTo>
                  <a:cubicBezTo>
                    <a:pt x="16557" y="6809"/>
                    <a:pt x="16512" y="6652"/>
                    <a:pt x="16366" y="6573"/>
                  </a:cubicBezTo>
                  <a:lnTo>
                    <a:pt x="16219" y="6483"/>
                  </a:lnTo>
                  <a:lnTo>
                    <a:pt x="16873" y="6111"/>
                  </a:lnTo>
                  <a:cubicBezTo>
                    <a:pt x="17008" y="6021"/>
                    <a:pt x="17064" y="5863"/>
                    <a:pt x="17019" y="5728"/>
                  </a:cubicBezTo>
                  <a:cubicBezTo>
                    <a:pt x="17064" y="5582"/>
                    <a:pt x="17008" y="5424"/>
                    <a:pt x="16873" y="5345"/>
                  </a:cubicBezTo>
                  <a:lnTo>
                    <a:pt x="16861" y="5345"/>
                  </a:lnTo>
                  <a:lnTo>
                    <a:pt x="7794" y="85"/>
                  </a:lnTo>
                  <a:cubicBezTo>
                    <a:pt x="7693" y="29"/>
                    <a:pt x="7583" y="1"/>
                    <a:pt x="7475" y="1"/>
                  </a:cubicBezTo>
                  <a:close/>
                </a:path>
              </a:pathLst>
            </a:cu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" name="Google Shape;1136;p33"/>
            <p:cNvSpPr/>
            <p:nvPr/>
          </p:nvSpPr>
          <p:spPr>
            <a:xfrm>
              <a:off x="-1693165" y="2758894"/>
              <a:ext cx="580410" cy="339813"/>
            </a:xfrm>
            <a:custGeom>
              <a:avLst/>
              <a:gdLst/>
              <a:ahLst/>
              <a:cxnLst/>
              <a:rect l="l" t="t" r="r" b="b"/>
              <a:pathLst>
                <a:path w="16614" h="9727" extrusionOk="0">
                  <a:moveTo>
                    <a:pt x="6999" y="0"/>
                  </a:moveTo>
                  <a:cubicBezTo>
                    <a:pt x="6891" y="0"/>
                    <a:pt x="6781" y="28"/>
                    <a:pt x="6680" y="85"/>
                  </a:cubicBezTo>
                  <a:lnTo>
                    <a:pt x="158" y="3881"/>
                  </a:lnTo>
                  <a:cubicBezTo>
                    <a:pt x="1" y="3971"/>
                    <a:pt x="1" y="4196"/>
                    <a:pt x="158" y="4286"/>
                  </a:cubicBezTo>
                  <a:lnTo>
                    <a:pt x="9327" y="9625"/>
                  </a:lnTo>
                  <a:cubicBezTo>
                    <a:pt x="9439" y="9692"/>
                    <a:pt x="9569" y="9726"/>
                    <a:pt x="9698" y="9726"/>
                  </a:cubicBezTo>
                  <a:cubicBezTo>
                    <a:pt x="9828" y="9726"/>
                    <a:pt x="9957" y="9692"/>
                    <a:pt x="10070" y="9625"/>
                  </a:cubicBezTo>
                  <a:lnTo>
                    <a:pt x="16389" y="5919"/>
                  </a:lnTo>
                  <a:cubicBezTo>
                    <a:pt x="16614" y="5795"/>
                    <a:pt x="16614" y="5469"/>
                    <a:pt x="16389" y="5345"/>
                  </a:cubicBezTo>
                  <a:lnTo>
                    <a:pt x="7310" y="85"/>
                  </a:lnTo>
                  <a:cubicBezTo>
                    <a:pt x="7215" y="28"/>
                    <a:pt x="7108" y="0"/>
                    <a:pt x="6999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" name="Google Shape;1137;p33"/>
            <p:cNvSpPr/>
            <p:nvPr/>
          </p:nvSpPr>
          <p:spPr>
            <a:xfrm>
              <a:off x="-1693165" y="2757916"/>
              <a:ext cx="580410" cy="341944"/>
            </a:xfrm>
            <a:custGeom>
              <a:avLst/>
              <a:gdLst/>
              <a:ahLst/>
              <a:cxnLst/>
              <a:rect l="l" t="t" r="r" b="b"/>
              <a:pathLst>
                <a:path w="16614" h="9788" fill="none" extrusionOk="0">
                  <a:moveTo>
                    <a:pt x="16389" y="5947"/>
                  </a:moveTo>
                  <a:lnTo>
                    <a:pt x="10070" y="9653"/>
                  </a:lnTo>
                  <a:cubicBezTo>
                    <a:pt x="9845" y="9788"/>
                    <a:pt x="9552" y="9788"/>
                    <a:pt x="9327" y="9653"/>
                  </a:cubicBezTo>
                  <a:lnTo>
                    <a:pt x="158" y="4314"/>
                  </a:lnTo>
                  <a:cubicBezTo>
                    <a:pt x="1" y="4224"/>
                    <a:pt x="1" y="3999"/>
                    <a:pt x="158" y="3909"/>
                  </a:cubicBezTo>
                  <a:lnTo>
                    <a:pt x="6680" y="113"/>
                  </a:lnTo>
                  <a:cubicBezTo>
                    <a:pt x="6882" y="0"/>
                    <a:pt x="7119" y="0"/>
                    <a:pt x="7310" y="113"/>
                  </a:cubicBezTo>
                  <a:lnTo>
                    <a:pt x="16389" y="5373"/>
                  </a:lnTo>
                  <a:cubicBezTo>
                    <a:pt x="16614" y="5497"/>
                    <a:pt x="16614" y="5823"/>
                    <a:pt x="16389" y="594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" name="Google Shape;1138;p33"/>
            <p:cNvSpPr/>
            <p:nvPr/>
          </p:nvSpPr>
          <p:spPr>
            <a:xfrm>
              <a:off x="-1693165" y="2752292"/>
              <a:ext cx="580410" cy="340092"/>
            </a:xfrm>
            <a:custGeom>
              <a:avLst/>
              <a:gdLst/>
              <a:ahLst/>
              <a:cxnLst/>
              <a:rect l="l" t="t" r="r" b="b"/>
              <a:pathLst>
                <a:path w="16614" h="9735" extrusionOk="0">
                  <a:moveTo>
                    <a:pt x="6999" y="1"/>
                  </a:moveTo>
                  <a:cubicBezTo>
                    <a:pt x="6891" y="1"/>
                    <a:pt x="6781" y="32"/>
                    <a:pt x="6680" y="94"/>
                  </a:cubicBezTo>
                  <a:lnTo>
                    <a:pt x="158" y="3889"/>
                  </a:lnTo>
                  <a:cubicBezTo>
                    <a:pt x="1" y="3979"/>
                    <a:pt x="1" y="4205"/>
                    <a:pt x="158" y="4295"/>
                  </a:cubicBezTo>
                  <a:lnTo>
                    <a:pt x="9327" y="9634"/>
                  </a:lnTo>
                  <a:cubicBezTo>
                    <a:pt x="9439" y="9701"/>
                    <a:pt x="9569" y="9735"/>
                    <a:pt x="9698" y="9735"/>
                  </a:cubicBezTo>
                  <a:cubicBezTo>
                    <a:pt x="9828" y="9735"/>
                    <a:pt x="9957" y="9701"/>
                    <a:pt x="10070" y="9634"/>
                  </a:cubicBezTo>
                  <a:lnTo>
                    <a:pt x="16389" y="5928"/>
                  </a:lnTo>
                  <a:cubicBezTo>
                    <a:pt x="16614" y="5804"/>
                    <a:pt x="16614" y="5477"/>
                    <a:pt x="16389" y="5354"/>
                  </a:cubicBezTo>
                  <a:lnTo>
                    <a:pt x="7310" y="94"/>
                  </a:lnTo>
                  <a:cubicBezTo>
                    <a:pt x="7215" y="32"/>
                    <a:pt x="7108" y="1"/>
                    <a:pt x="69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" name="Google Shape;1139;p33"/>
            <p:cNvSpPr/>
            <p:nvPr/>
          </p:nvSpPr>
          <p:spPr>
            <a:xfrm>
              <a:off x="-1693165" y="2751209"/>
              <a:ext cx="580410" cy="342363"/>
            </a:xfrm>
            <a:custGeom>
              <a:avLst/>
              <a:gdLst/>
              <a:ahLst/>
              <a:cxnLst/>
              <a:rect l="l" t="t" r="r" b="b"/>
              <a:pathLst>
                <a:path w="16614" h="9800" fill="none" extrusionOk="0">
                  <a:moveTo>
                    <a:pt x="16389" y="5959"/>
                  </a:moveTo>
                  <a:lnTo>
                    <a:pt x="10070" y="9665"/>
                  </a:lnTo>
                  <a:cubicBezTo>
                    <a:pt x="9845" y="9800"/>
                    <a:pt x="9552" y="9800"/>
                    <a:pt x="9327" y="9665"/>
                  </a:cubicBezTo>
                  <a:lnTo>
                    <a:pt x="158" y="4326"/>
                  </a:lnTo>
                  <a:cubicBezTo>
                    <a:pt x="1" y="4236"/>
                    <a:pt x="1" y="4010"/>
                    <a:pt x="158" y="3920"/>
                  </a:cubicBezTo>
                  <a:lnTo>
                    <a:pt x="6680" y="125"/>
                  </a:lnTo>
                  <a:cubicBezTo>
                    <a:pt x="6882" y="1"/>
                    <a:pt x="7119" y="1"/>
                    <a:pt x="7310" y="125"/>
                  </a:cubicBezTo>
                  <a:lnTo>
                    <a:pt x="16389" y="5385"/>
                  </a:lnTo>
                  <a:cubicBezTo>
                    <a:pt x="16614" y="5508"/>
                    <a:pt x="16614" y="5835"/>
                    <a:pt x="16389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" name="Google Shape;1140;p33"/>
            <p:cNvSpPr/>
            <p:nvPr/>
          </p:nvSpPr>
          <p:spPr>
            <a:xfrm>
              <a:off x="-1545989" y="2855871"/>
              <a:ext cx="251043" cy="146413"/>
            </a:xfrm>
            <a:custGeom>
              <a:avLst/>
              <a:gdLst/>
              <a:ahLst/>
              <a:cxnLst/>
              <a:rect l="l" t="t" r="r" b="b"/>
              <a:pathLst>
                <a:path w="7186" h="4191" fill="none" extrusionOk="0">
                  <a:moveTo>
                    <a:pt x="7186" y="4191"/>
                  </a:moveTo>
                  <a:lnTo>
                    <a:pt x="0" y="1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" name="Google Shape;1141;p33"/>
            <p:cNvSpPr/>
            <p:nvPr/>
          </p:nvSpPr>
          <p:spPr>
            <a:xfrm>
              <a:off x="-1564888" y="2868482"/>
              <a:ext cx="251078" cy="146413"/>
            </a:xfrm>
            <a:custGeom>
              <a:avLst/>
              <a:gdLst/>
              <a:ahLst/>
              <a:cxnLst/>
              <a:rect l="l" t="t" r="r" b="b"/>
              <a:pathLst>
                <a:path w="7187" h="4191" fill="none" extrusionOk="0">
                  <a:moveTo>
                    <a:pt x="7186" y="4190"/>
                  </a:moveTo>
                  <a:lnTo>
                    <a:pt x="0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" name="Google Shape;1142;p33"/>
            <p:cNvSpPr/>
            <p:nvPr/>
          </p:nvSpPr>
          <p:spPr>
            <a:xfrm>
              <a:off x="-1590460" y="2881442"/>
              <a:ext cx="251078" cy="146028"/>
            </a:xfrm>
            <a:custGeom>
              <a:avLst/>
              <a:gdLst/>
              <a:ahLst/>
              <a:cxnLst/>
              <a:rect l="l" t="t" r="r" b="b"/>
              <a:pathLst>
                <a:path w="7187" h="4180" fill="none" extrusionOk="0">
                  <a:moveTo>
                    <a:pt x="7186" y="4179"/>
                  </a:moveTo>
                  <a:lnTo>
                    <a:pt x="0" y="1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" name="Google Shape;1143;p33"/>
            <p:cNvSpPr/>
            <p:nvPr/>
          </p:nvSpPr>
          <p:spPr>
            <a:xfrm>
              <a:off x="-1298133" y="2907014"/>
              <a:ext cx="118884" cy="70534"/>
            </a:xfrm>
            <a:custGeom>
              <a:avLst/>
              <a:gdLst/>
              <a:ahLst/>
              <a:cxnLst/>
              <a:rect l="l" t="t" r="r" b="b"/>
              <a:pathLst>
                <a:path w="3403" h="2019" extrusionOk="0">
                  <a:moveTo>
                    <a:pt x="1707" y="1"/>
                  </a:moveTo>
                  <a:cubicBezTo>
                    <a:pt x="1662" y="1"/>
                    <a:pt x="1617" y="12"/>
                    <a:pt x="1578" y="35"/>
                  </a:cubicBezTo>
                  <a:lnTo>
                    <a:pt x="57" y="925"/>
                  </a:lnTo>
                  <a:cubicBezTo>
                    <a:pt x="1" y="958"/>
                    <a:pt x="1" y="1048"/>
                    <a:pt x="57" y="1082"/>
                  </a:cubicBezTo>
                  <a:lnTo>
                    <a:pt x="1555" y="1983"/>
                  </a:lnTo>
                  <a:cubicBezTo>
                    <a:pt x="1591" y="2007"/>
                    <a:pt x="1637" y="2019"/>
                    <a:pt x="1684" y="2019"/>
                  </a:cubicBezTo>
                  <a:cubicBezTo>
                    <a:pt x="1725" y="2019"/>
                    <a:pt x="1766" y="2010"/>
                    <a:pt x="1803" y="1995"/>
                  </a:cubicBezTo>
                  <a:lnTo>
                    <a:pt x="3312" y="1127"/>
                  </a:lnTo>
                  <a:cubicBezTo>
                    <a:pt x="3402" y="1082"/>
                    <a:pt x="3402" y="947"/>
                    <a:pt x="3312" y="902"/>
                  </a:cubicBezTo>
                  <a:lnTo>
                    <a:pt x="1837" y="35"/>
                  </a:lnTo>
                  <a:cubicBezTo>
                    <a:pt x="1797" y="12"/>
                    <a:pt x="1752" y="1"/>
                    <a:pt x="170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" name="Google Shape;1144;p33"/>
            <p:cNvSpPr/>
            <p:nvPr/>
          </p:nvSpPr>
          <p:spPr>
            <a:xfrm>
              <a:off x="-1298133" y="2906630"/>
              <a:ext cx="118884" cy="71267"/>
            </a:xfrm>
            <a:custGeom>
              <a:avLst/>
              <a:gdLst/>
              <a:ahLst/>
              <a:cxnLst/>
              <a:rect l="l" t="t" r="r" b="b"/>
              <a:pathLst>
                <a:path w="3403" h="2040" fill="none" extrusionOk="0">
                  <a:moveTo>
                    <a:pt x="3312" y="1138"/>
                  </a:moveTo>
                  <a:lnTo>
                    <a:pt x="1803" y="2006"/>
                  </a:lnTo>
                  <a:cubicBezTo>
                    <a:pt x="1724" y="2039"/>
                    <a:pt x="1623" y="2039"/>
                    <a:pt x="1555" y="1994"/>
                  </a:cubicBezTo>
                  <a:lnTo>
                    <a:pt x="57" y="1093"/>
                  </a:lnTo>
                  <a:cubicBezTo>
                    <a:pt x="1" y="1059"/>
                    <a:pt x="1" y="969"/>
                    <a:pt x="57" y="936"/>
                  </a:cubicBezTo>
                  <a:lnTo>
                    <a:pt x="1578" y="46"/>
                  </a:lnTo>
                  <a:cubicBezTo>
                    <a:pt x="1657" y="1"/>
                    <a:pt x="1758" y="1"/>
                    <a:pt x="1837" y="46"/>
                  </a:cubicBezTo>
                  <a:lnTo>
                    <a:pt x="3312" y="913"/>
                  </a:lnTo>
                  <a:cubicBezTo>
                    <a:pt x="3402" y="958"/>
                    <a:pt x="3402" y="1093"/>
                    <a:pt x="3312" y="113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" name="Google Shape;1145;p33"/>
            <p:cNvSpPr/>
            <p:nvPr/>
          </p:nvSpPr>
          <p:spPr>
            <a:xfrm>
              <a:off x="-1252091" y="2914490"/>
              <a:ext cx="62219" cy="36647"/>
            </a:xfrm>
            <a:custGeom>
              <a:avLst/>
              <a:gdLst/>
              <a:ahLst/>
              <a:cxnLst/>
              <a:rect l="l" t="t" r="r" b="b"/>
              <a:pathLst>
                <a:path w="1781" h="1049" fill="none" extrusionOk="0">
                  <a:moveTo>
                    <a:pt x="1780" y="1048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" name="Google Shape;1146;p33"/>
            <p:cNvSpPr/>
            <p:nvPr/>
          </p:nvSpPr>
          <p:spPr>
            <a:xfrm>
              <a:off x="-1284334" y="2932201"/>
              <a:ext cx="62184" cy="36647"/>
            </a:xfrm>
            <a:custGeom>
              <a:avLst/>
              <a:gdLst/>
              <a:ahLst/>
              <a:cxnLst/>
              <a:rect l="l" t="t" r="r" b="b"/>
              <a:pathLst>
                <a:path w="1780" h="1049" fill="none" extrusionOk="0">
                  <a:moveTo>
                    <a:pt x="1780" y="1048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" name="Google Shape;1147;p33"/>
            <p:cNvSpPr/>
            <p:nvPr/>
          </p:nvSpPr>
          <p:spPr>
            <a:xfrm>
              <a:off x="-1252475" y="2933005"/>
              <a:ext cx="62219" cy="37800"/>
            </a:xfrm>
            <a:custGeom>
              <a:avLst/>
              <a:gdLst/>
              <a:ahLst/>
              <a:cxnLst/>
              <a:rect l="l" t="t" r="r" b="b"/>
              <a:pathLst>
                <a:path w="1781" h="1082" fill="none" extrusionOk="0">
                  <a:moveTo>
                    <a:pt x="1780" y="0"/>
                  </a:moveTo>
                  <a:lnTo>
                    <a:pt x="0" y="1082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" name="Google Shape;1148;p33"/>
            <p:cNvSpPr/>
            <p:nvPr/>
          </p:nvSpPr>
          <p:spPr>
            <a:xfrm>
              <a:off x="-1247374" y="2935345"/>
              <a:ext cx="31127" cy="18935"/>
            </a:xfrm>
            <a:custGeom>
              <a:avLst/>
              <a:gdLst/>
              <a:ahLst/>
              <a:cxnLst/>
              <a:rect l="l" t="t" r="r" b="b"/>
              <a:pathLst>
                <a:path w="891" h="542" fill="none" extrusionOk="0">
                  <a:moveTo>
                    <a:pt x="891" y="1"/>
                  </a:moveTo>
                  <a:lnTo>
                    <a:pt x="1" y="542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" name="Google Shape;1149;p33"/>
            <p:cNvSpPr/>
            <p:nvPr/>
          </p:nvSpPr>
          <p:spPr>
            <a:xfrm>
              <a:off x="-1261138" y="2926298"/>
              <a:ext cx="30743" cy="18550"/>
            </a:xfrm>
            <a:custGeom>
              <a:avLst/>
              <a:gdLst/>
              <a:ahLst/>
              <a:cxnLst/>
              <a:rect l="l" t="t" r="r" b="b"/>
              <a:pathLst>
                <a:path w="880" h="531" fill="none" extrusionOk="0">
                  <a:moveTo>
                    <a:pt x="879" y="1"/>
                  </a:moveTo>
                  <a:lnTo>
                    <a:pt x="1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" name="Google Shape;1150;p33"/>
            <p:cNvSpPr/>
            <p:nvPr/>
          </p:nvSpPr>
          <p:spPr>
            <a:xfrm>
              <a:off x="-1290238" y="2911765"/>
              <a:ext cx="61416" cy="36996"/>
            </a:xfrm>
            <a:custGeom>
              <a:avLst/>
              <a:gdLst/>
              <a:ahLst/>
              <a:cxnLst/>
              <a:rect l="l" t="t" r="r" b="b"/>
              <a:pathLst>
                <a:path w="1758" h="1059" fill="none" extrusionOk="0">
                  <a:moveTo>
                    <a:pt x="1757" y="0"/>
                  </a:moveTo>
                  <a:cubicBezTo>
                    <a:pt x="1746" y="23"/>
                    <a:pt x="0" y="1059"/>
                    <a:pt x="0" y="1059"/>
                  </a:cubicBez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" name="Google Shape;1151;p33"/>
            <p:cNvSpPr/>
            <p:nvPr/>
          </p:nvSpPr>
          <p:spPr>
            <a:xfrm>
              <a:off x="-1675454" y="2715716"/>
              <a:ext cx="580026" cy="340092"/>
            </a:xfrm>
            <a:custGeom>
              <a:avLst/>
              <a:gdLst/>
              <a:ahLst/>
              <a:cxnLst/>
              <a:rect l="l" t="t" r="r" b="b"/>
              <a:pathLst>
                <a:path w="16603" h="9735" extrusionOk="0">
                  <a:moveTo>
                    <a:pt x="6991" y="0"/>
                  </a:moveTo>
                  <a:cubicBezTo>
                    <a:pt x="6882" y="0"/>
                    <a:pt x="6775" y="31"/>
                    <a:pt x="6680" y="93"/>
                  </a:cubicBezTo>
                  <a:lnTo>
                    <a:pt x="158" y="3889"/>
                  </a:lnTo>
                  <a:cubicBezTo>
                    <a:pt x="0" y="3979"/>
                    <a:pt x="0" y="4204"/>
                    <a:pt x="158" y="4294"/>
                  </a:cubicBezTo>
                  <a:lnTo>
                    <a:pt x="9315" y="9633"/>
                  </a:lnTo>
                  <a:cubicBezTo>
                    <a:pt x="9433" y="9701"/>
                    <a:pt x="9563" y="9734"/>
                    <a:pt x="9691" y="9734"/>
                  </a:cubicBezTo>
                  <a:cubicBezTo>
                    <a:pt x="9819" y="9734"/>
                    <a:pt x="9946" y="9701"/>
                    <a:pt x="10059" y="9633"/>
                  </a:cubicBezTo>
                  <a:lnTo>
                    <a:pt x="16377" y="5927"/>
                  </a:lnTo>
                  <a:cubicBezTo>
                    <a:pt x="16603" y="5804"/>
                    <a:pt x="16603" y="5477"/>
                    <a:pt x="16377" y="5353"/>
                  </a:cubicBezTo>
                  <a:lnTo>
                    <a:pt x="7310" y="93"/>
                  </a:lnTo>
                  <a:cubicBezTo>
                    <a:pt x="7209" y="31"/>
                    <a:pt x="7099" y="0"/>
                    <a:pt x="69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" name="Google Shape;1152;p33"/>
            <p:cNvSpPr/>
            <p:nvPr/>
          </p:nvSpPr>
          <p:spPr>
            <a:xfrm>
              <a:off x="-1675454" y="2714633"/>
              <a:ext cx="580026" cy="342363"/>
            </a:xfrm>
            <a:custGeom>
              <a:avLst/>
              <a:gdLst/>
              <a:ahLst/>
              <a:cxnLst/>
              <a:rect l="l" t="t" r="r" b="b"/>
              <a:pathLst>
                <a:path w="16603" h="9800" fill="none" extrusionOk="0">
                  <a:moveTo>
                    <a:pt x="16377" y="5958"/>
                  </a:moveTo>
                  <a:lnTo>
                    <a:pt x="10059" y="9664"/>
                  </a:lnTo>
                  <a:cubicBezTo>
                    <a:pt x="9833" y="9799"/>
                    <a:pt x="9552" y="9799"/>
                    <a:pt x="9315" y="9664"/>
                  </a:cubicBezTo>
                  <a:lnTo>
                    <a:pt x="158" y="4325"/>
                  </a:lnTo>
                  <a:cubicBezTo>
                    <a:pt x="0" y="4235"/>
                    <a:pt x="0" y="4010"/>
                    <a:pt x="158" y="3920"/>
                  </a:cubicBezTo>
                  <a:lnTo>
                    <a:pt x="6680" y="124"/>
                  </a:lnTo>
                  <a:cubicBezTo>
                    <a:pt x="6871" y="0"/>
                    <a:pt x="7108" y="0"/>
                    <a:pt x="7310" y="124"/>
                  </a:cubicBezTo>
                  <a:lnTo>
                    <a:pt x="16377" y="5384"/>
                  </a:lnTo>
                  <a:cubicBezTo>
                    <a:pt x="16603" y="5508"/>
                    <a:pt x="16603" y="5835"/>
                    <a:pt x="16377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" name="Google Shape;1153;p33"/>
            <p:cNvSpPr/>
            <p:nvPr/>
          </p:nvSpPr>
          <p:spPr>
            <a:xfrm>
              <a:off x="-1675454" y="2709323"/>
              <a:ext cx="580026" cy="340197"/>
            </a:xfrm>
            <a:custGeom>
              <a:avLst/>
              <a:gdLst/>
              <a:ahLst/>
              <a:cxnLst/>
              <a:rect l="l" t="t" r="r" b="b"/>
              <a:pathLst>
                <a:path w="16603" h="9738" extrusionOk="0">
                  <a:moveTo>
                    <a:pt x="6991" y="0"/>
                  </a:moveTo>
                  <a:cubicBezTo>
                    <a:pt x="6882" y="0"/>
                    <a:pt x="6775" y="28"/>
                    <a:pt x="6680" y="85"/>
                  </a:cubicBezTo>
                  <a:lnTo>
                    <a:pt x="158" y="3880"/>
                  </a:lnTo>
                  <a:cubicBezTo>
                    <a:pt x="0" y="3982"/>
                    <a:pt x="0" y="4207"/>
                    <a:pt x="158" y="4297"/>
                  </a:cubicBezTo>
                  <a:lnTo>
                    <a:pt x="9315" y="9636"/>
                  </a:lnTo>
                  <a:cubicBezTo>
                    <a:pt x="9433" y="9703"/>
                    <a:pt x="9563" y="9737"/>
                    <a:pt x="9691" y="9737"/>
                  </a:cubicBezTo>
                  <a:cubicBezTo>
                    <a:pt x="9819" y="9737"/>
                    <a:pt x="9946" y="9703"/>
                    <a:pt x="10059" y="9636"/>
                  </a:cubicBezTo>
                  <a:lnTo>
                    <a:pt x="16377" y="5930"/>
                  </a:lnTo>
                  <a:cubicBezTo>
                    <a:pt x="16603" y="5795"/>
                    <a:pt x="16603" y="5480"/>
                    <a:pt x="16377" y="5345"/>
                  </a:cubicBezTo>
                  <a:lnTo>
                    <a:pt x="7310" y="85"/>
                  </a:lnTo>
                  <a:cubicBezTo>
                    <a:pt x="7209" y="28"/>
                    <a:pt x="7099" y="0"/>
                    <a:pt x="699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" name="Google Shape;1154;p33"/>
            <p:cNvSpPr/>
            <p:nvPr/>
          </p:nvSpPr>
          <p:spPr>
            <a:xfrm>
              <a:off x="-1675454" y="2708310"/>
              <a:ext cx="580026" cy="342398"/>
            </a:xfrm>
            <a:custGeom>
              <a:avLst/>
              <a:gdLst/>
              <a:ahLst/>
              <a:cxnLst/>
              <a:rect l="l" t="t" r="r" b="b"/>
              <a:pathLst>
                <a:path w="16603" h="9801" fill="none" extrusionOk="0">
                  <a:moveTo>
                    <a:pt x="16377" y="5959"/>
                  </a:moveTo>
                  <a:lnTo>
                    <a:pt x="10059" y="9665"/>
                  </a:lnTo>
                  <a:cubicBezTo>
                    <a:pt x="9833" y="9800"/>
                    <a:pt x="9552" y="9800"/>
                    <a:pt x="9315" y="9665"/>
                  </a:cubicBezTo>
                  <a:lnTo>
                    <a:pt x="158" y="4326"/>
                  </a:lnTo>
                  <a:cubicBezTo>
                    <a:pt x="0" y="4236"/>
                    <a:pt x="0" y="4011"/>
                    <a:pt x="158" y="3909"/>
                  </a:cubicBezTo>
                  <a:lnTo>
                    <a:pt x="6680" y="114"/>
                  </a:lnTo>
                  <a:cubicBezTo>
                    <a:pt x="6871" y="1"/>
                    <a:pt x="7108" y="1"/>
                    <a:pt x="7310" y="114"/>
                  </a:cubicBezTo>
                  <a:lnTo>
                    <a:pt x="16377" y="5374"/>
                  </a:lnTo>
                  <a:cubicBezTo>
                    <a:pt x="16603" y="5509"/>
                    <a:pt x="16603" y="5824"/>
                    <a:pt x="16377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" name="Google Shape;1155;p33"/>
            <p:cNvSpPr/>
            <p:nvPr/>
          </p:nvSpPr>
          <p:spPr>
            <a:xfrm>
              <a:off x="-1528312" y="2813007"/>
              <a:ext cx="251078" cy="146378"/>
            </a:xfrm>
            <a:custGeom>
              <a:avLst/>
              <a:gdLst/>
              <a:ahLst/>
              <a:cxnLst/>
              <a:rect l="l" t="t" r="r" b="b"/>
              <a:pathLst>
                <a:path w="7187" h="4190" fill="none" extrusionOk="0">
                  <a:moveTo>
                    <a:pt x="7187" y="4190"/>
                  </a:moveTo>
                  <a:lnTo>
                    <a:pt x="1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" name="Google Shape;1156;p33"/>
            <p:cNvSpPr/>
            <p:nvPr/>
          </p:nvSpPr>
          <p:spPr>
            <a:xfrm>
              <a:off x="-1547596" y="2825583"/>
              <a:ext cx="251078" cy="146413"/>
            </a:xfrm>
            <a:custGeom>
              <a:avLst/>
              <a:gdLst/>
              <a:ahLst/>
              <a:cxnLst/>
              <a:rect l="l" t="t" r="r" b="b"/>
              <a:pathLst>
                <a:path w="7187" h="4191" fill="none" extrusionOk="0">
                  <a:moveTo>
                    <a:pt x="7187" y="4190"/>
                  </a:moveTo>
                  <a:lnTo>
                    <a:pt x="1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" name="Google Shape;1157;p33"/>
            <p:cNvSpPr/>
            <p:nvPr/>
          </p:nvSpPr>
          <p:spPr>
            <a:xfrm>
              <a:off x="-1572748" y="2838579"/>
              <a:ext cx="251078" cy="145993"/>
            </a:xfrm>
            <a:custGeom>
              <a:avLst/>
              <a:gdLst/>
              <a:ahLst/>
              <a:cxnLst/>
              <a:rect l="l" t="t" r="r" b="b"/>
              <a:pathLst>
                <a:path w="7187" h="4179" fill="none" extrusionOk="0">
                  <a:moveTo>
                    <a:pt x="7186" y="4179"/>
                  </a:moveTo>
                  <a:lnTo>
                    <a:pt x="0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" name="Google Shape;1158;p33"/>
            <p:cNvSpPr/>
            <p:nvPr/>
          </p:nvSpPr>
          <p:spPr>
            <a:xfrm>
              <a:off x="-1280806" y="2864150"/>
              <a:ext cx="119268" cy="70499"/>
            </a:xfrm>
            <a:custGeom>
              <a:avLst/>
              <a:gdLst/>
              <a:ahLst/>
              <a:cxnLst/>
              <a:rect l="l" t="t" r="r" b="b"/>
              <a:pathLst>
                <a:path w="3414" h="2018" extrusionOk="0">
                  <a:moveTo>
                    <a:pt x="1707" y="0"/>
                  </a:moveTo>
                  <a:cubicBezTo>
                    <a:pt x="1662" y="0"/>
                    <a:pt x="1617" y="11"/>
                    <a:pt x="1577" y="34"/>
                  </a:cubicBezTo>
                  <a:lnTo>
                    <a:pt x="68" y="924"/>
                  </a:lnTo>
                  <a:cubicBezTo>
                    <a:pt x="0" y="958"/>
                    <a:pt x="0" y="1048"/>
                    <a:pt x="68" y="1082"/>
                  </a:cubicBezTo>
                  <a:lnTo>
                    <a:pt x="1555" y="1983"/>
                  </a:lnTo>
                  <a:cubicBezTo>
                    <a:pt x="1597" y="2007"/>
                    <a:pt x="1643" y="2018"/>
                    <a:pt x="1688" y="2018"/>
                  </a:cubicBezTo>
                  <a:cubicBezTo>
                    <a:pt x="1727" y="2018"/>
                    <a:pt x="1766" y="2010"/>
                    <a:pt x="1803" y="1994"/>
                  </a:cubicBezTo>
                  <a:lnTo>
                    <a:pt x="3323" y="1127"/>
                  </a:lnTo>
                  <a:lnTo>
                    <a:pt x="3312" y="1127"/>
                  </a:lnTo>
                  <a:cubicBezTo>
                    <a:pt x="3402" y="1082"/>
                    <a:pt x="3413" y="946"/>
                    <a:pt x="3323" y="901"/>
                  </a:cubicBezTo>
                  <a:lnTo>
                    <a:pt x="1836" y="34"/>
                  </a:lnTo>
                  <a:cubicBezTo>
                    <a:pt x="1797" y="11"/>
                    <a:pt x="1752" y="0"/>
                    <a:pt x="170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" name="Google Shape;1159;p33"/>
            <p:cNvSpPr/>
            <p:nvPr/>
          </p:nvSpPr>
          <p:spPr>
            <a:xfrm>
              <a:off x="-1280806" y="2863731"/>
              <a:ext cx="119268" cy="71267"/>
            </a:xfrm>
            <a:custGeom>
              <a:avLst/>
              <a:gdLst/>
              <a:ahLst/>
              <a:cxnLst/>
              <a:rect l="l" t="t" r="r" b="b"/>
              <a:pathLst>
                <a:path w="3414" h="2040" fill="none" extrusionOk="0">
                  <a:moveTo>
                    <a:pt x="3323" y="1139"/>
                  </a:moveTo>
                  <a:lnTo>
                    <a:pt x="1803" y="2006"/>
                  </a:lnTo>
                  <a:cubicBezTo>
                    <a:pt x="1724" y="2040"/>
                    <a:pt x="1634" y="2040"/>
                    <a:pt x="1555" y="1995"/>
                  </a:cubicBezTo>
                  <a:lnTo>
                    <a:pt x="68" y="1094"/>
                  </a:lnTo>
                  <a:cubicBezTo>
                    <a:pt x="0" y="1060"/>
                    <a:pt x="0" y="970"/>
                    <a:pt x="68" y="936"/>
                  </a:cubicBezTo>
                  <a:lnTo>
                    <a:pt x="1577" y="46"/>
                  </a:lnTo>
                  <a:cubicBezTo>
                    <a:pt x="1656" y="1"/>
                    <a:pt x="1758" y="1"/>
                    <a:pt x="1836" y="46"/>
                  </a:cubicBezTo>
                  <a:lnTo>
                    <a:pt x="3323" y="913"/>
                  </a:lnTo>
                  <a:cubicBezTo>
                    <a:pt x="3413" y="958"/>
                    <a:pt x="3402" y="1094"/>
                    <a:pt x="3312" y="113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" name="Google Shape;1160;p33"/>
            <p:cNvSpPr/>
            <p:nvPr/>
          </p:nvSpPr>
          <p:spPr>
            <a:xfrm>
              <a:off x="-1234379" y="2871626"/>
              <a:ext cx="61800" cy="36612"/>
            </a:xfrm>
            <a:custGeom>
              <a:avLst/>
              <a:gdLst/>
              <a:ahLst/>
              <a:cxnLst/>
              <a:rect l="l" t="t" r="r" b="b"/>
              <a:pathLst>
                <a:path w="1769" h="1048" fill="none" extrusionOk="0">
                  <a:moveTo>
                    <a:pt x="1769" y="1048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" name="Google Shape;1161;p33"/>
            <p:cNvSpPr/>
            <p:nvPr/>
          </p:nvSpPr>
          <p:spPr>
            <a:xfrm>
              <a:off x="-1266658" y="2889338"/>
              <a:ext cx="61835" cy="36612"/>
            </a:xfrm>
            <a:custGeom>
              <a:avLst/>
              <a:gdLst/>
              <a:ahLst/>
              <a:cxnLst/>
              <a:rect l="l" t="t" r="r" b="b"/>
              <a:pathLst>
                <a:path w="1770" h="1048" fill="none" extrusionOk="0">
                  <a:moveTo>
                    <a:pt x="1769" y="1048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" name="Google Shape;1162;p33"/>
            <p:cNvSpPr/>
            <p:nvPr/>
          </p:nvSpPr>
          <p:spPr>
            <a:xfrm>
              <a:off x="-1235148" y="2890106"/>
              <a:ext cx="62569" cy="37415"/>
            </a:xfrm>
            <a:custGeom>
              <a:avLst/>
              <a:gdLst/>
              <a:ahLst/>
              <a:cxnLst/>
              <a:rect l="l" t="t" r="r" b="b"/>
              <a:pathLst>
                <a:path w="1791" h="1071" fill="none" extrusionOk="0">
                  <a:moveTo>
                    <a:pt x="1791" y="1"/>
                  </a:moveTo>
                  <a:lnTo>
                    <a:pt x="0" y="107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" name="Google Shape;1163;p33"/>
            <p:cNvSpPr/>
            <p:nvPr/>
          </p:nvSpPr>
          <p:spPr>
            <a:xfrm>
              <a:off x="-1229663" y="2892482"/>
              <a:ext cx="30743" cy="18516"/>
            </a:xfrm>
            <a:custGeom>
              <a:avLst/>
              <a:gdLst/>
              <a:ahLst/>
              <a:cxnLst/>
              <a:rect l="l" t="t" r="r" b="b"/>
              <a:pathLst>
                <a:path w="880" h="530" fill="none" extrusionOk="0">
                  <a:moveTo>
                    <a:pt x="879" y="0"/>
                  </a:moveTo>
                  <a:lnTo>
                    <a:pt x="1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" name="Google Shape;1164;p33"/>
            <p:cNvSpPr/>
            <p:nvPr/>
          </p:nvSpPr>
          <p:spPr>
            <a:xfrm>
              <a:off x="-1243811" y="2883434"/>
              <a:ext cx="30708" cy="18516"/>
            </a:xfrm>
            <a:custGeom>
              <a:avLst/>
              <a:gdLst/>
              <a:ahLst/>
              <a:cxnLst/>
              <a:rect l="l" t="t" r="r" b="b"/>
              <a:pathLst>
                <a:path w="879" h="530" fill="none" extrusionOk="0">
                  <a:moveTo>
                    <a:pt x="879" y="0"/>
                  </a:moveTo>
                  <a:lnTo>
                    <a:pt x="0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0918893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5" name="Google Shape;605;p31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4722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606" name="Google Shape;606;p31"/>
          <p:cNvSpPr txBox="1">
            <a:spLocks noGrp="1"/>
          </p:cNvSpPr>
          <p:nvPr>
            <p:ph type="title" idx="2"/>
          </p:nvPr>
        </p:nvSpPr>
        <p:spPr>
          <a:xfrm>
            <a:off x="514580" y="1545662"/>
            <a:ext cx="734700" cy="66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1</a:t>
            </a:r>
            <a:endParaRPr/>
          </a:p>
        </p:txBody>
      </p:sp>
      <p:sp>
        <p:nvSpPr>
          <p:cNvPr id="607" name="Google Shape;607;p31"/>
          <p:cNvSpPr txBox="1">
            <a:spLocks noGrp="1"/>
          </p:cNvSpPr>
          <p:nvPr>
            <p:ph type="title" idx="3"/>
          </p:nvPr>
        </p:nvSpPr>
        <p:spPr>
          <a:xfrm>
            <a:off x="3642929" y="1539193"/>
            <a:ext cx="734700" cy="66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4</a:t>
            </a:r>
            <a:endParaRPr/>
          </a:p>
        </p:txBody>
      </p:sp>
      <p:sp>
        <p:nvSpPr>
          <p:cNvPr id="608" name="Google Shape;608;p31"/>
          <p:cNvSpPr txBox="1">
            <a:spLocks noGrp="1"/>
          </p:cNvSpPr>
          <p:nvPr>
            <p:ph type="title" idx="4"/>
          </p:nvPr>
        </p:nvSpPr>
        <p:spPr>
          <a:xfrm>
            <a:off x="514580" y="2535957"/>
            <a:ext cx="734700" cy="66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2</a:t>
            </a:r>
            <a:endParaRPr/>
          </a:p>
        </p:txBody>
      </p:sp>
      <p:sp>
        <p:nvSpPr>
          <p:cNvPr id="609" name="Google Shape;609;p31"/>
          <p:cNvSpPr txBox="1">
            <a:spLocks noGrp="1"/>
          </p:cNvSpPr>
          <p:nvPr>
            <p:ph type="title" idx="5"/>
          </p:nvPr>
        </p:nvSpPr>
        <p:spPr>
          <a:xfrm>
            <a:off x="3642929" y="2529479"/>
            <a:ext cx="734700" cy="66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5</a:t>
            </a:r>
            <a:endParaRPr/>
          </a:p>
        </p:txBody>
      </p:sp>
      <p:sp>
        <p:nvSpPr>
          <p:cNvPr id="610" name="Google Shape;610;p31"/>
          <p:cNvSpPr txBox="1">
            <a:spLocks noGrp="1"/>
          </p:cNvSpPr>
          <p:nvPr>
            <p:ph type="title" idx="6"/>
          </p:nvPr>
        </p:nvSpPr>
        <p:spPr>
          <a:xfrm>
            <a:off x="514580" y="3526253"/>
            <a:ext cx="734700" cy="66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3</a:t>
            </a:r>
            <a:endParaRPr/>
          </a:p>
        </p:txBody>
      </p:sp>
      <p:sp>
        <p:nvSpPr>
          <p:cNvPr id="611" name="Google Shape;611;p31"/>
          <p:cNvSpPr txBox="1">
            <a:spLocks noGrp="1"/>
          </p:cNvSpPr>
          <p:nvPr>
            <p:ph type="title" idx="7"/>
          </p:nvPr>
        </p:nvSpPr>
        <p:spPr>
          <a:xfrm>
            <a:off x="3642929" y="3519784"/>
            <a:ext cx="734700" cy="66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6</a:t>
            </a:r>
            <a:endParaRPr/>
          </a:p>
        </p:txBody>
      </p:sp>
      <p:sp>
        <p:nvSpPr>
          <p:cNvPr id="612" name="Google Shape;612;p31"/>
          <p:cNvSpPr txBox="1">
            <a:spLocks noGrp="1"/>
          </p:cNvSpPr>
          <p:nvPr>
            <p:ph type="subTitle" idx="1"/>
          </p:nvPr>
        </p:nvSpPr>
        <p:spPr>
          <a:xfrm>
            <a:off x="1400630" y="1654863"/>
            <a:ext cx="23055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ntroduction</a:t>
            </a:r>
            <a:endParaRPr/>
          </a:p>
        </p:txBody>
      </p:sp>
      <p:sp>
        <p:nvSpPr>
          <p:cNvPr id="613" name="Google Shape;613;p31"/>
          <p:cNvSpPr txBox="1">
            <a:spLocks noGrp="1"/>
          </p:cNvSpPr>
          <p:nvPr>
            <p:ph type="subTitle" idx="8"/>
          </p:nvPr>
        </p:nvSpPr>
        <p:spPr>
          <a:xfrm>
            <a:off x="1400630" y="2645153"/>
            <a:ext cx="23055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EDA</a:t>
            </a:r>
            <a:endParaRPr/>
          </a:p>
        </p:txBody>
      </p:sp>
      <p:sp>
        <p:nvSpPr>
          <p:cNvPr id="614" name="Google Shape;614;p31"/>
          <p:cNvSpPr txBox="1">
            <a:spLocks noGrp="1"/>
          </p:cNvSpPr>
          <p:nvPr>
            <p:ph type="subTitle" idx="9"/>
          </p:nvPr>
        </p:nvSpPr>
        <p:spPr>
          <a:xfrm>
            <a:off x="1400630" y="3635443"/>
            <a:ext cx="23055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odeling</a:t>
            </a:r>
            <a:endParaRPr/>
          </a:p>
        </p:txBody>
      </p:sp>
      <p:sp>
        <p:nvSpPr>
          <p:cNvPr id="615" name="Google Shape;615;p31"/>
          <p:cNvSpPr txBox="1">
            <a:spLocks noGrp="1"/>
          </p:cNvSpPr>
          <p:nvPr>
            <p:ph type="subTitle" idx="13"/>
          </p:nvPr>
        </p:nvSpPr>
        <p:spPr>
          <a:xfrm>
            <a:off x="4528979" y="1870034"/>
            <a:ext cx="23055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indent="0"/>
            <a:r>
              <a:rPr lang="en-US"/>
              <a:t>Model</a:t>
            </a:r>
            <a:br>
              <a:rPr lang="en-US"/>
            </a:br>
            <a:r>
              <a:rPr lang="en-US"/>
              <a:t>Comparison</a:t>
            </a:r>
          </a:p>
        </p:txBody>
      </p:sp>
      <p:sp>
        <p:nvSpPr>
          <p:cNvPr id="616" name="Google Shape;616;p31"/>
          <p:cNvSpPr txBox="1">
            <a:spLocks noGrp="1"/>
          </p:cNvSpPr>
          <p:nvPr>
            <p:ph type="subTitle" idx="14"/>
          </p:nvPr>
        </p:nvSpPr>
        <p:spPr>
          <a:xfrm>
            <a:off x="4471828" y="2645153"/>
            <a:ext cx="2667975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/>
              <a:t>Recommendations</a:t>
            </a:r>
            <a:endParaRPr sz="2000"/>
          </a:p>
        </p:txBody>
      </p:sp>
      <p:sp>
        <p:nvSpPr>
          <p:cNvPr id="617" name="Google Shape;617;p31"/>
          <p:cNvSpPr txBox="1">
            <a:spLocks noGrp="1"/>
          </p:cNvSpPr>
          <p:nvPr>
            <p:ph type="subTitle" idx="15"/>
          </p:nvPr>
        </p:nvSpPr>
        <p:spPr>
          <a:xfrm>
            <a:off x="4528979" y="3628971"/>
            <a:ext cx="2305500" cy="44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nclusion</a:t>
            </a:r>
            <a:endParaRPr/>
          </a:p>
        </p:txBody>
      </p:sp>
      <p:sp>
        <p:nvSpPr>
          <p:cNvPr id="618" name="Google Shape;618;p31"/>
          <p:cNvSpPr/>
          <p:nvPr/>
        </p:nvSpPr>
        <p:spPr>
          <a:xfrm>
            <a:off x="7509434" y="399109"/>
            <a:ext cx="140400" cy="1404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9" name="Google Shape;619;p31"/>
          <p:cNvSpPr/>
          <p:nvPr/>
        </p:nvSpPr>
        <p:spPr>
          <a:xfrm>
            <a:off x="8953671" y="4745696"/>
            <a:ext cx="140400" cy="140400"/>
          </a:xfrm>
          <a:prstGeom prst="ellipse">
            <a:avLst/>
          </a:prstGeom>
          <a:solidFill>
            <a:srgbClr val="000000">
              <a:alpha val="12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0" name="Google Shape;620;p31"/>
          <p:cNvSpPr/>
          <p:nvPr/>
        </p:nvSpPr>
        <p:spPr>
          <a:xfrm>
            <a:off x="7917901" y="208301"/>
            <a:ext cx="1226100" cy="1226100"/>
          </a:xfrm>
          <a:prstGeom prst="pie">
            <a:avLst>
              <a:gd name="adj1" fmla="val 0"/>
              <a:gd name="adj2" fmla="val 16200000"/>
            </a:avLst>
          </a:prstGeom>
          <a:solidFill>
            <a:srgbClr val="000000">
              <a:alpha val="12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21" name="Google Shape;621;p31"/>
          <p:cNvGrpSpPr/>
          <p:nvPr/>
        </p:nvGrpSpPr>
        <p:grpSpPr>
          <a:xfrm>
            <a:off x="7696027" y="2870878"/>
            <a:ext cx="1133720" cy="1133717"/>
            <a:chOff x="10173800" y="2018150"/>
            <a:chExt cx="1448103" cy="1448100"/>
          </a:xfrm>
        </p:grpSpPr>
        <p:sp>
          <p:nvSpPr>
            <p:cNvPr id="622" name="Google Shape;622;p31"/>
            <p:cNvSpPr/>
            <p:nvPr/>
          </p:nvSpPr>
          <p:spPr>
            <a:xfrm>
              <a:off x="10173800" y="2018150"/>
              <a:ext cx="1448100" cy="1448100"/>
            </a:xfrm>
            <a:prstGeom prst="donut">
              <a:avLst>
                <a:gd name="adj" fmla="val 20968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" name="Google Shape;623;p31"/>
            <p:cNvSpPr/>
            <p:nvPr/>
          </p:nvSpPr>
          <p:spPr>
            <a:xfrm flipH="1">
              <a:off x="10173803" y="2018150"/>
              <a:ext cx="1448100" cy="1448100"/>
            </a:xfrm>
            <a:prstGeom prst="blockArc">
              <a:avLst>
                <a:gd name="adj1" fmla="val 10800000"/>
                <a:gd name="adj2" fmla="val 16161326"/>
                <a:gd name="adj3" fmla="val 20401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24" name="Google Shape;624;p31"/>
          <p:cNvGrpSpPr/>
          <p:nvPr/>
        </p:nvGrpSpPr>
        <p:grpSpPr>
          <a:xfrm>
            <a:off x="7649815" y="3789985"/>
            <a:ext cx="1226139" cy="1052197"/>
            <a:chOff x="3337647" y="-19723"/>
            <a:chExt cx="543453" cy="466358"/>
          </a:xfrm>
        </p:grpSpPr>
        <p:grpSp>
          <p:nvGrpSpPr>
            <p:cNvPr id="625" name="Google Shape;625;p31"/>
            <p:cNvGrpSpPr/>
            <p:nvPr/>
          </p:nvGrpSpPr>
          <p:grpSpPr>
            <a:xfrm>
              <a:off x="3337647" y="-19723"/>
              <a:ext cx="543453" cy="466358"/>
              <a:chOff x="3670072" y="965127"/>
              <a:chExt cx="543453" cy="466358"/>
            </a:xfrm>
          </p:grpSpPr>
          <p:sp>
            <p:nvSpPr>
              <p:cNvPr id="626" name="Google Shape;626;p31"/>
              <p:cNvSpPr/>
              <p:nvPr/>
            </p:nvSpPr>
            <p:spPr>
              <a:xfrm>
                <a:off x="3670077" y="1171687"/>
                <a:ext cx="543449" cy="259798"/>
              </a:xfrm>
              <a:custGeom>
                <a:avLst/>
                <a:gdLst/>
                <a:ahLst/>
                <a:cxnLst/>
                <a:rect l="l" t="t" r="r" b="b"/>
                <a:pathLst>
                  <a:path w="15556" h="6748" extrusionOk="0">
                    <a:moveTo>
                      <a:pt x="23" y="1"/>
                    </a:moveTo>
                    <a:cubicBezTo>
                      <a:pt x="35" y="46"/>
                      <a:pt x="35" y="80"/>
                      <a:pt x="46" y="125"/>
                    </a:cubicBezTo>
                    <a:cubicBezTo>
                      <a:pt x="12" y="249"/>
                      <a:pt x="1" y="372"/>
                      <a:pt x="1" y="508"/>
                    </a:cubicBezTo>
                    <a:cubicBezTo>
                      <a:pt x="1" y="586"/>
                      <a:pt x="1" y="654"/>
                      <a:pt x="12" y="733"/>
                    </a:cubicBezTo>
                    <a:lnTo>
                      <a:pt x="1" y="1397"/>
                    </a:lnTo>
                    <a:cubicBezTo>
                      <a:pt x="1" y="1454"/>
                      <a:pt x="1" y="1499"/>
                      <a:pt x="1" y="1544"/>
                    </a:cubicBezTo>
                    <a:cubicBezTo>
                      <a:pt x="1" y="1916"/>
                      <a:pt x="125" y="2265"/>
                      <a:pt x="361" y="2569"/>
                    </a:cubicBezTo>
                    <a:cubicBezTo>
                      <a:pt x="372" y="2580"/>
                      <a:pt x="384" y="2591"/>
                      <a:pt x="395" y="2614"/>
                    </a:cubicBezTo>
                    <a:cubicBezTo>
                      <a:pt x="936" y="3290"/>
                      <a:pt x="1983" y="3740"/>
                      <a:pt x="3177" y="3740"/>
                    </a:cubicBezTo>
                    <a:cubicBezTo>
                      <a:pt x="3898" y="3740"/>
                      <a:pt x="4551" y="3582"/>
                      <a:pt x="5092" y="3301"/>
                    </a:cubicBezTo>
                    <a:lnTo>
                      <a:pt x="5092" y="3301"/>
                    </a:lnTo>
                    <a:cubicBezTo>
                      <a:pt x="5081" y="3368"/>
                      <a:pt x="5069" y="3436"/>
                      <a:pt x="5069" y="3504"/>
                    </a:cubicBezTo>
                    <a:cubicBezTo>
                      <a:pt x="5069" y="3582"/>
                      <a:pt x="5081" y="3661"/>
                      <a:pt x="5092" y="3740"/>
                    </a:cubicBezTo>
                    <a:lnTo>
                      <a:pt x="5081" y="4405"/>
                    </a:lnTo>
                    <a:cubicBezTo>
                      <a:pt x="5081" y="4450"/>
                      <a:pt x="5069" y="4506"/>
                      <a:pt x="5069" y="4551"/>
                    </a:cubicBezTo>
                    <a:cubicBezTo>
                      <a:pt x="5069" y="4698"/>
                      <a:pt x="5092" y="4844"/>
                      <a:pt x="5137" y="4990"/>
                    </a:cubicBezTo>
                    <a:cubicBezTo>
                      <a:pt x="5430" y="5993"/>
                      <a:pt x="6714" y="6747"/>
                      <a:pt x="8257" y="6747"/>
                    </a:cubicBezTo>
                    <a:cubicBezTo>
                      <a:pt x="9000" y="6747"/>
                      <a:pt x="9687" y="6567"/>
                      <a:pt x="10239" y="6274"/>
                    </a:cubicBezTo>
                    <a:cubicBezTo>
                      <a:pt x="10262" y="6252"/>
                      <a:pt x="10295" y="6241"/>
                      <a:pt x="10318" y="6218"/>
                    </a:cubicBezTo>
                    <a:cubicBezTo>
                      <a:pt x="10611" y="6049"/>
                      <a:pt x="10847" y="5846"/>
                      <a:pt x="11039" y="5610"/>
                    </a:cubicBezTo>
                    <a:cubicBezTo>
                      <a:pt x="11050" y="5599"/>
                      <a:pt x="11061" y="5587"/>
                      <a:pt x="11073" y="5576"/>
                    </a:cubicBezTo>
                    <a:cubicBezTo>
                      <a:pt x="11208" y="5396"/>
                      <a:pt x="11309" y="5193"/>
                      <a:pt x="11365" y="4990"/>
                    </a:cubicBezTo>
                    <a:cubicBezTo>
                      <a:pt x="11411" y="4844"/>
                      <a:pt x="11433" y="4698"/>
                      <a:pt x="11433" y="4551"/>
                    </a:cubicBezTo>
                    <a:lnTo>
                      <a:pt x="11433" y="4258"/>
                    </a:lnTo>
                    <a:cubicBezTo>
                      <a:pt x="11726" y="4326"/>
                      <a:pt x="12041" y="4360"/>
                      <a:pt x="12368" y="4360"/>
                    </a:cubicBezTo>
                    <a:cubicBezTo>
                      <a:pt x="13123" y="4360"/>
                      <a:pt x="13810" y="4179"/>
                      <a:pt x="14350" y="3875"/>
                    </a:cubicBezTo>
                    <a:cubicBezTo>
                      <a:pt x="14384" y="3864"/>
                      <a:pt x="14407" y="3842"/>
                      <a:pt x="14440" y="3830"/>
                    </a:cubicBezTo>
                    <a:cubicBezTo>
                      <a:pt x="14722" y="3661"/>
                      <a:pt x="14970" y="3447"/>
                      <a:pt x="15150" y="3222"/>
                    </a:cubicBezTo>
                    <a:cubicBezTo>
                      <a:pt x="15161" y="3211"/>
                      <a:pt x="15172" y="3188"/>
                      <a:pt x="15184" y="3177"/>
                    </a:cubicBezTo>
                    <a:cubicBezTo>
                      <a:pt x="15319" y="2997"/>
                      <a:pt x="15432" y="2805"/>
                      <a:pt x="15488" y="2603"/>
                    </a:cubicBezTo>
                    <a:cubicBezTo>
                      <a:pt x="15533" y="2456"/>
                      <a:pt x="15555" y="2310"/>
                      <a:pt x="15555" y="2152"/>
                    </a:cubicBezTo>
                    <a:lnTo>
                      <a:pt x="15555" y="1116"/>
                    </a:lnTo>
                    <a:cubicBezTo>
                      <a:pt x="15555" y="981"/>
                      <a:pt x="15533" y="857"/>
                      <a:pt x="15499" y="733"/>
                    </a:cubicBezTo>
                    <a:cubicBezTo>
                      <a:pt x="15533" y="609"/>
                      <a:pt x="15555" y="485"/>
                      <a:pt x="15555" y="350"/>
                    </a:cubicBezTo>
                    <a:lnTo>
                      <a:pt x="15555" y="1"/>
                    </a:lnTo>
                    <a:close/>
                  </a:path>
                </a:pathLst>
              </a:custGeom>
              <a:solidFill>
                <a:srgbClr val="000000">
                  <a:alpha val="126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7" name="Google Shape;627;p31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lnTo>
                      <a:pt x="5981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8" name="Google Shape;628;p31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9" name="Google Shape;629;p31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fill="none" extrusionOk="0">
                    <a:moveTo>
                      <a:pt x="5981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0" name="Google Shape;630;p31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1" name="Google Shape;631;p31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64" y="3413"/>
                      <a:pt x="6364" y="2197"/>
                    </a:cubicBezTo>
                    <a:cubicBezTo>
                      <a:pt x="6364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2" name="Google Shape;632;p31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3" name="Google Shape;633;p31"/>
              <p:cNvSpPr/>
              <p:nvPr/>
            </p:nvSpPr>
            <p:spPr>
              <a:xfrm>
                <a:off x="4102903" y="127478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cubicBezTo>
                      <a:pt x="0" y="1003"/>
                      <a:pt x="0" y="981"/>
                      <a:pt x="0" y="947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4" name="Google Shape;634;p31"/>
              <p:cNvSpPr/>
              <p:nvPr/>
            </p:nvSpPr>
            <p:spPr>
              <a:xfrm>
                <a:off x="4078100" y="127244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5" name="Google Shape;635;p31"/>
              <p:cNvSpPr/>
              <p:nvPr/>
            </p:nvSpPr>
            <p:spPr>
              <a:xfrm>
                <a:off x="4055288" y="126730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6" name="Google Shape;636;p31"/>
              <p:cNvSpPr/>
              <p:nvPr/>
            </p:nvSpPr>
            <p:spPr>
              <a:xfrm>
                <a:off x="4034048" y="125864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7" name="Google Shape;637;p31"/>
              <p:cNvSpPr/>
              <p:nvPr/>
            </p:nvSpPr>
            <p:spPr>
              <a:xfrm>
                <a:off x="4016337" y="124645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8" name="Google Shape;638;p31"/>
              <p:cNvSpPr/>
              <p:nvPr/>
            </p:nvSpPr>
            <p:spPr>
              <a:xfrm>
                <a:off x="3999813" y="122639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9" name="Google Shape;639;p31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23" y="2647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0" name="Google Shape;640;p31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1" name="Google Shape;641;p31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37"/>
                    </a:lnTo>
                    <a:cubicBezTo>
                      <a:pt x="90" y="350"/>
                      <a:pt x="0" y="451"/>
                      <a:pt x="11" y="564"/>
                    </a:cubicBezTo>
                    <a:cubicBezTo>
                      <a:pt x="11" y="665"/>
                      <a:pt x="124" y="778"/>
                      <a:pt x="327" y="891"/>
                    </a:cubicBezTo>
                    <a:cubicBezTo>
                      <a:pt x="462" y="969"/>
                      <a:pt x="620" y="1026"/>
                      <a:pt x="777" y="1071"/>
                    </a:cubicBezTo>
                    <a:cubicBezTo>
                      <a:pt x="935" y="1105"/>
                      <a:pt x="1081" y="1138"/>
                      <a:pt x="1216" y="1138"/>
                    </a:cubicBezTo>
                    <a:cubicBezTo>
                      <a:pt x="1352" y="1138"/>
                      <a:pt x="1577" y="1138"/>
                      <a:pt x="1904" y="1127"/>
                    </a:cubicBezTo>
                    <a:cubicBezTo>
                      <a:pt x="2095" y="1127"/>
                      <a:pt x="2241" y="1138"/>
                      <a:pt x="2320" y="1161"/>
                    </a:cubicBezTo>
                    <a:cubicBezTo>
                      <a:pt x="2410" y="1195"/>
                      <a:pt x="2534" y="1251"/>
                      <a:pt x="2681" y="1330"/>
                    </a:cubicBezTo>
                    <a:cubicBezTo>
                      <a:pt x="2737" y="1364"/>
                      <a:pt x="2782" y="1397"/>
                      <a:pt x="2782" y="1420"/>
                    </a:cubicBezTo>
                    <a:cubicBezTo>
                      <a:pt x="2793" y="1454"/>
                      <a:pt x="2782" y="1476"/>
                      <a:pt x="2737" y="1487"/>
                    </a:cubicBezTo>
                    <a:cubicBezTo>
                      <a:pt x="2709" y="1499"/>
                      <a:pt x="2684" y="1504"/>
                      <a:pt x="2658" y="1504"/>
                    </a:cubicBezTo>
                    <a:cubicBezTo>
                      <a:pt x="2633" y="1504"/>
                      <a:pt x="2608" y="1499"/>
                      <a:pt x="2579" y="1487"/>
                    </a:cubicBezTo>
                    <a:cubicBezTo>
                      <a:pt x="2512" y="1476"/>
                      <a:pt x="2399" y="1409"/>
                      <a:pt x="2219" y="1307"/>
                    </a:cubicBezTo>
                    <a:lnTo>
                      <a:pt x="2050" y="1217"/>
                    </a:lnTo>
                    <a:lnTo>
                      <a:pt x="1408" y="1487"/>
                    </a:lnTo>
                    <a:lnTo>
                      <a:pt x="1543" y="1555"/>
                    </a:lnTo>
                    <a:cubicBezTo>
                      <a:pt x="1847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4" y="1834"/>
                      <a:pt x="2886" y="1809"/>
                      <a:pt x="3030" y="1758"/>
                    </a:cubicBezTo>
                    <a:lnTo>
                      <a:pt x="3289" y="1904"/>
                    </a:lnTo>
                    <a:lnTo>
                      <a:pt x="3582" y="1792"/>
                    </a:lnTo>
                    <a:lnTo>
                      <a:pt x="3334" y="1645"/>
                    </a:lnTo>
                    <a:cubicBezTo>
                      <a:pt x="3514" y="1533"/>
                      <a:pt x="3593" y="1420"/>
                      <a:pt x="3571" y="1296"/>
                    </a:cubicBezTo>
                    <a:cubicBezTo>
                      <a:pt x="3537" y="1172"/>
                      <a:pt x="3402" y="1048"/>
                      <a:pt x="3165" y="913"/>
                    </a:cubicBezTo>
                    <a:cubicBezTo>
                      <a:pt x="3007" y="834"/>
                      <a:pt x="2861" y="767"/>
                      <a:pt x="2726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3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5" y="671"/>
                      <a:pt x="1478" y="674"/>
                      <a:pt x="1380" y="674"/>
                    </a:cubicBezTo>
                    <a:cubicBezTo>
                      <a:pt x="1281" y="674"/>
                      <a:pt x="1211" y="671"/>
                      <a:pt x="1171" y="665"/>
                    </a:cubicBezTo>
                    <a:cubicBezTo>
                      <a:pt x="1081" y="665"/>
                      <a:pt x="991" y="631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7" y="404"/>
                      <a:pt x="868" y="399"/>
                      <a:pt x="897" y="399"/>
                    </a:cubicBezTo>
                    <a:cubicBezTo>
                      <a:pt x="918" y="399"/>
                      <a:pt x="939" y="402"/>
                      <a:pt x="957" y="406"/>
                    </a:cubicBezTo>
                    <a:cubicBezTo>
                      <a:pt x="1014" y="417"/>
                      <a:pt x="1093" y="463"/>
                      <a:pt x="1216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81" y="271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2" name="Google Shape;642;p31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6" y="530"/>
                    </a:lnTo>
                    <a:cubicBezTo>
                      <a:pt x="1093" y="463"/>
                      <a:pt x="1014" y="417"/>
                      <a:pt x="957" y="406"/>
                    </a:cubicBezTo>
                    <a:cubicBezTo>
                      <a:pt x="912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31"/>
                      <a:pt x="1081" y="665"/>
                      <a:pt x="1171" y="665"/>
                    </a:cubicBezTo>
                    <a:cubicBezTo>
                      <a:pt x="1250" y="677"/>
                      <a:pt x="1453" y="677"/>
                      <a:pt x="1757" y="665"/>
                    </a:cubicBezTo>
                    <a:cubicBezTo>
                      <a:pt x="2027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26" y="733"/>
                    </a:cubicBezTo>
                    <a:cubicBezTo>
                      <a:pt x="2861" y="767"/>
                      <a:pt x="3007" y="834"/>
                      <a:pt x="3165" y="913"/>
                    </a:cubicBezTo>
                    <a:cubicBezTo>
                      <a:pt x="3402" y="1048"/>
                      <a:pt x="3537" y="1172"/>
                      <a:pt x="3571" y="1296"/>
                    </a:cubicBezTo>
                    <a:cubicBezTo>
                      <a:pt x="3593" y="1420"/>
                      <a:pt x="3514" y="1533"/>
                      <a:pt x="3334" y="1645"/>
                    </a:cubicBezTo>
                    <a:lnTo>
                      <a:pt x="3582" y="1792"/>
                    </a:lnTo>
                    <a:lnTo>
                      <a:pt x="3289" y="1904"/>
                    </a:lnTo>
                    <a:lnTo>
                      <a:pt x="3030" y="1758"/>
                    </a:lnTo>
                    <a:cubicBezTo>
                      <a:pt x="2838" y="1825"/>
                      <a:pt x="2613" y="1848"/>
                      <a:pt x="2365" y="1825"/>
                    </a:cubicBezTo>
                    <a:cubicBezTo>
                      <a:pt x="2118" y="1814"/>
                      <a:pt x="1847" y="1724"/>
                      <a:pt x="1543" y="1555"/>
                    </a:cubicBezTo>
                    <a:lnTo>
                      <a:pt x="1408" y="1487"/>
                    </a:lnTo>
                    <a:lnTo>
                      <a:pt x="2050" y="1217"/>
                    </a:lnTo>
                    <a:lnTo>
                      <a:pt x="2219" y="1307"/>
                    </a:lnTo>
                    <a:cubicBezTo>
                      <a:pt x="2399" y="1409"/>
                      <a:pt x="2512" y="1476"/>
                      <a:pt x="2579" y="1487"/>
                    </a:cubicBezTo>
                    <a:cubicBezTo>
                      <a:pt x="2636" y="1510"/>
                      <a:pt x="2681" y="1510"/>
                      <a:pt x="2737" y="1487"/>
                    </a:cubicBezTo>
                    <a:cubicBezTo>
                      <a:pt x="2782" y="1476"/>
                      <a:pt x="2793" y="1454"/>
                      <a:pt x="2782" y="1420"/>
                    </a:cubicBezTo>
                    <a:cubicBezTo>
                      <a:pt x="2782" y="1397"/>
                      <a:pt x="2737" y="1364"/>
                      <a:pt x="2681" y="1330"/>
                    </a:cubicBezTo>
                    <a:cubicBezTo>
                      <a:pt x="2534" y="1251"/>
                      <a:pt x="2410" y="1195"/>
                      <a:pt x="2320" y="1161"/>
                    </a:cubicBezTo>
                    <a:cubicBezTo>
                      <a:pt x="2241" y="1138"/>
                      <a:pt x="2095" y="1127"/>
                      <a:pt x="1904" y="1127"/>
                    </a:cubicBezTo>
                    <a:cubicBezTo>
                      <a:pt x="1577" y="1138"/>
                      <a:pt x="1352" y="1138"/>
                      <a:pt x="1216" y="1138"/>
                    </a:cubicBezTo>
                    <a:cubicBezTo>
                      <a:pt x="1081" y="1138"/>
                      <a:pt x="935" y="1105"/>
                      <a:pt x="777" y="1071"/>
                    </a:cubicBezTo>
                    <a:cubicBezTo>
                      <a:pt x="620" y="1026"/>
                      <a:pt x="462" y="969"/>
                      <a:pt x="327" y="891"/>
                    </a:cubicBezTo>
                    <a:cubicBezTo>
                      <a:pt x="124" y="778"/>
                      <a:pt x="11" y="665"/>
                      <a:pt x="11" y="564"/>
                    </a:cubicBezTo>
                    <a:cubicBezTo>
                      <a:pt x="0" y="451"/>
                      <a:pt x="90" y="350"/>
                      <a:pt x="282" y="237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3" name="Google Shape;643;p31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4" name="Google Shape;644;p31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5" name="Google Shape;645;p31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6" name="Google Shape;646;p31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7" name="Google Shape;647;p31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7"/>
                    </a:cubicBezTo>
                    <a:cubicBezTo>
                      <a:pt x="6364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8" name="Google Shape;648;p31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3"/>
                      <a:pt x="4934" y="4393"/>
                      <a:pt x="3177" y="4393"/>
                    </a:cubicBezTo>
                    <a:cubicBezTo>
                      <a:pt x="1420" y="4393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9" name="Google Shape;649;p31"/>
              <p:cNvSpPr/>
              <p:nvPr/>
            </p:nvSpPr>
            <p:spPr>
              <a:xfrm>
                <a:off x="4102903" y="121144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0" y="958"/>
                    </a:cubicBez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0" name="Google Shape;650;p31"/>
              <p:cNvSpPr/>
              <p:nvPr/>
            </p:nvSpPr>
            <p:spPr>
              <a:xfrm>
                <a:off x="4078100" y="1209490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1" name="Google Shape;651;p31"/>
              <p:cNvSpPr/>
              <p:nvPr/>
            </p:nvSpPr>
            <p:spPr>
              <a:xfrm>
                <a:off x="4055288" y="1204354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2" name="Google Shape;652;p31"/>
              <p:cNvSpPr/>
              <p:nvPr/>
            </p:nvSpPr>
            <p:spPr>
              <a:xfrm>
                <a:off x="4034048" y="119569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3" name="Google Shape;653;p31"/>
              <p:cNvSpPr/>
              <p:nvPr/>
            </p:nvSpPr>
            <p:spPr>
              <a:xfrm>
                <a:off x="4016337" y="118349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4" name="Google Shape;654;p31"/>
              <p:cNvSpPr/>
              <p:nvPr/>
            </p:nvSpPr>
            <p:spPr>
              <a:xfrm>
                <a:off x="3999813" y="116344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5" name="Google Shape;655;p31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37"/>
                      <a:pt x="1104" y="3402"/>
                      <a:pt x="2456" y="3402"/>
                    </a:cubicBezTo>
                    <a:cubicBezTo>
                      <a:pt x="3819" y="3402"/>
                      <a:pt x="4923" y="2637"/>
                      <a:pt x="4923" y="1702"/>
                    </a:cubicBezTo>
                    <a:cubicBezTo>
                      <a:pt x="4923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6" name="Google Shape;656;p31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fill="none" extrusionOk="0">
                    <a:moveTo>
                      <a:pt x="4923" y="1702"/>
                    </a:moveTo>
                    <a:cubicBezTo>
                      <a:pt x="4923" y="2637"/>
                      <a:pt x="3819" y="3402"/>
                      <a:pt x="2456" y="3402"/>
                    </a:cubicBezTo>
                    <a:cubicBezTo>
                      <a:pt x="1104" y="3402"/>
                      <a:pt x="1" y="2637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23" y="767"/>
                      <a:pt x="4923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7" name="Google Shape;657;p31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90" y="350"/>
                      <a:pt x="0" y="462"/>
                      <a:pt x="11" y="564"/>
                    </a:cubicBezTo>
                    <a:cubicBezTo>
                      <a:pt x="11" y="676"/>
                      <a:pt x="124" y="789"/>
                      <a:pt x="327" y="901"/>
                    </a:cubicBezTo>
                    <a:cubicBezTo>
                      <a:pt x="462" y="980"/>
                      <a:pt x="620" y="1037"/>
                      <a:pt x="777" y="1082"/>
                    </a:cubicBezTo>
                    <a:cubicBezTo>
                      <a:pt x="935" y="1115"/>
                      <a:pt x="1081" y="1138"/>
                      <a:pt x="1216" y="1149"/>
                    </a:cubicBezTo>
                    <a:cubicBezTo>
                      <a:pt x="1352" y="1149"/>
                      <a:pt x="1577" y="1149"/>
                      <a:pt x="1904" y="1138"/>
                    </a:cubicBezTo>
                    <a:cubicBezTo>
                      <a:pt x="2095" y="1138"/>
                      <a:pt x="2241" y="1149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4"/>
                      <a:pt x="2782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10"/>
                      <a:pt x="2684" y="1515"/>
                      <a:pt x="2658" y="1515"/>
                    </a:cubicBezTo>
                    <a:cubicBezTo>
                      <a:pt x="2633" y="1515"/>
                      <a:pt x="2608" y="1510"/>
                      <a:pt x="2579" y="1498"/>
                    </a:cubicBezTo>
                    <a:cubicBezTo>
                      <a:pt x="2512" y="1487"/>
                      <a:pt x="2399" y="1420"/>
                      <a:pt x="2219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34" y="1656"/>
                    </a:lnTo>
                    <a:cubicBezTo>
                      <a:pt x="3514" y="1543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2"/>
                    </a:cubicBezTo>
                    <a:cubicBezTo>
                      <a:pt x="2579" y="699"/>
                      <a:pt x="2444" y="676"/>
                      <a:pt x="2332" y="665"/>
                    </a:cubicBezTo>
                    <a:cubicBezTo>
                      <a:pt x="2219" y="665"/>
                      <a:pt x="2027" y="665"/>
                      <a:pt x="1757" y="676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5"/>
                    </a:cubicBezTo>
                    <a:cubicBezTo>
                      <a:pt x="755" y="462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8"/>
                      <a:pt x="1093" y="473"/>
                      <a:pt x="1216" y="530"/>
                    </a:cubicBezTo>
                    <a:lnTo>
                      <a:pt x="1329" y="597"/>
                    </a:lnTo>
                    <a:lnTo>
                      <a:pt x="1971" y="338"/>
                    </a:lnTo>
                    <a:cubicBezTo>
                      <a:pt x="1915" y="304"/>
                      <a:pt x="1881" y="282"/>
                      <a:pt x="1847" y="259"/>
                    </a:cubicBezTo>
                    <a:cubicBezTo>
                      <a:pt x="1644" y="147"/>
                      <a:pt x="1442" y="79"/>
                      <a:pt x="1228" y="57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3" y="74"/>
                      <a:pt x="574" y="124"/>
                    </a:cubicBezTo>
                    <a:lnTo>
                      <a:pt x="3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8" name="Google Shape;658;p31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8"/>
                    </a:moveTo>
                    <a:lnTo>
                      <a:pt x="1329" y="597"/>
                    </a:lnTo>
                    <a:lnTo>
                      <a:pt x="1216" y="530"/>
                    </a:lnTo>
                    <a:cubicBezTo>
                      <a:pt x="1093" y="473"/>
                      <a:pt x="1014" y="428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2"/>
                      <a:pt x="766" y="485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6"/>
                    </a:cubicBezTo>
                    <a:cubicBezTo>
                      <a:pt x="1250" y="687"/>
                      <a:pt x="1453" y="687"/>
                      <a:pt x="1757" y="676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6"/>
                      <a:pt x="2579" y="699"/>
                      <a:pt x="2726" y="732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3"/>
                      <a:pt x="3334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6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8"/>
                    </a:lnTo>
                    <a:cubicBezTo>
                      <a:pt x="2399" y="1420"/>
                      <a:pt x="2512" y="1487"/>
                      <a:pt x="2579" y="1498"/>
                    </a:cubicBezTo>
                    <a:cubicBezTo>
                      <a:pt x="2636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82" y="1408"/>
                      <a:pt x="2737" y="1374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49"/>
                      <a:pt x="2095" y="1138"/>
                      <a:pt x="1904" y="1138"/>
                    </a:cubicBezTo>
                    <a:cubicBezTo>
                      <a:pt x="1577" y="1149"/>
                      <a:pt x="1352" y="1149"/>
                      <a:pt x="1216" y="1149"/>
                    </a:cubicBezTo>
                    <a:cubicBezTo>
                      <a:pt x="1081" y="1138"/>
                      <a:pt x="935" y="1115"/>
                      <a:pt x="777" y="1082"/>
                    </a:cubicBezTo>
                    <a:cubicBezTo>
                      <a:pt x="620" y="1037"/>
                      <a:pt x="462" y="980"/>
                      <a:pt x="327" y="901"/>
                    </a:cubicBezTo>
                    <a:cubicBezTo>
                      <a:pt x="124" y="789"/>
                      <a:pt x="11" y="676"/>
                      <a:pt x="11" y="564"/>
                    </a:cubicBezTo>
                    <a:cubicBezTo>
                      <a:pt x="0" y="462"/>
                      <a:pt x="90" y="350"/>
                      <a:pt x="282" y="248"/>
                    </a:cubicBezTo>
                    <a:lnTo>
                      <a:pt x="68" y="124"/>
                    </a:lnTo>
                    <a:lnTo>
                      <a:pt x="360" y="0"/>
                    </a:lnTo>
                    <a:lnTo>
                      <a:pt x="574" y="124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4" y="147"/>
                      <a:pt x="1847" y="259"/>
                    </a:cubicBezTo>
                    <a:cubicBezTo>
                      <a:pt x="1881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9" name="Google Shape;659;p31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0" name="Google Shape;660;p31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1" name="Google Shape;661;p31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2" name="Google Shape;662;p31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9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3" name="Google Shape;663;p31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1"/>
                    </a:moveTo>
                    <a:cubicBezTo>
                      <a:pt x="1420" y="1"/>
                      <a:pt x="1" y="981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64" y="3414"/>
                      <a:pt x="6364" y="2197"/>
                    </a:cubicBezTo>
                    <a:cubicBezTo>
                      <a:pt x="6364" y="981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4" name="Google Shape;664;p31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4"/>
                      <a:pt x="4934" y="4393"/>
                      <a:pt x="3177" y="4393"/>
                    </a:cubicBezTo>
                    <a:cubicBezTo>
                      <a:pt x="1420" y="4393"/>
                      <a:pt x="1" y="3414"/>
                      <a:pt x="1" y="2197"/>
                    </a:cubicBezTo>
                    <a:cubicBezTo>
                      <a:pt x="1" y="981"/>
                      <a:pt x="1420" y="1"/>
                      <a:pt x="3177" y="1"/>
                    </a:cubicBezTo>
                    <a:cubicBezTo>
                      <a:pt x="4934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5" name="Google Shape;665;p31"/>
              <p:cNvSpPr/>
              <p:nvPr/>
            </p:nvSpPr>
            <p:spPr>
              <a:xfrm>
                <a:off x="4102903" y="1147692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1"/>
                      <a:pt x="0" y="958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6" name="Google Shape;666;p31"/>
              <p:cNvSpPr/>
              <p:nvPr/>
            </p:nvSpPr>
            <p:spPr>
              <a:xfrm>
                <a:off x="4078100" y="114573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7" name="Google Shape;667;p31"/>
              <p:cNvSpPr/>
              <p:nvPr/>
            </p:nvSpPr>
            <p:spPr>
              <a:xfrm>
                <a:off x="4055288" y="1140600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8" name="Google Shape;668;p31"/>
              <p:cNvSpPr/>
              <p:nvPr/>
            </p:nvSpPr>
            <p:spPr>
              <a:xfrm>
                <a:off x="4034048" y="113197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9" name="Google Shape;669;p31"/>
              <p:cNvSpPr/>
              <p:nvPr/>
            </p:nvSpPr>
            <p:spPr>
              <a:xfrm>
                <a:off x="4016337" y="111974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0" name="Google Shape;670;p31"/>
              <p:cNvSpPr/>
              <p:nvPr/>
            </p:nvSpPr>
            <p:spPr>
              <a:xfrm>
                <a:off x="3999813" y="109969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1" name="Google Shape;671;p31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23" y="2636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2" name="Google Shape;672;p31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3" name="Google Shape;673;p31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49"/>
                    </a:lnTo>
                    <a:cubicBezTo>
                      <a:pt x="90" y="350"/>
                      <a:pt x="0" y="463"/>
                      <a:pt x="11" y="564"/>
                    </a:cubicBezTo>
                    <a:cubicBezTo>
                      <a:pt x="11" y="677"/>
                      <a:pt x="124" y="789"/>
                      <a:pt x="327" y="902"/>
                    </a:cubicBezTo>
                    <a:cubicBezTo>
                      <a:pt x="462" y="981"/>
                      <a:pt x="620" y="1037"/>
                      <a:pt x="777" y="1082"/>
                    </a:cubicBezTo>
                    <a:cubicBezTo>
                      <a:pt x="935" y="1116"/>
                      <a:pt x="1081" y="1138"/>
                      <a:pt x="1216" y="1150"/>
                    </a:cubicBezTo>
                    <a:cubicBezTo>
                      <a:pt x="1352" y="1150"/>
                      <a:pt x="1577" y="1150"/>
                      <a:pt x="1904" y="1138"/>
                    </a:cubicBezTo>
                    <a:cubicBezTo>
                      <a:pt x="2095" y="1138"/>
                      <a:pt x="2241" y="1150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5"/>
                      <a:pt x="2782" y="1409"/>
                      <a:pt x="2782" y="1431"/>
                    </a:cubicBezTo>
                    <a:cubicBezTo>
                      <a:pt x="2793" y="1454"/>
                      <a:pt x="2782" y="1476"/>
                      <a:pt x="2737" y="1499"/>
                    </a:cubicBezTo>
                    <a:cubicBezTo>
                      <a:pt x="2709" y="1510"/>
                      <a:pt x="2684" y="1516"/>
                      <a:pt x="2658" y="1516"/>
                    </a:cubicBezTo>
                    <a:cubicBezTo>
                      <a:pt x="2633" y="1516"/>
                      <a:pt x="2608" y="1510"/>
                      <a:pt x="2579" y="1499"/>
                    </a:cubicBezTo>
                    <a:cubicBezTo>
                      <a:pt x="2512" y="1487"/>
                      <a:pt x="2399" y="1420"/>
                      <a:pt x="2219" y="1319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7"/>
                    </a:cubicBezTo>
                    <a:cubicBezTo>
                      <a:pt x="2407" y="1839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2"/>
                    </a:lnTo>
                    <a:lnTo>
                      <a:pt x="3334" y="1656"/>
                    </a:lnTo>
                    <a:cubicBezTo>
                      <a:pt x="3514" y="1544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3"/>
                    </a:cubicBezTo>
                    <a:cubicBezTo>
                      <a:pt x="2579" y="699"/>
                      <a:pt x="2444" y="677"/>
                      <a:pt x="2332" y="665"/>
                    </a:cubicBezTo>
                    <a:cubicBezTo>
                      <a:pt x="2219" y="665"/>
                      <a:pt x="2027" y="665"/>
                      <a:pt x="1757" y="677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7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8"/>
                      <a:pt x="766" y="485"/>
                    </a:cubicBezTo>
                    <a:cubicBezTo>
                      <a:pt x="755" y="463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9"/>
                      <a:pt x="1093" y="474"/>
                      <a:pt x="1216" y="530"/>
                    </a:cubicBezTo>
                    <a:lnTo>
                      <a:pt x="1329" y="598"/>
                    </a:lnTo>
                    <a:lnTo>
                      <a:pt x="1971" y="339"/>
                    </a:lnTo>
                    <a:cubicBezTo>
                      <a:pt x="1915" y="305"/>
                      <a:pt x="1881" y="282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4" name="Google Shape;674;p31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9"/>
                    </a:moveTo>
                    <a:lnTo>
                      <a:pt x="1329" y="598"/>
                    </a:lnTo>
                    <a:lnTo>
                      <a:pt x="1216" y="530"/>
                    </a:lnTo>
                    <a:cubicBezTo>
                      <a:pt x="1093" y="474"/>
                      <a:pt x="1014" y="429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3"/>
                      <a:pt x="766" y="485"/>
                    </a:cubicBezTo>
                    <a:cubicBezTo>
                      <a:pt x="777" y="508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7"/>
                    </a:cubicBezTo>
                    <a:cubicBezTo>
                      <a:pt x="1250" y="688"/>
                      <a:pt x="1453" y="688"/>
                      <a:pt x="1757" y="677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7"/>
                      <a:pt x="2579" y="699"/>
                      <a:pt x="2726" y="733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4"/>
                      <a:pt x="3334" y="1656"/>
                    </a:cubicBezTo>
                    <a:lnTo>
                      <a:pt x="3582" y="1792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7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9"/>
                    </a:lnTo>
                    <a:cubicBezTo>
                      <a:pt x="2399" y="1420"/>
                      <a:pt x="2512" y="1487"/>
                      <a:pt x="2579" y="1499"/>
                    </a:cubicBezTo>
                    <a:cubicBezTo>
                      <a:pt x="2636" y="1521"/>
                      <a:pt x="2681" y="1521"/>
                      <a:pt x="2737" y="1499"/>
                    </a:cubicBezTo>
                    <a:cubicBezTo>
                      <a:pt x="2782" y="1476"/>
                      <a:pt x="2793" y="1454"/>
                      <a:pt x="2782" y="1431"/>
                    </a:cubicBezTo>
                    <a:cubicBezTo>
                      <a:pt x="2782" y="1409"/>
                      <a:pt x="2737" y="1375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50"/>
                      <a:pt x="2095" y="1138"/>
                      <a:pt x="1904" y="1138"/>
                    </a:cubicBezTo>
                    <a:cubicBezTo>
                      <a:pt x="1577" y="1150"/>
                      <a:pt x="1352" y="1150"/>
                      <a:pt x="1216" y="1150"/>
                    </a:cubicBezTo>
                    <a:cubicBezTo>
                      <a:pt x="1081" y="1138"/>
                      <a:pt x="935" y="1116"/>
                      <a:pt x="777" y="1082"/>
                    </a:cubicBezTo>
                    <a:cubicBezTo>
                      <a:pt x="620" y="1037"/>
                      <a:pt x="462" y="981"/>
                      <a:pt x="327" y="902"/>
                    </a:cubicBezTo>
                    <a:cubicBezTo>
                      <a:pt x="124" y="789"/>
                      <a:pt x="11" y="677"/>
                      <a:pt x="11" y="564"/>
                    </a:cubicBezTo>
                    <a:cubicBezTo>
                      <a:pt x="0" y="463"/>
                      <a:pt x="90" y="350"/>
                      <a:pt x="282" y="249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82"/>
                      <a:pt x="1915" y="305"/>
                      <a:pt x="1971" y="33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5" name="Google Shape;675;p31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extrusionOk="0">
                    <a:moveTo>
                      <a:pt x="3177" y="1"/>
                    </a:move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lnTo>
                      <a:pt x="5982" y="1150"/>
                    </a:lnTo>
                    <a:cubicBezTo>
                      <a:pt x="5441" y="463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6" name="Google Shape;676;p31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4"/>
                      <a:pt x="3177" y="4404"/>
                    </a:cubicBezTo>
                    <a:cubicBezTo>
                      <a:pt x="4934" y="4404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7" name="Google Shape;677;p31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fill="none" extrusionOk="0">
                    <a:moveTo>
                      <a:pt x="5982" y="1150"/>
                    </a:moveTo>
                    <a:cubicBezTo>
                      <a:pt x="5441" y="463"/>
                      <a:pt x="4393" y="1"/>
                      <a:pt x="3177" y="1"/>
                    </a:cubicBez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8" name="Google Shape;678;p31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4"/>
                      <a:pt x="3177" y="4404"/>
                    </a:cubicBezTo>
                    <a:cubicBezTo>
                      <a:pt x="1420" y="4404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9" name="Google Shape;679;p31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0" name="Google Shape;680;p31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1" name="Google Shape;681;p31"/>
              <p:cNvSpPr/>
              <p:nvPr/>
            </p:nvSpPr>
            <p:spPr>
              <a:xfrm>
                <a:off x="3781826" y="1253157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14"/>
                      <a:pt x="1" y="980"/>
                      <a:pt x="1" y="958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2" name="Google Shape;682;p31"/>
              <p:cNvSpPr/>
              <p:nvPr/>
            </p:nvSpPr>
            <p:spPr>
              <a:xfrm>
                <a:off x="3805825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3" name="Google Shape;683;p31"/>
              <p:cNvSpPr/>
              <p:nvPr/>
            </p:nvSpPr>
            <p:spPr>
              <a:xfrm>
                <a:off x="3828637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4" name="Google Shape;684;p31"/>
              <p:cNvSpPr/>
              <p:nvPr/>
            </p:nvSpPr>
            <p:spPr>
              <a:xfrm>
                <a:off x="3849912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5" name="Google Shape;685;p31"/>
              <p:cNvSpPr/>
              <p:nvPr/>
            </p:nvSpPr>
            <p:spPr>
              <a:xfrm>
                <a:off x="3868008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6" name="Google Shape;686;p31"/>
              <p:cNvSpPr/>
              <p:nvPr/>
            </p:nvSpPr>
            <p:spPr>
              <a:xfrm>
                <a:off x="3884147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7" name="Google Shape;687;p31"/>
              <p:cNvSpPr/>
              <p:nvPr/>
            </p:nvSpPr>
            <p:spPr>
              <a:xfrm>
                <a:off x="3757023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8" name="Google Shape;688;p31"/>
              <p:cNvSpPr/>
              <p:nvPr/>
            </p:nvSpPr>
            <p:spPr>
              <a:xfrm>
                <a:off x="3734211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9" name="Google Shape;689;p31"/>
              <p:cNvSpPr/>
              <p:nvPr/>
            </p:nvSpPr>
            <p:spPr>
              <a:xfrm>
                <a:off x="3712971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0" name="Google Shape;690;p31"/>
              <p:cNvSpPr/>
              <p:nvPr/>
            </p:nvSpPr>
            <p:spPr>
              <a:xfrm>
                <a:off x="3694876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1" name="Google Shape;691;p31"/>
              <p:cNvSpPr/>
              <p:nvPr/>
            </p:nvSpPr>
            <p:spPr>
              <a:xfrm>
                <a:off x="3678736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2" name="Google Shape;692;p31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48"/>
                      <a:pt x="1104" y="3402"/>
                      <a:pt x="2456" y="3402"/>
                    </a:cubicBezTo>
                    <a:cubicBezTo>
                      <a:pt x="3819" y="3402"/>
                      <a:pt x="4911" y="2648"/>
                      <a:pt x="4911" y="1702"/>
                    </a:cubicBezTo>
                    <a:cubicBezTo>
                      <a:pt x="4911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3" name="Google Shape;693;p31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48"/>
                      <a:pt x="3819" y="3402"/>
                      <a:pt x="2456" y="3402"/>
                    </a:cubicBezTo>
                    <a:cubicBezTo>
                      <a:pt x="1104" y="3402"/>
                      <a:pt x="1" y="2648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11" y="767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4" name="Google Shape;694;p31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8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0"/>
                    </a:cubicBezTo>
                    <a:cubicBezTo>
                      <a:pt x="462" y="969"/>
                      <a:pt x="608" y="1025"/>
                      <a:pt x="777" y="1071"/>
                    </a:cubicBezTo>
                    <a:cubicBezTo>
                      <a:pt x="935" y="1104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4"/>
                      <a:pt x="2523" y="1251"/>
                      <a:pt x="2681" y="1330"/>
                    </a:cubicBezTo>
                    <a:cubicBezTo>
                      <a:pt x="2737" y="1363"/>
                      <a:pt x="2771" y="1397"/>
                      <a:pt x="2782" y="1420"/>
                    </a:cubicBezTo>
                    <a:cubicBezTo>
                      <a:pt x="2793" y="1453"/>
                      <a:pt x="2782" y="1465"/>
                      <a:pt x="2737" y="1487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7"/>
                    </a:cubicBezTo>
                    <a:cubicBezTo>
                      <a:pt x="2512" y="1476"/>
                      <a:pt x="2399" y="1408"/>
                      <a:pt x="2208" y="1307"/>
                    </a:cubicBezTo>
                    <a:lnTo>
                      <a:pt x="2050" y="1217"/>
                    </a:lnTo>
                    <a:lnTo>
                      <a:pt x="1408" y="1476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19" y="1828"/>
                      <a:pt x="2471" y="1829"/>
                      <a:pt x="2522" y="1829"/>
                    </a:cubicBezTo>
                    <a:cubicBezTo>
                      <a:pt x="2708" y="1829"/>
                      <a:pt x="2877" y="1811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2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6"/>
                      <a:pt x="2715" y="733"/>
                    </a:cubicBezTo>
                    <a:cubicBezTo>
                      <a:pt x="2579" y="688"/>
                      <a:pt x="2444" y="665"/>
                      <a:pt x="2332" y="654"/>
                    </a:cubicBezTo>
                    <a:cubicBezTo>
                      <a:pt x="2219" y="654"/>
                      <a:pt x="2028" y="654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20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1"/>
                      <a:pt x="958" y="406"/>
                    </a:cubicBezTo>
                    <a:cubicBezTo>
                      <a:pt x="1014" y="417"/>
                      <a:pt x="1093" y="462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3"/>
                      <a:pt x="1870" y="271"/>
                      <a:pt x="1847" y="248"/>
                    </a:cubicBezTo>
                    <a:cubicBezTo>
                      <a:pt x="1645" y="147"/>
                      <a:pt x="1442" y="79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1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5" name="Google Shape;695;p31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2"/>
                      <a:pt x="1014" y="417"/>
                      <a:pt x="958" y="406"/>
                    </a:cubicBezTo>
                    <a:cubicBezTo>
                      <a:pt x="901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20"/>
                      <a:pt x="1081" y="665"/>
                      <a:pt x="1160" y="665"/>
                    </a:cubicBezTo>
                    <a:cubicBezTo>
                      <a:pt x="1250" y="676"/>
                      <a:pt x="1442" y="676"/>
                      <a:pt x="1757" y="665"/>
                    </a:cubicBezTo>
                    <a:cubicBezTo>
                      <a:pt x="2028" y="654"/>
                      <a:pt x="2219" y="654"/>
                      <a:pt x="2332" y="654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6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2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36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76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8"/>
                      <a:pt x="2512" y="1476"/>
                      <a:pt x="2568" y="1487"/>
                    </a:cubicBezTo>
                    <a:cubicBezTo>
                      <a:pt x="2625" y="1510"/>
                      <a:pt x="2681" y="1510"/>
                      <a:pt x="2737" y="1487"/>
                    </a:cubicBezTo>
                    <a:cubicBezTo>
                      <a:pt x="2782" y="1465"/>
                      <a:pt x="2793" y="1453"/>
                      <a:pt x="2782" y="1420"/>
                    </a:cubicBezTo>
                    <a:cubicBezTo>
                      <a:pt x="2771" y="1397"/>
                      <a:pt x="2737" y="1363"/>
                      <a:pt x="2681" y="1330"/>
                    </a:cubicBezTo>
                    <a:cubicBezTo>
                      <a:pt x="2523" y="1251"/>
                      <a:pt x="2411" y="1194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4"/>
                      <a:pt x="777" y="1071"/>
                    </a:cubicBezTo>
                    <a:cubicBezTo>
                      <a:pt x="608" y="1025"/>
                      <a:pt x="462" y="969"/>
                      <a:pt x="316" y="890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8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5" y="147"/>
                      <a:pt x="1847" y="248"/>
                    </a:cubicBezTo>
                    <a:cubicBezTo>
                      <a:pt x="1870" y="271"/>
                      <a:pt x="1915" y="293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6" name="Google Shape;696;p31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lnTo>
                      <a:pt x="5982" y="1161"/>
                    </a:lnTo>
                    <a:cubicBezTo>
                      <a:pt x="5441" y="473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7" name="Google Shape;697;p31"/>
              <p:cNvSpPr/>
              <p:nvPr/>
            </p:nvSpPr>
            <p:spPr>
              <a:xfrm>
                <a:off x="3674793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92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92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8" name="Google Shape;698;p31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5982" y="1161"/>
                    </a:moveTo>
                    <a:cubicBezTo>
                      <a:pt x="5441" y="473"/>
                      <a:pt x="4393" y="0"/>
                      <a:pt x="3177" y="0"/>
                    </a:cubicBez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9" name="Google Shape;699;p31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92"/>
                      <a:pt x="1420" y="0"/>
                      <a:pt x="3177" y="0"/>
                    </a:cubicBezTo>
                    <a:cubicBezTo>
                      <a:pt x="4934" y="0"/>
                      <a:pt x="6353" y="992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0" name="Google Shape;700;p31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9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1" name="Google Shape;701;p31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9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2" name="Google Shape;702;p31"/>
              <p:cNvSpPr/>
              <p:nvPr/>
            </p:nvSpPr>
            <p:spPr>
              <a:xfrm>
                <a:off x="3781826" y="119020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03"/>
                      <a:pt x="1" y="980"/>
                      <a:pt x="1" y="957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3" name="Google Shape;703;p31"/>
              <p:cNvSpPr/>
              <p:nvPr/>
            </p:nvSpPr>
            <p:spPr>
              <a:xfrm>
                <a:off x="3805825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4" name="Google Shape;704;p31"/>
              <p:cNvSpPr/>
              <p:nvPr/>
            </p:nvSpPr>
            <p:spPr>
              <a:xfrm>
                <a:off x="3828637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5" name="Google Shape;705;p31"/>
              <p:cNvSpPr/>
              <p:nvPr/>
            </p:nvSpPr>
            <p:spPr>
              <a:xfrm>
                <a:off x="3849912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6" name="Google Shape;706;p31"/>
              <p:cNvSpPr/>
              <p:nvPr/>
            </p:nvSpPr>
            <p:spPr>
              <a:xfrm>
                <a:off x="3868008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7" name="Google Shape;707;p31"/>
              <p:cNvSpPr/>
              <p:nvPr/>
            </p:nvSpPr>
            <p:spPr>
              <a:xfrm>
                <a:off x="3884147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8" name="Google Shape;708;p31"/>
              <p:cNvSpPr/>
              <p:nvPr/>
            </p:nvSpPr>
            <p:spPr>
              <a:xfrm>
                <a:off x="3757023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9" name="Google Shape;709;p31"/>
              <p:cNvSpPr/>
              <p:nvPr/>
            </p:nvSpPr>
            <p:spPr>
              <a:xfrm>
                <a:off x="3734211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0" name="Google Shape;710;p31"/>
              <p:cNvSpPr/>
              <p:nvPr/>
            </p:nvSpPr>
            <p:spPr>
              <a:xfrm>
                <a:off x="3712971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1" name="Google Shape;711;p31"/>
              <p:cNvSpPr/>
              <p:nvPr/>
            </p:nvSpPr>
            <p:spPr>
              <a:xfrm>
                <a:off x="3694876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2" name="Google Shape;712;p31"/>
              <p:cNvSpPr/>
              <p:nvPr/>
            </p:nvSpPr>
            <p:spPr>
              <a:xfrm>
                <a:off x="3678736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3" name="Google Shape;713;p31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55"/>
                      <a:pt x="1" y="1702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11" y="2636"/>
                      <a:pt x="4911" y="1702"/>
                    </a:cubicBezTo>
                    <a:cubicBezTo>
                      <a:pt x="4911" y="755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4" name="Google Shape;714;p31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2"/>
                    </a:cubicBezTo>
                    <a:cubicBezTo>
                      <a:pt x="1" y="755"/>
                      <a:pt x="1104" y="1"/>
                      <a:pt x="2456" y="1"/>
                    </a:cubicBezTo>
                    <a:cubicBezTo>
                      <a:pt x="3819" y="1"/>
                      <a:pt x="4911" y="755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5" name="Google Shape;715;p31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extrusionOk="0">
                    <a:moveTo>
                      <a:pt x="361" y="0"/>
                    </a:moveTo>
                    <a:lnTo>
                      <a:pt x="57" y="124"/>
                    </a:lnTo>
                    <a:lnTo>
                      <a:pt x="282" y="248"/>
                    </a:lnTo>
                    <a:cubicBezTo>
                      <a:pt x="90" y="349"/>
                      <a:pt x="0" y="462"/>
                      <a:pt x="0" y="563"/>
                    </a:cubicBezTo>
                    <a:cubicBezTo>
                      <a:pt x="11" y="676"/>
                      <a:pt x="113" y="789"/>
                      <a:pt x="316" y="901"/>
                    </a:cubicBezTo>
                    <a:cubicBezTo>
                      <a:pt x="462" y="980"/>
                      <a:pt x="608" y="1036"/>
                      <a:pt x="777" y="1081"/>
                    </a:cubicBezTo>
                    <a:cubicBezTo>
                      <a:pt x="935" y="1115"/>
                      <a:pt x="1081" y="1138"/>
                      <a:pt x="1217" y="1149"/>
                    </a:cubicBezTo>
                    <a:cubicBezTo>
                      <a:pt x="1341" y="1149"/>
                      <a:pt x="1577" y="1149"/>
                      <a:pt x="1904" y="1138"/>
                    </a:cubicBezTo>
                    <a:cubicBezTo>
                      <a:pt x="2095" y="1138"/>
                      <a:pt x="2230" y="1149"/>
                      <a:pt x="2320" y="1172"/>
                    </a:cubicBezTo>
                    <a:cubicBezTo>
                      <a:pt x="2411" y="1205"/>
                      <a:pt x="2523" y="1262"/>
                      <a:pt x="2681" y="1340"/>
                    </a:cubicBezTo>
                    <a:cubicBezTo>
                      <a:pt x="2737" y="1374"/>
                      <a:pt x="2771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09"/>
                      <a:pt x="2681" y="1515"/>
                      <a:pt x="2653" y="1515"/>
                    </a:cubicBezTo>
                    <a:cubicBezTo>
                      <a:pt x="2625" y="1515"/>
                      <a:pt x="2596" y="1509"/>
                      <a:pt x="2568" y="1498"/>
                    </a:cubicBezTo>
                    <a:cubicBezTo>
                      <a:pt x="2512" y="1476"/>
                      <a:pt x="2399" y="1419"/>
                      <a:pt x="2208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32" y="1566"/>
                    </a:lnTo>
                    <a:cubicBezTo>
                      <a:pt x="1836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69" y="1815"/>
                      <a:pt x="3019" y="1768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23" y="1656"/>
                    </a:lnTo>
                    <a:cubicBezTo>
                      <a:pt x="3514" y="1543"/>
                      <a:pt x="3593" y="1431"/>
                      <a:pt x="3559" y="1307"/>
                    </a:cubicBezTo>
                    <a:cubicBezTo>
                      <a:pt x="3537" y="1183"/>
                      <a:pt x="3402" y="1059"/>
                      <a:pt x="3154" y="924"/>
                    </a:cubicBezTo>
                    <a:cubicBezTo>
                      <a:pt x="3007" y="834"/>
                      <a:pt x="2861" y="777"/>
                      <a:pt x="2715" y="732"/>
                    </a:cubicBezTo>
                    <a:cubicBezTo>
                      <a:pt x="2579" y="698"/>
                      <a:pt x="2444" y="676"/>
                      <a:pt x="2332" y="665"/>
                    </a:cubicBezTo>
                    <a:cubicBezTo>
                      <a:pt x="2219" y="665"/>
                      <a:pt x="2028" y="665"/>
                      <a:pt x="1757" y="676"/>
                    </a:cubicBezTo>
                    <a:cubicBezTo>
                      <a:pt x="1547" y="676"/>
                      <a:pt x="1392" y="681"/>
                      <a:pt x="1285" y="681"/>
                    </a:cubicBezTo>
                    <a:cubicBezTo>
                      <a:pt x="1232" y="681"/>
                      <a:pt x="1190" y="680"/>
                      <a:pt x="1160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4"/>
                    </a:cubicBezTo>
                    <a:cubicBezTo>
                      <a:pt x="755" y="462"/>
                      <a:pt x="766" y="439"/>
                      <a:pt x="811" y="417"/>
                    </a:cubicBezTo>
                    <a:cubicBezTo>
                      <a:pt x="837" y="410"/>
                      <a:pt x="863" y="404"/>
                      <a:pt x="891" y="404"/>
                    </a:cubicBezTo>
                    <a:cubicBezTo>
                      <a:pt x="912" y="404"/>
                      <a:pt x="934" y="407"/>
                      <a:pt x="958" y="417"/>
                    </a:cubicBezTo>
                    <a:cubicBezTo>
                      <a:pt x="1014" y="428"/>
                      <a:pt x="1093" y="462"/>
                      <a:pt x="1217" y="530"/>
                    </a:cubicBezTo>
                    <a:lnTo>
                      <a:pt x="1329" y="59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64" y="334"/>
                      <a:pt x="1968" y="336"/>
                      <a:pt x="1971" y="338"/>
                    </a:cubicBezTo>
                    <a:lnTo>
                      <a:pt x="1971" y="32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09" y="301"/>
                      <a:pt x="1868" y="280"/>
                      <a:pt x="1847" y="259"/>
                    </a:cubicBezTo>
                    <a:cubicBezTo>
                      <a:pt x="1645" y="147"/>
                      <a:pt x="1442" y="79"/>
                      <a:pt x="1228" y="56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4" y="73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6" name="Google Shape;716;p31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fill="none" extrusionOk="0">
                    <a:moveTo>
                      <a:pt x="1971" y="327"/>
                    </a:moveTo>
                    <a:lnTo>
                      <a:pt x="1329" y="597"/>
                    </a:lnTo>
                    <a:lnTo>
                      <a:pt x="1217" y="530"/>
                    </a:lnTo>
                    <a:cubicBezTo>
                      <a:pt x="1093" y="462"/>
                      <a:pt x="1014" y="428"/>
                      <a:pt x="958" y="417"/>
                    </a:cubicBezTo>
                    <a:cubicBezTo>
                      <a:pt x="901" y="394"/>
                      <a:pt x="856" y="406"/>
                      <a:pt x="811" y="417"/>
                    </a:cubicBezTo>
                    <a:cubicBezTo>
                      <a:pt x="766" y="439"/>
                      <a:pt x="755" y="462"/>
                      <a:pt x="766" y="484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60" y="676"/>
                    </a:cubicBezTo>
                    <a:cubicBezTo>
                      <a:pt x="1250" y="687"/>
                      <a:pt x="1442" y="676"/>
                      <a:pt x="1757" y="676"/>
                    </a:cubicBezTo>
                    <a:cubicBezTo>
                      <a:pt x="2028" y="665"/>
                      <a:pt x="2219" y="665"/>
                      <a:pt x="2332" y="665"/>
                    </a:cubicBezTo>
                    <a:cubicBezTo>
                      <a:pt x="2444" y="676"/>
                      <a:pt x="2579" y="698"/>
                      <a:pt x="2715" y="732"/>
                    </a:cubicBezTo>
                    <a:cubicBezTo>
                      <a:pt x="2861" y="777"/>
                      <a:pt x="3007" y="834"/>
                      <a:pt x="3154" y="924"/>
                    </a:cubicBezTo>
                    <a:cubicBezTo>
                      <a:pt x="3402" y="1059"/>
                      <a:pt x="3537" y="1183"/>
                      <a:pt x="3559" y="1307"/>
                    </a:cubicBezTo>
                    <a:cubicBezTo>
                      <a:pt x="3593" y="1431"/>
                      <a:pt x="3514" y="1543"/>
                      <a:pt x="3323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19" y="1768"/>
                    </a:lnTo>
                    <a:cubicBezTo>
                      <a:pt x="2839" y="1825"/>
                      <a:pt x="2613" y="1847"/>
                      <a:pt x="2365" y="1836"/>
                    </a:cubicBezTo>
                    <a:cubicBezTo>
                      <a:pt x="2118" y="1825"/>
                      <a:pt x="1836" y="1735"/>
                      <a:pt x="1532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08" y="1318"/>
                    </a:lnTo>
                    <a:cubicBezTo>
                      <a:pt x="2399" y="1419"/>
                      <a:pt x="2512" y="1476"/>
                      <a:pt x="2568" y="1498"/>
                    </a:cubicBezTo>
                    <a:cubicBezTo>
                      <a:pt x="2625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71" y="1408"/>
                      <a:pt x="2737" y="1374"/>
                      <a:pt x="2681" y="1340"/>
                    </a:cubicBezTo>
                    <a:cubicBezTo>
                      <a:pt x="2523" y="1262"/>
                      <a:pt x="2411" y="1205"/>
                      <a:pt x="2320" y="1172"/>
                    </a:cubicBezTo>
                    <a:cubicBezTo>
                      <a:pt x="2230" y="1149"/>
                      <a:pt x="2095" y="1138"/>
                      <a:pt x="1904" y="1138"/>
                    </a:cubicBezTo>
                    <a:cubicBezTo>
                      <a:pt x="1577" y="1149"/>
                      <a:pt x="1341" y="1149"/>
                      <a:pt x="1217" y="1149"/>
                    </a:cubicBezTo>
                    <a:cubicBezTo>
                      <a:pt x="1081" y="1138"/>
                      <a:pt x="935" y="1115"/>
                      <a:pt x="777" y="1081"/>
                    </a:cubicBezTo>
                    <a:cubicBezTo>
                      <a:pt x="608" y="1036"/>
                      <a:pt x="462" y="980"/>
                      <a:pt x="316" y="901"/>
                    </a:cubicBezTo>
                    <a:cubicBezTo>
                      <a:pt x="113" y="789"/>
                      <a:pt x="11" y="676"/>
                      <a:pt x="0" y="563"/>
                    </a:cubicBezTo>
                    <a:cubicBezTo>
                      <a:pt x="0" y="462"/>
                      <a:pt x="90" y="349"/>
                      <a:pt x="282" y="248"/>
                    </a:cubicBezTo>
                    <a:lnTo>
                      <a:pt x="57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6"/>
                      <a:pt x="1014" y="34"/>
                      <a:pt x="1228" y="56"/>
                    </a:cubicBezTo>
                    <a:cubicBezTo>
                      <a:pt x="1442" y="79"/>
                      <a:pt x="1645" y="147"/>
                      <a:pt x="1847" y="259"/>
                    </a:cubicBezTo>
                    <a:cubicBezTo>
                      <a:pt x="1870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7" name="Google Shape;717;p31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lnTo>
                      <a:pt x="5982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8" name="Google Shape;718;p31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9" name="Google Shape;719;p31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fill="none" extrusionOk="0">
                    <a:moveTo>
                      <a:pt x="5982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0" name="Google Shape;720;p31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1" name="Google Shape;721;p31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2" name="Google Shape;722;p31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3" name="Google Shape;723;p31"/>
              <p:cNvSpPr/>
              <p:nvPr/>
            </p:nvSpPr>
            <p:spPr>
              <a:xfrm>
                <a:off x="3781826" y="111936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cubicBezTo>
                      <a:pt x="1" y="1003"/>
                      <a:pt x="1" y="981"/>
                      <a:pt x="1" y="947"/>
                    </a:cubicBez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4" name="Google Shape;724;p31"/>
              <p:cNvSpPr/>
              <p:nvPr/>
            </p:nvSpPr>
            <p:spPr>
              <a:xfrm>
                <a:off x="3805825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5" name="Google Shape;725;p31"/>
              <p:cNvSpPr/>
              <p:nvPr/>
            </p:nvSpPr>
            <p:spPr>
              <a:xfrm>
                <a:off x="3828637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6" name="Google Shape;726;p31"/>
              <p:cNvSpPr/>
              <p:nvPr/>
            </p:nvSpPr>
            <p:spPr>
              <a:xfrm>
                <a:off x="3849912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7" name="Google Shape;727;p31"/>
              <p:cNvSpPr/>
              <p:nvPr/>
            </p:nvSpPr>
            <p:spPr>
              <a:xfrm>
                <a:off x="3868008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8" name="Google Shape;728;p31"/>
              <p:cNvSpPr/>
              <p:nvPr/>
            </p:nvSpPr>
            <p:spPr>
              <a:xfrm>
                <a:off x="3884147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9" name="Google Shape;729;p31"/>
              <p:cNvSpPr/>
              <p:nvPr/>
            </p:nvSpPr>
            <p:spPr>
              <a:xfrm>
                <a:off x="3757023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0" name="Google Shape;730;p31"/>
              <p:cNvSpPr/>
              <p:nvPr/>
            </p:nvSpPr>
            <p:spPr>
              <a:xfrm>
                <a:off x="3734211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1" name="Google Shape;731;p31"/>
              <p:cNvSpPr/>
              <p:nvPr/>
            </p:nvSpPr>
            <p:spPr>
              <a:xfrm>
                <a:off x="3712971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2" name="Google Shape;732;p31"/>
              <p:cNvSpPr/>
              <p:nvPr/>
            </p:nvSpPr>
            <p:spPr>
              <a:xfrm>
                <a:off x="3694876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3" name="Google Shape;733;p31"/>
              <p:cNvSpPr/>
              <p:nvPr/>
            </p:nvSpPr>
            <p:spPr>
              <a:xfrm>
                <a:off x="3678736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4" name="Google Shape;734;p31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11" y="2647"/>
                      <a:pt x="4911" y="1701"/>
                    </a:cubicBezTo>
                    <a:cubicBezTo>
                      <a:pt x="4911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1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fill="none" extrusionOk="0">
                    <a:moveTo>
                      <a:pt x="4911" y="1701"/>
                    </a:moveTo>
                    <a:cubicBezTo>
                      <a:pt x="4911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11" y="766"/>
                      <a:pt x="4911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1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9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1"/>
                    </a:cubicBezTo>
                    <a:cubicBezTo>
                      <a:pt x="462" y="969"/>
                      <a:pt x="608" y="1026"/>
                      <a:pt x="777" y="1071"/>
                    </a:cubicBezTo>
                    <a:cubicBezTo>
                      <a:pt x="935" y="1105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5"/>
                      <a:pt x="2523" y="1251"/>
                      <a:pt x="2681" y="1330"/>
                    </a:cubicBezTo>
                    <a:cubicBezTo>
                      <a:pt x="2737" y="1364"/>
                      <a:pt x="2771" y="1397"/>
                      <a:pt x="2782" y="1420"/>
                    </a:cubicBezTo>
                    <a:cubicBezTo>
                      <a:pt x="2793" y="1454"/>
                      <a:pt x="2782" y="1465"/>
                      <a:pt x="2737" y="1488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8"/>
                    </a:cubicBezTo>
                    <a:cubicBezTo>
                      <a:pt x="2512" y="1476"/>
                      <a:pt x="2399" y="1409"/>
                      <a:pt x="2208" y="1307"/>
                    </a:cubicBezTo>
                    <a:lnTo>
                      <a:pt x="2050" y="1217"/>
                    </a:lnTo>
                    <a:lnTo>
                      <a:pt x="1408" y="1488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3" y="1834"/>
                      <a:pt x="2884" y="1809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3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7"/>
                      <a:pt x="2715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4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32"/>
                      <a:pt x="879" y="564"/>
                    </a:cubicBezTo>
                    <a:cubicBezTo>
                      <a:pt x="822" y="530"/>
                      <a:pt x="777" y="508"/>
                      <a:pt x="766" y="474"/>
                    </a:cubicBezTo>
                    <a:cubicBezTo>
                      <a:pt x="755" y="451"/>
                      <a:pt x="766" y="429"/>
                      <a:pt x="811" y="418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2"/>
                      <a:pt x="958" y="406"/>
                    </a:cubicBezTo>
                    <a:cubicBezTo>
                      <a:pt x="1014" y="418"/>
                      <a:pt x="1093" y="463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70" y="271"/>
                      <a:pt x="1847" y="249"/>
                    </a:cubicBezTo>
                    <a:cubicBezTo>
                      <a:pt x="1645" y="147"/>
                      <a:pt x="1442" y="80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2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1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3"/>
                      <a:pt x="1014" y="418"/>
                      <a:pt x="958" y="406"/>
                    </a:cubicBezTo>
                    <a:cubicBezTo>
                      <a:pt x="901" y="395"/>
                      <a:pt x="856" y="395"/>
                      <a:pt x="811" y="418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508"/>
                      <a:pt x="822" y="530"/>
                      <a:pt x="879" y="564"/>
                    </a:cubicBezTo>
                    <a:cubicBezTo>
                      <a:pt x="991" y="632"/>
                      <a:pt x="1081" y="665"/>
                      <a:pt x="1160" y="665"/>
                    </a:cubicBezTo>
                    <a:cubicBezTo>
                      <a:pt x="1250" y="677"/>
                      <a:pt x="1442" y="677"/>
                      <a:pt x="1757" y="665"/>
                    </a:cubicBezTo>
                    <a:cubicBezTo>
                      <a:pt x="2028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7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3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48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88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9"/>
                      <a:pt x="2512" y="1476"/>
                      <a:pt x="2568" y="1488"/>
                    </a:cubicBezTo>
                    <a:cubicBezTo>
                      <a:pt x="2625" y="1510"/>
                      <a:pt x="2681" y="1510"/>
                      <a:pt x="2737" y="1488"/>
                    </a:cubicBezTo>
                    <a:cubicBezTo>
                      <a:pt x="2782" y="1465"/>
                      <a:pt x="2793" y="1454"/>
                      <a:pt x="2782" y="1420"/>
                    </a:cubicBezTo>
                    <a:cubicBezTo>
                      <a:pt x="2771" y="1397"/>
                      <a:pt x="2737" y="1364"/>
                      <a:pt x="2681" y="1330"/>
                    </a:cubicBezTo>
                    <a:cubicBezTo>
                      <a:pt x="2523" y="1251"/>
                      <a:pt x="2411" y="1195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5"/>
                      <a:pt x="777" y="1071"/>
                    </a:cubicBezTo>
                    <a:cubicBezTo>
                      <a:pt x="608" y="1026"/>
                      <a:pt x="462" y="969"/>
                      <a:pt x="316" y="891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9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5" y="147"/>
                      <a:pt x="1847" y="249"/>
                    </a:cubicBezTo>
                    <a:cubicBezTo>
                      <a:pt x="1870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1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74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9" name="Google Shape;739;p31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0" name="Google Shape;740;p31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74"/>
                      <a:pt x="4393" y="1"/>
                      <a:pt x="3188" y="1"/>
                    </a:cubicBez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1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4"/>
                      <a:pt x="4945" y="4405"/>
                      <a:pt x="3188" y="4405"/>
                    </a:cubicBezTo>
                    <a:cubicBezTo>
                      <a:pt x="1431" y="4405"/>
                      <a:pt x="0" y="3414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2" name="Google Shape;742;p31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2"/>
                      <a:pt x="0" y="2208"/>
                    </a:cubicBezTo>
                    <a:cubicBezTo>
                      <a:pt x="0" y="3424"/>
                      <a:pt x="1431" y="4404"/>
                      <a:pt x="3188" y="4404"/>
                    </a:cubicBezTo>
                    <a:cubicBezTo>
                      <a:pt x="4945" y="4404"/>
                      <a:pt x="6364" y="3424"/>
                      <a:pt x="6364" y="2208"/>
                    </a:cubicBezTo>
                    <a:cubicBezTo>
                      <a:pt x="6364" y="992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3" name="Google Shape;743;p31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4"/>
                      <a:pt x="4945" y="4404"/>
                      <a:pt x="3188" y="4404"/>
                    </a:cubicBezTo>
                    <a:cubicBezTo>
                      <a:pt x="1431" y="4404"/>
                      <a:pt x="0" y="3424"/>
                      <a:pt x="0" y="2208"/>
                    </a:cubicBezTo>
                    <a:cubicBezTo>
                      <a:pt x="0" y="992"/>
                      <a:pt x="1431" y="0"/>
                      <a:pt x="3188" y="0"/>
                    </a:cubicBezTo>
                    <a:cubicBezTo>
                      <a:pt x="4945" y="0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1"/>
              <p:cNvSpPr/>
              <p:nvPr/>
            </p:nvSpPr>
            <p:spPr>
              <a:xfrm>
                <a:off x="3958905" y="1358203"/>
                <a:ext cx="419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11" y="958"/>
                    </a:cubicBezTo>
                    <a:lnTo>
                      <a:pt x="1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5" name="Google Shape;745;p31"/>
              <p:cNvSpPr/>
              <p:nvPr/>
            </p:nvSpPr>
            <p:spPr>
              <a:xfrm>
                <a:off x="3983289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6" name="Google Shape;746;p31"/>
              <p:cNvSpPr/>
              <p:nvPr/>
            </p:nvSpPr>
            <p:spPr>
              <a:xfrm>
                <a:off x="400610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7" name="Google Shape;747;p31"/>
              <p:cNvSpPr/>
              <p:nvPr/>
            </p:nvSpPr>
            <p:spPr>
              <a:xfrm>
                <a:off x="4027341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1"/>
              <p:cNvSpPr/>
              <p:nvPr/>
            </p:nvSpPr>
            <p:spPr>
              <a:xfrm>
                <a:off x="4045052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9" name="Google Shape;749;p31"/>
              <p:cNvSpPr/>
              <p:nvPr/>
            </p:nvSpPr>
            <p:spPr>
              <a:xfrm>
                <a:off x="406157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0" name="Google Shape;750;p31"/>
              <p:cNvSpPr/>
              <p:nvPr/>
            </p:nvSpPr>
            <p:spPr>
              <a:xfrm>
                <a:off x="3934487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1" name="Google Shape;751;p31"/>
              <p:cNvSpPr/>
              <p:nvPr/>
            </p:nvSpPr>
            <p:spPr>
              <a:xfrm>
                <a:off x="391129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2" name="Google Shape;752;p31"/>
              <p:cNvSpPr/>
              <p:nvPr/>
            </p:nvSpPr>
            <p:spPr>
              <a:xfrm>
                <a:off x="3890435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3" name="Google Shape;753;p31"/>
              <p:cNvSpPr/>
              <p:nvPr/>
            </p:nvSpPr>
            <p:spPr>
              <a:xfrm>
                <a:off x="3872339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4" name="Google Shape;754;p31"/>
              <p:cNvSpPr/>
              <p:nvPr/>
            </p:nvSpPr>
            <p:spPr>
              <a:xfrm>
                <a:off x="385581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5" name="Google Shape;755;p31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6" name="Google Shape;756;p31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7" name="Google Shape;757;p31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1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62"/>
                      <a:pt x="12" y="564"/>
                    </a:cubicBezTo>
                    <a:cubicBezTo>
                      <a:pt x="23" y="676"/>
                      <a:pt x="125" y="789"/>
                      <a:pt x="327" y="902"/>
                    </a:cubicBezTo>
                    <a:cubicBezTo>
                      <a:pt x="462" y="980"/>
                      <a:pt x="620" y="1037"/>
                      <a:pt x="778" y="1071"/>
                    </a:cubicBezTo>
                    <a:cubicBezTo>
                      <a:pt x="947" y="1116"/>
                      <a:pt x="1093" y="1138"/>
                      <a:pt x="1217" y="1138"/>
                    </a:cubicBezTo>
                    <a:cubicBezTo>
                      <a:pt x="1285" y="1144"/>
                      <a:pt x="1375" y="1147"/>
                      <a:pt x="1489" y="1147"/>
                    </a:cubicBezTo>
                    <a:cubicBezTo>
                      <a:pt x="1603" y="1147"/>
                      <a:pt x="1741" y="1144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7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408"/>
                      <a:pt x="2794" y="1431"/>
                    </a:cubicBezTo>
                    <a:cubicBezTo>
                      <a:pt x="2805" y="1454"/>
                      <a:pt x="2783" y="1476"/>
                      <a:pt x="2738" y="1499"/>
                    </a:cubicBezTo>
                    <a:cubicBezTo>
                      <a:pt x="2715" y="1510"/>
                      <a:pt x="2690" y="1515"/>
                      <a:pt x="2663" y="1515"/>
                    </a:cubicBezTo>
                    <a:cubicBezTo>
                      <a:pt x="2636" y="1515"/>
                      <a:pt x="2608" y="1510"/>
                      <a:pt x="2580" y="1499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28"/>
                    </a:lnTo>
                    <a:lnTo>
                      <a:pt x="1409" y="1487"/>
                    </a:lnTo>
                    <a:lnTo>
                      <a:pt x="1544" y="1566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31"/>
                      <a:pt x="3571" y="1307"/>
                    </a:cubicBezTo>
                    <a:cubicBezTo>
                      <a:pt x="3549" y="1183"/>
                      <a:pt x="3413" y="1048"/>
                      <a:pt x="3166" y="924"/>
                    </a:cubicBezTo>
                    <a:cubicBezTo>
                      <a:pt x="3019" y="834"/>
                      <a:pt x="2873" y="778"/>
                      <a:pt x="2726" y="733"/>
                    </a:cubicBezTo>
                    <a:cubicBezTo>
                      <a:pt x="2580" y="699"/>
                      <a:pt x="2456" y="676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454" y="676"/>
                      <a:pt x="1251" y="676"/>
                      <a:pt x="1172" y="676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41"/>
                      <a:pt x="789" y="507"/>
                      <a:pt x="778" y="485"/>
                    </a:cubicBezTo>
                    <a:cubicBezTo>
                      <a:pt x="767" y="451"/>
                      <a:pt x="778" y="440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29"/>
                      <a:pt x="1104" y="462"/>
                      <a:pt x="1217" y="530"/>
                    </a:cubicBezTo>
                    <a:lnTo>
                      <a:pt x="1330" y="598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60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8" name="Google Shape;758;p31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98"/>
                    </a:lnTo>
                    <a:lnTo>
                      <a:pt x="1217" y="530"/>
                    </a:lnTo>
                    <a:cubicBezTo>
                      <a:pt x="1104" y="462"/>
                      <a:pt x="1014" y="429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40"/>
                      <a:pt x="767" y="451"/>
                      <a:pt x="778" y="485"/>
                    </a:cubicBezTo>
                    <a:cubicBezTo>
                      <a:pt x="789" y="507"/>
                      <a:pt x="823" y="541"/>
                      <a:pt x="890" y="575"/>
                    </a:cubicBezTo>
                    <a:cubicBezTo>
                      <a:pt x="992" y="631"/>
                      <a:pt x="1093" y="665"/>
                      <a:pt x="1172" y="676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76"/>
                      <a:pt x="2580" y="699"/>
                      <a:pt x="2726" y="733"/>
                    </a:cubicBezTo>
                    <a:cubicBezTo>
                      <a:pt x="2873" y="778"/>
                      <a:pt x="3019" y="834"/>
                      <a:pt x="3166" y="924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31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66"/>
                    </a:cubicBezTo>
                    <a:lnTo>
                      <a:pt x="1409" y="1487"/>
                    </a:lnTo>
                    <a:lnTo>
                      <a:pt x="2051" y="1228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9"/>
                    </a:cubicBezTo>
                    <a:cubicBezTo>
                      <a:pt x="2636" y="1521"/>
                      <a:pt x="2693" y="1521"/>
                      <a:pt x="2738" y="1499"/>
                    </a:cubicBezTo>
                    <a:cubicBezTo>
                      <a:pt x="2783" y="1476"/>
                      <a:pt x="2805" y="1454"/>
                      <a:pt x="2794" y="1431"/>
                    </a:cubicBezTo>
                    <a:cubicBezTo>
                      <a:pt x="2783" y="1408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49"/>
                      <a:pt x="1352" y="1149"/>
                      <a:pt x="1217" y="1138"/>
                    </a:cubicBezTo>
                    <a:cubicBezTo>
                      <a:pt x="1093" y="1138"/>
                      <a:pt x="947" y="1116"/>
                      <a:pt x="778" y="1071"/>
                    </a:cubicBezTo>
                    <a:cubicBezTo>
                      <a:pt x="620" y="1037"/>
                      <a:pt x="462" y="980"/>
                      <a:pt x="327" y="902"/>
                    </a:cubicBezTo>
                    <a:cubicBezTo>
                      <a:pt x="125" y="789"/>
                      <a:pt x="23" y="676"/>
                      <a:pt x="12" y="564"/>
                    </a:cubicBezTo>
                    <a:cubicBezTo>
                      <a:pt x="1" y="462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1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60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9" name="Google Shape;759;p31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62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0" name="Google Shape;760;p31"/>
              <p:cNvSpPr/>
              <p:nvPr/>
            </p:nvSpPr>
            <p:spPr>
              <a:xfrm>
                <a:off x="3849895" y="117821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1" name="Google Shape;761;p31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62"/>
                      <a:pt x="4393" y="1"/>
                      <a:pt x="3188" y="1"/>
                    </a:cubicBez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2" name="Google Shape;762;p31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45" y="4405"/>
                      <a:pt x="3188" y="4405"/>
                    </a:cubicBezTo>
                    <a:cubicBezTo>
                      <a:pt x="1431" y="4405"/>
                      <a:pt x="0" y="3413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3" name="Google Shape;763;p31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1"/>
                      <a:pt x="0" y="2208"/>
                    </a:cubicBezTo>
                    <a:cubicBezTo>
                      <a:pt x="0" y="3413"/>
                      <a:pt x="1431" y="4404"/>
                      <a:pt x="3188" y="4404"/>
                    </a:cubicBezTo>
                    <a:cubicBezTo>
                      <a:pt x="4945" y="4404"/>
                      <a:pt x="6364" y="3413"/>
                      <a:pt x="6364" y="2208"/>
                    </a:cubicBezTo>
                    <a:cubicBezTo>
                      <a:pt x="6364" y="991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4" name="Google Shape;764;p31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13"/>
                      <a:pt x="4945" y="4404"/>
                      <a:pt x="3188" y="4404"/>
                    </a:cubicBezTo>
                    <a:cubicBezTo>
                      <a:pt x="1431" y="4404"/>
                      <a:pt x="0" y="3413"/>
                      <a:pt x="0" y="2208"/>
                    </a:cubicBezTo>
                    <a:cubicBezTo>
                      <a:pt x="0" y="991"/>
                      <a:pt x="1431" y="0"/>
                      <a:pt x="3188" y="0"/>
                    </a:cubicBezTo>
                    <a:cubicBezTo>
                      <a:pt x="4945" y="0"/>
                      <a:pt x="6364" y="991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5" name="Google Shape;765;p31"/>
              <p:cNvSpPr/>
              <p:nvPr/>
            </p:nvSpPr>
            <p:spPr>
              <a:xfrm>
                <a:off x="3958905" y="1295252"/>
                <a:ext cx="419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26" fill="none" extrusionOk="0">
                    <a:moveTo>
                      <a:pt x="0" y="1025"/>
                    </a:moveTo>
                    <a:cubicBezTo>
                      <a:pt x="0" y="1003"/>
                      <a:pt x="0" y="980"/>
                      <a:pt x="11" y="947"/>
                    </a:cubicBezTo>
                    <a:lnTo>
                      <a:pt x="1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6" name="Google Shape;766;p31"/>
              <p:cNvSpPr/>
              <p:nvPr/>
            </p:nvSpPr>
            <p:spPr>
              <a:xfrm>
                <a:off x="3983289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7" name="Google Shape;767;p31"/>
              <p:cNvSpPr/>
              <p:nvPr/>
            </p:nvSpPr>
            <p:spPr>
              <a:xfrm>
                <a:off x="400610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8" name="Google Shape;768;p31"/>
              <p:cNvSpPr/>
              <p:nvPr/>
            </p:nvSpPr>
            <p:spPr>
              <a:xfrm>
                <a:off x="4027341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9" name="Google Shape;769;p31"/>
              <p:cNvSpPr/>
              <p:nvPr/>
            </p:nvSpPr>
            <p:spPr>
              <a:xfrm>
                <a:off x="4045052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7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0" name="Google Shape;770;p31"/>
              <p:cNvSpPr/>
              <p:nvPr/>
            </p:nvSpPr>
            <p:spPr>
              <a:xfrm>
                <a:off x="406157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1"/>
              <p:cNvSpPr/>
              <p:nvPr/>
            </p:nvSpPr>
            <p:spPr>
              <a:xfrm>
                <a:off x="3934487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1"/>
              <p:cNvSpPr/>
              <p:nvPr/>
            </p:nvSpPr>
            <p:spPr>
              <a:xfrm>
                <a:off x="391129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1"/>
              <p:cNvSpPr/>
              <p:nvPr/>
            </p:nvSpPr>
            <p:spPr>
              <a:xfrm>
                <a:off x="3890435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1"/>
              <p:cNvSpPr/>
              <p:nvPr/>
            </p:nvSpPr>
            <p:spPr>
              <a:xfrm>
                <a:off x="3872339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1"/>
              <p:cNvSpPr/>
              <p:nvPr/>
            </p:nvSpPr>
            <p:spPr>
              <a:xfrm>
                <a:off x="385581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1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1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1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51"/>
                      <a:pt x="12" y="564"/>
                    </a:cubicBezTo>
                    <a:cubicBezTo>
                      <a:pt x="23" y="676"/>
                      <a:pt x="125" y="778"/>
                      <a:pt x="327" y="890"/>
                    </a:cubicBezTo>
                    <a:cubicBezTo>
                      <a:pt x="462" y="969"/>
                      <a:pt x="620" y="1037"/>
                      <a:pt x="778" y="1070"/>
                    </a:cubicBezTo>
                    <a:cubicBezTo>
                      <a:pt x="947" y="1115"/>
                      <a:pt x="1093" y="1138"/>
                      <a:pt x="1217" y="1138"/>
                    </a:cubicBezTo>
                    <a:cubicBezTo>
                      <a:pt x="1262" y="1142"/>
                      <a:pt x="1317" y="1143"/>
                      <a:pt x="1383" y="1143"/>
                    </a:cubicBezTo>
                    <a:cubicBezTo>
                      <a:pt x="1514" y="1143"/>
                      <a:pt x="1686" y="1138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6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397"/>
                      <a:pt x="2794" y="1431"/>
                    </a:cubicBezTo>
                    <a:cubicBezTo>
                      <a:pt x="2805" y="1453"/>
                      <a:pt x="2783" y="1476"/>
                      <a:pt x="2738" y="1487"/>
                    </a:cubicBezTo>
                    <a:cubicBezTo>
                      <a:pt x="2711" y="1500"/>
                      <a:pt x="2681" y="1506"/>
                      <a:pt x="2649" y="1506"/>
                    </a:cubicBezTo>
                    <a:cubicBezTo>
                      <a:pt x="2627" y="1506"/>
                      <a:pt x="2603" y="1503"/>
                      <a:pt x="2580" y="1498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17"/>
                    </a:lnTo>
                    <a:lnTo>
                      <a:pt x="1409" y="1487"/>
                    </a:lnTo>
                    <a:lnTo>
                      <a:pt x="1544" y="1555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20"/>
                      <a:pt x="3571" y="1307"/>
                    </a:cubicBezTo>
                    <a:cubicBezTo>
                      <a:pt x="3549" y="1183"/>
                      <a:pt x="3413" y="1048"/>
                      <a:pt x="3166" y="913"/>
                    </a:cubicBezTo>
                    <a:cubicBezTo>
                      <a:pt x="3019" y="834"/>
                      <a:pt x="2873" y="766"/>
                      <a:pt x="2726" y="733"/>
                    </a:cubicBezTo>
                    <a:cubicBezTo>
                      <a:pt x="2580" y="687"/>
                      <a:pt x="2456" y="665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611" y="671"/>
                      <a:pt x="1482" y="673"/>
                      <a:pt x="1382" y="673"/>
                    </a:cubicBezTo>
                    <a:cubicBezTo>
                      <a:pt x="1282" y="673"/>
                      <a:pt x="1211" y="671"/>
                      <a:pt x="1172" y="665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30"/>
                      <a:pt x="789" y="507"/>
                      <a:pt x="778" y="473"/>
                    </a:cubicBezTo>
                    <a:cubicBezTo>
                      <a:pt x="767" y="451"/>
                      <a:pt x="778" y="428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17"/>
                      <a:pt x="1104" y="462"/>
                      <a:pt x="1217" y="530"/>
                    </a:cubicBezTo>
                    <a:lnTo>
                      <a:pt x="1330" y="586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59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1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86"/>
                    </a:lnTo>
                    <a:lnTo>
                      <a:pt x="1217" y="530"/>
                    </a:lnTo>
                    <a:cubicBezTo>
                      <a:pt x="1104" y="462"/>
                      <a:pt x="1014" y="417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28"/>
                      <a:pt x="767" y="451"/>
                      <a:pt x="778" y="473"/>
                    </a:cubicBezTo>
                    <a:cubicBezTo>
                      <a:pt x="789" y="507"/>
                      <a:pt x="823" y="530"/>
                      <a:pt x="890" y="575"/>
                    </a:cubicBezTo>
                    <a:cubicBezTo>
                      <a:pt x="992" y="631"/>
                      <a:pt x="1093" y="665"/>
                      <a:pt x="1172" y="665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65"/>
                      <a:pt x="2580" y="687"/>
                      <a:pt x="2726" y="733"/>
                    </a:cubicBezTo>
                    <a:cubicBezTo>
                      <a:pt x="2873" y="766"/>
                      <a:pt x="3019" y="834"/>
                      <a:pt x="3166" y="913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20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55"/>
                    </a:cubicBezTo>
                    <a:lnTo>
                      <a:pt x="1409" y="1487"/>
                    </a:lnTo>
                    <a:lnTo>
                      <a:pt x="2051" y="1217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8"/>
                    </a:cubicBezTo>
                    <a:cubicBezTo>
                      <a:pt x="2636" y="1510"/>
                      <a:pt x="2693" y="1510"/>
                      <a:pt x="2738" y="1487"/>
                    </a:cubicBezTo>
                    <a:cubicBezTo>
                      <a:pt x="2783" y="1476"/>
                      <a:pt x="2805" y="1453"/>
                      <a:pt x="2794" y="1431"/>
                    </a:cubicBezTo>
                    <a:cubicBezTo>
                      <a:pt x="2783" y="1397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38"/>
                      <a:pt x="1352" y="1149"/>
                      <a:pt x="1217" y="1138"/>
                    </a:cubicBezTo>
                    <a:cubicBezTo>
                      <a:pt x="1093" y="1138"/>
                      <a:pt x="947" y="1115"/>
                      <a:pt x="778" y="1070"/>
                    </a:cubicBezTo>
                    <a:cubicBezTo>
                      <a:pt x="620" y="1037"/>
                      <a:pt x="462" y="969"/>
                      <a:pt x="327" y="890"/>
                    </a:cubicBezTo>
                    <a:cubicBezTo>
                      <a:pt x="125" y="778"/>
                      <a:pt x="23" y="676"/>
                      <a:pt x="12" y="564"/>
                    </a:cubicBezTo>
                    <a:cubicBezTo>
                      <a:pt x="1" y="451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59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solidFill>
                <a:schemeClr val="dk2"/>
              </a:solidFill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80" name="Google Shape;780;p31"/>
            <p:cNvSpPr/>
            <p:nvPr/>
          </p:nvSpPr>
          <p:spPr>
            <a:xfrm>
              <a:off x="3794477" y="28759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1" name="Google Shape;781;p31"/>
            <p:cNvSpPr/>
            <p:nvPr/>
          </p:nvSpPr>
          <p:spPr>
            <a:xfrm>
              <a:off x="3817289" y="28245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2" name="Google Shape;782;p31"/>
            <p:cNvSpPr/>
            <p:nvPr/>
          </p:nvSpPr>
          <p:spPr>
            <a:xfrm>
              <a:off x="3838529" y="27379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3" name="Google Shape;783;p31"/>
            <p:cNvSpPr/>
            <p:nvPr/>
          </p:nvSpPr>
          <p:spPr>
            <a:xfrm>
              <a:off x="3856660" y="26160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4" name="Google Shape;784;p31"/>
            <p:cNvSpPr/>
            <p:nvPr/>
          </p:nvSpPr>
          <p:spPr>
            <a:xfrm>
              <a:off x="3873183" y="241548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5" name="Google Shape;785;p31"/>
            <p:cNvSpPr/>
            <p:nvPr/>
          </p:nvSpPr>
          <p:spPr>
            <a:xfrm>
              <a:off x="3794477" y="224640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6" name="Google Shape;786;p31"/>
            <p:cNvSpPr/>
            <p:nvPr/>
          </p:nvSpPr>
          <p:spPr>
            <a:xfrm>
              <a:off x="3817289" y="219504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787;p31"/>
            <p:cNvSpPr/>
            <p:nvPr/>
          </p:nvSpPr>
          <p:spPr>
            <a:xfrm>
              <a:off x="3838529" y="21084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788;p31"/>
            <p:cNvSpPr/>
            <p:nvPr/>
          </p:nvSpPr>
          <p:spPr>
            <a:xfrm>
              <a:off x="3856660" y="19864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789;p31"/>
            <p:cNvSpPr/>
            <p:nvPr/>
          </p:nvSpPr>
          <p:spPr>
            <a:xfrm>
              <a:off x="3873183" y="17859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790;p31"/>
            <p:cNvSpPr/>
            <p:nvPr/>
          </p:nvSpPr>
          <p:spPr>
            <a:xfrm>
              <a:off x="3794477" y="160885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791;p31"/>
            <p:cNvSpPr/>
            <p:nvPr/>
          </p:nvSpPr>
          <p:spPr>
            <a:xfrm>
              <a:off x="3817289" y="155750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5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792;p31"/>
            <p:cNvSpPr/>
            <p:nvPr/>
          </p:nvSpPr>
          <p:spPr>
            <a:xfrm>
              <a:off x="3838529" y="14712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793;p31"/>
            <p:cNvSpPr/>
            <p:nvPr/>
          </p:nvSpPr>
          <p:spPr>
            <a:xfrm>
              <a:off x="3856660" y="13489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4" name="Google Shape;794;p31"/>
            <p:cNvSpPr/>
            <p:nvPr/>
          </p:nvSpPr>
          <p:spPr>
            <a:xfrm>
              <a:off x="3873183" y="11484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95" name="Google Shape;795;p31"/>
          <p:cNvGrpSpPr/>
          <p:nvPr/>
        </p:nvGrpSpPr>
        <p:grpSpPr>
          <a:xfrm>
            <a:off x="7649825" y="934753"/>
            <a:ext cx="552257" cy="1287752"/>
            <a:chOff x="4811532" y="241542"/>
            <a:chExt cx="221177" cy="515761"/>
          </a:xfrm>
        </p:grpSpPr>
        <p:sp>
          <p:nvSpPr>
            <p:cNvPr id="796" name="Google Shape;796;p31"/>
            <p:cNvSpPr/>
            <p:nvPr/>
          </p:nvSpPr>
          <p:spPr>
            <a:xfrm>
              <a:off x="4811532" y="566537"/>
              <a:ext cx="219217" cy="190766"/>
            </a:xfrm>
            <a:custGeom>
              <a:avLst/>
              <a:gdLst/>
              <a:ahLst/>
              <a:cxnLst/>
              <a:rect l="l" t="t" r="r" b="b"/>
              <a:pathLst>
                <a:path w="6275" h="4754" extrusionOk="0">
                  <a:moveTo>
                    <a:pt x="767" y="1"/>
                  </a:moveTo>
                  <a:lnTo>
                    <a:pt x="767" y="136"/>
                  </a:lnTo>
                  <a:cubicBezTo>
                    <a:pt x="293" y="519"/>
                    <a:pt x="1" y="1015"/>
                    <a:pt x="1" y="1555"/>
                  </a:cubicBezTo>
                  <a:cubicBezTo>
                    <a:pt x="1" y="1634"/>
                    <a:pt x="12" y="1713"/>
                    <a:pt x="23" y="1780"/>
                  </a:cubicBezTo>
                  <a:lnTo>
                    <a:pt x="12" y="2445"/>
                  </a:lnTo>
                  <a:cubicBezTo>
                    <a:pt x="12" y="2490"/>
                    <a:pt x="1" y="2535"/>
                    <a:pt x="1" y="2591"/>
                  </a:cubicBezTo>
                  <a:cubicBezTo>
                    <a:pt x="1" y="3785"/>
                    <a:pt x="1409" y="4754"/>
                    <a:pt x="3143" y="4754"/>
                  </a:cubicBezTo>
                  <a:cubicBezTo>
                    <a:pt x="4878" y="4754"/>
                    <a:pt x="6274" y="3785"/>
                    <a:pt x="6274" y="2591"/>
                  </a:cubicBezTo>
                  <a:lnTo>
                    <a:pt x="6274" y="1555"/>
                  </a:lnTo>
                  <a:cubicBezTo>
                    <a:pt x="6274" y="1026"/>
                    <a:pt x="6004" y="530"/>
                    <a:pt x="5531" y="159"/>
                  </a:cubicBezTo>
                  <a:lnTo>
                    <a:pt x="5542" y="159"/>
                  </a:lnTo>
                  <a:lnTo>
                    <a:pt x="5542" y="1"/>
                  </a:lnTo>
                  <a:close/>
                </a:path>
              </a:pathLst>
            </a:cu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7" name="Google Shape;797;p31"/>
            <p:cNvSpPr/>
            <p:nvPr/>
          </p:nvSpPr>
          <p:spPr>
            <a:xfrm>
              <a:off x="4811536" y="555912"/>
              <a:ext cx="219217" cy="151548"/>
            </a:xfrm>
            <a:custGeom>
              <a:avLst/>
              <a:gdLst/>
              <a:ahLst/>
              <a:cxnLst/>
              <a:rect l="l" t="t" r="r" b="b"/>
              <a:pathLst>
                <a:path w="6275" h="4338" extrusionOk="0">
                  <a:moveTo>
                    <a:pt x="3143" y="1"/>
                  </a:moveTo>
                  <a:cubicBezTo>
                    <a:pt x="1949" y="1"/>
                    <a:pt x="913" y="463"/>
                    <a:pt x="372" y="1138"/>
                  </a:cubicBezTo>
                  <a:lnTo>
                    <a:pt x="23" y="1138"/>
                  </a:lnTo>
                  <a:lnTo>
                    <a:pt x="12" y="2073"/>
                  </a:lnTo>
                  <a:cubicBezTo>
                    <a:pt x="12" y="2107"/>
                    <a:pt x="1" y="2141"/>
                    <a:pt x="1" y="2175"/>
                  </a:cubicBezTo>
                  <a:cubicBezTo>
                    <a:pt x="1" y="3368"/>
                    <a:pt x="1409" y="4337"/>
                    <a:pt x="3143" y="4337"/>
                  </a:cubicBezTo>
                  <a:cubicBezTo>
                    <a:pt x="4878" y="4337"/>
                    <a:pt x="6274" y="3368"/>
                    <a:pt x="6274" y="2175"/>
                  </a:cubicBezTo>
                  <a:lnTo>
                    <a:pt x="6274" y="1138"/>
                  </a:lnTo>
                  <a:lnTo>
                    <a:pt x="5903" y="1138"/>
                  </a:lnTo>
                  <a:cubicBezTo>
                    <a:pt x="5373" y="463"/>
                    <a:pt x="4337" y="1"/>
                    <a:pt x="314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8" name="Google Shape;798;p31"/>
            <p:cNvSpPr/>
            <p:nvPr/>
          </p:nvSpPr>
          <p:spPr>
            <a:xfrm>
              <a:off x="4811536" y="555912"/>
              <a:ext cx="219601" cy="151548"/>
            </a:xfrm>
            <a:custGeom>
              <a:avLst/>
              <a:gdLst/>
              <a:ahLst/>
              <a:cxnLst/>
              <a:rect l="l" t="t" r="r" b="b"/>
              <a:pathLst>
                <a:path w="6286" h="4338" extrusionOk="0">
                  <a:moveTo>
                    <a:pt x="3143" y="1"/>
                  </a:moveTo>
                  <a:cubicBezTo>
                    <a:pt x="1409" y="1"/>
                    <a:pt x="1" y="969"/>
                    <a:pt x="1" y="2175"/>
                  </a:cubicBezTo>
                  <a:cubicBezTo>
                    <a:pt x="1" y="3368"/>
                    <a:pt x="1409" y="4337"/>
                    <a:pt x="3143" y="4337"/>
                  </a:cubicBezTo>
                  <a:cubicBezTo>
                    <a:pt x="4878" y="4337"/>
                    <a:pt x="6286" y="3368"/>
                    <a:pt x="6286" y="2175"/>
                  </a:cubicBezTo>
                  <a:cubicBezTo>
                    <a:pt x="6286" y="969"/>
                    <a:pt x="4878" y="1"/>
                    <a:pt x="31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9" name="Google Shape;799;p31"/>
            <p:cNvSpPr/>
            <p:nvPr/>
          </p:nvSpPr>
          <p:spPr>
            <a:xfrm>
              <a:off x="4811536" y="555912"/>
              <a:ext cx="219217" cy="151548"/>
            </a:xfrm>
            <a:custGeom>
              <a:avLst/>
              <a:gdLst/>
              <a:ahLst/>
              <a:cxnLst/>
              <a:rect l="l" t="t" r="r" b="b"/>
              <a:pathLst>
                <a:path w="6275" h="4338" fill="none" extrusionOk="0">
                  <a:moveTo>
                    <a:pt x="5903" y="1138"/>
                  </a:moveTo>
                  <a:cubicBezTo>
                    <a:pt x="5373" y="463"/>
                    <a:pt x="4337" y="1"/>
                    <a:pt x="3143" y="1"/>
                  </a:cubicBezTo>
                  <a:cubicBezTo>
                    <a:pt x="1949" y="1"/>
                    <a:pt x="913" y="463"/>
                    <a:pt x="372" y="1138"/>
                  </a:cubicBezTo>
                  <a:lnTo>
                    <a:pt x="23" y="1138"/>
                  </a:lnTo>
                  <a:lnTo>
                    <a:pt x="12" y="2073"/>
                  </a:lnTo>
                  <a:cubicBezTo>
                    <a:pt x="12" y="2107"/>
                    <a:pt x="1" y="2141"/>
                    <a:pt x="1" y="2175"/>
                  </a:cubicBezTo>
                  <a:cubicBezTo>
                    <a:pt x="1" y="3368"/>
                    <a:pt x="1409" y="4337"/>
                    <a:pt x="3143" y="4337"/>
                  </a:cubicBezTo>
                  <a:cubicBezTo>
                    <a:pt x="4878" y="4337"/>
                    <a:pt x="6274" y="3368"/>
                    <a:pt x="6274" y="2175"/>
                  </a:cubicBezTo>
                  <a:lnTo>
                    <a:pt x="6274" y="1138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0" name="Google Shape;800;p31"/>
            <p:cNvSpPr/>
            <p:nvPr/>
          </p:nvSpPr>
          <p:spPr>
            <a:xfrm>
              <a:off x="4811536" y="555912"/>
              <a:ext cx="219601" cy="151548"/>
            </a:xfrm>
            <a:custGeom>
              <a:avLst/>
              <a:gdLst/>
              <a:ahLst/>
              <a:cxnLst/>
              <a:rect l="l" t="t" r="r" b="b"/>
              <a:pathLst>
                <a:path w="6286" h="4338" fill="none" extrusionOk="0">
                  <a:moveTo>
                    <a:pt x="6286" y="2175"/>
                  </a:moveTo>
                  <a:cubicBezTo>
                    <a:pt x="6286" y="3368"/>
                    <a:pt x="4878" y="4337"/>
                    <a:pt x="3143" y="4337"/>
                  </a:cubicBezTo>
                  <a:cubicBezTo>
                    <a:pt x="1409" y="4337"/>
                    <a:pt x="1" y="3368"/>
                    <a:pt x="1" y="2175"/>
                  </a:cubicBezTo>
                  <a:cubicBezTo>
                    <a:pt x="1" y="969"/>
                    <a:pt x="1409" y="1"/>
                    <a:pt x="3143" y="1"/>
                  </a:cubicBezTo>
                  <a:cubicBezTo>
                    <a:pt x="4878" y="1"/>
                    <a:pt x="6286" y="969"/>
                    <a:pt x="6286" y="2175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1" name="Google Shape;801;p31"/>
            <p:cNvSpPr/>
            <p:nvPr/>
          </p:nvSpPr>
          <p:spPr>
            <a:xfrm>
              <a:off x="4811536" y="519720"/>
              <a:ext cx="219601" cy="151932"/>
            </a:xfrm>
            <a:custGeom>
              <a:avLst/>
              <a:gdLst/>
              <a:ahLst/>
              <a:cxnLst/>
              <a:rect l="l" t="t" r="r" b="b"/>
              <a:pathLst>
                <a:path w="6286" h="4349" extrusionOk="0">
                  <a:moveTo>
                    <a:pt x="3143" y="1"/>
                  </a:moveTo>
                  <a:cubicBezTo>
                    <a:pt x="1409" y="1"/>
                    <a:pt x="1" y="980"/>
                    <a:pt x="1" y="2174"/>
                  </a:cubicBezTo>
                  <a:cubicBezTo>
                    <a:pt x="1" y="3380"/>
                    <a:pt x="1409" y="4348"/>
                    <a:pt x="3143" y="4348"/>
                  </a:cubicBezTo>
                  <a:cubicBezTo>
                    <a:pt x="4878" y="4348"/>
                    <a:pt x="6286" y="3380"/>
                    <a:pt x="6286" y="2174"/>
                  </a:cubicBezTo>
                  <a:cubicBezTo>
                    <a:pt x="6286" y="980"/>
                    <a:pt x="4878" y="1"/>
                    <a:pt x="314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2" name="Google Shape;802;p31"/>
            <p:cNvSpPr/>
            <p:nvPr/>
          </p:nvSpPr>
          <p:spPr>
            <a:xfrm>
              <a:off x="4811536" y="519720"/>
              <a:ext cx="219601" cy="151932"/>
            </a:xfrm>
            <a:custGeom>
              <a:avLst/>
              <a:gdLst/>
              <a:ahLst/>
              <a:cxnLst/>
              <a:rect l="l" t="t" r="r" b="b"/>
              <a:pathLst>
                <a:path w="6286" h="4349" fill="none" extrusionOk="0">
                  <a:moveTo>
                    <a:pt x="6286" y="2174"/>
                  </a:moveTo>
                  <a:cubicBezTo>
                    <a:pt x="6286" y="3380"/>
                    <a:pt x="4878" y="4348"/>
                    <a:pt x="3143" y="4348"/>
                  </a:cubicBezTo>
                  <a:cubicBezTo>
                    <a:pt x="1409" y="4348"/>
                    <a:pt x="1" y="3380"/>
                    <a:pt x="1" y="2174"/>
                  </a:cubicBezTo>
                  <a:cubicBezTo>
                    <a:pt x="1" y="980"/>
                    <a:pt x="1409" y="1"/>
                    <a:pt x="3143" y="1"/>
                  </a:cubicBezTo>
                  <a:cubicBezTo>
                    <a:pt x="4878" y="1"/>
                    <a:pt x="6286" y="980"/>
                    <a:pt x="6286" y="2174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3" name="Google Shape;803;p31"/>
            <p:cNvSpPr/>
            <p:nvPr/>
          </p:nvSpPr>
          <p:spPr>
            <a:xfrm>
              <a:off x="4922101" y="671997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cubicBezTo>
                    <a:pt x="1" y="992"/>
                    <a:pt x="1" y="969"/>
                    <a:pt x="1" y="935"/>
                  </a:cubicBezTo>
                  <a:lnTo>
                    <a:pt x="1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4" name="Google Shape;804;p31"/>
            <p:cNvSpPr/>
            <p:nvPr/>
          </p:nvSpPr>
          <p:spPr>
            <a:xfrm>
              <a:off x="4945717" y="670041"/>
              <a:ext cx="35" cy="35040"/>
            </a:xfrm>
            <a:custGeom>
              <a:avLst/>
              <a:gdLst/>
              <a:ahLst/>
              <a:cxnLst/>
              <a:rect l="l" t="t" r="r" b="b"/>
              <a:pathLst>
                <a:path w="1" h="1003" fill="none" extrusionOk="0">
                  <a:moveTo>
                    <a:pt x="0" y="1003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5" name="Google Shape;805;p31"/>
            <p:cNvSpPr/>
            <p:nvPr/>
          </p:nvSpPr>
          <p:spPr>
            <a:xfrm>
              <a:off x="4968528" y="664906"/>
              <a:ext cx="35" cy="35075"/>
            </a:xfrm>
            <a:custGeom>
              <a:avLst/>
              <a:gdLst/>
              <a:ahLst/>
              <a:cxnLst/>
              <a:rect l="l" t="t" r="r" b="b"/>
              <a:pathLst>
                <a:path w="1" h="1004" fill="none" extrusionOk="0">
                  <a:moveTo>
                    <a:pt x="1" y="1003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6" name="Google Shape;806;p31"/>
            <p:cNvSpPr/>
            <p:nvPr/>
          </p:nvSpPr>
          <p:spPr>
            <a:xfrm>
              <a:off x="4989384" y="656242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5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7" name="Google Shape;807;p31"/>
            <p:cNvSpPr/>
            <p:nvPr/>
          </p:nvSpPr>
          <p:spPr>
            <a:xfrm>
              <a:off x="5007095" y="644050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8" name="Google Shape;808;p31"/>
            <p:cNvSpPr/>
            <p:nvPr/>
          </p:nvSpPr>
          <p:spPr>
            <a:xfrm>
              <a:off x="5023235" y="624382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0" y="1014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9" name="Google Shape;809;p31"/>
            <p:cNvSpPr/>
            <p:nvPr/>
          </p:nvSpPr>
          <p:spPr>
            <a:xfrm>
              <a:off x="4897717" y="670041"/>
              <a:ext cx="35" cy="35040"/>
            </a:xfrm>
            <a:custGeom>
              <a:avLst/>
              <a:gdLst/>
              <a:ahLst/>
              <a:cxnLst/>
              <a:rect l="l" t="t" r="r" b="b"/>
              <a:pathLst>
                <a:path w="1" h="1003" fill="none" extrusionOk="0">
                  <a:moveTo>
                    <a:pt x="0" y="1003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0" name="Google Shape;810;p31"/>
            <p:cNvSpPr/>
            <p:nvPr/>
          </p:nvSpPr>
          <p:spPr>
            <a:xfrm>
              <a:off x="4874906" y="664906"/>
              <a:ext cx="35" cy="35075"/>
            </a:xfrm>
            <a:custGeom>
              <a:avLst/>
              <a:gdLst/>
              <a:ahLst/>
              <a:cxnLst/>
              <a:rect l="l" t="t" r="r" b="b"/>
              <a:pathLst>
                <a:path w="1" h="1004" fill="none" extrusionOk="0">
                  <a:moveTo>
                    <a:pt x="0" y="1003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1" name="Google Shape;811;p31"/>
            <p:cNvSpPr/>
            <p:nvPr/>
          </p:nvSpPr>
          <p:spPr>
            <a:xfrm>
              <a:off x="4854050" y="656242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0" y="1015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2" name="Google Shape;812;p31"/>
            <p:cNvSpPr/>
            <p:nvPr/>
          </p:nvSpPr>
          <p:spPr>
            <a:xfrm>
              <a:off x="4836339" y="644050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0" y="1014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3" name="Google Shape;813;p31"/>
            <p:cNvSpPr/>
            <p:nvPr/>
          </p:nvSpPr>
          <p:spPr>
            <a:xfrm>
              <a:off x="4820199" y="624382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0" y="1014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4" name="Google Shape;814;p31"/>
            <p:cNvSpPr/>
            <p:nvPr/>
          </p:nvSpPr>
          <p:spPr>
            <a:xfrm>
              <a:off x="4836723" y="537048"/>
              <a:ext cx="169225" cy="117277"/>
            </a:xfrm>
            <a:custGeom>
              <a:avLst/>
              <a:gdLst/>
              <a:ahLst/>
              <a:cxnLst/>
              <a:rect l="l" t="t" r="r" b="b"/>
              <a:pathLst>
                <a:path w="4844" h="3357" extrusionOk="0">
                  <a:moveTo>
                    <a:pt x="2422" y="0"/>
                  </a:moveTo>
                  <a:cubicBezTo>
                    <a:pt x="1082" y="0"/>
                    <a:pt x="1" y="755"/>
                    <a:pt x="1" y="1678"/>
                  </a:cubicBezTo>
                  <a:cubicBezTo>
                    <a:pt x="1" y="2613"/>
                    <a:pt x="1082" y="3357"/>
                    <a:pt x="2422" y="3357"/>
                  </a:cubicBezTo>
                  <a:cubicBezTo>
                    <a:pt x="3762" y="3357"/>
                    <a:pt x="4844" y="2613"/>
                    <a:pt x="4844" y="1678"/>
                  </a:cubicBezTo>
                  <a:cubicBezTo>
                    <a:pt x="4844" y="755"/>
                    <a:pt x="3762" y="0"/>
                    <a:pt x="2422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5" name="Google Shape;815;p31"/>
            <p:cNvSpPr/>
            <p:nvPr/>
          </p:nvSpPr>
          <p:spPr>
            <a:xfrm>
              <a:off x="4836723" y="537048"/>
              <a:ext cx="169225" cy="117277"/>
            </a:xfrm>
            <a:custGeom>
              <a:avLst/>
              <a:gdLst/>
              <a:ahLst/>
              <a:cxnLst/>
              <a:rect l="l" t="t" r="r" b="b"/>
              <a:pathLst>
                <a:path w="4844" h="3357" fill="none" extrusionOk="0">
                  <a:moveTo>
                    <a:pt x="4844" y="1678"/>
                  </a:moveTo>
                  <a:cubicBezTo>
                    <a:pt x="4844" y="2613"/>
                    <a:pt x="3762" y="3357"/>
                    <a:pt x="2422" y="3357"/>
                  </a:cubicBezTo>
                  <a:cubicBezTo>
                    <a:pt x="1082" y="3357"/>
                    <a:pt x="1" y="2613"/>
                    <a:pt x="1" y="1678"/>
                  </a:cubicBezTo>
                  <a:cubicBezTo>
                    <a:pt x="1" y="755"/>
                    <a:pt x="1082" y="0"/>
                    <a:pt x="2422" y="0"/>
                  </a:cubicBezTo>
                  <a:cubicBezTo>
                    <a:pt x="3762" y="0"/>
                    <a:pt x="4844" y="755"/>
                    <a:pt x="4844" y="1678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6" name="Google Shape;816;p31"/>
            <p:cNvSpPr/>
            <p:nvPr/>
          </p:nvSpPr>
          <p:spPr>
            <a:xfrm>
              <a:off x="4838295" y="287969"/>
              <a:ext cx="166884" cy="367167"/>
            </a:xfrm>
            <a:custGeom>
              <a:avLst/>
              <a:gdLst/>
              <a:ahLst/>
              <a:cxnLst/>
              <a:rect l="l" t="t" r="r" b="b"/>
              <a:pathLst>
                <a:path w="4777" h="10510" extrusionOk="0">
                  <a:moveTo>
                    <a:pt x="2388" y="0"/>
                  </a:moveTo>
                  <a:cubicBezTo>
                    <a:pt x="1071" y="0"/>
                    <a:pt x="1" y="733"/>
                    <a:pt x="1" y="1645"/>
                  </a:cubicBezTo>
                  <a:lnTo>
                    <a:pt x="1" y="3807"/>
                  </a:lnTo>
                  <a:cubicBezTo>
                    <a:pt x="1" y="3807"/>
                    <a:pt x="338" y="4945"/>
                    <a:pt x="1848" y="5204"/>
                  </a:cubicBezTo>
                  <a:cubicBezTo>
                    <a:pt x="338" y="5463"/>
                    <a:pt x="1" y="6601"/>
                    <a:pt x="1" y="6601"/>
                  </a:cubicBezTo>
                  <a:lnTo>
                    <a:pt x="1" y="8808"/>
                  </a:lnTo>
                  <a:cubicBezTo>
                    <a:pt x="1" y="8831"/>
                    <a:pt x="1" y="8842"/>
                    <a:pt x="1" y="8853"/>
                  </a:cubicBezTo>
                  <a:cubicBezTo>
                    <a:pt x="1" y="9766"/>
                    <a:pt x="1071" y="10509"/>
                    <a:pt x="2388" y="10509"/>
                  </a:cubicBezTo>
                  <a:cubicBezTo>
                    <a:pt x="3706" y="10509"/>
                    <a:pt x="4776" y="9766"/>
                    <a:pt x="4776" y="8853"/>
                  </a:cubicBezTo>
                  <a:lnTo>
                    <a:pt x="4776" y="6601"/>
                  </a:lnTo>
                  <a:cubicBezTo>
                    <a:pt x="4776" y="6601"/>
                    <a:pt x="4438" y="5463"/>
                    <a:pt x="2929" y="5204"/>
                  </a:cubicBezTo>
                  <a:cubicBezTo>
                    <a:pt x="4438" y="4934"/>
                    <a:pt x="4765" y="3807"/>
                    <a:pt x="4765" y="3807"/>
                  </a:cubicBezTo>
                  <a:lnTo>
                    <a:pt x="4765" y="1690"/>
                  </a:lnTo>
                  <a:cubicBezTo>
                    <a:pt x="4765" y="1679"/>
                    <a:pt x="4776" y="1667"/>
                    <a:pt x="4776" y="1645"/>
                  </a:cubicBezTo>
                  <a:cubicBezTo>
                    <a:pt x="4776" y="733"/>
                    <a:pt x="3706" y="0"/>
                    <a:pt x="238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7" name="Google Shape;817;p31"/>
            <p:cNvSpPr/>
            <p:nvPr/>
          </p:nvSpPr>
          <p:spPr>
            <a:xfrm>
              <a:off x="4838295" y="287969"/>
              <a:ext cx="166884" cy="367167"/>
            </a:xfrm>
            <a:custGeom>
              <a:avLst/>
              <a:gdLst/>
              <a:ahLst/>
              <a:cxnLst/>
              <a:rect l="l" t="t" r="r" b="b"/>
              <a:pathLst>
                <a:path w="4777" h="10510" extrusionOk="0">
                  <a:moveTo>
                    <a:pt x="2388" y="0"/>
                  </a:moveTo>
                  <a:cubicBezTo>
                    <a:pt x="1071" y="0"/>
                    <a:pt x="1" y="733"/>
                    <a:pt x="1" y="1645"/>
                  </a:cubicBezTo>
                  <a:lnTo>
                    <a:pt x="1" y="3807"/>
                  </a:lnTo>
                  <a:cubicBezTo>
                    <a:pt x="1" y="3807"/>
                    <a:pt x="338" y="4945"/>
                    <a:pt x="1848" y="5204"/>
                  </a:cubicBezTo>
                  <a:cubicBezTo>
                    <a:pt x="338" y="5463"/>
                    <a:pt x="1" y="6601"/>
                    <a:pt x="1" y="6601"/>
                  </a:cubicBezTo>
                  <a:lnTo>
                    <a:pt x="1" y="8808"/>
                  </a:lnTo>
                  <a:cubicBezTo>
                    <a:pt x="1" y="8831"/>
                    <a:pt x="1" y="8842"/>
                    <a:pt x="1" y="8853"/>
                  </a:cubicBezTo>
                  <a:cubicBezTo>
                    <a:pt x="1" y="9766"/>
                    <a:pt x="1071" y="10509"/>
                    <a:pt x="2388" y="10509"/>
                  </a:cubicBezTo>
                  <a:cubicBezTo>
                    <a:pt x="3706" y="10509"/>
                    <a:pt x="4776" y="9766"/>
                    <a:pt x="4776" y="8853"/>
                  </a:cubicBezTo>
                  <a:lnTo>
                    <a:pt x="4776" y="6601"/>
                  </a:lnTo>
                  <a:cubicBezTo>
                    <a:pt x="4776" y="6601"/>
                    <a:pt x="4438" y="5463"/>
                    <a:pt x="2929" y="5204"/>
                  </a:cubicBezTo>
                  <a:cubicBezTo>
                    <a:pt x="4438" y="4934"/>
                    <a:pt x="4765" y="3807"/>
                    <a:pt x="4765" y="3807"/>
                  </a:cubicBezTo>
                  <a:lnTo>
                    <a:pt x="4765" y="1690"/>
                  </a:lnTo>
                  <a:cubicBezTo>
                    <a:pt x="4765" y="1679"/>
                    <a:pt x="4776" y="1667"/>
                    <a:pt x="4776" y="1645"/>
                  </a:cubicBezTo>
                  <a:cubicBezTo>
                    <a:pt x="4776" y="733"/>
                    <a:pt x="3706" y="0"/>
                    <a:pt x="238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818;p31"/>
            <p:cNvSpPr/>
            <p:nvPr/>
          </p:nvSpPr>
          <p:spPr>
            <a:xfrm>
              <a:off x="4838295" y="540192"/>
              <a:ext cx="164893" cy="114133"/>
            </a:xfrm>
            <a:custGeom>
              <a:avLst/>
              <a:gdLst/>
              <a:ahLst/>
              <a:cxnLst/>
              <a:rect l="l" t="t" r="r" b="b"/>
              <a:pathLst>
                <a:path w="4720" h="3267" extrusionOk="0">
                  <a:moveTo>
                    <a:pt x="2366" y="0"/>
                  </a:moveTo>
                  <a:cubicBezTo>
                    <a:pt x="1465" y="0"/>
                    <a:pt x="688" y="349"/>
                    <a:pt x="282" y="856"/>
                  </a:cubicBezTo>
                  <a:lnTo>
                    <a:pt x="23" y="856"/>
                  </a:lnTo>
                  <a:lnTo>
                    <a:pt x="12" y="1566"/>
                  </a:lnTo>
                  <a:cubicBezTo>
                    <a:pt x="12" y="1588"/>
                    <a:pt x="1" y="1611"/>
                    <a:pt x="1" y="1633"/>
                  </a:cubicBezTo>
                  <a:cubicBezTo>
                    <a:pt x="1" y="2534"/>
                    <a:pt x="1059" y="3267"/>
                    <a:pt x="2366" y="3267"/>
                  </a:cubicBezTo>
                  <a:cubicBezTo>
                    <a:pt x="3661" y="3267"/>
                    <a:pt x="4720" y="2534"/>
                    <a:pt x="4720" y="1633"/>
                  </a:cubicBezTo>
                  <a:lnTo>
                    <a:pt x="4720" y="856"/>
                  </a:lnTo>
                  <a:lnTo>
                    <a:pt x="4438" y="856"/>
                  </a:lnTo>
                  <a:cubicBezTo>
                    <a:pt x="4044" y="349"/>
                    <a:pt x="3256" y="0"/>
                    <a:pt x="2366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819;p31"/>
            <p:cNvSpPr/>
            <p:nvPr/>
          </p:nvSpPr>
          <p:spPr>
            <a:xfrm>
              <a:off x="4838295" y="540192"/>
              <a:ext cx="164893" cy="114133"/>
            </a:xfrm>
            <a:custGeom>
              <a:avLst/>
              <a:gdLst/>
              <a:ahLst/>
              <a:cxnLst/>
              <a:rect l="l" t="t" r="r" b="b"/>
              <a:pathLst>
                <a:path w="4720" h="3267" extrusionOk="0">
                  <a:moveTo>
                    <a:pt x="2366" y="0"/>
                  </a:moveTo>
                  <a:cubicBezTo>
                    <a:pt x="1059" y="0"/>
                    <a:pt x="1" y="732"/>
                    <a:pt x="1" y="1633"/>
                  </a:cubicBezTo>
                  <a:cubicBezTo>
                    <a:pt x="1" y="2534"/>
                    <a:pt x="1059" y="3267"/>
                    <a:pt x="2366" y="3267"/>
                  </a:cubicBezTo>
                  <a:cubicBezTo>
                    <a:pt x="3661" y="3267"/>
                    <a:pt x="4720" y="2534"/>
                    <a:pt x="4720" y="1633"/>
                  </a:cubicBezTo>
                  <a:cubicBezTo>
                    <a:pt x="4720" y="732"/>
                    <a:pt x="3661" y="0"/>
                    <a:pt x="2366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0" name="Google Shape;820;p31"/>
            <p:cNvSpPr/>
            <p:nvPr/>
          </p:nvSpPr>
          <p:spPr>
            <a:xfrm>
              <a:off x="4838295" y="540192"/>
              <a:ext cx="164893" cy="114133"/>
            </a:xfrm>
            <a:custGeom>
              <a:avLst/>
              <a:gdLst/>
              <a:ahLst/>
              <a:cxnLst/>
              <a:rect l="l" t="t" r="r" b="b"/>
              <a:pathLst>
                <a:path w="4720" h="3267" extrusionOk="0">
                  <a:moveTo>
                    <a:pt x="2366" y="0"/>
                  </a:moveTo>
                  <a:cubicBezTo>
                    <a:pt x="1465" y="0"/>
                    <a:pt x="688" y="349"/>
                    <a:pt x="282" y="856"/>
                  </a:cubicBezTo>
                  <a:lnTo>
                    <a:pt x="23" y="856"/>
                  </a:lnTo>
                  <a:lnTo>
                    <a:pt x="12" y="1566"/>
                  </a:lnTo>
                  <a:cubicBezTo>
                    <a:pt x="12" y="1588"/>
                    <a:pt x="1" y="1611"/>
                    <a:pt x="1" y="1633"/>
                  </a:cubicBezTo>
                  <a:cubicBezTo>
                    <a:pt x="1" y="2534"/>
                    <a:pt x="1059" y="3267"/>
                    <a:pt x="2366" y="3267"/>
                  </a:cubicBezTo>
                  <a:cubicBezTo>
                    <a:pt x="3661" y="3267"/>
                    <a:pt x="4720" y="2534"/>
                    <a:pt x="4720" y="1633"/>
                  </a:cubicBezTo>
                  <a:lnTo>
                    <a:pt x="4720" y="856"/>
                  </a:lnTo>
                  <a:lnTo>
                    <a:pt x="4438" y="856"/>
                  </a:lnTo>
                  <a:cubicBezTo>
                    <a:pt x="4044" y="349"/>
                    <a:pt x="3256" y="0"/>
                    <a:pt x="2366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1" name="Google Shape;821;p31"/>
            <p:cNvSpPr/>
            <p:nvPr/>
          </p:nvSpPr>
          <p:spPr>
            <a:xfrm>
              <a:off x="4838295" y="540192"/>
              <a:ext cx="164893" cy="114133"/>
            </a:xfrm>
            <a:custGeom>
              <a:avLst/>
              <a:gdLst/>
              <a:ahLst/>
              <a:cxnLst/>
              <a:rect l="l" t="t" r="r" b="b"/>
              <a:pathLst>
                <a:path w="4720" h="3267" extrusionOk="0">
                  <a:moveTo>
                    <a:pt x="2366" y="0"/>
                  </a:moveTo>
                  <a:cubicBezTo>
                    <a:pt x="1059" y="0"/>
                    <a:pt x="1" y="732"/>
                    <a:pt x="1" y="1633"/>
                  </a:cubicBezTo>
                  <a:cubicBezTo>
                    <a:pt x="1" y="2534"/>
                    <a:pt x="1059" y="3267"/>
                    <a:pt x="2366" y="3267"/>
                  </a:cubicBezTo>
                  <a:cubicBezTo>
                    <a:pt x="3661" y="3267"/>
                    <a:pt x="4720" y="2534"/>
                    <a:pt x="4720" y="1633"/>
                  </a:cubicBezTo>
                  <a:cubicBezTo>
                    <a:pt x="4720" y="732"/>
                    <a:pt x="3661" y="0"/>
                    <a:pt x="2366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2" name="Google Shape;822;p31"/>
            <p:cNvSpPr/>
            <p:nvPr/>
          </p:nvSpPr>
          <p:spPr>
            <a:xfrm>
              <a:off x="4838295" y="513048"/>
              <a:ext cx="164893" cy="114133"/>
            </a:xfrm>
            <a:custGeom>
              <a:avLst/>
              <a:gdLst/>
              <a:ahLst/>
              <a:cxnLst/>
              <a:rect l="l" t="t" r="r" b="b"/>
              <a:pathLst>
                <a:path w="4720" h="3267" extrusionOk="0">
                  <a:moveTo>
                    <a:pt x="2366" y="0"/>
                  </a:moveTo>
                  <a:cubicBezTo>
                    <a:pt x="1059" y="0"/>
                    <a:pt x="1" y="732"/>
                    <a:pt x="1" y="1633"/>
                  </a:cubicBezTo>
                  <a:cubicBezTo>
                    <a:pt x="1" y="2534"/>
                    <a:pt x="1059" y="3266"/>
                    <a:pt x="2366" y="3266"/>
                  </a:cubicBezTo>
                  <a:cubicBezTo>
                    <a:pt x="3661" y="3266"/>
                    <a:pt x="4720" y="2534"/>
                    <a:pt x="4720" y="1633"/>
                  </a:cubicBezTo>
                  <a:cubicBezTo>
                    <a:pt x="4720" y="732"/>
                    <a:pt x="3661" y="0"/>
                    <a:pt x="2366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3" name="Google Shape;823;p31"/>
            <p:cNvSpPr/>
            <p:nvPr/>
          </p:nvSpPr>
          <p:spPr>
            <a:xfrm>
              <a:off x="4838295" y="513048"/>
              <a:ext cx="164893" cy="114133"/>
            </a:xfrm>
            <a:custGeom>
              <a:avLst/>
              <a:gdLst/>
              <a:ahLst/>
              <a:cxnLst/>
              <a:rect l="l" t="t" r="r" b="b"/>
              <a:pathLst>
                <a:path w="4720" h="3267" extrusionOk="0">
                  <a:moveTo>
                    <a:pt x="2366" y="0"/>
                  </a:moveTo>
                  <a:cubicBezTo>
                    <a:pt x="1059" y="0"/>
                    <a:pt x="1" y="732"/>
                    <a:pt x="1" y="1633"/>
                  </a:cubicBezTo>
                  <a:cubicBezTo>
                    <a:pt x="1" y="2534"/>
                    <a:pt x="1059" y="3266"/>
                    <a:pt x="2366" y="3266"/>
                  </a:cubicBezTo>
                  <a:cubicBezTo>
                    <a:pt x="3661" y="3266"/>
                    <a:pt x="4720" y="2534"/>
                    <a:pt x="4720" y="1633"/>
                  </a:cubicBezTo>
                  <a:cubicBezTo>
                    <a:pt x="4720" y="732"/>
                    <a:pt x="3661" y="0"/>
                    <a:pt x="2366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4" name="Google Shape;824;p31"/>
            <p:cNvSpPr/>
            <p:nvPr/>
          </p:nvSpPr>
          <p:spPr>
            <a:xfrm>
              <a:off x="4838295" y="287969"/>
              <a:ext cx="166884" cy="367167"/>
            </a:xfrm>
            <a:custGeom>
              <a:avLst/>
              <a:gdLst/>
              <a:ahLst/>
              <a:cxnLst/>
              <a:rect l="l" t="t" r="r" b="b"/>
              <a:pathLst>
                <a:path w="4777" h="10510" fill="none" extrusionOk="0">
                  <a:moveTo>
                    <a:pt x="2929" y="5204"/>
                  </a:moveTo>
                  <a:cubicBezTo>
                    <a:pt x="4438" y="4934"/>
                    <a:pt x="4765" y="3807"/>
                    <a:pt x="4765" y="3807"/>
                  </a:cubicBezTo>
                  <a:lnTo>
                    <a:pt x="4765" y="1690"/>
                  </a:lnTo>
                  <a:cubicBezTo>
                    <a:pt x="4765" y="1679"/>
                    <a:pt x="4776" y="1667"/>
                    <a:pt x="4776" y="1645"/>
                  </a:cubicBezTo>
                  <a:cubicBezTo>
                    <a:pt x="4776" y="733"/>
                    <a:pt x="3706" y="0"/>
                    <a:pt x="2388" y="0"/>
                  </a:cubicBezTo>
                  <a:cubicBezTo>
                    <a:pt x="1071" y="0"/>
                    <a:pt x="1" y="733"/>
                    <a:pt x="1" y="1645"/>
                  </a:cubicBezTo>
                  <a:lnTo>
                    <a:pt x="1" y="3807"/>
                  </a:lnTo>
                  <a:cubicBezTo>
                    <a:pt x="1" y="3807"/>
                    <a:pt x="338" y="4945"/>
                    <a:pt x="1848" y="5204"/>
                  </a:cubicBezTo>
                  <a:cubicBezTo>
                    <a:pt x="338" y="5463"/>
                    <a:pt x="1" y="6601"/>
                    <a:pt x="1" y="6601"/>
                  </a:cubicBezTo>
                  <a:lnTo>
                    <a:pt x="1" y="8808"/>
                  </a:lnTo>
                  <a:cubicBezTo>
                    <a:pt x="1" y="8831"/>
                    <a:pt x="1" y="8842"/>
                    <a:pt x="1" y="8853"/>
                  </a:cubicBezTo>
                  <a:cubicBezTo>
                    <a:pt x="1" y="9766"/>
                    <a:pt x="1071" y="10509"/>
                    <a:pt x="2388" y="10509"/>
                  </a:cubicBezTo>
                  <a:cubicBezTo>
                    <a:pt x="3706" y="10509"/>
                    <a:pt x="4776" y="9766"/>
                    <a:pt x="4776" y="8853"/>
                  </a:cubicBezTo>
                  <a:lnTo>
                    <a:pt x="4776" y="6601"/>
                  </a:lnTo>
                  <a:cubicBezTo>
                    <a:pt x="4776" y="6601"/>
                    <a:pt x="4438" y="5463"/>
                    <a:pt x="2929" y="5204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5" name="Google Shape;825;p31"/>
            <p:cNvSpPr/>
            <p:nvPr/>
          </p:nvSpPr>
          <p:spPr>
            <a:xfrm>
              <a:off x="4838295" y="287969"/>
              <a:ext cx="166884" cy="367167"/>
            </a:xfrm>
            <a:custGeom>
              <a:avLst/>
              <a:gdLst/>
              <a:ahLst/>
              <a:cxnLst/>
              <a:rect l="l" t="t" r="r" b="b"/>
              <a:pathLst>
                <a:path w="4777" h="10510" fill="none" extrusionOk="0">
                  <a:moveTo>
                    <a:pt x="2929" y="5204"/>
                  </a:moveTo>
                  <a:cubicBezTo>
                    <a:pt x="4438" y="4934"/>
                    <a:pt x="4765" y="3807"/>
                    <a:pt x="4765" y="3807"/>
                  </a:cubicBezTo>
                  <a:lnTo>
                    <a:pt x="4765" y="1690"/>
                  </a:lnTo>
                  <a:cubicBezTo>
                    <a:pt x="4765" y="1679"/>
                    <a:pt x="4776" y="1667"/>
                    <a:pt x="4776" y="1645"/>
                  </a:cubicBezTo>
                  <a:cubicBezTo>
                    <a:pt x="4776" y="733"/>
                    <a:pt x="3706" y="0"/>
                    <a:pt x="2388" y="0"/>
                  </a:cubicBezTo>
                  <a:cubicBezTo>
                    <a:pt x="1071" y="0"/>
                    <a:pt x="1" y="733"/>
                    <a:pt x="1" y="1645"/>
                  </a:cubicBezTo>
                  <a:lnTo>
                    <a:pt x="1" y="3807"/>
                  </a:lnTo>
                  <a:cubicBezTo>
                    <a:pt x="1" y="3807"/>
                    <a:pt x="338" y="4945"/>
                    <a:pt x="1848" y="5204"/>
                  </a:cubicBezTo>
                  <a:cubicBezTo>
                    <a:pt x="338" y="5463"/>
                    <a:pt x="1" y="6601"/>
                    <a:pt x="1" y="6601"/>
                  </a:cubicBezTo>
                  <a:lnTo>
                    <a:pt x="1" y="8808"/>
                  </a:lnTo>
                  <a:cubicBezTo>
                    <a:pt x="1" y="8831"/>
                    <a:pt x="1" y="8842"/>
                    <a:pt x="1" y="8853"/>
                  </a:cubicBezTo>
                  <a:cubicBezTo>
                    <a:pt x="1" y="9766"/>
                    <a:pt x="1071" y="10509"/>
                    <a:pt x="2388" y="10509"/>
                  </a:cubicBezTo>
                  <a:cubicBezTo>
                    <a:pt x="3706" y="10509"/>
                    <a:pt x="4776" y="9766"/>
                    <a:pt x="4776" y="8853"/>
                  </a:cubicBezTo>
                  <a:lnTo>
                    <a:pt x="4776" y="6601"/>
                  </a:lnTo>
                  <a:cubicBezTo>
                    <a:pt x="4776" y="6601"/>
                    <a:pt x="4438" y="5463"/>
                    <a:pt x="2929" y="5204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6" name="Google Shape;826;p31"/>
            <p:cNvSpPr/>
            <p:nvPr/>
          </p:nvSpPr>
          <p:spPr>
            <a:xfrm>
              <a:off x="4838295" y="540192"/>
              <a:ext cx="164893" cy="114133"/>
            </a:xfrm>
            <a:custGeom>
              <a:avLst/>
              <a:gdLst/>
              <a:ahLst/>
              <a:cxnLst/>
              <a:rect l="l" t="t" r="r" b="b"/>
              <a:pathLst>
                <a:path w="4720" h="3267" extrusionOk="0">
                  <a:moveTo>
                    <a:pt x="2366" y="0"/>
                  </a:moveTo>
                  <a:cubicBezTo>
                    <a:pt x="1465" y="0"/>
                    <a:pt x="688" y="349"/>
                    <a:pt x="282" y="856"/>
                  </a:cubicBezTo>
                  <a:lnTo>
                    <a:pt x="23" y="856"/>
                  </a:lnTo>
                  <a:lnTo>
                    <a:pt x="12" y="1566"/>
                  </a:lnTo>
                  <a:cubicBezTo>
                    <a:pt x="12" y="1588"/>
                    <a:pt x="1" y="1611"/>
                    <a:pt x="1" y="1633"/>
                  </a:cubicBezTo>
                  <a:cubicBezTo>
                    <a:pt x="1" y="2534"/>
                    <a:pt x="1059" y="3267"/>
                    <a:pt x="2366" y="3267"/>
                  </a:cubicBezTo>
                  <a:cubicBezTo>
                    <a:pt x="3661" y="3267"/>
                    <a:pt x="4720" y="2534"/>
                    <a:pt x="4720" y="1633"/>
                  </a:cubicBezTo>
                  <a:lnTo>
                    <a:pt x="4720" y="856"/>
                  </a:lnTo>
                  <a:lnTo>
                    <a:pt x="4438" y="856"/>
                  </a:lnTo>
                  <a:cubicBezTo>
                    <a:pt x="4044" y="349"/>
                    <a:pt x="3256" y="0"/>
                    <a:pt x="2366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7" name="Google Shape;827;p31"/>
            <p:cNvSpPr/>
            <p:nvPr/>
          </p:nvSpPr>
          <p:spPr>
            <a:xfrm>
              <a:off x="4838295" y="540192"/>
              <a:ext cx="164893" cy="114133"/>
            </a:xfrm>
            <a:custGeom>
              <a:avLst/>
              <a:gdLst/>
              <a:ahLst/>
              <a:cxnLst/>
              <a:rect l="l" t="t" r="r" b="b"/>
              <a:pathLst>
                <a:path w="4720" h="3267" extrusionOk="0">
                  <a:moveTo>
                    <a:pt x="2366" y="0"/>
                  </a:moveTo>
                  <a:cubicBezTo>
                    <a:pt x="1059" y="0"/>
                    <a:pt x="1" y="732"/>
                    <a:pt x="1" y="1633"/>
                  </a:cubicBezTo>
                  <a:cubicBezTo>
                    <a:pt x="1" y="2534"/>
                    <a:pt x="1059" y="3267"/>
                    <a:pt x="2366" y="3267"/>
                  </a:cubicBezTo>
                  <a:cubicBezTo>
                    <a:pt x="3661" y="3267"/>
                    <a:pt x="4720" y="2534"/>
                    <a:pt x="4720" y="1633"/>
                  </a:cubicBezTo>
                  <a:cubicBezTo>
                    <a:pt x="4720" y="732"/>
                    <a:pt x="3661" y="0"/>
                    <a:pt x="2366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8" name="Google Shape;828;p31"/>
            <p:cNvSpPr/>
            <p:nvPr/>
          </p:nvSpPr>
          <p:spPr>
            <a:xfrm>
              <a:off x="4838295" y="540192"/>
              <a:ext cx="164893" cy="114133"/>
            </a:xfrm>
            <a:custGeom>
              <a:avLst/>
              <a:gdLst/>
              <a:ahLst/>
              <a:cxnLst/>
              <a:rect l="l" t="t" r="r" b="b"/>
              <a:pathLst>
                <a:path w="4720" h="3267" fill="none" extrusionOk="0">
                  <a:moveTo>
                    <a:pt x="4438" y="856"/>
                  </a:moveTo>
                  <a:cubicBezTo>
                    <a:pt x="4044" y="349"/>
                    <a:pt x="3256" y="0"/>
                    <a:pt x="2366" y="0"/>
                  </a:cubicBezTo>
                  <a:cubicBezTo>
                    <a:pt x="1465" y="0"/>
                    <a:pt x="688" y="349"/>
                    <a:pt x="282" y="856"/>
                  </a:cubicBezTo>
                  <a:lnTo>
                    <a:pt x="23" y="856"/>
                  </a:lnTo>
                  <a:lnTo>
                    <a:pt x="12" y="1566"/>
                  </a:lnTo>
                  <a:cubicBezTo>
                    <a:pt x="12" y="1588"/>
                    <a:pt x="1" y="1611"/>
                    <a:pt x="1" y="1633"/>
                  </a:cubicBezTo>
                  <a:cubicBezTo>
                    <a:pt x="1" y="2534"/>
                    <a:pt x="1059" y="3267"/>
                    <a:pt x="2366" y="3267"/>
                  </a:cubicBezTo>
                  <a:cubicBezTo>
                    <a:pt x="3661" y="3267"/>
                    <a:pt x="4720" y="2534"/>
                    <a:pt x="4720" y="1633"/>
                  </a:cubicBezTo>
                  <a:lnTo>
                    <a:pt x="4720" y="856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9" name="Google Shape;829;p31"/>
            <p:cNvSpPr/>
            <p:nvPr/>
          </p:nvSpPr>
          <p:spPr>
            <a:xfrm>
              <a:off x="4838295" y="540192"/>
              <a:ext cx="164893" cy="114133"/>
            </a:xfrm>
            <a:custGeom>
              <a:avLst/>
              <a:gdLst/>
              <a:ahLst/>
              <a:cxnLst/>
              <a:rect l="l" t="t" r="r" b="b"/>
              <a:pathLst>
                <a:path w="4720" h="3267" fill="none" extrusionOk="0">
                  <a:moveTo>
                    <a:pt x="4720" y="1633"/>
                  </a:moveTo>
                  <a:cubicBezTo>
                    <a:pt x="4720" y="2534"/>
                    <a:pt x="3661" y="3267"/>
                    <a:pt x="2366" y="3267"/>
                  </a:cubicBezTo>
                  <a:cubicBezTo>
                    <a:pt x="1059" y="3267"/>
                    <a:pt x="1" y="2534"/>
                    <a:pt x="1" y="1633"/>
                  </a:cubicBezTo>
                  <a:cubicBezTo>
                    <a:pt x="1" y="732"/>
                    <a:pt x="1059" y="0"/>
                    <a:pt x="2366" y="0"/>
                  </a:cubicBezTo>
                  <a:cubicBezTo>
                    <a:pt x="3661" y="0"/>
                    <a:pt x="4720" y="732"/>
                    <a:pt x="4720" y="1633"/>
                  </a:cubicBezTo>
                  <a:close/>
                </a:path>
              </a:pathLst>
            </a:custGeom>
            <a:noFill/>
            <a:ln w="31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0" name="Google Shape;830;p31"/>
            <p:cNvSpPr/>
            <p:nvPr/>
          </p:nvSpPr>
          <p:spPr>
            <a:xfrm>
              <a:off x="4838295" y="513048"/>
              <a:ext cx="164893" cy="114133"/>
            </a:xfrm>
            <a:custGeom>
              <a:avLst/>
              <a:gdLst/>
              <a:ahLst/>
              <a:cxnLst/>
              <a:rect l="l" t="t" r="r" b="b"/>
              <a:pathLst>
                <a:path w="4720" h="3267" extrusionOk="0">
                  <a:moveTo>
                    <a:pt x="2366" y="0"/>
                  </a:moveTo>
                  <a:cubicBezTo>
                    <a:pt x="1059" y="0"/>
                    <a:pt x="1" y="732"/>
                    <a:pt x="1" y="1633"/>
                  </a:cubicBezTo>
                  <a:cubicBezTo>
                    <a:pt x="1" y="2534"/>
                    <a:pt x="1059" y="3266"/>
                    <a:pt x="2366" y="3266"/>
                  </a:cubicBezTo>
                  <a:cubicBezTo>
                    <a:pt x="3661" y="3266"/>
                    <a:pt x="4720" y="2534"/>
                    <a:pt x="4720" y="1633"/>
                  </a:cubicBezTo>
                  <a:cubicBezTo>
                    <a:pt x="4720" y="732"/>
                    <a:pt x="3661" y="0"/>
                    <a:pt x="236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1" name="Google Shape;831;p31"/>
            <p:cNvSpPr/>
            <p:nvPr/>
          </p:nvSpPr>
          <p:spPr>
            <a:xfrm>
              <a:off x="4838295" y="513048"/>
              <a:ext cx="164893" cy="114133"/>
            </a:xfrm>
            <a:custGeom>
              <a:avLst/>
              <a:gdLst/>
              <a:ahLst/>
              <a:cxnLst/>
              <a:rect l="l" t="t" r="r" b="b"/>
              <a:pathLst>
                <a:path w="4720" h="3267" fill="none" extrusionOk="0">
                  <a:moveTo>
                    <a:pt x="4720" y="1633"/>
                  </a:moveTo>
                  <a:cubicBezTo>
                    <a:pt x="4720" y="2534"/>
                    <a:pt x="3661" y="3266"/>
                    <a:pt x="2366" y="3266"/>
                  </a:cubicBezTo>
                  <a:cubicBezTo>
                    <a:pt x="1059" y="3266"/>
                    <a:pt x="1" y="2534"/>
                    <a:pt x="1" y="1633"/>
                  </a:cubicBezTo>
                  <a:cubicBezTo>
                    <a:pt x="1" y="732"/>
                    <a:pt x="1059" y="0"/>
                    <a:pt x="2366" y="0"/>
                  </a:cubicBezTo>
                  <a:cubicBezTo>
                    <a:pt x="3661" y="0"/>
                    <a:pt x="4720" y="732"/>
                    <a:pt x="4720" y="1633"/>
                  </a:cubicBezTo>
                  <a:close/>
                </a:path>
              </a:pathLst>
            </a:custGeom>
            <a:solidFill>
              <a:schemeClr val="lt1"/>
            </a:solidFill>
            <a:ln w="3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2" name="Google Shape;832;p31"/>
            <p:cNvSpPr/>
            <p:nvPr/>
          </p:nvSpPr>
          <p:spPr>
            <a:xfrm>
              <a:off x="4838295" y="356055"/>
              <a:ext cx="164893" cy="114133"/>
            </a:xfrm>
            <a:custGeom>
              <a:avLst/>
              <a:gdLst/>
              <a:ahLst/>
              <a:cxnLst/>
              <a:rect l="l" t="t" r="r" b="b"/>
              <a:pathLst>
                <a:path w="4720" h="3267" extrusionOk="0">
                  <a:moveTo>
                    <a:pt x="2366" y="0"/>
                  </a:moveTo>
                  <a:cubicBezTo>
                    <a:pt x="1059" y="0"/>
                    <a:pt x="1" y="732"/>
                    <a:pt x="1" y="1633"/>
                  </a:cubicBezTo>
                  <a:cubicBezTo>
                    <a:pt x="1" y="2534"/>
                    <a:pt x="1059" y="3266"/>
                    <a:pt x="2366" y="3266"/>
                  </a:cubicBezTo>
                  <a:cubicBezTo>
                    <a:pt x="3661" y="3266"/>
                    <a:pt x="4720" y="2534"/>
                    <a:pt x="4720" y="1633"/>
                  </a:cubicBezTo>
                  <a:cubicBezTo>
                    <a:pt x="4720" y="732"/>
                    <a:pt x="3661" y="0"/>
                    <a:pt x="2366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3" name="Google Shape;833;p31"/>
            <p:cNvSpPr/>
            <p:nvPr/>
          </p:nvSpPr>
          <p:spPr>
            <a:xfrm>
              <a:off x="4838295" y="356055"/>
              <a:ext cx="164893" cy="114133"/>
            </a:xfrm>
            <a:custGeom>
              <a:avLst/>
              <a:gdLst/>
              <a:ahLst/>
              <a:cxnLst/>
              <a:rect l="l" t="t" r="r" b="b"/>
              <a:pathLst>
                <a:path w="4720" h="3267" fill="none" extrusionOk="0">
                  <a:moveTo>
                    <a:pt x="4720" y="1633"/>
                  </a:moveTo>
                  <a:cubicBezTo>
                    <a:pt x="4720" y="2534"/>
                    <a:pt x="3661" y="3266"/>
                    <a:pt x="2366" y="3266"/>
                  </a:cubicBezTo>
                  <a:cubicBezTo>
                    <a:pt x="1059" y="3266"/>
                    <a:pt x="1" y="2534"/>
                    <a:pt x="1" y="1633"/>
                  </a:cubicBezTo>
                  <a:cubicBezTo>
                    <a:pt x="1" y="732"/>
                    <a:pt x="1059" y="0"/>
                    <a:pt x="2366" y="0"/>
                  </a:cubicBezTo>
                  <a:cubicBezTo>
                    <a:pt x="3661" y="0"/>
                    <a:pt x="4720" y="732"/>
                    <a:pt x="4720" y="1633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4" name="Google Shape;834;p31"/>
            <p:cNvSpPr/>
            <p:nvPr/>
          </p:nvSpPr>
          <p:spPr>
            <a:xfrm>
              <a:off x="5009471" y="374535"/>
              <a:ext cx="15756" cy="237313"/>
            </a:xfrm>
            <a:custGeom>
              <a:avLst/>
              <a:gdLst/>
              <a:ahLst/>
              <a:cxnLst/>
              <a:rect l="l" t="t" r="r" b="b"/>
              <a:pathLst>
                <a:path w="451" h="6793" extrusionOk="0">
                  <a:moveTo>
                    <a:pt x="225" y="0"/>
                  </a:moveTo>
                  <a:cubicBezTo>
                    <a:pt x="147" y="0"/>
                    <a:pt x="68" y="34"/>
                    <a:pt x="23" y="79"/>
                  </a:cubicBezTo>
                  <a:lnTo>
                    <a:pt x="0" y="79"/>
                  </a:lnTo>
                  <a:lnTo>
                    <a:pt x="0" y="6623"/>
                  </a:lnTo>
                  <a:cubicBezTo>
                    <a:pt x="0" y="6623"/>
                    <a:pt x="0" y="6634"/>
                    <a:pt x="0" y="6634"/>
                  </a:cubicBezTo>
                  <a:cubicBezTo>
                    <a:pt x="0" y="6725"/>
                    <a:pt x="101" y="6792"/>
                    <a:pt x="225" y="6792"/>
                  </a:cubicBezTo>
                  <a:cubicBezTo>
                    <a:pt x="349" y="6792"/>
                    <a:pt x="451" y="6725"/>
                    <a:pt x="451" y="6634"/>
                  </a:cubicBezTo>
                  <a:lnTo>
                    <a:pt x="451" y="79"/>
                  </a:lnTo>
                  <a:lnTo>
                    <a:pt x="428" y="79"/>
                  </a:lnTo>
                  <a:cubicBezTo>
                    <a:pt x="394" y="34"/>
                    <a:pt x="315" y="0"/>
                    <a:pt x="22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5" name="Google Shape;835;p31"/>
            <p:cNvSpPr/>
            <p:nvPr/>
          </p:nvSpPr>
          <p:spPr>
            <a:xfrm>
              <a:off x="5009471" y="374535"/>
              <a:ext cx="15756" cy="237313"/>
            </a:xfrm>
            <a:custGeom>
              <a:avLst/>
              <a:gdLst/>
              <a:ahLst/>
              <a:cxnLst/>
              <a:rect l="l" t="t" r="r" b="b"/>
              <a:pathLst>
                <a:path w="451" h="6793" fill="none" extrusionOk="0">
                  <a:moveTo>
                    <a:pt x="428" y="79"/>
                  </a:moveTo>
                  <a:cubicBezTo>
                    <a:pt x="394" y="34"/>
                    <a:pt x="315" y="0"/>
                    <a:pt x="225" y="0"/>
                  </a:cubicBezTo>
                  <a:cubicBezTo>
                    <a:pt x="147" y="0"/>
                    <a:pt x="68" y="34"/>
                    <a:pt x="23" y="79"/>
                  </a:cubicBezTo>
                  <a:lnTo>
                    <a:pt x="0" y="79"/>
                  </a:lnTo>
                  <a:lnTo>
                    <a:pt x="0" y="6623"/>
                  </a:lnTo>
                  <a:cubicBezTo>
                    <a:pt x="0" y="6623"/>
                    <a:pt x="0" y="6634"/>
                    <a:pt x="0" y="6634"/>
                  </a:cubicBezTo>
                  <a:cubicBezTo>
                    <a:pt x="0" y="6725"/>
                    <a:pt x="101" y="6792"/>
                    <a:pt x="225" y="6792"/>
                  </a:cubicBezTo>
                  <a:cubicBezTo>
                    <a:pt x="349" y="6792"/>
                    <a:pt x="451" y="6725"/>
                    <a:pt x="451" y="6634"/>
                  </a:cubicBezTo>
                  <a:lnTo>
                    <a:pt x="451" y="79"/>
                  </a:lnTo>
                  <a:close/>
                </a:path>
              </a:pathLst>
            </a:custGeom>
            <a:noFill/>
            <a:ln w="27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6" name="Google Shape;836;p31"/>
            <p:cNvSpPr/>
            <p:nvPr/>
          </p:nvSpPr>
          <p:spPr>
            <a:xfrm>
              <a:off x="5009471" y="374535"/>
              <a:ext cx="15756" cy="237313"/>
            </a:xfrm>
            <a:custGeom>
              <a:avLst/>
              <a:gdLst/>
              <a:ahLst/>
              <a:cxnLst/>
              <a:rect l="l" t="t" r="r" b="b"/>
              <a:pathLst>
                <a:path w="451" h="6793" fill="none" extrusionOk="0">
                  <a:moveTo>
                    <a:pt x="428" y="79"/>
                  </a:moveTo>
                  <a:cubicBezTo>
                    <a:pt x="394" y="34"/>
                    <a:pt x="315" y="0"/>
                    <a:pt x="225" y="0"/>
                  </a:cubicBezTo>
                  <a:cubicBezTo>
                    <a:pt x="147" y="0"/>
                    <a:pt x="68" y="34"/>
                    <a:pt x="23" y="79"/>
                  </a:cubicBezTo>
                  <a:lnTo>
                    <a:pt x="0" y="79"/>
                  </a:lnTo>
                  <a:lnTo>
                    <a:pt x="0" y="6623"/>
                  </a:lnTo>
                  <a:cubicBezTo>
                    <a:pt x="0" y="6623"/>
                    <a:pt x="0" y="6634"/>
                    <a:pt x="0" y="6634"/>
                  </a:cubicBezTo>
                  <a:cubicBezTo>
                    <a:pt x="0" y="6725"/>
                    <a:pt x="101" y="6792"/>
                    <a:pt x="225" y="6792"/>
                  </a:cubicBezTo>
                  <a:cubicBezTo>
                    <a:pt x="349" y="6792"/>
                    <a:pt x="451" y="6725"/>
                    <a:pt x="451" y="6634"/>
                  </a:cubicBezTo>
                  <a:lnTo>
                    <a:pt x="451" y="79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7" name="Google Shape;837;p31"/>
            <p:cNvSpPr/>
            <p:nvPr/>
          </p:nvSpPr>
          <p:spPr>
            <a:xfrm>
              <a:off x="4816671" y="374535"/>
              <a:ext cx="16140" cy="237313"/>
            </a:xfrm>
            <a:custGeom>
              <a:avLst/>
              <a:gdLst/>
              <a:ahLst/>
              <a:cxnLst/>
              <a:rect l="l" t="t" r="r" b="b"/>
              <a:pathLst>
                <a:path w="462" h="6793" extrusionOk="0">
                  <a:moveTo>
                    <a:pt x="237" y="0"/>
                  </a:moveTo>
                  <a:cubicBezTo>
                    <a:pt x="146" y="0"/>
                    <a:pt x="68" y="34"/>
                    <a:pt x="34" y="79"/>
                  </a:cubicBezTo>
                  <a:lnTo>
                    <a:pt x="0" y="79"/>
                  </a:lnTo>
                  <a:lnTo>
                    <a:pt x="0" y="6623"/>
                  </a:lnTo>
                  <a:cubicBezTo>
                    <a:pt x="0" y="6623"/>
                    <a:pt x="0" y="6634"/>
                    <a:pt x="0" y="6634"/>
                  </a:cubicBezTo>
                  <a:cubicBezTo>
                    <a:pt x="0" y="6725"/>
                    <a:pt x="101" y="6792"/>
                    <a:pt x="237" y="6792"/>
                  </a:cubicBezTo>
                  <a:cubicBezTo>
                    <a:pt x="360" y="6792"/>
                    <a:pt x="462" y="6725"/>
                    <a:pt x="462" y="6634"/>
                  </a:cubicBezTo>
                  <a:lnTo>
                    <a:pt x="462" y="79"/>
                  </a:lnTo>
                  <a:lnTo>
                    <a:pt x="439" y="79"/>
                  </a:lnTo>
                  <a:cubicBezTo>
                    <a:pt x="394" y="34"/>
                    <a:pt x="315" y="0"/>
                    <a:pt x="23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8" name="Google Shape;838;p31"/>
            <p:cNvSpPr/>
            <p:nvPr/>
          </p:nvSpPr>
          <p:spPr>
            <a:xfrm>
              <a:off x="4816671" y="374535"/>
              <a:ext cx="16140" cy="237313"/>
            </a:xfrm>
            <a:custGeom>
              <a:avLst/>
              <a:gdLst/>
              <a:ahLst/>
              <a:cxnLst/>
              <a:rect l="l" t="t" r="r" b="b"/>
              <a:pathLst>
                <a:path w="462" h="6793" fill="none" extrusionOk="0">
                  <a:moveTo>
                    <a:pt x="439" y="79"/>
                  </a:moveTo>
                  <a:cubicBezTo>
                    <a:pt x="394" y="34"/>
                    <a:pt x="315" y="0"/>
                    <a:pt x="237" y="0"/>
                  </a:cubicBezTo>
                  <a:cubicBezTo>
                    <a:pt x="146" y="0"/>
                    <a:pt x="68" y="34"/>
                    <a:pt x="34" y="79"/>
                  </a:cubicBezTo>
                  <a:lnTo>
                    <a:pt x="0" y="79"/>
                  </a:lnTo>
                  <a:lnTo>
                    <a:pt x="0" y="6623"/>
                  </a:lnTo>
                  <a:cubicBezTo>
                    <a:pt x="0" y="6623"/>
                    <a:pt x="0" y="6634"/>
                    <a:pt x="0" y="6634"/>
                  </a:cubicBezTo>
                  <a:cubicBezTo>
                    <a:pt x="0" y="6725"/>
                    <a:pt x="101" y="6792"/>
                    <a:pt x="237" y="6792"/>
                  </a:cubicBezTo>
                  <a:cubicBezTo>
                    <a:pt x="360" y="6792"/>
                    <a:pt x="462" y="6725"/>
                    <a:pt x="462" y="6634"/>
                  </a:cubicBezTo>
                  <a:lnTo>
                    <a:pt x="462" y="79"/>
                  </a:lnTo>
                  <a:close/>
                </a:path>
              </a:pathLst>
            </a:custGeom>
            <a:noFill/>
            <a:ln w="27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9" name="Google Shape;839;p31"/>
            <p:cNvSpPr/>
            <p:nvPr/>
          </p:nvSpPr>
          <p:spPr>
            <a:xfrm>
              <a:off x="4816671" y="374535"/>
              <a:ext cx="16140" cy="237313"/>
            </a:xfrm>
            <a:custGeom>
              <a:avLst/>
              <a:gdLst/>
              <a:ahLst/>
              <a:cxnLst/>
              <a:rect l="l" t="t" r="r" b="b"/>
              <a:pathLst>
                <a:path w="462" h="6793" fill="none" extrusionOk="0">
                  <a:moveTo>
                    <a:pt x="439" y="79"/>
                  </a:moveTo>
                  <a:cubicBezTo>
                    <a:pt x="394" y="34"/>
                    <a:pt x="315" y="0"/>
                    <a:pt x="237" y="0"/>
                  </a:cubicBezTo>
                  <a:cubicBezTo>
                    <a:pt x="146" y="0"/>
                    <a:pt x="68" y="34"/>
                    <a:pt x="34" y="79"/>
                  </a:cubicBezTo>
                  <a:lnTo>
                    <a:pt x="0" y="79"/>
                  </a:lnTo>
                  <a:lnTo>
                    <a:pt x="0" y="6623"/>
                  </a:lnTo>
                  <a:cubicBezTo>
                    <a:pt x="0" y="6623"/>
                    <a:pt x="0" y="6634"/>
                    <a:pt x="0" y="6634"/>
                  </a:cubicBezTo>
                  <a:cubicBezTo>
                    <a:pt x="0" y="6725"/>
                    <a:pt x="101" y="6792"/>
                    <a:pt x="237" y="6792"/>
                  </a:cubicBezTo>
                  <a:cubicBezTo>
                    <a:pt x="360" y="6792"/>
                    <a:pt x="462" y="6725"/>
                    <a:pt x="462" y="6634"/>
                  </a:cubicBezTo>
                  <a:lnTo>
                    <a:pt x="462" y="79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0" name="Google Shape;840;p31"/>
            <p:cNvSpPr/>
            <p:nvPr/>
          </p:nvSpPr>
          <p:spPr>
            <a:xfrm>
              <a:off x="4813492" y="277349"/>
              <a:ext cx="219217" cy="151897"/>
            </a:xfrm>
            <a:custGeom>
              <a:avLst/>
              <a:gdLst/>
              <a:ahLst/>
              <a:cxnLst/>
              <a:rect l="l" t="t" r="r" b="b"/>
              <a:pathLst>
                <a:path w="6275" h="4348" extrusionOk="0">
                  <a:moveTo>
                    <a:pt x="3132" y="0"/>
                  </a:moveTo>
                  <a:cubicBezTo>
                    <a:pt x="1938" y="0"/>
                    <a:pt x="902" y="462"/>
                    <a:pt x="373" y="1149"/>
                  </a:cubicBezTo>
                  <a:lnTo>
                    <a:pt x="12" y="1149"/>
                  </a:lnTo>
                  <a:lnTo>
                    <a:pt x="1" y="2084"/>
                  </a:lnTo>
                  <a:cubicBezTo>
                    <a:pt x="1" y="2107"/>
                    <a:pt x="1" y="2140"/>
                    <a:pt x="1" y="2174"/>
                  </a:cubicBezTo>
                  <a:cubicBezTo>
                    <a:pt x="1" y="3379"/>
                    <a:pt x="1398" y="4348"/>
                    <a:pt x="3132" y="4348"/>
                  </a:cubicBezTo>
                  <a:cubicBezTo>
                    <a:pt x="4867" y="4348"/>
                    <a:pt x="6275" y="3379"/>
                    <a:pt x="6275" y="2174"/>
                  </a:cubicBezTo>
                  <a:lnTo>
                    <a:pt x="6275" y="1149"/>
                  </a:lnTo>
                  <a:lnTo>
                    <a:pt x="5903" y="1149"/>
                  </a:lnTo>
                  <a:cubicBezTo>
                    <a:pt x="5374" y="462"/>
                    <a:pt x="4326" y="0"/>
                    <a:pt x="3132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1" name="Google Shape;841;p31"/>
            <p:cNvSpPr/>
            <p:nvPr/>
          </p:nvSpPr>
          <p:spPr>
            <a:xfrm>
              <a:off x="4813492" y="277349"/>
              <a:ext cx="219217" cy="151897"/>
            </a:xfrm>
            <a:custGeom>
              <a:avLst/>
              <a:gdLst/>
              <a:ahLst/>
              <a:cxnLst/>
              <a:rect l="l" t="t" r="r" b="b"/>
              <a:pathLst>
                <a:path w="6275" h="4348" extrusionOk="0">
                  <a:moveTo>
                    <a:pt x="3132" y="0"/>
                  </a:moveTo>
                  <a:cubicBezTo>
                    <a:pt x="1398" y="0"/>
                    <a:pt x="1" y="980"/>
                    <a:pt x="1" y="2174"/>
                  </a:cubicBezTo>
                  <a:cubicBezTo>
                    <a:pt x="1" y="3368"/>
                    <a:pt x="1398" y="4348"/>
                    <a:pt x="3132" y="4348"/>
                  </a:cubicBezTo>
                  <a:cubicBezTo>
                    <a:pt x="4867" y="4348"/>
                    <a:pt x="6275" y="3368"/>
                    <a:pt x="6275" y="2174"/>
                  </a:cubicBezTo>
                  <a:cubicBezTo>
                    <a:pt x="6275" y="980"/>
                    <a:pt x="4867" y="0"/>
                    <a:pt x="313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2" name="Google Shape;842;p31"/>
            <p:cNvSpPr/>
            <p:nvPr/>
          </p:nvSpPr>
          <p:spPr>
            <a:xfrm>
              <a:off x="4813492" y="277349"/>
              <a:ext cx="219217" cy="151897"/>
            </a:xfrm>
            <a:custGeom>
              <a:avLst/>
              <a:gdLst/>
              <a:ahLst/>
              <a:cxnLst/>
              <a:rect l="l" t="t" r="r" b="b"/>
              <a:pathLst>
                <a:path w="6275" h="4348" fill="none" extrusionOk="0">
                  <a:moveTo>
                    <a:pt x="5903" y="1149"/>
                  </a:moveTo>
                  <a:cubicBezTo>
                    <a:pt x="5374" y="462"/>
                    <a:pt x="4326" y="0"/>
                    <a:pt x="3132" y="0"/>
                  </a:cubicBezTo>
                  <a:cubicBezTo>
                    <a:pt x="1938" y="0"/>
                    <a:pt x="902" y="462"/>
                    <a:pt x="373" y="1149"/>
                  </a:cubicBezTo>
                  <a:lnTo>
                    <a:pt x="12" y="1149"/>
                  </a:lnTo>
                  <a:lnTo>
                    <a:pt x="1" y="2084"/>
                  </a:lnTo>
                  <a:cubicBezTo>
                    <a:pt x="1" y="2107"/>
                    <a:pt x="1" y="2140"/>
                    <a:pt x="1" y="2174"/>
                  </a:cubicBezTo>
                  <a:cubicBezTo>
                    <a:pt x="1" y="3379"/>
                    <a:pt x="1398" y="4348"/>
                    <a:pt x="3132" y="4348"/>
                  </a:cubicBezTo>
                  <a:cubicBezTo>
                    <a:pt x="4867" y="4348"/>
                    <a:pt x="6275" y="3379"/>
                    <a:pt x="6275" y="2174"/>
                  </a:cubicBezTo>
                  <a:lnTo>
                    <a:pt x="6275" y="1149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3" name="Google Shape;843;p31"/>
            <p:cNvSpPr/>
            <p:nvPr/>
          </p:nvSpPr>
          <p:spPr>
            <a:xfrm>
              <a:off x="4813492" y="277349"/>
              <a:ext cx="219217" cy="151897"/>
            </a:xfrm>
            <a:custGeom>
              <a:avLst/>
              <a:gdLst/>
              <a:ahLst/>
              <a:cxnLst/>
              <a:rect l="l" t="t" r="r" b="b"/>
              <a:pathLst>
                <a:path w="6275" h="4348" fill="none" extrusionOk="0">
                  <a:moveTo>
                    <a:pt x="6275" y="2174"/>
                  </a:moveTo>
                  <a:cubicBezTo>
                    <a:pt x="6275" y="3368"/>
                    <a:pt x="4867" y="4348"/>
                    <a:pt x="3132" y="4348"/>
                  </a:cubicBezTo>
                  <a:cubicBezTo>
                    <a:pt x="1398" y="4348"/>
                    <a:pt x="1" y="3368"/>
                    <a:pt x="1" y="2174"/>
                  </a:cubicBezTo>
                  <a:cubicBezTo>
                    <a:pt x="1" y="980"/>
                    <a:pt x="1398" y="0"/>
                    <a:pt x="3132" y="0"/>
                  </a:cubicBezTo>
                  <a:cubicBezTo>
                    <a:pt x="4867" y="0"/>
                    <a:pt x="6275" y="980"/>
                    <a:pt x="6275" y="2174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4" name="Google Shape;844;p31"/>
            <p:cNvSpPr/>
            <p:nvPr/>
          </p:nvSpPr>
          <p:spPr>
            <a:xfrm>
              <a:off x="4813492" y="241542"/>
              <a:ext cx="219217" cy="151513"/>
            </a:xfrm>
            <a:custGeom>
              <a:avLst/>
              <a:gdLst/>
              <a:ahLst/>
              <a:cxnLst/>
              <a:rect l="l" t="t" r="r" b="b"/>
              <a:pathLst>
                <a:path w="6275" h="4337" extrusionOk="0">
                  <a:moveTo>
                    <a:pt x="3132" y="0"/>
                  </a:moveTo>
                  <a:cubicBezTo>
                    <a:pt x="1398" y="0"/>
                    <a:pt x="1" y="969"/>
                    <a:pt x="1" y="2174"/>
                  </a:cubicBezTo>
                  <a:cubicBezTo>
                    <a:pt x="1" y="3368"/>
                    <a:pt x="1398" y="4337"/>
                    <a:pt x="3132" y="4337"/>
                  </a:cubicBezTo>
                  <a:cubicBezTo>
                    <a:pt x="4867" y="4337"/>
                    <a:pt x="6275" y="3368"/>
                    <a:pt x="6275" y="2174"/>
                  </a:cubicBezTo>
                  <a:cubicBezTo>
                    <a:pt x="6275" y="969"/>
                    <a:pt x="4867" y="0"/>
                    <a:pt x="313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5" name="Google Shape;845;p31"/>
            <p:cNvSpPr/>
            <p:nvPr/>
          </p:nvSpPr>
          <p:spPr>
            <a:xfrm>
              <a:off x="4813492" y="241542"/>
              <a:ext cx="219217" cy="151513"/>
            </a:xfrm>
            <a:custGeom>
              <a:avLst/>
              <a:gdLst/>
              <a:ahLst/>
              <a:cxnLst/>
              <a:rect l="l" t="t" r="r" b="b"/>
              <a:pathLst>
                <a:path w="6275" h="4337" fill="none" extrusionOk="0">
                  <a:moveTo>
                    <a:pt x="6275" y="2174"/>
                  </a:moveTo>
                  <a:cubicBezTo>
                    <a:pt x="6275" y="3368"/>
                    <a:pt x="4867" y="4337"/>
                    <a:pt x="3132" y="4337"/>
                  </a:cubicBezTo>
                  <a:cubicBezTo>
                    <a:pt x="1398" y="4337"/>
                    <a:pt x="1" y="3368"/>
                    <a:pt x="1" y="2174"/>
                  </a:cubicBezTo>
                  <a:cubicBezTo>
                    <a:pt x="1" y="969"/>
                    <a:pt x="1398" y="0"/>
                    <a:pt x="3132" y="0"/>
                  </a:cubicBezTo>
                  <a:cubicBezTo>
                    <a:pt x="4867" y="0"/>
                    <a:pt x="6275" y="969"/>
                    <a:pt x="6275" y="2174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6" name="Google Shape;846;p31"/>
            <p:cNvSpPr/>
            <p:nvPr/>
          </p:nvSpPr>
          <p:spPr>
            <a:xfrm>
              <a:off x="4923673" y="393434"/>
              <a:ext cx="35" cy="35808"/>
            </a:xfrm>
            <a:custGeom>
              <a:avLst/>
              <a:gdLst/>
              <a:ahLst/>
              <a:cxnLst/>
              <a:rect l="l" t="t" r="r" b="b"/>
              <a:pathLst>
                <a:path w="1" h="1025" fill="none" extrusionOk="0">
                  <a:moveTo>
                    <a:pt x="1" y="1025"/>
                  </a:moveTo>
                  <a:cubicBezTo>
                    <a:pt x="1" y="991"/>
                    <a:pt x="1" y="969"/>
                    <a:pt x="1" y="946"/>
                  </a:cubicBezTo>
                  <a:lnTo>
                    <a:pt x="1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" name="Google Shape;847;p31"/>
            <p:cNvSpPr/>
            <p:nvPr/>
          </p:nvSpPr>
          <p:spPr>
            <a:xfrm>
              <a:off x="4947289" y="391443"/>
              <a:ext cx="35" cy="35075"/>
            </a:xfrm>
            <a:custGeom>
              <a:avLst/>
              <a:gdLst/>
              <a:ahLst/>
              <a:cxnLst/>
              <a:rect l="l" t="t" r="r" b="b"/>
              <a:pathLst>
                <a:path w="1" h="1004" fill="none" extrusionOk="0">
                  <a:moveTo>
                    <a:pt x="0" y="1003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8" name="Google Shape;848;p31"/>
            <p:cNvSpPr/>
            <p:nvPr/>
          </p:nvSpPr>
          <p:spPr>
            <a:xfrm>
              <a:off x="4970100" y="386343"/>
              <a:ext cx="35" cy="35040"/>
            </a:xfrm>
            <a:custGeom>
              <a:avLst/>
              <a:gdLst/>
              <a:ahLst/>
              <a:cxnLst/>
              <a:rect l="l" t="t" r="r" b="b"/>
              <a:pathLst>
                <a:path w="1" h="1003" fill="none" extrusionOk="0">
                  <a:moveTo>
                    <a:pt x="1" y="1003"/>
                  </a:moveTo>
                  <a:lnTo>
                    <a:pt x="1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9" name="Google Shape;849;p31"/>
            <p:cNvSpPr/>
            <p:nvPr/>
          </p:nvSpPr>
          <p:spPr>
            <a:xfrm>
              <a:off x="4990956" y="377679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0" name="Google Shape;850;p31"/>
            <p:cNvSpPr/>
            <p:nvPr/>
          </p:nvSpPr>
          <p:spPr>
            <a:xfrm>
              <a:off x="5008667" y="365872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1" name="Google Shape;851;p31"/>
            <p:cNvSpPr/>
            <p:nvPr/>
          </p:nvSpPr>
          <p:spPr>
            <a:xfrm>
              <a:off x="5024807" y="346204"/>
              <a:ext cx="35" cy="35040"/>
            </a:xfrm>
            <a:custGeom>
              <a:avLst/>
              <a:gdLst/>
              <a:ahLst/>
              <a:cxnLst/>
              <a:rect l="l" t="t" r="r" b="b"/>
              <a:pathLst>
                <a:path w="1" h="1003" fill="none" extrusionOk="0">
                  <a:moveTo>
                    <a:pt x="0" y="1003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" name="Google Shape;852;p31"/>
            <p:cNvSpPr/>
            <p:nvPr/>
          </p:nvSpPr>
          <p:spPr>
            <a:xfrm>
              <a:off x="4899290" y="391443"/>
              <a:ext cx="35" cy="35075"/>
            </a:xfrm>
            <a:custGeom>
              <a:avLst/>
              <a:gdLst/>
              <a:ahLst/>
              <a:cxnLst/>
              <a:rect l="l" t="t" r="r" b="b"/>
              <a:pathLst>
                <a:path w="1" h="1004" fill="none" extrusionOk="0">
                  <a:moveTo>
                    <a:pt x="0" y="1003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" name="Google Shape;853;p31"/>
            <p:cNvSpPr/>
            <p:nvPr/>
          </p:nvSpPr>
          <p:spPr>
            <a:xfrm>
              <a:off x="4876478" y="386343"/>
              <a:ext cx="35" cy="35040"/>
            </a:xfrm>
            <a:custGeom>
              <a:avLst/>
              <a:gdLst/>
              <a:ahLst/>
              <a:cxnLst/>
              <a:rect l="l" t="t" r="r" b="b"/>
              <a:pathLst>
                <a:path w="1" h="1003" fill="none" extrusionOk="0">
                  <a:moveTo>
                    <a:pt x="0" y="1003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" name="Google Shape;854;p31"/>
            <p:cNvSpPr/>
            <p:nvPr/>
          </p:nvSpPr>
          <p:spPr>
            <a:xfrm>
              <a:off x="4855622" y="377679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0" y="1014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" name="Google Shape;855;p31"/>
            <p:cNvSpPr/>
            <p:nvPr/>
          </p:nvSpPr>
          <p:spPr>
            <a:xfrm>
              <a:off x="4837911" y="365872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0" y="1014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" name="Google Shape;856;p31"/>
            <p:cNvSpPr/>
            <p:nvPr/>
          </p:nvSpPr>
          <p:spPr>
            <a:xfrm>
              <a:off x="4821771" y="346204"/>
              <a:ext cx="35" cy="35040"/>
            </a:xfrm>
            <a:custGeom>
              <a:avLst/>
              <a:gdLst/>
              <a:ahLst/>
              <a:cxnLst/>
              <a:rect l="l" t="t" r="r" b="b"/>
              <a:pathLst>
                <a:path w="1" h="1003" fill="none" extrusionOk="0">
                  <a:moveTo>
                    <a:pt x="0" y="1003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7" name="Google Shape;857;p31"/>
            <p:cNvSpPr/>
            <p:nvPr/>
          </p:nvSpPr>
          <p:spPr>
            <a:xfrm>
              <a:off x="4838295" y="258834"/>
              <a:ext cx="169644" cy="117312"/>
            </a:xfrm>
            <a:custGeom>
              <a:avLst/>
              <a:gdLst/>
              <a:ahLst/>
              <a:cxnLst/>
              <a:rect l="l" t="t" r="r" b="b"/>
              <a:pathLst>
                <a:path w="4856" h="3358" extrusionOk="0">
                  <a:moveTo>
                    <a:pt x="2422" y="1"/>
                  </a:moveTo>
                  <a:cubicBezTo>
                    <a:pt x="1082" y="1"/>
                    <a:pt x="1" y="744"/>
                    <a:pt x="1" y="1679"/>
                  </a:cubicBezTo>
                  <a:cubicBezTo>
                    <a:pt x="1" y="2603"/>
                    <a:pt x="1082" y="3357"/>
                    <a:pt x="2422" y="3357"/>
                  </a:cubicBezTo>
                  <a:cubicBezTo>
                    <a:pt x="3762" y="3357"/>
                    <a:pt x="4855" y="2603"/>
                    <a:pt x="4855" y="1679"/>
                  </a:cubicBezTo>
                  <a:cubicBezTo>
                    <a:pt x="4855" y="744"/>
                    <a:pt x="3762" y="1"/>
                    <a:pt x="2422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8" name="Google Shape;858;p31"/>
            <p:cNvSpPr/>
            <p:nvPr/>
          </p:nvSpPr>
          <p:spPr>
            <a:xfrm>
              <a:off x="4838295" y="258834"/>
              <a:ext cx="169644" cy="117312"/>
            </a:xfrm>
            <a:custGeom>
              <a:avLst/>
              <a:gdLst/>
              <a:ahLst/>
              <a:cxnLst/>
              <a:rect l="l" t="t" r="r" b="b"/>
              <a:pathLst>
                <a:path w="4856" h="3358" fill="none" extrusionOk="0">
                  <a:moveTo>
                    <a:pt x="4855" y="1679"/>
                  </a:moveTo>
                  <a:cubicBezTo>
                    <a:pt x="4855" y="2603"/>
                    <a:pt x="3762" y="3357"/>
                    <a:pt x="2422" y="3357"/>
                  </a:cubicBezTo>
                  <a:cubicBezTo>
                    <a:pt x="1082" y="3357"/>
                    <a:pt x="1" y="2603"/>
                    <a:pt x="1" y="1679"/>
                  </a:cubicBezTo>
                  <a:cubicBezTo>
                    <a:pt x="1" y="744"/>
                    <a:pt x="1082" y="1"/>
                    <a:pt x="2422" y="1"/>
                  </a:cubicBezTo>
                  <a:cubicBezTo>
                    <a:pt x="3762" y="1"/>
                    <a:pt x="4855" y="744"/>
                    <a:pt x="4855" y="1679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59" name="Google Shape;859;p31"/>
          <p:cNvSpPr/>
          <p:nvPr/>
        </p:nvSpPr>
        <p:spPr>
          <a:xfrm rot="10800000" flipH="1">
            <a:off x="8829750" y="2270050"/>
            <a:ext cx="171900" cy="148500"/>
          </a:xfrm>
          <a:prstGeom prst="triangle">
            <a:avLst>
              <a:gd name="adj" fmla="val 5000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7A90CED-A26D-EE3C-D1E0-6B7BEBBD1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A90CED-A26D-EE3C-D1E0-6B7BEBBD1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848EB13-DD6B-995C-62F1-61D47D5AB2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9978220"/>
              </p:ext>
            </p:extLst>
          </p:nvPr>
        </p:nvGraphicFramePr>
        <p:xfrm>
          <a:off x="232757" y="778044"/>
          <a:ext cx="8678485" cy="4097369"/>
        </p:xfrm>
        <a:graphic>
          <a:graphicData uri="http://schemas.openxmlformats.org/drawingml/2006/table">
            <a:tbl>
              <a:tblPr firstRow="1" bandRow="1">
                <a:tableStyleId>{E7ECC478-54CD-4239-95CC-87493FC59F78}</a:tableStyleId>
              </a:tblPr>
              <a:tblGrid>
                <a:gridCol w="1735697">
                  <a:extLst>
                    <a:ext uri="{9D8B030D-6E8A-4147-A177-3AD203B41FA5}">
                      <a16:colId xmlns:a16="http://schemas.microsoft.com/office/drawing/2014/main" val="1351791399"/>
                    </a:ext>
                  </a:extLst>
                </a:gridCol>
                <a:gridCol w="1731028">
                  <a:extLst>
                    <a:ext uri="{9D8B030D-6E8A-4147-A177-3AD203B41FA5}">
                      <a16:colId xmlns:a16="http://schemas.microsoft.com/office/drawing/2014/main" val="1858090112"/>
                    </a:ext>
                  </a:extLst>
                </a:gridCol>
                <a:gridCol w="1753644">
                  <a:extLst>
                    <a:ext uri="{9D8B030D-6E8A-4147-A177-3AD203B41FA5}">
                      <a16:colId xmlns:a16="http://schemas.microsoft.com/office/drawing/2014/main" val="1274813897"/>
                    </a:ext>
                  </a:extLst>
                </a:gridCol>
                <a:gridCol w="1722419">
                  <a:extLst>
                    <a:ext uri="{9D8B030D-6E8A-4147-A177-3AD203B41FA5}">
                      <a16:colId xmlns:a16="http://schemas.microsoft.com/office/drawing/2014/main" val="626652924"/>
                    </a:ext>
                  </a:extLst>
                </a:gridCol>
                <a:gridCol w="1735697">
                  <a:extLst>
                    <a:ext uri="{9D8B030D-6E8A-4147-A177-3AD203B41FA5}">
                      <a16:colId xmlns:a16="http://schemas.microsoft.com/office/drawing/2014/main" val="2068742942"/>
                    </a:ext>
                  </a:extLst>
                </a:gridCol>
              </a:tblGrid>
              <a:tr h="1181305">
                <a:tc>
                  <a:txBody>
                    <a:bodyPr/>
                    <a:lstStyle/>
                    <a:p>
                      <a:pPr algn="ctr"/>
                      <a:br>
                        <a:rPr lang="en-US" sz="1200" b="1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br>
                        <a:rPr lang="en-US" sz="1200" b="1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200" b="1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New Unsuccessful Customers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200" b="1" i="0" u="none" strike="noStrike" noProof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lvl="0" algn="ctr">
                        <a:buNone/>
                      </a:pPr>
                      <a:endParaRPr lang="en-US" sz="1200" b="1" i="0" u="none" strike="noStrike" noProof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sz="1200" b="1" i="0" u="none" strike="noStrike" noProof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Moderately Successful New Customers</a:t>
                      </a:r>
                      <a:endParaRPr lang="en-US" sz="1200" b="1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200" b="1" i="0" u="none" strike="noStrike" noProof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lvl="0" algn="ctr">
                        <a:buNone/>
                      </a:pPr>
                      <a:endParaRPr lang="en-US" sz="1200" b="1" i="0" u="none" strike="noStrike" noProof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sz="1100" b="1" i="0" u="none" strike="noStrike" noProof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Relatively New &amp; Interested Customers </a:t>
                      </a:r>
                      <a:br>
                        <a:rPr lang="en-US" sz="1100" b="1" i="0" u="none" strike="noStrike" noProof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100" b="1" i="0" u="none" strike="noStrike" noProof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(High Effort)</a:t>
                      </a:r>
                      <a:endParaRPr lang="en-US" sz="1100" b="1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200" b="1" i="0" u="none" strike="noStrike" noProof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lvl="0" algn="ctr">
                        <a:buNone/>
                      </a:pPr>
                      <a:endParaRPr lang="en-US" sz="1200" b="1" i="0" u="none" strike="noStrike" noProof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sz="1200" b="1" i="0" u="none" strike="noStrike" noProof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Existing Successful Customers</a:t>
                      </a:r>
                      <a:endParaRPr lang="en-US" sz="1200" b="1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200" b="1" i="0" u="none" strike="noStrike" noProof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lvl="0" algn="ctr">
                        <a:buNone/>
                      </a:pPr>
                      <a:br>
                        <a:rPr lang="en-US" sz="1200" b="1" i="0" u="none" strike="noStrike" noProof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200" b="1" i="0" u="none" strike="noStrike" noProof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Existing Low Effort Customers</a:t>
                      </a:r>
                      <a:endParaRPr lang="en-US" sz="1200" b="1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88513"/>
                  </a:ext>
                </a:extLst>
              </a:tr>
              <a:tr h="663301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vg subscription rate</a:t>
                      </a:r>
                      <a:b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b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4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  <a:r>
                        <a:rPr lang="en-US" sz="16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7%</a:t>
                      </a:r>
                      <a:endParaRPr lang="en-US" sz="120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vg subscription rate</a:t>
                      </a:r>
                      <a:b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  <a:b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4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39.7%</a:t>
                      </a:r>
                      <a: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vg subscription rate </a:t>
                      </a:r>
                      <a:b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0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(for new customers)</a:t>
                      </a:r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  <a:b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58.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vg subscription rate </a:t>
                      </a:r>
                      <a:b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0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(for new customers)</a:t>
                      </a:r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  <a: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80.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vg subscription rate</a:t>
                      </a:r>
                      <a:b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  <a:b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60.2%.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79342199"/>
                  </a:ext>
                </a:extLst>
              </a:tr>
              <a:tr h="98657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vg Call Duration</a:t>
                      </a:r>
                      <a:b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0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(Current Campaign)</a:t>
                      </a:r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  <a:b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b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4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4 minutes</a:t>
                      </a:r>
                      <a:endParaRPr lang="en-US" sz="120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vg Call Duration</a:t>
                      </a:r>
                      <a:br>
                        <a:rPr lang="en-US" sz="11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0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(Current Campaign)</a:t>
                      </a:r>
                      <a:br>
                        <a:rPr lang="en-US" sz="11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1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  <a:br>
                        <a:rPr lang="en-US" sz="12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2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~</a:t>
                      </a:r>
                      <a:r>
                        <a:rPr lang="en-US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6 minutes</a:t>
                      </a:r>
                      <a:endParaRPr lang="en-US" sz="12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vg Call Duration</a:t>
                      </a:r>
                      <a:b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0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(Current Campaign)</a:t>
                      </a:r>
                      <a:b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  <a:b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~24 minut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vg Call Duration</a:t>
                      </a:r>
                      <a:b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0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(Current Campaign)</a:t>
                      </a:r>
                      <a: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 </a:t>
                      </a:r>
                      <a:b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b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4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~6 minutes</a:t>
                      </a:r>
                      <a:endParaRPr lang="en-US" sz="120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vg Call Duration</a:t>
                      </a:r>
                      <a:b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0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(Current Campaign)</a:t>
                      </a:r>
                      <a:b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  <a:b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4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&lt;4 minutes</a:t>
                      </a:r>
                      <a:endParaRPr lang="en-US" sz="120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63521845"/>
                  </a:ext>
                </a:extLst>
              </a:tr>
              <a:tr h="1243690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vg Times Contacted</a:t>
                      </a:r>
                      <a:b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  <a:b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4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~2.5 times</a:t>
                      </a:r>
                      <a: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vg Times Contacted </a:t>
                      </a:r>
                      <a:b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b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4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~2.4 times.</a:t>
                      </a:r>
                      <a: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vg Times Contacted</a:t>
                      </a:r>
                      <a: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  <a:b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b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4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~2.6 times.</a:t>
                      </a:r>
                      <a:endParaRPr lang="en-US" sz="120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vg Times Contacted</a:t>
                      </a:r>
                      <a:b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0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(lowest among all)</a:t>
                      </a:r>
                      <a:br>
                        <a:rPr lang="en-US" sz="12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4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~1.8 times</a:t>
                      </a:r>
                      <a:endParaRPr lang="en-US" sz="120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br>
                        <a:rPr lang="en-US" sz="11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1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vg Times Contacted</a:t>
                      </a:r>
                      <a:br>
                        <a:rPr lang="en-US" sz="12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0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(Relatively Low)</a:t>
                      </a:r>
                      <a:br>
                        <a:rPr lang="en-US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~1.82 times</a:t>
                      </a:r>
                    </a:p>
                    <a:p>
                      <a:pPr algn="ctr"/>
                      <a:r>
                        <a:rPr lang="en-US" sz="12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73780444"/>
                  </a:ext>
                </a:extLst>
              </a:tr>
            </a:tbl>
          </a:graphicData>
        </a:graphic>
      </p:graphicFrame>
      <p:grpSp>
        <p:nvGrpSpPr>
          <p:cNvPr id="10" name="Google Shape;6816;p61">
            <a:extLst>
              <a:ext uri="{FF2B5EF4-FFF2-40B4-BE49-F238E27FC236}">
                <a16:creationId xmlns:a16="http://schemas.microsoft.com/office/drawing/2014/main" id="{3CE6A01F-D166-9E04-F9FC-8E4F3F3912B1}"/>
              </a:ext>
            </a:extLst>
          </p:cNvPr>
          <p:cNvGrpSpPr/>
          <p:nvPr/>
        </p:nvGrpSpPr>
        <p:grpSpPr>
          <a:xfrm>
            <a:off x="884110" y="894620"/>
            <a:ext cx="363319" cy="315436"/>
            <a:chOff x="6218300" y="4416175"/>
            <a:chExt cx="516000" cy="448000"/>
          </a:xfrm>
        </p:grpSpPr>
        <p:sp>
          <p:nvSpPr>
            <p:cNvPr id="11" name="Google Shape;6817;p61">
              <a:extLst>
                <a:ext uri="{FF2B5EF4-FFF2-40B4-BE49-F238E27FC236}">
                  <a16:creationId xmlns:a16="http://schemas.microsoft.com/office/drawing/2014/main" id="{DEC01939-9F95-BEBE-15B9-DE2D93530297}"/>
                </a:ext>
              </a:extLst>
            </p:cNvPr>
            <p:cNvSpPr/>
            <p:nvPr/>
          </p:nvSpPr>
          <p:spPr>
            <a:xfrm>
              <a:off x="6462150" y="4525375"/>
              <a:ext cx="28250" cy="141250"/>
            </a:xfrm>
            <a:custGeom>
              <a:avLst/>
              <a:gdLst/>
              <a:ahLst/>
              <a:cxnLst/>
              <a:rect l="l" t="t" r="r" b="b"/>
              <a:pathLst>
                <a:path w="1130" h="5650" extrusionOk="0">
                  <a:moveTo>
                    <a:pt x="566" y="1"/>
                  </a:moveTo>
                  <a:cubicBezTo>
                    <a:pt x="253" y="1"/>
                    <a:pt x="0" y="254"/>
                    <a:pt x="0" y="567"/>
                  </a:cubicBezTo>
                  <a:lnTo>
                    <a:pt x="0" y="5087"/>
                  </a:lnTo>
                  <a:cubicBezTo>
                    <a:pt x="0" y="5397"/>
                    <a:pt x="253" y="5650"/>
                    <a:pt x="566" y="5650"/>
                  </a:cubicBezTo>
                  <a:cubicBezTo>
                    <a:pt x="877" y="5650"/>
                    <a:pt x="1130" y="5397"/>
                    <a:pt x="1130" y="5087"/>
                  </a:cubicBezTo>
                  <a:lnTo>
                    <a:pt x="1130" y="567"/>
                  </a:lnTo>
                  <a:cubicBezTo>
                    <a:pt x="1130" y="254"/>
                    <a:pt x="877" y="1"/>
                    <a:pt x="56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15" name="Google Shape;6818;p61">
              <a:extLst>
                <a:ext uri="{FF2B5EF4-FFF2-40B4-BE49-F238E27FC236}">
                  <a16:creationId xmlns:a16="http://schemas.microsoft.com/office/drawing/2014/main" id="{3439E75D-7B76-47D3-5900-B061BAADE3CB}"/>
                </a:ext>
              </a:extLst>
            </p:cNvPr>
            <p:cNvSpPr/>
            <p:nvPr/>
          </p:nvSpPr>
          <p:spPr>
            <a:xfrm>
              <a:off x="6218300" y="4416175"/>
              <a:ext cx="516000" cy="448000"/>
            </a:xfrm>
            <a:custGeom>
              <a:avLst/>
              <a:gdLst/>
              <a:ahLst/>
              <a:cxnLst/>
              <a:rect l="l" t="t" r="r" b="b"/>
              <a:pathLst>
                <a:path w="20640" h="17920" extrusionOk="0">
                  <a:moveTo>
                    <a:pt x="10320" y="3240"/>
                  </a:moveTo>
                  <a:cubicBezTo>
                    <a:pt x="11254" y="3240"/>
                    <a:pt x="12013" y="3998"/>
                    <a:pt x="12013" y="4935"/>
                  </a:cubicBezTo>
                  <a:lnTo>
                    <a:pt x="12013" y="9452"/>
                  </a:lnTo>
                  <a:cubicBezTo>
                    <a:pt x="12013" y="10385"/>
                    <a:pt x="11254" y="11144"/>
                    <a:pt x="10320" y="11144"/>
                  </a:cubicBezTo>
                  <a:cubicBezTo>
                    <a:pt x="9384" y="11144"/>
                    <a:pt x="8625" y="10385"/>
                    <a:pt x="8625" y="9452"/>
                  </a:cubicBezTo>
                  <a:lnTo>
                    <a:pt x="8625" y="4935"/>
                  </a:lnTo>
                  <a:cubicBezTo>
                    <a:pt x="8625" y="3998"/>
                    <a:pt x="9384" y="3240"/>
                    <a:pt x="10320" y="3240"/>
                  </a:cubicBezTo>
                  <a:close/>
                  <a:moveTo>
                    <a:pt x="10320" y="12274"/>
                  </a:moveTo>
                  <a:cubicBezTo>
                    <a:pt x="10538" y="12274"/>
                    <a:pt x="10758" y="12316"/>
                    <a:pt x="10968" y="12403"/>
                  </a:cubicBezTo>
                  <a:cubicBezTo>
                    <a:pt x="11600" y="12665"/>
                    <a:pt x="12013" y="13282"/>
                    <a:pt x="12013" y="13969"/>
                  </a:cubicBezTo>
                  <a:cubicBezTo>
                    <a:pt x="12013" y="14902"/>
                    <a:pt x="11254" y="15661"/>
                    <a:pt x="10320" y="15661"/>
                  </a:cubicBezTo>
                  <a:cubicBezTo>
                    <a:pt x="9634" y="15661"/>
                    <a:pt x="9017" y="15248"/>
                    <a:pt x="8755" y="14616"/>
                  </a:cubicBezTo>
                  <a:cubicBezTo>
                    <a:pt x="8493" y="13984"/>
                    <a:pt x="8637" y="13255"/>
                    <a:pt x="9122" y="12770"/>
                  </a:cubicBezTo>
                  <a:cubicBezTo>
                    <a:pt x="9446" y="12446"/>
                    <a:pt x="9880" y="12274"/>
                    <a:pt x="10320" y="12274"/>
                  </a:cubicBezTo>
                  <a:close/>
                  <a:moveTo>
                    <a:pt x="10319" y="1"/>
                  </a:moveTo>
                  <a:cubicBezTo>
                    <a:pt x="9352" y="1"/>
                    <a:pt x="8386" y="487"/>
                    <a:pt x="7848" y="1460"/>
                  </a:cubicBezTo>
                  <a:lnTo>
                    <a:pt x="1040" y="13731"/>
                  </a:lnTo>
                  <a:cubicBezTo>
                    <a:pt x="1" y="15613"/>
                    <a:pt x="1359" y="17919"/>
                    <a:pt x="3509" y="17919"/>
                  </a:cubicBezTo>
                  <a:lnTo>
                    <a:pt x="17129" y="17919"/>
                  </a:lnTo>
                  <a:cubicBezTo>
                    <a:pt x="19279" y="17919"/>
                    <a:pt x="20640" y="15616"/>
                    <a:pt x="19598" y="13731"/>
                  </a:cubicBezTo>
                  <a:lnTo>
                    <a:pt x="12790" y="1460"/>
                  </a:lnTo>
                  <a:cubicBezTo>
                    <a:pt x="12252" y="487"/>
                    <a:pt x="11286" y="1"/>
                    <a:pt x="1031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17" name="Google Shape;6819;p61">
              <a:extLst>
                <a:ext uri="{FF2B5EF4-FFF2-40B4-BE49-F238E27FC236}">
                  <a16:creationId xmlns:a16="http://schemas.microsoft.com/office/drawing/2014/main" id="{9B6AEFD0-61F3-0256-D869-D27E7544281B}"/>
                </a:ext>
              </a:extLst>
            </p:cNvPr>
            <p:cNvSpPr/>
            <p:nvPr/>
          </p:nvSpPr>
          <p:spPr>
            <a:xfrm>
              <a:off x="6462150" y="4751225"/>
              <a:ext cx="28250" cy="28250"/>
            </a:xfrm>
            <a:custGeom>
              <a:avLst/>
              <a:gdLst/>
              <a:ahLst/>
              <a:cxnLst/>
              <a:rect l="l" t="t" r="r" b="b"/>
              <a:pathLst>
                <a:path w="1130" h="1130" extrusionOk="0">
                  <a:moveTo>
                    <a:pt x="566" y="1"/>
                  </a:moveTo>
                  <a:cubicBezTo>
                    <a:pt x="253" y="1"/>
                    <a:pt x="0" y="253"/>
                    <a:pt x="0" y="567"/>
                  </a:cubicBezTo>
                  <a:cubicBezTo>
                    <a:pt x="0" y="877"/>
                    <a:pt x="253" y="1130"/>
                    <a:pt x="566" y="1130"/>
                  </a:cubicBezTo>
                  <a:cubicBezTo>
                    <a:pt x="877" y="1130"/>
                    <a:pt x="1130" y="877"/>
                    <a:pt x="1130" y="567"/>
                  </a:cubicBezTo>
                  <a:cubicBezTo>
                    <a:pt x="1130" y="253"/>
                    <a:pt x="877" y="1"/>
                    <a:pt x="56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</p:grpSp>
      <p:sp>
        <p:nvSpPr>
          <p:cNvPr id="3" name="Google Shape;7758;p64">
            <a:extLst>
              <a:ext uri="{FF2B5EF4-FFF2-40B4-BE49-F238E27FC236}">
                <a16:creationId xmlns:a16="http://schemas.microsoft.com/office/drawing/2014/main" id="{BA92D0CC-B4F3-71C8-2B8A-362DBB8EB837}"/>
              </a:ext>
            </a:extLst>
          </p:cNvPr>
          <p:cNvSpPr/>
          <p:nvPr/>
        </p:nvSpPr>
        <p:spPr>
          <a:xfrm>
            <a:off x="4390235" y="844411"/>
            <a:ext cx="355557" cy="353645"/>
          </a:xfrm>
          <a:custGeom>
            <a:avLst/>
            <a:gdLst/>
            <a:ahLst/>
            <a:cxnLst/>
            <a:rect l="l" t="t" r="r" b="b"/>
            <a:pathLst>
              <a:path w="11721" h="11658" extrusionOk="0">
                <a:moveTo>
                  <a:pt x="6144" y="2773"/>
                </a:moveTo>
                <a:cubicBezTo>
                  <a:pt x="7467" y="2868"/>
                  <a:pt x="8570" y="3813"/>
                  <a:pt x="8885" y="5042"/>
                </a:cubicBezTo>
                <a:cubicBezTo>
                  <a:pt x="8917" y="5231"/>
                  <a:pt x="8791" y="5388"/>
                  <a:pt x="8633" y="5483"/>
                </a:cubicBezTo>
                <a:cubicBezTo>
                  <a:pt x="8613" y="5486"/>
                  <a:pt x="8594" y="5487"/>
                  <a:pt x="8575" y="5487"/>
                </a:cubicBezTo>
                <a:cubicBezTo>
                  <a:pt x="8412" y="5487"/>
                  <a:pt x="8277" y="5372"/>
                  <a:pt x="8192" y="5231"/>
                </a:cubicBezTo>
                <a:cubicBezTo>
                  <a:pt x="7972" y="4254"/>
                  <a:pt x="7089" y="3561"/>
                  <a:pt x="6113" y="3466"/>
                </a:cubicBezTo>
                <a:cubicBezTo>
                  <a:pt x="5924" y="3466"/>
                  <a:pt x="5798" y="3277"/>
                  <a:pt x="5798" y="3120"/>
                </a:cubicBezTo>
                <a:cubicBezTo>
                  <a:pt x="5798" y="2868"/>
                  <a:pt x="5955" y="2773"/>
                  <a:pt x="6144" y="2773"/>
                </a:cubicBezTo>
                <a:close/>
                <a:moveTo>
                  <a:pt x="6222" y="1414"/>
                </a:moveTo>
                <a:cubicBezTo>
                  <a:pt x="6238" y="1414"/>
                  <a:pt x="6254" y="1416"/>
                  <a:pt x="6270" y="1418"/>
                </a:cubicBezTo>
                <a:cubicBezTo>
                  <a:pt x="8161" y="1576"/>
                  <a:pt x="9862" y="2962"/>
                  <a:pt x="10240" y="5136"/>
                </a:cubicBezTo>
                <a:cubicBezTo>
                  <a:pt x="10303" y="5325"/>
                  <a:pt x="10177" y="5483"/>
                  <a:pt x="9988" y="5514"/>
                </a:cubicBezTo>
                <a:cubicBezTo>
                  <a:pt x="9960" y="5518"/>
                  <a:pt x="9934" y="5520"/>
                  <a:pt x="9908" y="5520"/>
                </a:cubicBezTo>
                <a:cubicBezTo>
                  <a:pt x="9730" y="5520"/>
                  <a:pt x="9606" y="5424"/>
                  <a:pt x="9578" y="5231"/>
                </a:cubicBezTo>
                <a:cubicBezTo>
                  <a:pt x="9263" y="3466"/>
                  <a:pt x="7846" y="2238"/>
                  <a:pt x="6239" y="2143"/>
                </a:cubicBezTo>
                <a:cubicBezTo>
                  <a:pt x="6050" y="2143"/>
                  <a:pt x="5924" y="1923"/>
                  <a:pt x="5924" y="1765"/>
                </a:cubicBezTo>
                <a:cubicBezTo>
                  <a:pt x="5924" y="1563"/>
                  <a:pt x="6055" y="1414"/>
                  <a:pt x="6222" y="1414"/>
                </a:cubicBezTo>
                <a:close/>
                <a:moveTo>
                  <a:pt x="5907" y="4124"/>
                </a:moveTo>
                <a:cubicBezTo>
                  <a:pt x="5923" y="4124"/>
                  <a:pt x="5939" y="4125"/>
                  <a:pt x="5955" y="4128"/>
                </a:cubicBezTo>
                <a:cubicBezTo>
                  <a:pt x="6680" y="4191"/>
                  <a:pt x="7247" y="4663"/>
                  <a:pt x="7499" y="5325"/>
                </a:cubicBezTo>
                <a:cubicBezTo>
                  <a:pt x="7530" y="5514"/>
                  <a:pt x="7467" y="5672"/>
                  <a:pt x="7247" y="5766"/>
                </a:cubicBezTo>
                <a:cubicBezTo>
                  <a:pt x="7223" y="5770"/>
                  <a:pt x="7199" y="5772"/>
                  <a:pt x="7177" y="5772"/>
                </a:cubicBezTo>
                <a:cubicBezTo>
                  <a:pt x="7019" y="5772"/>
                  <a:pt x="6892" y="5679"/>
                  <a:pt x="6837" y="5514"/>
                </a:cubicBezTo>
                <a:cubicBezTo>
                  <a:pt x="6711" y="5136"/>
                  <a:pt x="6365" y="4852"/>
                  <a:pt x="5924" y="4821"/>
                </a:cubicBezTo>
                <a:cubicBezTo>
                  <a:pt x="5735" y="4821"/>
                  <a:pt x="5609" y="4663"/>
                  <a:pt x="5609" y="4443"/>
                </a:cubicBezTo>
                <a:cubicBezTo>
                  <a:pt x="5609" y="4270"/>
                  <a:pt x="5740" y="4124"/>
                  <a:pt x="5907" y="4124"/>
                </a:cubicBezTo>
                <a:close/>
                <a:moveTo>
                  <a:pt x="3385" y="3199"/>
                </a:moveTo>
                <a:cubicBezTo>
                  <a:pt x="3455" y="3199"/>
                  <a:pt x="3527" y="3225"/>
                  <a:pt x="3592" y="3277"/>
                </a:cubicBezTo>
                <a:lnTo>
                  <a:pt x="4695" y="4096"/>
                </a:lnTo>
                <a:cubicBezTo>
                  <a:pt x="4853" y="4222"/>
                  <a:pt x="4884" y="4411"/>
                  <a:pt x="4790" y="4569"/>
                </a:cubicBezTo>
                <a:lnTo>
                  <a:pt x="4159" y="5388"/>
                </a:lnTo>
                <a:lnTo>
                  <a:pt x="6869" y="7436"/>
                </a:lnTo>
                <a:lnTo>
                  <a:pt x="7499" y="6617"/>
                </a:lnTo>
                <a:cubicBezTo>
                  <a:pt x="7572" y="6525"/>
                  <a:pt x="7667" y="6476"/>
                  <a:pt x="7765" y="6476"/>
                </a:cubicBezTo>
                <a:cubicBezTo>
                  <a:pt x="7835" y="6476"/>
                  <a:pt x="7906" y="6501"/>
                  <a:pt x="7972" y="6554"/>
                </a:cubicBezTo>
                <a:lnTo>
                  <a:pt x="9074" y="7373"/>
                </a:lnTo>
                <a:cubicBezTo>
                  <a:pt x="9232" y="7499"/>
                  <a:pt x="9263" y="7688"/>
                  <a:pt x="9137" y="7845"/>
                </a:cubicBezTo>
                <a:lnTo>
                  <a:pt x="8507" y="8665"/>
                </a:lnTo>
                <a:cubicBezTo>
                  <a:pt x="8225" y="9022"/>
                  <a:pt x="7819" y="9211"/>
                  <a:pt x="7403" y="9211"/>
                </a:cubicBezTo>
                <a:cubicBezTo>
                  <a:pt x="7123" y="9211"/>
                  <a:pt x="6839" y="9126"/>
                  <a:pt x="6585" y="8948"/>
                </a:cubicBezTo>
                <a:lnTo>
                  <a:pt x="2773" y="6081"/>
                </a:lnTo>
                <a:cubicBezTo>
                  <a:pt x="2143" y="5672"/>
                  <a:pt x="2017" y="4821"/>
                  <a:pt x="2490" y="4191"/>
                </a:cubicBezTo>
                <a:lnTo>
                  <a:pt x="3120" y="3340"/>
                </a:lnTo>
                <a:cubicBezTo>
                  <a:pt x="3193" y="3248"/>
                  <a:pt x="3288" y="3199"/>
                  <a:pt x="3385" y="3199"/>
                </a:cubicBezTo>
                <a:close/>
                <a:moveTo>
                  <a:pt x="5829" y="1"/>
                </a:moveTo>
                <a:cubicBezTo>
                  <a:pt x="2647" y="1"/>
                  <a:pt x="1" y="2647"/>
                  <a:pt x="1" y="5829"/>
                </a:cubicBezTo>
                <a:cubicBezTo>
                  <a:pt x="64" y="9011"/>
                  <a:pt x="2647" y="11658"/>
                  <a:pt x="5892" y="11658"/>
                </a:cubicBezTo>
                <a:cubicBezTo>
                  <a:pt x="6900" y="11658"/>
                  <a:pt x="7940" y="11374"/>
                  <a:pt x="8822" y="10838"/>
                </a:cubicBezTo>
                <a:lnTo>
                  <a:pt x="11248" y="11626"/>
                </a:lnTo>
                <a:cubicBezTo>
                  <a:pt x="11272" y="11634"/>
                  <a:pt x="11299" y="11638"/>
                  <a:pt x="11329" y="11638"/>
                </a:cubicBezTo>
                <a:cubicBezTo>
                  <a:pt x="11417" y="11638"/>
                  <a:pt x="11524" y="11602"/>
                  <a:pt x="11595" y="11531"/>
                </a:cubicBezTo>
                <a:cubicBezTo>
                  <a:pt x="11658" y="11468"/>
                  <a:pt x="11721" y="11311"/>
                  <a:pt x="11658" y="11185"/>
                </a:cubicBezTo>
                <a:lnTo>
                  <a:pt x="10838" y="8791"/>
                </a:lnTo>
                <a:cubicBezTo>
                  <a:pt x="11406" y="7877"/>
                  <a:pt x="11658" y="6869"/>
                  <a:pt x="11658" y="5829"/>
                </a:cubicBezTo>
                <a:cubicBezTo>
                  <a:pt x="11658" y="2647"/>
                  <a:pt x="9043" y="1"/>
                  <a:pt x="5829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" name="Google Shape;7403;p63">
            <a:extLst>
              <a:ext uri="{FF2B5EF4-FFF2-40B4-BE49-F238E27FC236}">
                <a16:creationId xmlns:a16="http://schemas.microsoft.com/office/drawing/2014/main" id="{24B91B47-1F9F-4D7E-D6F5-C8FC9B620E76}"/>
              </a:ext>
            </a:extLst>
          </p:cNvPr>
          <p:cNvSpPr/>
          <p:nvPr/>
        </p:nvSpPr>
        <p:spPr>
          <a:xfrm>
            <a:off x="6110147" y="916983"/>
            <a:ext cx="370009" cy="367724"/>
          </a:xfrm>
          <a:custGeom>
            <a:avLst/>
            <a:gdLst/>
            <a:ahLst/>
            <a:cxnLst/>
            <a:rect l="l" t="t" r="r" b="b"/>
            <a:pathLst>
              <a:path w="12792" h="12713" extrusionOk="0">
                <a:moveTo>
                  <a:pt x="8633" y="1229"/>
                </a:moveTo>
                <a:cubicBezTo>
                  <a:pt x="8854" y="1229"/>
                  <a:pt x="9011" y="1418"/>
                  <a:pt x="9011" y="1607"/>
                </a:cubicBezTo>
                <a:lnTo>
                  <a:pt x="9011" y="1890"/>
                </a:lnTo>
                <a:cubicBezTo>
                  <a:pt x="9484" y="2048"/>
                  <a:pt x="9831" y="2520"/>
                  <a:pt x="9831" y="3088"/>
                </a:cubicBezTo>
                <a:cubicBezTo>
                  <a:pt x="9831" y="3308"/>
                  <a:pt x="9641" y="3497"/>
                  <a:pt x="9452" y="3497"/>
                </a:cubicBezTo>
                <a:cubicBezTo>
                  <a:pt x="9200" y="3497"/>
                  <a:pt x="9011" y="3308"/>
                  <a:pt x="9011" y="3088"/>
                </a:cubicBezTo>
                <a:cubicBezTo>
                  <a:pt x="9011" y="2835"/>
                  <a:pt x="8822" y="2678"/>
                  <a:pt x="8633" y="2678"/>
                </a:cubicBezTo>
                <a:cubicBezTo>
                  <a:pt x="8413" y="2678"/>
                  <a:pt x="8192" y="2867"/>
                  <a:pt x="8192" y="3088"/>
                </a:cubicBezTo>
                <a:cubicBezTo>
                  <a:pt x="8224" y="3308"/>
                  <a:pt x="8570" y="3529"/>
                  <a:pt x="8885" y="3781"/>
                </a:cubicBezTo>
                <a:cubicBezTo>
                  <a:pt x="9326" y="4096"/>
                  <a:pt x="9894" y="4505"/>
                  <a:pt x="9894" y="5167"/>
                </a:cubicBezTo>
                <a:cubicBezTo>
                  <a:pt x="9894" y="5702"/>
                  <a:pt x="9515" y="6143"/>
                  <a:pt x="9043" y="6333"/>
                </a:cubicBezTo>
                <a:lnTo>
                  <a:pt x="9043" y="6616"/>
                </a:lnTo>
                <a:cubicBezTo>
                  <a:pt x="9043" y="6868"/>
                  <a:pt x="8854" y="7026"/>
                  <a:pt x="8665" y="7026"/>
                </a:cubicBezTo>
                <a:cubicBezTo>
                  <a:pt x="8476" y="7026"/>
                  <a:pt x="8224" y="6805"/>
                  <a:pt x="8224" y="6616"/>
                </a:cubicBezTo>
                <a:lnTo>
                  <a:pt x="8224" y="6333"/>
                </a:lnTo>
                <a:cubicBezTo>
                  <a:pt x="7751" y="6175"/>
                  <a:pt x="7405" y="5702"/>
                  <a:pt x="7405" y="5167"/>
                </a:cubicBezTo>
                <a:cubicBezTo>
                  <a:pt x="7405" y="4915"/>
                  <a:pt x="7594" y="4757"/>
                  <a:pt x="7783" y="4757"/>
                </a:cubicBezTo>
                <a:cubicBezTo>
                  <a:pt x="8003" y="4757"/>
                  <a:pt x="8192" y="4978"/>
                  <a:pt x="8192" y="5167"/>
                </a:cubicBezTo>
                <a:cubicBezTo>
                  <a:pt x="8192" y="5387"/>
                  <a:pt x="8381" y="5608"/>
                  <a:pt x="8633" y="5608"/>
                </a:cubicBezTo>
                <a:cubicBezTo>
                  <a:pt x="8854" y="5608"/>
                  <a:pt x="9011" y="5387"/>
                  <a:pt x="9011" y="5167"/>
                </a:cubicBezTo>
                <a:cubicBezTo>
                  <a:pt x="9011" y="4915"/>
                  <a:pt x="8696" y="4694"/>
                  <a:pt x="8350" y="4442"/>
                </a:cubicBezTo>
                <a:cubicBezTo>
                  <a:pt x="7909" y="4127"/>
                  <a:pt x="7373" y="3749"/>
                  <a:pt x="7373" y="3088"/>
                </a:cubicBezTo>
                <a:cubicBezTo>
                  <a:pt x="7373" y="2520"/>
                  <a:pt x="7720" y="2079"/>
                  <a:pt x="8192" y="1890"/>
                </a:cubicBezTo>
                <a:lnTo>
                  <a:pt x="8192" y="1607"/>
                </a:lnTo>
                <a:cubicBezTo>
                  <a:pt x="8192" y="1386"/>
                  <a:pt x="8381" y="1229"/>
                  <a:pt x="8633" y="1229"/>
                </a:cubicBezTo>
                <a:close/>
                <a:moveTo>
                  <a:pt x="6050" y="6616"/>
                </a:moveTo>
                <a:lnTo>
                  <a:pt x="5073" y="10239"/>
                </a:lnTo>
                <a:lnTo>
                  <a:pt x="4853" y="9388"/>
                </a:lnTo>
                <a:cubicBezTo>
                  <a:pt x="4793" y="9168"/>
                  <a:pt x="4617" y="9049"/>
                  <a:pt x="4433" y="9049"/>
                </a:cubicBezTo>
                <a:cubicBezTo>
                  <a:pt x="4328" y="9049"/>
                  <a:pt x="4220" y="9088"/>
                  <a:pt x="4128" y="9168"/>
                </a:cubicBezTo>
                <a:lnTo>
                  <a:pt x="1450" y="11846"/>
                </a:lnTo>
                <a:lnTo>
                  <a:pt x="852" y="11279"/>
                </a:lnTo>
                <a:lnTo>
                  <a:pt x="3530" y="8601"/>
                </a:lnTo>
                <a:cubicBezTo>
                  <a:pt x="3782" y="8349"/>
                  <a:pt x="3656" y="7939"/>
                  <a:pt x="3341" y="7876"/>
                </a:cubicBezTo>
                <a:lnTo>
                  <a:pt x="2490" y="7624"/>
                </a:lnTo>
                <a:lnTo>
                  <a:pt x="6050" y="6616"/>
                </a:lnTo>
                <a:close/>
                <a:moveTo>
                  <a:pt x="8665" y="0"/>
                </a:moveTo>
                <a:cubicBezTo>
                  <a:pt x="6365" y="0"/>
                  <a:pt x="4538" y="1859"/>
                  <a:pt x="4538" y="4127"/>
                </a:cubicBezTo>
                <a:cubicBezTo>
                  <a:pt x="4538" y="4852"/>
                  <a:pt x="4695" y="5513"/>
                  <a:pt x="5042" y="6112"/>
                </a:cubicBezTo>
                <a:lnTo>
                  <a:pt x="820" y="7341"/>
                </a:lnTo>
                <a:cubicBezTo>
                  <a:pt x="442" y="7435"/>
                  <a:pt x="442" y="8034"/>
                  <a:pt x="820" y="8128"/>
                </a:cubicBezTo>
                <a:lnTo>
                  <a:pt x="2490" y="8538"/>
                </a:lnTo>
                <a:lnTo>
                  <a:pt x="316" y="10712"/>
                </a:lnTo>
                <a:cubicBezTo>
                  <a:pt x="1" y="11027"/>
                  <a:pt x="1" y="11594"/>
                  <a:pt x="316" y="11909"/>
                </a:cubicBezTo>
                <a:lnTo>
                  <a:pt x="915" y="12476"/>
                </a:lnTo>
                <a:cubicBezTo>
                  <a:pt x="1072" y="12633"/>
                  <a:pt x="1285" y="12712"/>
                  <a:pt x="1497" y="12712"/>
                </a:cubicBezTo>
                <a:cubicBezTo>
                  <a:pt x="1710" y="12712"/>
                  <a:pt x="1923" y="12633"/>
                  <a:pt x="2080" y="12476"/>
                </a:cubicBezTo>
                <a:lnTo>
                  <a:pt x="4254" y="10334"/>
                </a:lnTo>
                <a:lnTo>
                  <a:pt x="4695" y="11972"/>
                </a:lnTo>
                <a:cubicBezTo>
                  <a:pt x="4759" y="12180"/>
                  <a:pt x="4930" y="12291"/>
                  <a:pt x="5098" y="12291"/>
                </a:cubicBezTo>
                <a:cubicBezTo>
                  <a:pt x="5261" y="12291"/>
                  <a:pt x="5421" y="12188"/>
                  <a:pt x="5483" y="11972"/>
                </a:cubicBezTo>
                <a:lnTo>
                  <a:pt x="6712" y="7750"/>
                </a:lnTo>
                <a:cubicBezTo>
                  <a:pt x="7279" y="8065"/>
                  <a:pt x="7972" y="8286"/>
                  <a:pt x="8665" y="8286"/>
                </a:cubicBezTo>
                <a:cubicBezTo>
                  <a:pt x="10965" y="8286"/>
                  <a:pt x="12792" y="6427"/>
                  <a:pt x="12792" y="4127"/>
                </a:cubicBezTo>
                <a:cubicBezTo>
                  <a:pt x="12760" y="1859"/>
                  <a:pt x="10902" y="0"/>
                  <a:pt x="8665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" name="Google Shape;7283;p63">
            <a:extLst>
              <a:ext uri="{FF2B5EF4-FFF2-40B4-BE49-F238E27FC236}">
                <a16:creationId xmlns:a16="http://schemas.microsoft.com/office/drawing/2014/main" id="{DE22BA46-88EC-C9EA-5136-222881588C9A}"/>
              </a:ext>
            </a:extLst>
          </p:cNvPr>
          <p:cNvSpPr/>
          <p:nvPr/>
        </p:nvSpPr>
        <p:spPr>
          <a:xfrm>
            <a:off x="7877188" y="927883"/>
            <a:ext cx="366335" cy="286155"/>
          </a:xfrm>
          <a:custGeom>
            <a:avLst/>
            <a:gdLst/>
            <a:ahLst/>
            <a:cxnLst/>
            <a:rect l="l" t="t" r="r" b="b"/>
            <a:pathLst>
              <a:path w="12665" h="9893" extrusionOk="0">
                <a:moveTo>
                  <a:pt x="8538" y="2458"/>
                </a:moveTo>
                <a:cubicBezTo>
                  <a:pt x="8758" y="2458"/>
                  <a:pt x="8916" y="2678"/>
                  <a:pt x="8916" y="2899"/>
                </a:cubicBezTo>
                <a:lnTo>
                  <a:pt x="8916" y="4569"/>
                </a:lnTo>
                <a:cubicBezTo>
                  <a:pt x="8916" y="4789"/>
                  <a:pt x="8727" y="4978"/>
                  <a:pt x="8538" y="4978"/>
                </a:cubicBezTo>
                <a:cubicBezTo>
                  <a:pt x="8349" y="4978"/>
                  <a:pt x="8128" y="4789"/>
                  <a:pt x="8128" y="4569"/>
                </a:cubicBezTo>
                <a:lnTo>
                  <a:pt x="8128" y="3875"/>
                </a:lnTo>
                <a:lnTo>
                  <a:pt x="6364" y="5671"/>
                </a:lnTo>
                <a:cubicBezTo>
                  <a:pt x="6285" y="5750"/>
                  <a:pt x="6175" y="5789"/>
                  <a:pt x="6065" y="5789"/>
                </a:cubicBezTo>
                <a:cubicBezTo>
                  <a:pt x="5954" y="5789"/>
                  <a:pt x="5844" y="5750"/>
                  <a:pt x="5765" y="5671"/>
                </a:cubicBezTo>
                <a:lnTo>
                  <a:pt x="5230" y="5104"/>
                </a:lnTo>
                <a:lnTo>
                  <a:pt x="3844" y="6490"/>
                </a:lnTo>
                <a:cubicBezTo>
                  <a:pt x="3765" y="6569"/>
                  <a:pt x="3655" y="6608"/>
                  <a:pt x="3544" y="6608"/>
                </a:cubicBezTo>
                <a:cubicBezTo>
                  <a:pt x="3434" y="6608"/>
                  <a:pt x="3324" y="6569"/>
                  <a:pt x="3245" y="6490"/>
                </a:cubicBezTo>
                <a:cubicBezTo>
                  <a:pt x="3087" y="6333"/>
                  <a:pt x="3087" y="6049"/>
                  <a:pt x="3245" y="5892"/>
                </a:cubicBezTo>
                <a:lnTo>
                  <a:pt x="4915" y="4254"/>
                </a:lnTo>
                <a:cubicBezTo>
                  <a:pt x="4994" y="4175"/>
                  <a:pt x="5104" y="4135"/>
                  <a:pt x="5214" y="4135"/>
                </a:cubicBezTo>
                <a:cubicBezTo>
                  <a:pt x="5324" y="4135"/>
                  <a:pt x="5435" y="4175"/>
                  <a:pt x="5513" y="4254"/>
                </a:cubicBezTo>
                <a:lnTo>
                  <a:pt x="6049" y="4789"/>
                </a:lnTo>
                <a:lnTo>
                  <a:pt x="7561" y="3308"/>
                </a:lnTo>
                <a:lnTo>
                  <a:pt x="6868" y="3308"/>
                </a:lnTo>
                <a:cubicBezTo>
                  <a:pt x="6648" y="3308"/>
                  <a:pt x="6490" y="3088"/>
                  <a:pt x="6490" y="2899"/>
                </a:cubicBezTo>
                <a:cubicBezTo>
                  <a:pt x="6490" y="2678"/>
                  <a:pt x="6679" y="2458"/>
                  <a:pt x="6868" y="2458"/>
                </a:cubicBezTo>
                <a:close/>
                <a:moveTo>
                  <a:pt x="11814" y="8255"/>
                </a:moveTo>
                <a:cubicBezTo>
                  <a:pt x="11814" y="8538"/>
                  <a:pt x="11877" y="9105"/>
                  <a:pt x="11405" y="9105"/>
                </a:cubicBezTo>
                <a:lnTo>
                  <a:pt x="1197" y="9105"/>
                </a:lnTo>
                <a:cubicBezTo>
                  <a:pt x="977" y="9105"/>
                  <a:pt x="788" y="8885"/>
                  <a:pt x="788" y="8664"/>
                </a:cubicBezTo>
                <a:lnTo>
                  <a:pt x="788" y="8255"/>
                </a:lnTo>
                <a:close/>
                <a:moveTo>
                  <a:pt x="2048" y="0"/>
                </a:moveTo>
                <a:cubicBezTo>
                  <a:pt x="1355" y="0"/>
                  <a:pt x="819" y="536"/>
                  <a:pt x="819" y="1229"/>
                </a:cubicBezTo>
                <a:lnTo>
                  <a:pt x="819" y="7435"/>
                </a:lnTo>
                <a:lnTo>
                  <a:pt x="410" y="7435"/>
                </a:lnTo>
                <a:cubicBezTo>
                  <a:pt x="189" y="7435"/>
                  <a:pt x="0" y="7625"/>
                  <a:pt x="0" y="7845"/>
                </a:cubicBezTo>
                <a:lnTo>
                  <a:pt x="0" y="8664"/>
                </a:lnTo>
                <a:cubicBezTo>
                  <a:pt x="0" y="9326"/>
                  <a:pt x="536" y="9893"/>
                  <a:pt x="1260" y="9893"/>
                </a:cubicBezTo>
                <a:lnTo>
                  <a:pt x="11436" y="9893"/>
                </a:lnTo>
                <a:cubicBezTo>
                  <a:pt x="12129" y="9893"/>
                  <a:pt x="12665" y="9326"/>
                  <a:pt x="12665" y="8664"/>
                </a:cubicBezTo>
                <a:lnTo>
                  <a:pt x="12665" y="7845"/>
                </a:lnTo>
                <a:cubicBezTo>
                  <a:pt x="12634" y="7593"/>
                  <a:pt x="12444" y="7435"/>
                  <a:pt x="12224" y="7435"/>
                </a:cubicBezTo>
                <a:lnTo>
                  <a:pt x="11814" y="7435"/>
                </a:lnTo>
                <a:lnTo>
                  <a:pt x="11814" y="1229"/>
                </a:lnTo>
                <a:cubicBezTo>
                  <a:pt x="11814" y="536"/>
                  <a:pt x="11247" y="0"/>
                  <a:pt x="10586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" name="Google Shape;7365;p63">
            <a:extLst>
              <a:ext uri="{FF2B5EF4-FFF2-40B4-BE49-F238E27FC236}">
                <a16:creationId xmlns:a16="http://schemas.microsoft.com/office/drawing/2014/main" id="{3DE9EFBF-1130-5800-B9DE-4BA993E1CF1B}"/>
              </a:ext>
            </a:extLst>
          </p:cNvPr>
          <p:cNvGrpSpPr/>
          <p:nvPr/>
        </p:nvGrpSpPr>
        <p:grpSpPr>
          <a:xfrm>
            <a:off x="2686673" y="868692"/>
            <a:ext cx="264318" cy="367289"/>
            <a:chOff x="-64001300" y="4093650"/>
            <a:chExt cx="228450" cy="317450"/>
          </a:xfrm>
        </p:grpSpPr>
        <p:sp>
          <p:nvSpPr>
            <p:cNvPr id="8" name="Google Shape;7366;p63">
              <a:extLst>
                <a:ext uri="{FF2B5EF4-FFF2-40B4-BE49-F238E27FC236}">
                  <a16:creationId xmlns:a16="http://schemas.microsoft.com/office/drawing/2014/main" id="{8475DF73-0F59-F7BC-A839-17F2F7EF5BFD}"/>
                </a:ext>
              </a:extLst>
            </p:cNvPr>
            <p:cNvSpPr/>
            <p:nvPr/>
          </p:nvSpPr>
          <p:spPr>
            <a:xfrm>
              <a:off x="-63933550" y="4328375"/>
              <a:ext cx="93750" cy="40975"/>
            </a:xfrm>
            <a:custGeom>
              <a:avLst/>
              <a:gdLst/>
              <a:ahLst/>
              <a:cxnLst/>
              <a:rect l="l" t="t" r="r" b="b"/>
              <a:pathLst>
                <a:path w="3750" h="1639" extrusionOk="0">
                  <a:moveTo>
                    <a:pt x="1859" y="0"/>
                  </a:moveTo>
                  <a:cubicBezTo>
                    <a:pt x="1009" y="0"/>
                    <a:pt x="315" y="662"/>
                    <a:pt x="0" y="1638"/>
                  </a:cubicBezTo>
                  <a:lnTo>
                    <a:pt x="3749" y="1638"/>
                  </a:lnTo>
                  <a:cubicBezTo>
                    <a:pt x="3434" y="662"/>
                    <a:pt x="2710" y="0"/>
                    <a:pt x="185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" name="Google Shape;7367;p63">
              <a:extLst>
                <a:ext uri="{FF2B5EF4-FFF2-40B4-BE49-F238E27FC236}">
                  <a16:creationId xmlns:a16="http://schemas.microsoft.com/office/drawing/2014/main" id="{F4A2D308-A93F-8C35-1F88-6D888B908C24}"/>
                </a:ext>
              </a:extLst>
            </p:cNvPr>
            <p:cNvSpPr/>
            <p:nvPr/>
          </p:nvSpPr>
          <p:spPr>
            <a:xfrm>
              <a:off x="-63980025" y="4135400"/>
              <a:ext cx="185900" cy="234725"/>
            </a:xfrm>
            <a:custGeom>
              <a:avLst/>
              <a:gdLst/>
              <a:ahLst/>
              <a:cxnLst/>
              <a:rect l="l" t="t" r="r" b="b"/>
              <a:pathLst>
                <a:path w="7436" h="9389" extrusionOk="0">
                  <a:moveTo>
                    <a:pt x="6617" y="1"/>
                  </a:moveTo>
                  <a:lnTo>
                    <a:pt x="6617" y="725"/>
                  </a:lnTo>
                  <a:cubicBezTo>
                    <a:pt x="6196" y="593"/>
                    <a:pt x="5771" y="530"/>
                    <a:pt x="5358" y="530"/>
                  </a:cubicBezTo>
                  <a:cubicBezTo>
                    <a:pt x="4686" y="530"/>
                    <a:pt x="4044" y="697"/>
                    <a:pt x="3498" y="1009"/>
                  </a:cubicBezTo>
                  <a:cubicBezTo>
                    <a:pt x="3103" y="1242"/>
                    <a:pt x="2617" y="1373"/>
                    <a:pt x="2085" y="1373"/>
                  </a:cubicBezTo>
                  <a:cubicBezTo>
                    <a:pt x="1683" y="1373"/>
                    <a:pt x="1254" y="1298"/>
                    <a:pt x="820" y="1135"/>
                  </a:cubicBezTo>
                  <a:lnTo>
                    <a:pt x="820" y="32"/>
                  </a:lnTo>
                  <a:lnTo>
                    <a:pt x="1" y="32"/>
                  </a:lnTo>
                  <a:lnTo>
                    <a:pt x="1" y="1418"/>
                  </a:lnTo>
                  <a:cubicBezTo>
                    <a:pt x="1" y="2867"/>
                    <a:pt x="820" y="4096"/>
                    <a:pt x="2017" y="4726"/>
                  </a:cubicBezTo>
                  <a:cubicBezTo>
                    <a:pt x="820" y="5356"/>
                    <a:pt x="1" y="6554"/>
                    <a:pt x="1" y="8034"/>
                  </a:cubicBezTo>
                  <a:lnTo>
                    <a:pt x="1" y="9389"/>
                  </a:lnTo>
                  <a:lnTo>
                    <a:pt x="820" y="9389"/>
                  </a:lnTo>
                  <a:lnTo>
                    <a:pt x="820" y="8034"/>
                  </a:lnTo>
                  <a:cubicBezTo>
                    <a:pt x="820" y="6396"/>
                    <a:pt x="2143" y="5104"/>
                    <a:pt x="3750" y="5104"/>
                  </a:cubicBezTo>
                  <a:cubicBezTo>
                    <a:pt x="5356" y="5104"/>
                    <a:pt x="6617" y="6396"/>
                    <a:pt x="6617" y="8034"/>
                  </a:cubicBezTo>
                  <a:lnTo>
                    <a:pt x="6617" y="9389"/>
                  </a:lnTo>
                  <a:lnTo>
                    <a:pt x="7436" y="9389"/>
                  </a:lnTo>
                  <a:lnTo>
                    <a:pt x="7436" y="9357"/>
                  </a:lnTo>
                  <a:lnTo>
                    <a:pt x="7436" y="7971"/>
                  </a:lnTo>
                  <a:cubicBezTo>
                    <a:pt x="7436" y="6522"/>
                    <a:pt x="6617" y="5293"/>
                    <a:pt x="5451" y="4663"/>
                  </a:cubicBezTo>
                  <a:cubicBezTo>
                    <a:pt x="6617" y="4033"/>
                    <a:pt x="7436" y="2836"/>
                    <a:pt x="7436" y="1355"/>
                  </a:cubicBezTo>
                  <a:lnTo>
                    <a:pt x="7436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7368;p63">
              <a:extLst>
                <a:ext uri="{FF2B5EF4-FFF2-40B4-BE49-F238E27FC236}">
                  <a16:creationId xmlns:a16="http://schemas.microsoft.com/office/drawing/2014/main" id="{251C2028-2F45-0B68-47D0-3EC7F11768CE}"/>
                </a:ext>
              </a:extLst>
            </p:cNvPr>
            <p:cNvSpPr/>
            <p:nvPr/>
          </p:nvSpPr>
          <p:spPr>
            <a:xfrm>
              <a:off x="-64001300" y="4389800"/>
              <a:ext cx="228450" cy="21300"/>
            </a:xfrm>
            <a:custGeom>
              <a:avLst/>
              <a:gdLst/>
              <a:ahLst/>
              <a:cxnLst/>
              <a:rect l="l" t="t" r="r" b="b"/>
              <a:pathLst>
                <a:path w="9138" h="852" extrusionOk="0">
                  <a:moveTo>
                    <a:pt x="411" y="1"/>
                  </a:moveTo>
                  <a:cubicBezTo>
                    <a:pt x="190" y="1"/>
                    <a:pt x="1" y="221"/>
                    <a:pt x="1" y="410"/>
                  </a:cubicBezTo>
                  <a:cubicBezTo>
                    <a:pt x="1" y="631"/>
                    <a:pt x="190" y="851"/>
                    <a:pt x="411" y="851"/>
                  </a:cubicBezTo>
                  <a:lnTo>
                    <a:pt x="8696" y="851"/>
                  </a:lnTo>
                  <a:cubicBezTo>
                    <a:pt x="8917" y="851"/>
                    <a:pt x="9074" y="631"/>
                    <a:pt x="9074" y="410"/>
                  </a:cubicBezTo>
                  <a:cubicBezTo>
                    <a:pt x="9137" y="221"/>
                    <a:pt x="8917" y="1"/>
                    <a:pt x="869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7369;p63">
              <a:extLst>
                <a:ext uri="{FF2B5EF4-FFF2-40B4-BE49-F238E27FC236}">
                  <a16:creationId xmlns:a16="http://schemas.microsoft.com/office/drawing/2014/main" id="{EB33DFE0-FD79-CCF9-AF9E-BDD754F1BCDF}"/>
                </a:ext>
              </a:extLst>
            </p:cNvPr>
            <p:cNvSpPr/>
            <p:nvPr/>
          </p:nvSpPr>
          <p:spPr>
            <a:xfrm>
              <a:off x="-64001300" y="4093650"/>
              <a:ext cx="226875" cy="20500"/>
            </a:xfrm>
            <a:custGeom>
              <a:avLst/>
              <a:gdLst/>
              <a:ahLst/>
              <a:cxnLst/>
              <a:rect l="l" t="t" r="r" b="b"/>
              <a:pathLst>
                <a:path w="9075" h="820" extrusionOk="0">
                  <a:moveTo>
                    <a:pt x="411" y="1"/>
                  </a:moveTo>
                  <a:cubicBezTo>
                    <a:pt x="190" y="1"/>
                    <a:pt x="1" y="190"/>
                    <a:pt x="1" y="410"/>
                  </a:cubicBezTo>
                  <a:cubicBezTo>
                    <a:pt x="32" y="631"/>
                    <a:pt x="190" y="820"/>
                    <a:pt x="411" y="820"/>
                  </a:cubicBezTo>
                  <a:lnTo>
                    <a:pt x="8696" y="820"/>
                  </a:lnTo>
                  <a:cubicBezTo>
                    <a:pt x="8917" y="820"/>
                    <a:pt x="9074" y="631"/>
                    <a:pt x="9074" y="410"/>
                  </a:cubicBezTo>
                  <a:cubicBezTo>
                    <a:pt x="9074" y="158"/>
                    <a:pt x="8885" y="1"/>
                    <a:pt x="869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2" name="Google Shape;1630;p44">
            <a:extLst>
              <a:ext uri="{FF2B5EF4-FFF2-40B4-BE49-F238E27FC236}">
                <a16:creationId xmlns:a16="http://schemas.microsoft.com/office/drawing/2014/main" id="{645F1C5A-FA58-65D9-B990-D6ED010A50EA}"/>
              </a:ext>
            </a:extLst>
          </p:cNvPr>
          <p:cNvSpPr txBox="1">
            <a:spLocks/>
          </p:cNvSpPr>
          <p:nvPr/>
        </p:nvSpPr>
        <p:spPr>
          <a:xfrm>
            <a:off x="435077" y="-24241"/>
            <a:ext cx="8318091" cy="573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pPr algn="ctr"/>
            <a:r>
              <a:rPr lang="en-US" sz="1800" dirty="0">
                <a:solidFill>
                  <a:schemeClr val="accent2"/>
                </a:solidFill>
              </a:rPr>
              <a:t>Clients Can Be Segmented Into Groups Based On Multiple Factors</a:t>
            </a:r>
          </a:p>
        </p:txBody>
      </p:sp>
    </p:spTree>
    <p:extLst>
      <p:ext uri="{BB962C8B-B14F-4D97-AF65-F5344CB8AC3E}">
        <p14:creationId xmlns:p14="http://schemas.microsoft.com/office/powerpoint/2010/main" val="10635330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7A90CED-A26D-EE3C-D1E0-6B7BEBBD1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A90CED-A26D-EE3C-D1E0-6B7BEBBD1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1630;p44">
            <a:extLst>
              <a:ext uri="{FF2B5EF4-FFF2-40B4-BE49-F238E27FC236}">
                <a16:creationId xmlns:a16="http://schemas.microsoft.com/office/drawing/2014/main" id="{645F1C5A-FA58-65D9-B990-D6ED010A50EA}"/>
              </a:ext>
            </a:extLst>
          </p:cNvPr>
          <p:cNvSpPr txBox="1">
            <a:spLocks/>
          </p:cNvSpPr>
          <p:nvPr/>
        </p:nvSpPr>
        <p:spPr>
          <a:xfrm>
            <a:off x="435077" y="-24241"/>
            <a:ext cx="8318091" cy="573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pPr algn="ctr"/>
            <a:r>
              <a:rPr lang="en-US" sz="1800">
                <a:solidFill>
                  <a:schemeClr val="accent2"/>
                </a:solidFill>
              </a:rPr>
              <a:t>3-Pronged Recommendation Strateg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CD185E2-C244-92C6-8862-4BFCB69C10F6}"/>
              </a:ext>
            </a:extLst>
          </p:cNvPr>
          <p:cNvGrpSpPr/>
          <p:nvPr/>
        </p:nvGrpSpPr>
        <p:grpSpPr>
          <a:xfrm>
            <a:off x="939981" y="1081560"/>
            <a:ext cx="7563952" cy="3478804"/>
            <a:chOff x="482781" y="1081560"/>
            <a:chExt cx="7563952" cy="3478804"/>
          </a:xfrm>
        </p:grpSpPr>
        <p:grpSp>
          <p:nvGrpSpPr>
            <p:cNvPr id="2" name="Google Shape;5776;p59">
              <a:extLst>
                <a:ext uri="{FF2B5EF4-FFF2-40B4-BE49-F238E27FC236}">
                  <a16:creationId xmlns:a16="http://schemas.microsoft.com/office/drawing/2014/main" id="{ED45B65F-8908-3A88-6C15-00F9996C790F}"/>
                </a:ext>
              </a:extLst>
            </p:cNvPr>
            <p:cNvGrpSpPr/>
            <p:nvPr/>
          </p:nvGrpSpPr>
          <p:grpSpPr>
            <a:xfrm>
              <a:off x="482781" y="1351024"/>
              <a:ext cx="862921" cy="3008365"/>
              <a:chOff x="6873385" y="832537"/>
              <a:chExt cx="862921" cy="3008365"/>
            </a:xfr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8" name="Google Shape;5780;p59">
                <a:extLst>
                  <a:ext uri="{FF2B5EF4-FFF2-40B4-BE49-F238E27FC236}">
                    <a16:creationId xmlns:a16="http://schemas.microsoft.com/office/drawing/2014/main" id="{51AA3D18-1D1F-B1DE-C3E6-5E6D99D7B4C1}"/>
                  </a:ext>
                </a:extLst>
              </p:cNvPr>
              <p:cNvGrpSpPr/>
              <p:nvPr/>
            </p:nvGrpSpPr>
            <p:grpSpPr>
              <a:xfrm>
                <a:off x="6938223" y="3467824"/>
                <a:ext cx="798083" cy="373078"/>
                <a:chOff x="6938223" y="3467824"/>
                <a:chExt cx="798083" cy="373078"/>
              </a:xfrm>
            </p:grpSpPr>
            <p:sp>
              <p:nvSpPr>
                <p:cNvPr id="26" name="Google Shape;5781;p59">
                  <a:extLst>
                    <a:ext uri="{FF2B5EF4-FFF2-40B4-BE49-F238E27FC236}">
                      <a16:creationId xmlns:a16="http://schemas.microsoft.com/office/drawing/2014/main" id="{9861C404-A37B-8B8B-2F2B-15C95AD8A37C}"/>
                    </a:ext>
                  </a:extLst>
                </p:cNvPr>
                <p:cNvSpPr/>
                <p:nvPr/>
              </p:nvSpPr>
              <p:spPr>
                <a:xfrm>
                  <a:off x="6938223" y="3467824"/>
                  <a:ext cx="749840" cy="3730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64" h="10331" extrusionOk="0">
                      <a:moveTo>
                        <a:pt x="10376" y="1"/>
                      </a:moveTo>
                      <a:lnTo>
                        <a:pt x="1" y="5028"/>
                      </a:lnTo>
                      <a:lnTo>
                        <a:pt x="10376" y="10331"/>
                      </a:lnTo>
                      <a:lnTo>
                        <a:pt x="20763" y="5028"/>
                      </a:lnTo>
                      <a:lnTo>
                        <a:pt x="10376" y="1"/>
                      </a:lnTo>
                      <a:close/>
                    </a:path>
                  </a:pathLst>
                </a:cu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7" name="Google Shape;5782;p59">
                  <a:extLst>
                    <a:ext uri="{FF2B5EF4-FFF2-40B4-BE49-F238E27FC236}">
                      <a16:creationId xmlns:a16="http://schemas.microsoft.com/office/drawing/2014/main" id="{F5F18059-D818-9B19-F015-95CC765B2903}"/>
                    </a:ext>
                  </a:extLst>
                </p:cNvPr>
                <p:cNvSpPr/>
                <p:nvPr/>
              </p:nvSpPr>
              <p:spPr>
                <a:xfrm>
                  <a:off x="7693549" y="3636180"/>
                  <a:ext cx="42757" cy="363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4" h="1007" extrusionOk="0">
                      <a:moveTo>
                        <a:pt x="513" y="0"/>
                      </a:moveTo>
                      <a:cubicBezTo>
                        <a:pt x="255" y="0"/>
                        <a:pt x="5" y="198"/>
                        <a:pt x="12" y="501"/>
                      </a:cubicBezTo>
                      <a:cubicBezTo>
                        <a:pt x="1" y="788"/>
                        <a:pt x="230" y="1006"/>
                        <a:pt x="506" y="1006"/>
                      </a:cubicBezTo>
                      <a:cubicBezTo>
                        <a:pt x="953" y="1006"/>
                        <a:pt x="1183" y="467"/>
                        <a:pt x="862" y="146"/>
                      </a:cubicBezTo>
                      <a:cubicBezTo>
                        <a:pt x="762" y="45"/>
                        <a:pt x="636" y="0"/>
                        <a:pt x="513" y="0"/>
                      </a:cubicBezTo>
                      <a:close/>
                    </a:path>
                  </a:pathLst>
                </a:cu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19" name="Google Shape;5783;p59">
                <a:extLst>
                  <a:ext uri="{FF2B5EF4-FFF2-40B4-BE49-F238E27FC236}">
                    <a16:creationId xmlns:a16="http://schemas.microsoft.com/office/drawing/2014/main" id="{2D264ACB-415E-A000-760A-BC8907C2FB6D}"/>
                  </a:ext>
                </a:extLst>
              </p:cNvPr>
              <p:cNvGrpSpPr/>
              <p:nvPr/>
            </p:nvGrpSpPr>
            <p:grpSpPr>
              <a:xfrm>
                <a:off x="6909491" y="2106030"/>
                <a:ext cx="799950" cy="373078"/>
                <a:chOff x="6909491" y="2106030"/>
                <a:chExt cx="799950" cy="373078"/>
              </a:xfrm>
            </p:grpSpPr>
            <p:sp>
              <p:nvSpPr>
                <p:cNvPr id="24" name="Google Shape;5784;p59">
                  <a:extLst>
                    <a:ext uri="{FF2B5EF4-FFF2-40B4-BE49-F238E27FC236}">
                      <a16:creationId xmlns:a16="http://schemas.microsoft.com/office/drawing/2014/main" id="{5B8C5990-EB25-E3EB-F380-E9266819C4CA}"/>
                    </a:ext>
                  </a:extLst>
                </p:cNvPr>
                <p:cNvSpPr/>
                <p:nvPr/>
              </p:nvSpPr>
              <p:spPr>
                <a:xfrm>
                  <a:off x="6909491" y="2106030"/>
                  <a:ext cx="749840" cy="3730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64" h="10331" extrusionOk="0">
                      <a:moveTo>
                        <a:pt x="10376" y="1"/>
                      </a:moveTo>
                      <a:lnTo>
                        <a:pt x="1" y="5028"/>
                      </a:lnTo>
                      <a:lnTo>
                        <a:pt x="10376" y="10331"/>
                      </a:lnTo>
                      <a:lnTo>
                        <a:pt x="20763" y="5028"/>
                      </a:lnTo>
                      <a:lnTo>
                        <a:pt x="10376" y="1"/>
                      </a:lnTo>
                      <a:close/>
                    </a:path>
                  </a:pathLst>
                </a:custGeom>
                <a:solidFill>
                  <a:srgbClr val="BAC8D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5" name="Google Shape;5785;p59">
                  <a:extLst>
                    <a:ext uri="{FF2B5EF4-FFF2-40B4-BE49-F238E27FC236}">
                      <a16:creationId xmlns:a16="http://schemas.microsoft.com/office/drawing/2014/main" id="{1E2398D2-8EEA-22F4-EACB-D5C7C6B3FA0C}"/>
                    </a:ext>
                  </a:extLst>
                </p:cNvPr>
                <p:cNvSpPr/>
                <p:nvPr/>
              </p:nvSpPr>
              <p:spPr>
                <a:xfrm>
                  <a:off x="7666684" y="2274386"/>
                  <a:ext cx="42757" cy="363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4" h="1007" extrusionOk="0">
                      <a:moveTo>
                        <a:pt x="513" y="0"/>
                      </a:moveTo>
                      <a:cubicBezTo>
                        <a:pt x="255" y="0"/>
                        <a:pt x="5" y="198"/>
                        <a:pt x="12" y="501"/>
                      </a:cubicBezTo>
                      <a:cubicBezTo>
                        <a:pt x="1" y="788"/>
                        <a:pt x="230" y="1006"/>
                        <a:pt x="506" y="1006"/>
                      </a:cubicBezTo>
                      <a:cubicBezTo>
                        <a:pt x="953" y="1006"/>
                        <a:pt x="1183" y="467"/>
                        <a:pt x="862" y="146"/>
                      </a:cubicBezTo>
                      <a:cubicBezTo>
                        <a:pt x="762" y="45"/>
                        <a:pt x="636" y="0"/>
                        <a:pt x="513" y="0"/>
                      </a:cubicBezTo>
                      <a:close/>
                    </a:path>
                  </a:pathLst>
                </a:custGeom>
                <a:solidFill>
                  <a:srgbClr val="BAC8D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20" name="Google Shape;5786;p59">
                <a:extLst>
                  <a:ext uri="{FF2B5EF4-FFF2-40B4-BE49-F238E27FC236}">
                    <a16:creationId xmlns:a16="http://schemas.microsoft.com/office/drawing/2014/main" id="{F219F6E3-FDC9-63BF-C46F-E1CD03A1F65B}"/>
                  </a:ext>
                </a:extLst>
              </p:cNvPr>
              <p:cNvGrpSpPr/>
              <p:nvPr/>
            </p:nvGrpSpPr>
            <p:grpSpPr>
              <a:xfrm>
                <a:off x="6873385" y="832537"/>
                <a:ext cx="807324" cy="373078"/>
                <a:chOff x="6873385" y="832537"/>
                <a:chExt cx="807324" cy="373078"/>
              </a:xfrm>
            </p:grpSpPr>
            <p:sp>
              <p:nvSpPr>
                <p:cNvPr id="21" name="Google Shape;5787;p59">
                  <a:extLst>
                    <a:ext uri="{FF2B5EF4-FFF2-40B4-BE49-F238E27FC236}">
                      <a16:creationId xmlns:a16="http://schemas.microsoft.com/office/drawing/2014/main" id="{E77CE2D4-89C4-BFA6-AC2C-9A2FE85E761B}"/>
                    </a:ext>
                  </a:extLst>
                </p:cNvPr>
                <p:cNvSpPr/>
                <p:nvPr/>
              </p:nvSpPr>
              <p:spPr>
                <a:xfrm>
                  <a:off x="6873385" y="832537"/>
                  <a:ext cx="749840" cy="3730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64" h="10331" extrusionOk="0">
                      <a:moveTo>
                        <a:pt x="10376" y="1"/>
                      </a:moveTo>
                      <a:lnTo>
                        <a:pt x="1" y="5028"/>
                      </a:lnTo>
                      <a:lnTo>
                        <a:pt x="10376" y="10331"/>
                      </a:lnTo>
                      <a:lnTo>
                        <a:pt x="20763" y="5028"/>
                      </a:lnTo>
                      <a:lnTo>
                        <a:pt x="10376" y="1"/>
                      </a:lnTo>
                      <a:close/>
                    </a:path>
                  </a:pathLst>
                </a:custGeom>
                <a:solidFill>
                  <a:srgbClr val="E3E9ED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3" name="Google Shape;5788;p59">
                  <a:extLst>
                    <a:ext uri="{FF2B5EF4-FFF2-40B4-BE49-F238E27FC236}">
                      <a16:creationId xmlns:a16="http://schemas.microsoft.com/office/drawing/2014/main" id="{54924CE3-F6D5-4C8C-75E9-CC4C736ED32B}"/>
                    </a:ext>
                  </a:extLst>
                </p:cNvPr>
                <p:cNvSpPr/>
                <p:nvPr/>
              </p:nvSpPr>
              <p:spPr>
                <a:xfrm>
                  <a:off x="7637952" y="1000893"/>
                  <a:ext cx="42757" cy="363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4" h="1007" extrusionOk="0">
                      <a:moveTo>
                        <a:pt x="513" y="0"/>
                      </a:moveTo>
                      <a:cubicBezTo>
                        <a:pt x="255" y="0"/>
                        <a:pt x="5" y="198"/>
                        <a:pt x="12" y="501"/>
                      </a:cubicBezTo>
                      <a:cubicBezTo>
                        <a:pt x="1" y="788"/>
                        <a:pt x="230" y="1006"/>
                        <a:pt x="506" y="1006"/>
                      </a:cubicBezTo>
                      <a:cubicBezTo>
                        <a:pt x="953" y="1006"/>
                        <a:pt x="1183" y="467"/>
                        <a:pt x="862" y="146"/>
                      </a:cubicBezTo>
                      <a:cubicBezTo>
                        <a:pt x="762" y="45"/>
                        <a:pt x="636" y="0"/>
                        <a:pt x="513" y="0"/>
                      </a:cubicBezTo>
                      <a:close/>
                    </a:path>
                  </a:pathLst>
                </a:custGeom>
                <a:solidFill>
                  <a:srgbClr val="E3E9ED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30" name="Google Shape;6578;p61">
              <a:extLst>
                <a:ext uri="{FF2B5EF4-FFF2-40B4-BE49-F238E27FC236}">
                  <a16:creationId xmlns:a16="http://schemas.microsoft.com/office/drawing/2014/main" id="{39951470-2420-B8E3-E8B7-406056EDDEBB}"/>
                </a:ext>
              </a:extLst>
            </p:cNvPr>
            <p:cNvGrpSpPr/>
            <p:nvPr/>
          </p:nvGrpSpPr>
          <p:grpSpPr>
            <a:xfrm>
              <a:off x="615895" y="1081560"/>
              <a:ext cx="481372" cy="468837"/>
              <a:chOff x="5049725" y="1435050"/>
              <a:chExt cx="486550" cy="481850"/>
            </a:xfr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grpSpPr>
          <p:sp>
            <p:nvSpPr>
              <p:cNvPr id="31" name="Google Shape;6579;p61">
                <a:extLst>
                  <a:ext uri="{FF2B5EF4-FFF2-40B4-BE49-F238E27FC236}">
                    <a16:creationId xmlns:a16="http://schemas.microsoft.com/office/drawing/2014/main" id="{D72CDC06-C746-489D-3FEB-F500C1EB7D73}"/>
                  </a:ext>
                </a:extLst>
              </p:cNvPr>
              <p:cNvSpPr/>
              <p:nvPr/>
            </p:nvSpPr>
            <p:spPr>
              <a:xfrm>
                <a:off x="5136300" y="1519775"/>
                <a:ext cx="310550" cy="310550"/>
              </a:xfrm>
              <a:custGeom>
                <a:avLst/>
                <a:gdLst/>
                <a:ahLst/>
                <a:cxnLst/>
                <a:rect l="l" t="t" r="r" b="b"/>
                <a:pathLst>
                  <a:path w="12422" h="12422" extrusionOk="0">
                    <a:moveTo>
                      <a:pt x="6209" y="1"/>
                    </a:moveTo>
                    <a:cubicBezTo>
                      <a:pt x="2786" y="1"/>
                      <a:pt x="0" y="2786"/>
                      <a:pt x="0" y="6213"/>
                    </a:cubicBezTo>
                    <a:cubicBezTo>
                      <a:pt x="0" y="9637"/>
                      <a:pt x="2786" y="12422"/>
                      <a:pt x="6209" y="12422"/>
                    </a:cubicBezTo>
                    <a:cubicBezTo>
                      <a:pt x="9636" y="12422"/>
                      <a:pt x="12422" y="9637"/>
                      <a:pt x="12422" y="6213"/>
                    </a:cubicBezTo>
                    <a:cubicBezTo>
                      <a:pt x="12422" y="5219"/>
                      <a:pt x="12160" y="4258"/>
                      <a:pt x="11711" y="3388"/>
                    </a:cubicBezTo>
                    <a:lnTo>
                      <a:pt x="11428" y="3388"/>
                    </a:lnTo>
                    <a:lnTo>
                      <a:pt x="10780" y="4036"/>
                    </a:lnTo>
                    <a:cubicBezTo>
                      <a:pt x="11112" y="4713"/>
                      <a:pt x="11286" y="5457"/>
                      <a:pt x="11292" y="6213"/>
                    </a:cubicBezTo>
                    <a:cubicBezTo>
                      <a:pt x="11292" y="9013"/>
                      <a:pt x="9010" y="11293"/>
                      <a:pt x="6209" y="11293"/>
                    </a:cubicBezTo>
                    <a:cubicBezTo>
                      <a:pt x="3409" y="11293"/>
                      <a:pt x="1129" y="9013"/>
                      <a:pt x="1129" y="6213"/>
                    </a:cubicBezTo>
                    <a:cubicBezTo>
                      <a:pt x="1129" y="3409"/>
                      <a:pt x="3409" y="1130"/>
                      <a:pt x="6209" y="1130"/>
                    </a:cubicBezTo>
                    <a:cubicBezTo>
                      <a:pt x="6965" y="1133"/>
                      <a:pt x="7709" y="1307"/>
                      <a:pt x="8387" y="1639"/>
                    </a:cubicBezTo>
                    <a:lnTo>
                      <a:pt x="9034" y="994"/>
                    </a:lnTo>
                    <a:lnTo>
                      <a:pt x="9034" y="708"/>
                    </a:lnTo>
                    <a:cubicBezTo>
                      <a:pt x="8164" y="260"/>
                      <a:pt x="7203" y="1"/>
                      <a:pt x="6209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435D74"/>
                  </a:solidFill>
                </a:endParaRPr>
              </a:p>
            </p:txBody>
          </p:sp>
          <p:sp>
            <p:nvSpPr>
              <p:cNvPr id="32" name="Google Shape;6580;p61">
                <a:extLst>
                  <a:ext uri="{FF2B5EF4-FFF2-40B4-BE49-F238E27FC236}">
                    <a16:creationId xmlns:a16="http://schemas.microsoft.com/office/drawing/2014/main" id="{FFAA0FA4-F3B8-F97F-75EE-BA226087C0CB}"/>
                  </a:ext>
                </a:extLst>
              </p:cNvPr>
              <p:cNvSpPr/>
              <p:nvPr/>
            </p:nvSpPr>
            <p:spPr>
              <a:xfrm>
                <a:off x="5184925" y="1576250"/>
                <a:ext cx="205475" cy="197625"/>
              </a:xfrm>
              <a:custGeom>
                <a:avLst/>
                <a:gdLst/>
                <a:ahLst/>
                <a:cxnLst/>
                <a:rect l="l" t="t" r="r" b="b"/>
                <a:pathLst>
                  <a:path w="8219" h="7905" extrusionOk="0">
                    <a:moveTo>
                      <a:pt x="4264" y="0"/>
                    </a:moveTo>
                    <a:cubicBezTo>
                      <a:pt x="2665" y="0"/>
                      <a:pt x="1226" y="964"/>
                      <a:pt x="612" y="2439"/>
                    </a:cubicBezTo>
                    <a:cubicBezTo>
                      <a:pt x="0" y="3918"/>
                      <a:pt x="341" y="5616"/>
                      <a:pt x="1470" y="6748"/>
                    </a:cubicBezTo>
                    <a:cubicBezTo>
                      <a:pt x="2225" y="7503"/>
                      <a:pt x="3236" y="7904"/>
                      <a:pt x="4264" y="7904"/>
                    </a:cubicBezTo>
                    <a:cubicBezTo>
                      <a:pt x="4774" y="7904"/>
                      <a:pt x="5287" y="7806"/>
                      <a:pt x="5776" y="7603"/>
                    </a:cubicBezTo>
                    <a:cubicBezTo>
                      <a:pt x="7255" y="6992"/>
                      <a:pt x="8218" y="5550"/>
                      <a:pt x="8218" y="3954"/>
                    </a:cubicBezTo>
                    <a:cubicBezTo>
                      <a:pt x="8212" y="3502"/>
                      <a:pt x="8131" y="3059"/>
                      <a:pt x="7974" y="2638"/>
                    </a:cubicBezTo>
                    <a:lnTo>
                      <a:pt x="7050" y="3565"/>
                    </a:lnTo>
                    <a:cubicBezTo>
                      <a:pt x="7071" y="3692"/>
                      <a:pt x="7083" y="3821"/>
                      <a:pt x="7089" y="3954"/>
                    </a:cubicBezTo>
                    <a:cubicBezTo>
                      <a:pt x="7089" y="5095"/>
                      <a:pt x="6399" y="6125"/>
                      <a:pt x="5345" y="6562"/>
                    </a:cubicBezTo>
                    <a:cubicBezTo>
                      <a:pt x="4996" y="6706"/>
                      <a:pt x="4629" y="6776"/>
                      <a:pt x="4265" y="6776"/>
                    </a:cubicBezTo>
                    <a:cubicBezTo>
                      <a:pt x="3530" y="6776"/>
                      <a:pt x="2808" y="6489"/>
                      <a:pt x="2268" y="5947"/>
                    </a:cubicBezTo>
                    <a:cubicBezTo>
                      <a:pt x="1461" y="5140"/>
                      <a:pt x="1220" y="3927"/>
                      <a:pt x="1657" y="2873"/>
                    </a:cubicBezTo>
                    <a:cubicBezTo>
                      <a:pt x="2093" y="1816"/>
                      <a:pt x="3123" y="1129"/>
                      <a:pt x="4264" y="1129"/>
                    </a:cubicBezTo>
                    <a:cubicBezTo>
                      <a:pt x="4394" y="1132"/>
                      <a:pt x="4523" y="1144"/>
                      <a:pt x="4653" y="1168"/>
                    </a:cubicBezTo>
                    <a:lnTo>
                      <a:pt x="5580" y="241"/>
                    </a:lnTo>
                    <a:cubicBezTo>
                      <a:pt x="5159" y="84"/>
                      <a:pt x="4713" y="3"/>
                      <a:pt x="4264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435D74"/>
                  </a:solidFill>
                </a:endParaRPr>
              </a:p>
            </p:txBody>
          </p:sp>
          <p:sp>
            <p:nvSpPr>
              <p:cNvPr id="33" name="Google Shape;6581;p61">
                <a:extLst>
                  <a:ext uri="{FF2B5EF4-FFF2-40B4-BE49-F238E27FC236}">
                    <a16:creationId xmlns:a16="http://schemas.microsoft.com/office/drawing/2014/main" id="{5A277DCC-E845-98A8-F2E9-9B70F42F71F8}"/>
                  </a:ext>
                </a:extLst>
              </p:cNvPr>
              <p:cNvSpPr/>
              <p:nvPr/>
            </p:nvSpPr>
            <p:spPr>
              <a:xfrm>
                <a:off x="5049725" y="1435075"/>
                <a:ext cx="481825" cy="481825"/>
              </a:xfrm>
              <a:custGeom>
                <a:avLst/>
                <a:gdLst/>
                <a:ahLst/>
                <a:cxnLst/>
                <a:rect l="l" t="t" r="r" b="b"/>
                <a:pathLst>
                  <a:path w="19273" h="19273" extrusionOk="0">
                    <a:moveTo>
                      <a:pt x="9672" y="1"/>
                    </a:moveTo>
                    <a:cubicBezTo>
                      <a:pt x="4379" y="1"/>
                      <a:pt x="0" y="4307"/>
                      <a:pt x="0" y="9601"/>
                    </a:cubicBezTo>
                    <a:cubicBezTo>
                      <a:pt x="0" y="14892"/>
                      <a:pt x="4379" y="19273"/>
                      <a:pt x="9672" y="19273"/>
                    </a:cubicBezTo>
                    <a:cubicBezTo>
                      <a:pt x="14966" y="19273"/>
                      <a:pt x="19272" y="14892"/>
                      <a:pt x="19272" y="9601"/>
                    </a:cubicBezTo>
                    <a:cubicBezTo>
                      <a:pt x="19269" y="8204"/>
                      <a:pt x="18962" y="6821"/>
                      <a:pt x="18369" y="5557"/>
                    </a:cubicBezTo>
                    <a:lnTo>
                      <a:pt x="17646" y="6279"/>
                    </a:lnTo>
                    <a:cubicBezTo>
                      <a:pt x="17327" y="6599"/>
                      <a:pt x="16896" y="6776"/>
                      <a:pt x="16448" y="6776"/>
                    </a:cubicBezTo>
                    <a:lnTo>
                      <a:pt x="16430" y="6776"/>
                    </a:lnTo>
                    <a:cubicBezTo>
                      <a:pt x="16809" y="7671"/>
                      <a:pt x="17008" y="8628"/>
                      <a:pt x="17014" y="9601"/>
                    </a:cubicBezTo>
                    <a:cubicBezTo>
                      <a:pt x="17014" y="13648"/>
                      <a:pt x="13720" y="16939"/>
                      <a:pt x="9672" y="16939"/>
                    </a:cubicBezTo>
                    <a:cubicBezTo>
                      <a:pt x="5625" y="16939"/>
                      <a:pt x="2334" y="13648"/>
                      <a:pt x="2334" y="9601"/>
                    </a:cubicBezTo>
                    <a:cubicBezTo>
                      <a:pt x="2334" y="5554"/>
                      <a:pt x="5625" y="2259"/>
                      <a:pt x="9672" y="2259"/>
                    </a:cubicBezTo>
                    <a:cubicBezTo>
                      <a:pt x="10642" y="2265"/>
                      <a:pt x="11603" y="2464"/>
                      <a:pt x="12497" y="2844"/>
                    </a:cubicBezTo>
                    <a:lnTo>
                      <a:pt x="12497" y="2825"/>
                    </a:lnTo>
                    <a:cubicBezTo>
                      <a:pt x="12494" y="2374"/>
                      <a:pt x="12672" y="1943"/>
                      <a:pt x="12991" y="1627"/>
                    </a:cubicBezTo>
                    <a:lnTo>
                      <a:pt x="13713" y="904"/>
                    </a:lnTo>
                    <a:cubicBezTo>
                      <a:pt x="12449" y="311"/>
                      <a:pt x="11070" y="4"/>
                      <a:pt x="9672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435D74"/>
                  </a:solidFill>
                </a:endParaRPr>
              </a:p>
            </p:txBody>
          </p:sp>
          <p:sp>
            <p:nvSpPr>
              <p:cNvPr id="34" name="Google Shape;6582;p61">
                <a:extLst>
                  <a:ext uri="{FF2B5EF4-FFF2-40B4-BE49-F238E27FC236}">
                    <a16:creationId xmlns:a16="http://schemas.microsoft.com/office/drawing/2014/main" id="{85EB5068-9FB6-F770-9C4D-4D711620FBA4}"/>
                  </a:ext>
                </a:extLst>
              </p:cNvPr>
              <p:cNvSpPr/>
              <p:nvPr/>
            </p:nvSpPr>
            <p:spPr>
              <a:xfrm>
                <a:off x="5245825" y="1435050"/>
                <a:ext cx="290450" cy="282350"/>
              </a:xfrm>
              <a:custGeom>
                <a:avLst/>
                <a:gdLst/>
                <a:ahLst/>
                <a:cxnLst/>
                <a:rect l="l" t="t" r="r" b="b"/>
                <a:pathLst>
                  <a:path w="11618" h="11294" extrusionOk="0">
                    <a:moveTo>
                      <a:pt x="8601" y="1"/>
                    </a:moveTo>
                    <a:cubicBezTo>
                      <a:pt x="8461" y="1"/>
                      <a:pt x="8319" y="52"/>
                      <a:pt x="8203" y="168"/>
                    </a:cubicBezTo>
                    <a:lnTo>
                      <a:pt x="5945" y="2426"/>
                    </a:lnTo>
                    <a:cubicBezTo>
                      <a:pt x="5839" y="2531"/>
                      <a:pt x="5779" y="2676"/>
                      <a:pt x="5782" y="2826"/>
                    </a:cubicBezTo>
                    <a:lnTo>
                      <a:pt x="5782" y="4850"/>
                    </a:lnTo>
                    <a:lnTo>
                      <a:pt x="2554" y="8075"/>
                    </a:lnTo>
                    <a:cubicBezTo>
                      <a:pt x="2328" y="7967"/>
                      <a:pt x="2081" y="7906"/>
                      <a:pt x="1828" y="7906"/>
                    </a:cubicBezTo>
                    <a:cubicBezTo>
                      <a:pt x="1142" y="7906"/>
                      <a:pt x="525" y="8319"/>
                      <a:pt x="263" y="8951"/>
                    </a:cubicBezTo>
                    <a:cubicBezTo>
                      <a:pt x="1" y="9584"/>
                      <a:pt x="145" y="10312"/>
                      <a:pt x="630" y="10797"/>
                    </a:cubicBezTo>
                    <a:cubicBezTo>
                      <a:pt x="954" y="11122"/>
                      <a:pt x="1388" y="11294"/>
                      <a:pt x="1828" y="11294"/>
                    </a:cubicBezTo>
                    <a:cubicBezTo>
                      <a:pt x="2046" y="11294"/>
                      <a:pt x="2266" y="11251"/>
                      <a:pt x="2476" y="11165"/>
                    </a:cubicBezTo>
                    <a:cubicBezTo>
                      <a:pt x="3108" y="10903"/>
                      <a:pt x="3524" y="10285"/>
                      <a:pt x="3524" y="9602"/>
                    </a:cubicBezTo>
                    <a:cubicBezTo>
                      <a:pt x="3521" y="9349"/>
                      <a:pt x="3463" y="9102"/>
                      <a:pt x="3352" y="8876"/>
                    </a:cubicBezTo>
                    <a:lnTo>
                      <a:pt x="6580" y="5648"/>
                    </a:lnTo>
                    <a:lnTo>
                      <a:pt x="8604" y="5648"/>
                    </a:lnTo>
                    <a:cubicBezTo>
                      <a:pt x="8754" y="5648"/>
                      <a:pt x="8896" y="5588"/>
                      <a:pt x="9004" y="5482"/>
                    </a:cubicBezTo>
                    <a:lnTo>
                      <a:pt x="11263" y="3224"/>
                    </a:lnTo>
                    <a:cubicBezTo>
                      <a:pt x="11618" y="2869"/>
                      <a:pt x="11365" y="2260"/>
                      <a:pt x="10862" y="2260"/>
                    </a:cubicBezTo>
                    <a:lnTo>
                      <a:pt x="9170" y="2260"/>
                    </a:lnTo>
                    <a:lnTo>
                      <a:pt x="9170" y="568"/>
                    </a:lnTo>
                    <a:cubicBezTo>
                      <a:pt x="9170" y="226"/>
                      <a:pt x="8892" y="1"/>
                      <a:pt x="8601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435D74"/>
                  </a:solidFill>
                </a:endParaRPr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8933F5D9-3B0C-97EC-E4EC-42398B407A63}"/>
                </a:ext>
              </a:extLst>
            </p:cNvPr>
            <p:cNvSpPr txBox="1"/>
            <p:nvPr/>
          </p:nvSpPr>
          <p:spPr>
            <a:xfrm>
              <a:off x="1370695" y="1315979"/>
              <a:ext cx="667603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latin typeface="Poppins" panose="00000500000000000000" pitchFamily="2" charset="0"/>
                  <a:cs typeface="Poppins" panose="00000500000000000000" pitchFamily="2" charset="0"/>
                </a:rPr>
                <a:t>Focus on Existing Customers:</a:t>
              </a:r>
              <a:r>
                <a:rPr lang="en-US" dirty="0">
                  <a:latin typeface="Poppins" panose="00000500000000000000" pitchFamily="2" charset="0"/>
                  <a:cs typeface="Poppins" panose="00000500000000000000" pitchFamily="2" charset="0"/>
                </a:rPr>
                <a:t> Higher Average Subscription Rate achieved with lesser number of contacts and lower avg call duration. 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E05E04F-3F4C-5F4A-A2DD-5DAFC25EF361}"/>
                </a:ext>
              </a:extLst>
            </p:cNvPr>
            <p:cNvSpPr txBox="1"/>
            <p:nvPr/>
          </p:nvSpPr>
          <p:spPr>
            <a:xfrm>
              <a:off x="1370695" y="2567628"/>
              <a:ext cx="667603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latin typeface="Poppins" panose="00000500000000000000" pitchFamily="2" charset="0"/>
                  <a:cs typeface="Poppins" panose="00000500000000000000" pitchFamily="2" charset="0"/>
                </a:rPr>
                <a:t>Quality over Quantity:</a:t>
              </a:r>
              <a:r>
                <a:rPr lang="en-US" dirty="0">
                  <a:latin typeface="Poppins" panose="00000500000000000000" pitchFamily="2" charset="0"/>
                  <a:cs typeface="Poppins" panose="00000500000000000000" pitchFamily="2" charset="0"/>
                </a:rPr>
                <a:t> Invest in effective sales pitches and infographics to convince new customers with most relevant and personalized information. 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B96FC44-9865-B443-5299-4C4A170433BC}"/>
                </a:ext>
              </a:extLst>
            </p:cNvPr>
            <p:cNvSpPr txBox="1"/>
            <p:nvPr/>
          </p:nvSpPr>
          <p:spPr>
            <a:xfrm>
              <a:off x="1370695" y="3821700"/>
              <a:ext cx="667603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latin typeface="Poppins" panose="00000500000000000000" pitchFamily="2" charset="0"/>
                  <a:cs typeface="Poppins" panose="00000500000000000000" pitchFamily="2" charset="0"/>
                </a:rPr>
                <a:t>Frequent Customer Contact:</a:t>
              </a:r>
              <a:r>
                <a:rPr lang="en-US" dirty="0">
                  <a:latin typeface="Poppins" panose="00000500000000000000" pitchFamily="2" charset="0"/>
                  <a:cs typeface="Poppins" panose="00000500000000000000" pitchFamily="2" charset="0"/>
                </a:rPr>
                <a:t> Stay in touch with interested customers as they have a relatively higher likely likelihood of subscribing. Don’t let the trail go cold. </a:t>
              </a:r>
            </a:p>
          </p:txBody>
        </p:sp>
        <p:pic>
          <p:nvPicPr>
            <p:cNvPr id="39" name="Graphic 38" descr="Call center with solid fill">
              <a:extLst>
                <a:ext uri="{FF2B5EF4-FFF2-40B4-BE49-F238E27FC236}">
                  <a16:creationId xmlns:a16="http://schemas.microsoft.com/office/drawing/2014/main" id="{981F640E-CBC9-ABE9-A0C8-C33CAF0812C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01833" y="2256700"/>
              <a:ext cx="583948" cy="583948"/>
            </a:xfrm>
            <a:prstGeom prst="rect">
              <a:avLst/>
            </a:prstGeom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5" name="Graphic 4" descr="Handshake with solid fill">
            <a:extLst>
              <a:ext uri="{FF2B5EF4-FFF2-40B4-BE49-F238E27FC236}">
                <a16:creationId xmlns:a16="http://schemas.microsoft.com/office/drawing/2014/main" id="{86873A8C-DAEF-71FB-3509-75E47C4060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0331" y="3624469"/>
            <a:ext cx="687318" cy="68731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64032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1" name="Google Shape;871;p33"/>
          <p:cNvSpPr txBox="1">
            <a:spLocks noGrp="1"/>
          </p:cNvSpPr>
          <p:nvPr>
            <p:ph type="title"/>
          </p:nvPr>
        </p:nvSpPr>
        <p:spPr>
          <a:xfrm>
            <a:off x="3697353" y="2456343"/>
            <a:ext cx="4355700" cy="1759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nclusion</a:t>
            </a:r>
            <a:endParaRPr/>
          </a:p>
        </p:txBody>
      </p:sp>
      <p:sp>
        <p:nvSpPr>
          <p:cNvPr id="872" name="Google Shape;872;p33"/>
          <p:cNvSpPr txBox="1">
            <a:spLocks noGrp="1"/>
          </p:cNvSpPr>
          <p:nvPr>
            <p:ph type="title" idx="2"/>
          </p:nvPr>
        </p:nvSpPr>
        <p:spPr>
          <a:xfrm>
            <a:off x="5060553" y="940516"/>
            <a:ext cx="1629300" cy="147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6</a:t>
            </a:r>
            <a:endParaRPr/>
          </a:p>
        </p:txBody>
      </p:sp>
      <p:grpSp>
        <p:nvGrpSpPr>
          <p:cNvPr id="873" name="Google Shape;873;p33"/>
          <p:cNvGrpSpPr/>
          <p:nvPr/>
        </p:nvGrpSpPr>
        <p:grpSpPr>
          <a:xfrm>
            <a:off x="351435" y="412016"/>
            <a:ext cx="1301097" cy="1072159"/>
            <a:chOff x="8077428" y="4048214"/>
            <a:chExt cx="933690" cy="788700"/>
          </a:xfrm>
        </p:grpSpPr>
        <p:sp>
          <p:nvSpPr>
            <p:cNvPr id="874" name="Google Shape;874;p33"/>
            <p:cNvSpPr/>
            <p:nvPr/>
          </p:nvSpPr>
          <p:spPr>
            <a:xfrm>
              <a:off x="8077428" y="4048214"/>
              <a:ext cx="235200" cy="7887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3"/>
            <p:cNvSpPr/>
            <p:nvPr/>
          </p:nvSpPr>
          <p:spPr>
            <a:xfrm>
              <a:off x="8426673" y="4191843"/>
              <a:ext cx="235200" cy="6450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6" name="Google Shape;876;p33"/>
            <p:cNvSpPr/>
            <p:nvPr/>
          </p:nvSpPr>
          <p:spPr>
            <a:xfrm>
              <a:off x="8775917" y="4392244"/>
              <a:ext cx="235200" cy="4446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77" name="Google Shape;877;p33"/>
          <p:cNvSpPr/>
          <p:nvPr/>
        </p:nvSpPr>
        <p:spPr>
          <a:xfrm>
            <a:off x="2968436" y="184686"/>
            <a:ext cx="140400" cy="1404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8" name="Google Shape;878;p33"/>
          <p:cNvSpPr/>
          <p:nvPr/>
        </p:nvSpPr>
        <p:spPr>
          <a:xfrm>
            <a:off x="211023" y="3265896"/>
            <a:ext cx="140400" cy="140400"/>
          </a:xfrm>
          <a:prstGeom prst="ellipse">
            <a:avLst/>
          </a:prstGeom>
          <a:solidFill>
            <a:srgbClr val="000000">
              <a:alpha val="12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79" name="Google Shape;879;p33"/>
          <p:cNvGrpSpPr/>
          <p:nvPr/>
        </p:nvGrpSpPr>
        <p:grpSpPr>
          <a:xfrm>
            <a:off x="351416" y="3830928"/>
            <a:ext cx="1133720" cy="1133717"/>
            <a:chOff x="10173800" y="2018150"/>
            <a:chExt cx="1448103" cy="1448100"/>
          </a:xfrm>
        </p:grpSpPr>
        <p:sp>
          <p:nvSpPr>
            <p:cNvPr id="880" name="Google Shape;880;p33"/>
            <p:cNvSpPr/>
            <p:nvPr/>
          </p:nvSpPr>
          <p:spPr>
            <a:xfrm>
              <a:off x="10173800" y="2018150"/>
              <a:ext cx="1448100" cy="1448100"/>
            </a:xfrm>
            <a:prstGeom prst="donut">
              <a:avLst>
                <a:gd name="adj" fmla="val 20968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" name="Google Shape;881;p33"/>
            <p:cNvSpPr/>
            <p:nvPr/>
          </p:nvSpPr>
          <p:spPr>
            <a:xfrm flipH="1">
              <a:off x="10173803" y="2018150"/>
              <a:ext cx="1448100" cy="1448100"/>
            </a:xfrm>
            <a:prstGeom prst="blockArc">
              <a:avLst>
                <a:gd name="adj1" fmla="val 10800000"/>
                <a:gd name="adj2" fmla="val 16161326"/>
                <a:gd name="adj3" fmla="val 20401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82" name="Google Shape;882;p33"/>
          <p:cNvSpPr/>
          <p:nvPr/>
        </p:nvSpPr>
        <p:spPr>
          <a:xfrm>
            <a:off x="2796527" y="2380950"/>
            <a:ext cx="171900" cy="148500"/>
          </a:xfrm>
          <a:prstGeom prst="triangle">
            <a:avLst>
              <a:gd name="adj" fmla="val 5000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3" name="Google Shape;883;p33"/>
          <p:cNvGrpSpPr/>
          <p:nvPr/>
        </p:nvGrpSpPr>
        <p:grpSpPr>
          <a:xfrm>
            <a:off x="1652514" y="3242074"/>
            <a:ext cx="1226117" cy="958679"/>
            <a:chOff x="1477660" y="1834701"/>
            <a:chExt cx="546593" cy="427390"/>
          </a:xfrm>
        </p:grpSpPr>
        <p:sp>
          <p:nvSpPr>
            <p:cNvPr id="884" name="Google Shape;884;p33"/>
            <p:cNvSpPr/>
            <p:nvPr/>
          </p:nvSpPr>
          <p:spPr>
            <a:xfrm>
              <a:off x="1542984" y="2006268"/>
              <a:ext cx="399412" cy="255824"/>
            </a:xfrm>
            <a:custGeom>
              <a:avLst/>
              <a:gdLst/>
              <a:ahLst/>
              <a:cxnLst/>
              <a:rect l="l" t="t" r="r" b="b"/>
              <a:pathLst>
                <a:path w="11433" h="6590" extrusionOk="0">
                  <a:moveTo>
                    <a:pt x="34" y="0"/>
                  </a:moveTo>
                  <a:cubicBezTo>
                    <a:pt x="12" y="113"/>
                    <a:pt x="0" y="225"/>
                    <a:pt x="0" y="349"/>
                  </a:cubicBezTo>
                  <a:cubicBezTo>
                    <a:pt x="0" y="428"/>
                    <a:pt x="0" y="496"/>
                    <a:pt x="12" y="575"/>
                  </a:cubicBezTo>
                  <a:lnTo>
                    <a:pt x="0" y="1239"/>
                  </a:lnTo>
                  <a:cubicBezTo>
                    <a:pt x="0" y="1284"/>
                    <a:pt x="0" y="1340"/>
                    <a:pt x="0" y="1386"/>
                  </a:cubicBezTo>
                  <a:cubicBezTo>
                    <a:pt x="0" y="1543"/>
                    <a:pt x="23" y="1690"/>
                    <a:pt x="57" y="1825"/>
                  </a:cubicBezTo>
                  <a:cubicBezTo>
                    <a:pt x="124" y="2039"/>
                    <a:pt x="226" y="2230"/>
                    <a:pt x="361" y="2410"/>
                  </a:cubicBezTo>
                  <a:cubicBezTo>
                    <a:pt x="372" y="2422"/>
                    <a:pt x="383" y="2433"/>
                    <a:pt x="395" y="2456"/>
                  </a:cubicBezTo>
                  <a:cubicBezTo>
                    <a:pt x="575" y="2681"/>
                    <a:pt x="823" y="2884"/>
                    <a:pt x="1115" y="3052"/>
                  </a:cubicBezTo>
                  <a:cubicBezTo>
                    <a:pt x="1138" y="3075"/>
                    <a:pt x="1172" y="3086"/>
                    <a:pt x="1194" y="3109"/>
                  </a:cubicBezTo>
                  <a:cubicBezTo>
                    <a:pt x="1735" y="3402"/>
                    <a:pt x="2433" y="3582"/>
                    <a:pt x="3177" y="3582"/>
                  </a:cubicBezTo>
                  <a:cubicBezTo>
                    <a:pt x="3931" y="3582"/>
                    <a:pt x="4551" y="3424"/>
                    <a:pt x="5091" y="3143"/>
                  </a:cubicBezTo>
                  <a:lnTo>
                    <a:pt x="5091" y="3143"/>
                  </a:lnTo>
                  <a:cubicBezTo>
                    <a:pt x="5080" y="3210"/>
                    <a:pt x="5069" y="3278"/>
                    <a:pt x="5069" y="3345"/>
                  </a:cubicBezTo>
                  <a:cubicBezTo>
                    <a:pt x="5069" y="3424"/>
                    <a:pt x="5080" y="3503"/>
                    <a:pt x="5091" y="3582"/>
                  </a:cubicBezTo>
                  <a:lnTo>
                    <a:pt x="5080" y="4246"/>
                  </a:lnTo>
                  <a:cubicBezTo>
                    <a:pt x="5080" y="4291"/>
                    <a:pt x="5069" y="4336"/>
                    <a:pt x="5069" y="4393"/>
                  </a:cubicBezTo>
                  <a:cubicBezTo>
                    <a:pt x="5069" y="4652"/>
                    <a:pt x="5136" y="4911"/>
                    <a:pt x="5260" y="5147"/>
                  </a:cubicBezTo>
                  <a:cubicBezTo>
                    <a:pt x="5283" y="5181"/>
                    <a:pt x="5305" y="5215"/>
                    <a:pt x="5317" y="5249"/>
                  </a:cubicBezTo>
                  <a:cubicBezTo>
                    <a:pt x="5362" y="5305"/>
                    <a:pt x="5407" y="5373"/>
                    <a:pt x="5452" y="5440"/>
                  </a:cubicBezTo>
                  <a:cubicBezTo>
                    <a:pt x="5486" y="5463"/>
                    <a:pt x="5508" y="5497"/>
                    <a:pt x="5531" y="5530"/>
                  </a:cubicBezTo>
                  <a:cubicBezTo>
                    <a:pt x="5610" y="5620"/>
                    <a:pt x="5700" y="5711"/>
                    <a:pt x="5801" y="5789"/>
                  </a:cubicBezTo>
                  <a:cubicBezTo>
                    <a:pt x="5835" y="5812"/>
                    <a:pt x="5869" y="5846"/>
                    <a:pt x="5902" y="5868"/>
                  </a:cubicBezTo>
                  <a:cubicBezTo>
                    <a:pt x="6477" y="6308"/>
                    <a:pt x="7322" y="6589"/>
                    <a:pt x="8256" y="6589"/>
                  </a:cubicBezTo>
                  <a:cubicBezTo>
                    <a:pt x="9191" y="6589"/>
                    <a:pt x="9980" y="6319"/>
                    <a:pt x="10565" y="5902"/>
                  </a:cubicBezTo>
                  <a:cubicBezTo>
                    <a:pt x="10610" y="5868"/>
                    <a:pt x="10655" y="5823"/>
                    <a:pt x="10701" y="5789"/>
                  </a:cubicBezTo>
                  <a:cubicBezTo>
                    <a:pt x="10802" y="5711"/>
                    <a:pt x="10892" y="5620"/>
                    <a:pt x="10971" y="5530"/>
                  </a:cubicBezTo>
                  <a:cubicBezTo>
                    <a:pt x="11016" y="5485"/>
                    <a:pt x="11050" y="5429"/>
                    <a:pt x="11083" y="5384"/>
                  </a:cubicBezTo>
                  <a:cubicBezTo>
                    <a:pt x="11117" y="5339"/>
                    <a:pt x="11151" y="5294"/>
                    <a:pt x="11185" y="5249"/>
                  </a:cubicBezTo>
                  <a:cubicBezTo>
                    <a:pt x="11196" y="5215"/>
                    <a:pt x="11219" y="5181"/>
                    <a:pt x="11241" y="5147"/>
                  </a:cubicBezTo>
                  <a:cubicBezTo>
                    <a:pt x="11365" y="4911"/>
                    <a:pt x="11433" y="4652"/>
                    <a:pt x="11433" y="4393"/>
                  </a:cubicBezTo>
                  <a:lnTo>
                    <a:pt x="11433" y="4122"/>
                  </a:lnTo>
                  <a:cubicBezTo>
                    <a:pt x="11286" y="4077"/>
                    <a:pt x="11151" y="4021"/>
                    <a:pt x="11027" y="3965"/>
                  </a:cubicBezTo>
                  <a:cubicBezTo>
                    <a:pt x="10881" y="3897"/>
                    <a:pt x="10723" y="3830"/>
                    <a:pt x="10577" y="3762"/>
                  </a:cubicBezTo>
                  <a:cubicBezTo>
                    <a:pt x="10543" y="3740"/>
                    <a:pt x="10498" y="3728"/>
                    <a:pt x="10441" y="3706"/>
                  </a:cubicBezTo>
                  <a:cubicBezTo>
                    <a:pt x="10205" y="3604"/>
                    <a:pt x="9957" y="3514"/>
                    <a:pt x="9721" y="3413"/>
                  </a:cubicBezTo>
                  <a:cubicBezTo>
                    <a:pt x="9022" y="3131"/>
                    <a:pt x="8324" y="2838"/>
                    <a:pt x="7648" y="2512"/>
                  </a:cubicBezTo>
                  <a:cubicBezTo>
                    <a:pt x="6578" y="1994"/>
                    <a:pt x="5553" y="1374"/>
                    <a:pt x="4528" y="777"/>
                  </a:cubicBezTo>
                  <a:cubicBezTo>
                    <a:pt x="4100" y="529"/>
                    <a:pt x="3672" y="270"/>
                    <a:pt x="3267" y="0"/>
                  </a:cubicBezTo>
                  <a:close/>
                </a:path>
              </a:pathLst>
            </a:cu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3"/>
            <p:cNvSpPr/>
            <p:nvPr/>
          </p:nvSpPr>
          <p:spPr>
            <a:xfrm>
              <a:off x="1542986" y="1962978"/>
              <a:ext cx="222361" cy="153469"/>
            </a:xfrm>
            <a:custGeom>
              <a:avLst/>
              <a:gdLst/>
              <a:ahLst/>
              <a:cxnLst/>
              <a:rect l="l" t="t" r="r" b="b"/>
              <a:pathLst>
                <a:path w="6365" h="4393" extrusionOk="0">
                  <a:moveTo>
                    <a:pt x="3188" y="0"/>
                  </a:moveTo>
                  <a:cubicBezTo>
                    <a:pt x="1971" y="0"/>
                    <a:pt x="924" y="462"/>
                    <a:pt x="383" y="1149"/>
                  </a:cubicBezTo>
                  <a:lnTo>
                    <a:pt x="23" y="1149"/>
                  </a:lnTo>
                  <a:lnTo>
                    <a:pt x="12" y="2106"/>
                  </a:lnTo>
                  <a:cubicBezTo>
                    <a:pt x="12" y="2129"/>
                    <a:pt x="0" y="2163"/>
                    <a:pt x="0" y="2197"/>
                  </a:cubicBezTo>
                  <a:cubicBezTo>
                    <a:pt x="0" y="3413"/>
                    <a:pt x="1431" y="4393"/>
                    <a:pt x="3188" y="4393"/>
                  </a:cubicBezTo>
                  <a:cubicBezTo>
                    <a:pt x="4945" y="4393"/>
                    <a:pt x="6364" y="3413"/>
                    <a:pt x="6364" y="2197"/>
                  </a:cubicBezTo>
                  <a:lnTo>
                    <a:pt x="6364" y="1149"/>
                  </a:lnTo>
                  <a:lnTo>
                    <a:pt x="5981" y="1149"/>
                  </a:lnTo>
                  <a:cubicBezTo>
                    <a:pt x="5452" y="462"/>
                    <a:pt x="4393" y="0"/>
                    <a:pt x="3188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3"/>
            <p:cNvSpPr/>
            <p:nvPr/>
          </p:nvSpPr>
          <p:spPr>
            <a:xfrm>
              <a:off x="1542986" y="1962559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extrusionOk="0">
                  <a:moveTo>
                    <a:pt x="3177" y="1"/>
                  </a:moveTo>
                  <a:cubicBezTo>
                    <a:pt x="1431" y="1"/>
                    <a:pt x="0" y="992"/>
                    <a:pt x="0" y="2209"/>
                  </a:cubicBezTo>
                  <a:cubicBezTo>
                    <a:pt x="0" y="3425"/>
                    <a:pt x="1431" y="4405"/>
                    <a:pt x="3177" y="4405"/>
                  </a:cubicBezTo>
                  <a:cubicBezTo>
                    <a:pt x="4934" y="4405"/>
                    <a:pt x="6364" y="3425"/>
                    <a:pt x="6364" y="2209"/>
                  </a:cubicBezTo>
                  <a:cubicBezTo>
                    <a:pt x="6364" y="992"/>
                    <a:pt x="4934" y="1"/>
                    <a:pt x="31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3"/>
            <p:cNvSpPr/>
            <p:nvPr/>
          </p:nvSpPr>
          <p:spPr>
            <a:xfrm>
              <a:off x="1542986" y="1962978"/>
              <a:ext cx="222361" cy="153469"/>
            </a:xfrm>
            <a:custGeom>
              <a:avLst/>
              <a:gdLst/>
              <a:ahLst/>
              <a:cxnLst/>
              <a:rect l="l" t="t" r="r" b="b"/>
              <a:pathLst>
                <a:path w="6365" h="4393" fill="none" extrusionOk="0">
                  <a:moveTo>
                    <a:pt x="5981" y="1149"/>
                  </a:moveTo>
                  <a:cubicBezTo>
                    <a:pt x="5452" y="462"/>
                    <a:pt x="4393" y="0"/>
                    <a:pt x="3188" y="0"/>
                  </a:cubicBezTo>
                  <a:cubicBezTo>
                    <a:pt x="1971" y="0"/>
                    <a:pt x="924" y="462"/>
                    <a:pt x="383" y="1149"/>
                  </a:cubicBezTo>
                  <a:lnTo>
                    <a:pt x="23" y="1149"/>
                  </a:lnTo>
                  <a:lnTo>
                    <a:pt x="12" y="2106"/>
                  </a:lnTo>
                  <a:cubicBezTo>
                    <a:pt x="12" y="2129"/>
                    <a:pt x="0" y="2163"/>
                    <a:pt x="0" y="2197"/>
                  </a:cubicBezTo>
                  <a:cubicBezTo>
                    <a:pt x="0" y="3413"/>
                    <a:pt x="1431" y="4393"/>
                    <a:pt x="3188" y="4393"/>
                  </a:cubicBezTo>
                  <a:cubicBezTo>
                    <a:pt x="4945" y="4393"/>
                    <a:pt x="6364" y="3413"/>
                    <a:pt x="6364" y="2197"/>
                  </a:cubicBezTo>
                  <a:lnTo>
                    <a:pt x="6364" y="1149"/>
                  </a:ln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3"/>
            <p:cNvSpPr/>
            <p:nvPr/>
          </p:nvSpPr>
          <p:spPr>
            <a:xfrm>
              <a:off x="1542986" y="1962559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fill="none" extrusionOk="0">
                  <a:moveTo>
                    <a:pt x="6364" y="2209"/>
                  </a:moveTo>
                  <a:cubicBezTo>
                    <a:pt x="6364" y="3425"/>
                    <a:pt x="4934" y="4405"/>
                    <a:pt x="3177" y="4405"/>
                  </a:cubicBezTo>
                  <a:cubicBezTo>
                    <a:pt x="1431" y="4405"/>
                    <a:pt x="0" y="3425"/>
                    <a:pt x="0" y="2209"/>
                  </a:cubicBezTo>
                  <a:cubicBezTo>
                    <a:pt x="0" y="992"/>
                    <a:pt x="1431" y="1"/>
                    <a:pt x="3177" y="1"/>
                  </a:cubicBezTo>
                  <a:cubicBezTo>
                    <a:pt x="4934" y="1"/>
                    <a:pt x="6364" y="992"/>
                    <a:pt x="6364" y="220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9" name="Google Shape;889;p33"/>
            <p:cNvSpPr/>
            <p:nvPr/>
          </p:nvSpPr>
          <p:spPr>
            <a:xfrm>
              <a:off x="1542986" y="1926368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extrusionOk="0">
                  <a:moveTo>
                    <a:pt x="3177" y="1"/>
                  </a:moveTo>
                  <a:cubicBezTo>
                    <a:pt x="1431" y="1"/>
                    <a:pt x="0" y="981"/>
                    <a:pt x="0" y="2197"/>
                  </a:cubicBezTo>
                  <a:cubicBezTo>
                    <a:pt x="0" y="3413"/>
                    <a:pt x="1431" y="4405"/>
                    <a:pt x="3177" y="4405"/>
                  </a:cubicBezTo>
                  <a:cubicBezTo>
                    <a:pt x="4934" y="4405"/>
                    <a:pt x="6364" y="3413"/>
                    <a:pt x="6364" y="2197"/>
                  </a:cubicBezTo>
                  <a:cubicBezTo>
                    <a:pt x="6364" y="981"/>
                    <a:pt x="4934" y="1"/>
                    <a:pt x="31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0" name="Google Shape;890;p33"/>
            <p:cNvSpPr/>
            <p:nvPr/>
          </p:nvSpPr>
          <p:spPr>
            <a:xfrm>
              <a:off x="1542986" y="1926368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fill="none" extrusionOk="0">
                  <a:moveTo>
                    <a:pt x="6364" y="2197"/>
                  </a:moveTo>
                  <a:cubicBezTo>
                    <a:pt x="6364" y="3413"/>
                    <a:pt x="4934" y="4405"/>
                    <a:pt x="3177" y="4405"/>
                  </a:cubicBezTo>
                  <a:cubicBezTo>
                    <a:pt x="1431" y="4405"/>
                    <a:pt x="0" y="3413"/>
                    <a:pt x="0" y="2197"/>
                  </a:cubicBezTo>
                  <a:cubicBezTo>
                    <a:pt x="0" y="981"/>
                    <a:pt x="1431" y="1"/>
                    <a:pt x="3177" y="1"/>
                  </a:cubicBezTo>
                  <a:cubicBezTo>
                    <a:pt x="4934" y="1"/>
                    <a:pt x="6364" y="981"/>
                    <a:pt x="6364" y="219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1" name="Google Shape;891;p33"/>
            <p:cNvSpPr/>
            <p:nvPr/>
          </p:nvSpPr>
          <p:spPr>
            <a:xfrm>
              <a:off x="1654739" y="208060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cubicBezTo>
                    <a:pt x="0" y="1003"/>
                    <a:pt x="0" y="970"/>
                    <a:pt x="0" y="947"/>
                  </a:cubicBez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2" name="Google Shape;892;p33"/>
            <p:cNvSpPr/>
            <p:nvPr/>
          </p:nvSpPr>
          <p:spPr>
            <a:xfrm>
              <a:off x="1678739" y="207826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3" name="Google Shape;893;p33"/>
            <p:cNvSpPr/>
            <p:nvPr/>
          </p:nvSpPr>
          <p:spPr>
            <a:xfrm>
              <a:off x="1701935" y="207312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" name="Google Shape;894;p33"/>
            <p:cNvSpPr/>
            <p:nvPr/>
          </p:nvSpPr>
          <p:spPr>
            <a:xfrm>
              <a:off x="1722790" y="2064496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3"/>
            <p:cNvSpPr/>
            <p:nvPr/>
          </p:nvSpPr>
          <p:spPr>
            <a:xfrm>
              <a:off x="1740886" y="205226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3"/>
            <p:cNvSpPr/>
            <p:nvPr/>
          </p:nvSpPr>
          <p:spPr>
            <a:xfrm>
              <a:off x="1757410" y="203221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3"/>
            <p:cNvSpPr/>
            <p:nvPr/>
          </p:nvSpPr>
          <p:spPr>
            <a:xfrm>
              <a:off x="1630321" y="207826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3"/>
            <p:cNvSpPr/>
            <p:nvPr/>
          </p:nvSpPr>
          <p:spPr>
            <a:xfrm>
              <a:off x="1607124" y="207312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3"/>
            <p:cNvSpPr/>
            <p:nvPr/>
          </p:nvSpPr>
          <p:spPr>
            <a:xfrm>
              <a:off x="1586269" y="2064496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3"/>
            <p:cNvSpPr/>
            <p:nvPr/>
          </p:nvSpPr>
          <p:spPr>
            <a:xfrm>
              <a:off x="1568173" y="205226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3"/>
            <p:cNvSpPr/>
            <p:nvPr/>
          </p:nvSpPr>
          <p:spPr>
            <a:xfrm>
              <a:off x="1551650" y="203221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3"/>
            <p:cNvSpPr/>
            <p:nvPr/>
          </p:nvSpPr>
          <p:spPr>
            <a:xfrm>
              <a:off x="1568173" y="1943695"/>
              <a:ext cx="171985" cy="118849"/>
            </a:xfrm>
            <a:custGeom>
              <a:avLst/>
              <a:gdLst/>
              <a:ahLst/>
              <a:cxnLst/>
              <a:rect l="l" t="t" r="r" b="b"/>
              <a:pathLst>
                <a:path w="4923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47"/>
                    <a:pt x="1104" y="3402"/>
                    <a:pt x="2456" y="3402"/>
                  </a:cubicBezTo>
                  <a:cubicBezTo>
                    <a:pt x="3819" y="3402"/>
                    <a:pt x="4922" y="2647"/>
                    <a:pt x="4922" y="1701"/>
                  </a:cubicBezTo>
                  <a:cubicBezTo>
                    <a:pt x="4922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3"/>
            <p:cNvSpPr/>
            <p:nvPr/>
          </p:nvSpPr>
          <p:spPr>
            <a:xfrm>
              <a:off x="1568173" y="1943695"/>
              <a:ext cx="171985" cy="118849"/>
            </a:xfrm>
            <a:custGeom>
              <a:avLst/>
              <a:gdLst/>
              <a:ahLst/>
              <a:cxnLst/>
              <a:rect l="l" t="t" r="r" b="b"/>
              <a:pathLst>
                <a:path w="4923" h="3402" fill="none" extrusionOk="0">
                  <a:moveTo>
                    <a:pt x="4922" y="1701"/>
                  </a:moveTo>
                  <a:cubicBezTo>
                    <a:pt x="4922" y="2647"/>
                    <a:pt x="3819" y="3402"/>
                    <a:pt x="2456" y="3402"/>
                  </a:cubicBezTo>
                  <a:cubicBezTo>
                    <a:pt x="1104" y="3402"/>
                    <a:pt x="0" y="2647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22" y="766"/>
                    <a:pt x="4922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3"/>
            <p:cNvSpPr/>
            <p:nvPr/>
          </p:nvSpPr>
          <p:spPr>
            <a:xfrm>
              <a:off x="1591369" y="1970035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1" y="1"/>
                  </a:moveTo>
                  <a:lnTo>
                    <a:pt x="68" y="125"/>
                  </a:lnTo>
                  <a:lnTo>
                    <a:pt x="282" y="237"/>
                  </a:lnTo>
                  <a:cubicBezTo>
                    <a:pt x="91" y="350"/>
                    <a:pt x="1" y="451"/>
                    <a:pt x="12" y="564"/>
                  </a:cubicBezTo>
                  <a:cubicBezTo>
                    <a:pt x="12" y="665"/>
                    <a:pt x="125" y="778"/>
                    <a:pt x="327" y="891"/>
                  </a:cubicBezTo>
                  <a:cubicBezTo>
                    <a:pt x="463" y="970"/>
                    <a:pt x="620" y="1026"/>
                    <a:pt x="778" y="1071"/>
                  </a:cubicBezTo>
                  <a:cubicBezTo>
                    <a:pt x="936" y="1105"/>
                    <a:pt x="1082" y="1127"/>
                    <a:pt x="1217" y="1138"/>
                  </a:cubicBezTo>
                  <a:cubicBezTo>
                    <a:pt x="1352" y="1138"/>
                    <a:pt x="1578" y="1138"/>
                    <a:pt x="1904" y="1127"/>
                  </a:cubicBezTo>
                  <a:cubicBezTo>
                    <a:pt x="2096" y="1127"/>
                    <a:pt x="2242" y="1138"/>
                    <a:pt x="2321" y="1161"/>
                  </a:cubicBezTo>
                  <a:cubicBezTo>
                    <a:pt x="2411" y="1195"/>
                    <a:pt x="2535" y="1251"/>
                    <a:pt x="2681" y="1330"/>
                  </a:cubicBezTo>
                  <a:cubicBezTo>
                    <a:pt x="2738" y="1364"/>
                    <a:pt x="2783" y="1398"/>
                    <a:pt x="2783" y="1420"/>
                  </a:cubicBezTo>
                  <a:cubicBezTo>
                    <a:pt x="2794" y="1454"/>
                    <a:pt x="2783" y="1476"/>
                    <a:pt x="2738" y="1488"/>
                  </a:cubicBezTo>
                  <a:cubicBezTo>
                    <a:pt x="2710" y="1499"/>
                    <a:pt x="2684" y="1505"/>
                    <a:pt x="2659" y="1505"/>
                  </a:cubicBezTo>
                  <a:cubicBezTo>
                    <a:pt x="2634" y="1505"/>
                    <a:pt x="2608" y="1499"/>
                    <a:pt x="2580" y="1488"/>
                  </a:cubicBezTo>
                  <a:cubicBezTo>
                    <a:pt x="2524" y="1476"/>
                    <a:pt x="2400" y="1409"/>
                    <a:pt x="2220" y="1307"/>
                  </a:cubicBezTo>
                  <a:lnTo>
                    <a:pt x="2051" y="1217"/>
                  </a:lnTo>
                  <a:lnTo>
                    <a:pt x="1409" y="1488"/>
                  </a:lnTo>
                  <a:lnTo>
                    <a:pt x="1544" y="1555"/>
                  </a:lnTo>
                  <a:cubicBezTo>
                    <a:pt x="1848" y="1724"/>
                    <a:pt x="2118" y="1814"/>
                    <a:pt x="2366" y="1826"/>
                  </a:cubicBezTo>
                  <a:cubicBezTo>
                    <a:pt x="2431" y="1831"/>
                    <a:pt x="2493" y="1834"/>
                    <a:pt x="2552" y="1834"/>
                  </a:cubicBezTo>
                  <a:cubicBezTo>
                    <a:pt x="2731" y="1834"/>
                    <a:pt x="2887" y="1809"/>
                    <a:pt x="3031" y="1758"/>
                  </a:cubicBezTo>
                  <a:lnTo>
                    <a:pt x="3290" y="1904"/>
                  </a:lnTo>
                  <a:lnTo>
                    <a:pt x="3583" y="1792"/>
                  </a:lnTo>
                  <a:lnTo>
                    <a:pt x="3335" y="1645"/>
                  </a:lnTo>
                  <a:cubicBezTo>
                    <a:pt x="3515" y="1533"/>
                    <a:pt x="3594" y="1420"/>
                    <a:pt x="3571" y="1296"/>
                  </a:cubicBezTo>
                  <a:cubicBezTo>
                    <a:pt x="3537" y="1172"/>
                    <a:pt x="3402" y="1048"/>
                    <a:pt x="3166" y="913"/>
                  </a:cubicBezTo>
                  <a:cubicBezTo>
                    <a:pt x="3008" y="834"/>
                    <a:pt x="2862" y="767"/>
                    <a:pt x="2726" y="733"/>
                  </a:cubicBezTo>
                  <a:cubicBezTo>
                    <a:pt x="2580" y="688"/>
                    <a:pt x="2456" y="665"/>
                    <a:pt x="2332" y="665"/>
                  </a:cubicBezTo>
                  <a:cubicBezTo>
                    <a:pt x="2276" y="660"/>
                    <a:pt x="2200" y="657"/>
                    <a:pt x="2106" y="657"/>
                  </a:cubicBezTo>
                  <a:cubicBezTo>
                    <a:pt x="2011" y="657"/>
                    <a:pt x="1899" y="660"/>
                    <a:pt x="1769" y="665"/>
                  </a:cubicBezTo>
                  <a:cubicBezTo>
                    <a:pt x="1611" y="671"/>
                    <a:pt x="1482" y="674"/>
                    <a:pt x="1382" y="674"/>
                  </a:cubicBezTo>
                  <a:cubicBezTo>
                    <a:pt x="1282" y="674"/>
                    <a:pt x="1212" y="671"/>
                    <a:pt x="1172" y="665"/>
                  </a:cubicBezTo>
                  <a:cubicBezTo>
                    <a:pt x="1082" y="665"/>
                    <a:pt x="992" y="632"/>
                    <a:pt x="891" y="564"/>
                  </a:cubicBezTo>
                  <a:cubicBezTo>
                    <a:pt x="823" y="530"/>
                    <a:pt x="789" y="508"/>
                    <a:pt x="767" y="474"/>
                  </a:cubicBezTo>
                  <a:cubicBezTo>
                    <a:pt x="755" y="451"/>
                    <a:pt x="767" y="429"/>
                    <a:pt x="812" y="418"/>
                  </a:cubicBezTo>
                  <a:cubicBezTo>
                    <a:pt x="838" y="404"/>
                    <a:pt x="868" y="399"/>
                    <a:pt x="898" y="399"/>
                  </a:cubicBezTo>
                  <a:cubicBezTo>
                    <a:pt x="919" y="399"/>
                    <a:pt x="939" y="402"/>
                    <a:pt x="958" y="406"/>
                  </a:cubicBezTo>
                  <a:cubicBezTo>
                    <a:pt x="1014" y="418"/>
                    <a:pt x="1105" y="463"/>
                    <a:pt x="1217" y="530"/>
                  </a:cubicBezTo>
                  <a:lnTo>
                    <a:pt x="1330" y="587"/>
                  </a:lnTo>
                  <a:lnTo>
                    <a:pt x="1972" y="328"/>
                  </a:lnTo>
                  <a:cubicBezTo>
                    <a:pt x="1916" y="294"/>
                    <a:pt x="1882" y="271"/>
                    <a:pt x="1848" y="260"/>
                  </a:cubicBezTo>
                  <a:cubicBezTo>
                    <a:pt x="1645" y="147"/>
                    <a:pt x="1442" y="80"/>
                    <a:pt x="1228" y="57"/>
                  </a:cubicBezTo>
                  <a:cubicBezTo>
                    <a:pt x="1175" y="52"/>
                    <a:pt x="1121" y="49"/>
                    <a:pt x="1068" y="49"/>
                  </a:cubicBezTo>
                  <a:cubicBezTo>
                    <a:pt x="907" y="49"/>
                    <a:pt x="744" y="74"/>
                    <a:pt x="575" y="125"/>
                  </a:cubicBezTo>
                  <a:lnTo>
                    <a:pt x="36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3"/>
            <p:cNvSpPr/>
            <p:nvPr/>
          </p:nvSpPr>
          <p:spPr>
            <a:xfrm>
              <a:off x="1591369" y="1970035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2" y="328"/>
                  </a:moveTo>
                  <a:lnTo>
                    <a:pt x="1330" y="587"/>
                  </a:lnTo>
                  <a:lnTo>
                    <a:pt x="1217" y="530"/>
                  </a:lnTo>
                  <a:cubicBezTo>
                    <a:pt x="1105" y="463"/>
                    <a:pt x="1014" y="418"/>
                    <a:pt x="958" y="406"/>
                  </a:cubicBezTo>
                  <a:cubicBezTo>
                    <a:pt x="913" y="395"/>
                    <a:pt x="857" y="395"/>
                    <a:pt x="812" y="418"/>
                  </a:cubicBezTo>
                  <a:cubicBezTo>
                    <a:pt x="767" y="429"/>
                    <a:pt x="755" y="451"/>
                    <a:pt x="767" y="474"/>
                  </a:cubicBezTo>
                  <a:cubicBezTo>
                    <a:pt x="789" y="508"/>
                    <a:pt x="823" y="530"/>
                    <a:pt x="891" y="564"/>
                  </a:cubicBezTo>
                  <a:cubicBezTo>
                    <a:pt x="992" y="632"/>
                    <a:pt x="1082" y="665"/>
                    <a:pt x="1172" y="665"/>
                  </a:cubicBezTo>
                  <a:cubicBezTo>
                    <a:pt x="1251" y="677"/>
                    <a:pt x="1454" y="677"/>
                    <a:pt x="1769" y="665"/>
                  </a:cubicBezTo>
                  <a:cubicBezTo>
                    <a:pt x="2028" y="654"/>
                    <a:pt x="2220" y="654"/>
                    <a:pt x="2332" y="665"/>
                  </a:cubicBezTo>
                  <a:cubicBezTo>
                    <a:pt x="2456" y="665"/>
                    <a:pt x="2580" y="688"/>
                    <a:pt x="2726" y="733"/>
                  </a:cubicBezTo>
                  <a:cubicBezTo>
                    <a:pt x="2862" y="767"/>
                    <a:pt x="3008" y="834"/>
                    <a:pt x="3166" y="913"/>
                  </a:cubicBezTo>
                  <a:cubicBezTo>
                    <a:pt x="3402" y="1048"/>
                    <a:pt x="3537" y="1172"/>
                    <a:pt x="3571" y="1296"/>
                  </a:cubicBezTo>
                  <a:cubicBezTo>
                    <a:pt x="3594" y="1420"/>
                    <a:pt x="3515" y="1533"/>
                    <a:pt x="3335" y="1645"/>
                  </a:cubicBezTo>
                  <a:lnTo>
                    <a:pt x="3583" y="1792"/>
                  </a:lnTo>
                  <a:lnTo>
                    <a:pt x="3290" y="1904"/>
                  </a:lnTo>
                  <a:lnTo>
                    <a:pt x="3031" y="1758"/>
                  </a:lnTo>
                  <a:cubicBezTo>
                    <a:pt x="2839" y="1826"/>
                    <a:pt x="2625" y="1848"/>
                    <a:pt x="2366" y="1826"/>
                  </a:cubicBezTo>
                  <a:cubicBezTo>
                    <a:pt x="2118" y="1814"/>
                    <a:pt x="1848" y="1724"/>
                    <a:pt x="1544" y="1555"/>
                  </a:cubicBezTo>
                  <a:lnTo>
                    <a:pt x="1409" y="1488"/>
                  </a:lnTo>
                  <a:lnTo>
                    <a:pt x="2051" y="1217"/>
                  </a:lnTo>
                  <a:lnTo>
                    <a:pt x="2220" y="1307"/>
                  </a:lnTo>
                  <a:cubicBezTo>
                    <a:pt x="2400" y="1409"/>
                    <a:pt x="2524" y="1476"/>
                    <a:pt x="2580" y="1488"/>
                  </a:cubicBezTo>
                  <a:cubicBezTo>
                    <a:pt x="2636" y="1510"/>
                    <a:pt x="2681" y="1510"/>
                    <a:pt x="2738" y="1488"/>
                  </a:cubicBezTo>
                  <a:cubicBezTo>
                    <a:pt x="2783" y="1476"/>
                    <a:pt x="2794" y="1454"/>
                    <a:pt x="2783" y="1420"/>
                  </a:cubicBezTo>
                  <a:cubicBezTo>
                    <a:pt x="2783" y="1398"/>
                    <a:pt x="2738" y="1364"/>
                    <a:pt x="2681" y="1330"/>
                  </a:cubicBezTo>
                  <a:cubicBezTo>
                    <a:pt x="2535" y="1251"/>
                    <a:pt x="2411" y="1195"/>
                    <a:pt x="2321" y="1161"/>
                  </a:cubicBezTo>
                  <a:cubicBezTo>
                    <a:pt x="2242" y="1138"/>
                    <a:pt x="2096" y="1127"/>
                    <a:pt x="1904" y="1127"/>
                  </a:cubicBezTo>
                  <a:cubicBezTo>
                    <a:pt x="1578" y="1138"/>
                    <a:pt x="1352" y="1138"/>
                    <a:pt x="1217" y="1138"/>
                  </a:cubicBezTo>
                  <a:cubicBezTo>
                    <a:pt x="1082" y="1127"/>
                    <a:pt x="936" y="1105"/>
                    <a:pt x="778" y="1071"/>
                  </a:cubicBezTo>
                  <a:cubicBezTo>
                    <a:pt x="620" y="1026"/>
                    <a:pt x="463" y="970"/>
                    <a:pt x="327" y="891"/>
                  </a:cubicBezTo>
                  <a:cubicBezTo>
                    <a:pt x="125" y="778"/>
                    <a:pt x="12" y="665"/>
                    <a:pt x="12" y="564"/>
                  </a:cubicBezTo>
                  <a:cubicBezTo>
                    <a:pt x="1" y="451"/>
                    <a:pt x="91" y="350"/>
                    <a:pt x="282" y="237"/>
                  </a:cubicBezTo>
                  <a:lnTo>
                    <a:pt x="68" y="125"/>
                  </a:lnTo>
                  <a:lnTo>
                    <a:pt x="361" y="1"/>
                  </a:lnTo>
                  <a:lnTo>
                    <a:pt x="575" y="125"/>
                  </a:lnTo>
                  <a:cubicBezTo>
                    <a:pt x="800" y="57"/>
                    <a:pt x="1014" y="35"/>
                    <a:pt x="1228" y="57"/>
                  </a:cubicBezTo>
                  <a:cubicBezTo>
                    <a:pt x="1442" y="80"/>
                    <a:pt x="1645" y="147"/>
                    <a:pt x="1848" y="260"/>
                  </a:cubicBezTo>
                  <a:cubicBezTo>
                    <a:pt x="1882" y="271"/>
                    <a:pt x="1916" y="294"/>
                    <a:pt x="1972" y="32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extrusionOk="0">
                  <a:moveTo>
                    <a:pt x="3176" y="0"/>
                  </a:moveTo>
                  <a:cubicBezTo>
                    <a:pt x="1960" y="0"/>
                    <a:pt x="912" y="473"/>
                    <a:pt x="372" y="1160"/>
                  </a:cubicBezTo>
                  <a:lnTo>
                    <a:pt x="11" y="1160"/>
                  </a:lnTo>
                  <a:lnTo>
                    <a:pt x="0" y="2106"/>
                  </a:lnTo>
                  <a:cubicBezTo>
                    <a:pt x="0" y="2140"/>
                    <a:pt x="0" y="2174"/>
                    <a:pt x="0" y="2208"/>
                  </a:cubicBezTo>
                  <a:cubicBezTo>
                    <a:pt x="0" y="3424"/>
                    <a:pt x="1419" y="4404"/>
                    <a:pt x="3176" y="4404"/>
                  </a:cubicBezTo>
                  <a:cubicBezTo>
                    <a:pt x="4933" y="4404"/>
                    <a:pt x="6353" y="3424"/>
                    <a:pt x="6353" y="2208"/>
                  </a:cubicBezTo>
                  <a:lnTo>
                    <a:pt x="6353" y="1160"/>
                  </a:lnTo>
                  <a:lnTo>
                    <a:pt x="5981" y="1160"/>
                  </a:lnTo>
                  <a:cubicBezTo>
                    <a:pt x="5440" y="473"/>
                    <a:pt x="4393" y="0"/>
                    <a:pt x="3176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extrusionOk="0">
                  <a:moveTo>
                    <a:pt x="3176" y="0"/>
                  </a:moveTo>
                  <a:cubicBezTo>
                    <a:pt x="1419" y="0"/>
                    <a:pt x="0" y="991"/>
                    <a:pt x="0" y="2208"/>
                  </a:cubicBezTo>
                  <a:cubicBezTo>
                    <a:pt x="0" y="3413"/>
                    <a:pt x="1419" y="4404"/>
                    <a:pt x="3176" y="4404"/>
                  </a:cubicBezTo>
                  <a:cubicBezTo>
                    <a:pt x="4933" y="4404"/>
                    <a:pt x="6353" y="3413"/>
                    <a:pt x="6353" y="2208"/>
                  </a:cubicBezTo>
                  <a:cubicBezTo>
                    <a:pt x="6353" y="991"/>
                    <a:pt x="4933" y="0"/>
                    <a:pt x="317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fill="none" extrusionOk="0">
                  <a:moveTo>
                    <a:pt x="5981" y="1160"/>
                  </a:moveTo>
                  <a:cubicBezTo>
                    <a:pt x="5440" y="473"/>
                    <a:pt x="4393" y="0"/>
                    <a:pt x="3176" y="0"/>
                  </a:cubicBezTo>
                  <a:cubicBezTo>
                    <a:pt x="1960" y="0"/>
                    <a:pt x="912" y="473"/>
                    <a:pt x="372" y="1160"/>
                  </a:cubicBezTo>
                  <a:lnTo>
                    <a:pt x="11" y="1160"/>
                  </a:lnTo>
                  <a:lnTo>
                    <a:pt x="0" y="2106"/>
                  </a:lnTo>
                  <a:cubicBezTo>
                    <a:pt x="0" y="2140"/>
                    <a:pt x="0" y="2174"/>
                    <a:pt x="0" y="2208"/>
                  </a:cubicBezTo>
                  <a:cubicBezTo>
                    <a:pt x="0" y="3424"/>
                    <a:pt x="1419" y="4404"/>
                    <a:pt x="3176" y="4404"/>
                  </a:cubicBezTo>
                  <a:cubicBezTo>
                    <a:pt x="4933" y="4404"/>
                    <a:pt x="6353" y="3424"/>
                    <a:pt x="6353" y="2208"/>
                  </a:cubicBezTo>
                  <a:lnTo>
                    <a:pt x="6353" y="1160"/>
                  </a:ln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fill="none" extrusionOk="0">
                  <a:moveTo>
                    <a:pt x="6353" y="2208"/>
                  </a:moveTo>
                  <a:cubicBezTo>
                    <a:pt x="6353" y="3413"/>
                    <a:pt x="4933" y="4404"/>
                    <a:pt x="3176" y="4404"/>
                  </a:cubicBezTo>
                  <a:cubicBezTo>
                    <a:pt x="1419" y="4404"/>
                    <a:pt x="0" y="3413"/>
                    <a:pt x="0" y="2208"/>
                  </a:cubicBezTo>
                  <a:cubicBezTo>
                    <a:pt x="0" y="991"/>
                    <a:pt x="1419" y="0"/>
                    <a:pt x="3176" y="0"/>
                  </a:cubicBezTo>
                  <a:cubicBezTo>
                    <a:pt x="4933" y="0"/>
                    <a:pt x="6353" y="991"/>
                    <a:pt x="6353" y="220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3"/>
            <p:cNvSpPr/>
            <p:nvPr/>
          </p:nvSpPr>
          <p:spPr>
            <a:xfrm>
              <a:off x="1720450" y="2031414"/>
              <a:ext cx="221942" cy="153504"/>
            </a:xfrm>
            <a:custGeom>
              <a:avLst/>
              <a:gdLst/>
              <a:ahLst/>
              <a:cxnLst/>
              <a:rect l="l" t="t" r="r" b="b"/>
              <a:pathLst>
                <a:path w="6353" h="4394" extrusionOk="0">
                  <a:moveTo>
                    <a:pt x="3176" y="1"/>
                  </a:moveTo>
                  <a:cubicBezTo>
                    <a:pt x="1419" y="1"/>
                    <a:pt x="0" y="981"/>
                    <a:pt x="0" y="2197"/>
                  </a:cubicBezTo>
                  <a:cubicBezTo>
                    <a:pt x="0" y="3414"/>
                    <a:pt x="1419" y="4394"/>
                    <a:pt x="3176" y="4394"/>
                  </a:cubicBezTo>
                  <a:cubicBezTo>
                    <a:pt x="4933" y="4394"/>
                    <a:pt x="6353" y="3414"/>
                    <a:pt x="6353" y="2197"/>
                  </a:cubicBezTo>
                  <a:cubicBezTo>
                    <a:pt x="6353" y="981"/>
                    <a:pt x="4933" y="1"/>
                    <a:pt x="317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" name="Google Shape;911;p33"/>
            <p:cNvSpPr/>
            <p:nvPr/>
          </p:nvSpPr>
          <p:spPr>
            <a:xfrm>
              <a:off x="1720450" y="2031414"/>
              <a:ext cx="221942" cy="153504"/>
            </a:xfrm>
            <a:custGeom>
              <a:avLst/>
              <a:gdLst/>
              <a:ahLst/>
              <a:cxnLst/>
              <a:rect l="l" t="t" r="r" b="b"/>
              <a:pathLst>
                <a:path w="6353" h="4394" fill="none" extrusionOk="0">
                  <a:moveTo>
                    <a:pt x="6353" y="2197"/>
                  </a:moveTo>
                  <a:cubicBezTo>
                    <a:pt x="6353" y="3414"/>
                    <a:pt x="4933" y="4394"/>
                    <a:pt x="3176" y="4394"/>
                  </a:cubicBezTo>
                  <a:cubicBezTo>
                    <a:pt x="1419" y="4394"/>
                    <a:pt x="0" y="3414"/>
                    <a:pt x="0" y="2197"/>
                  </a:cubicBezTo>
                  <a:cubicBezTo>
                    <a:pt x="0" y="981"/>
                    <a:pt x="1419" y="1"/>
                    <a:pt x="3176" y="1"/>
                  </a:cubicBezTo>
                  <a:cubicBezTo>
                    <a:pt x="4933" y="1"/>
                    <a:pt x="6353" y="981"/>
                    <a:pt x="6353" y="219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3"/>
            <p:cNvSpPr/>
            <p:nvPr/>
          </p:nvSpPr>
          <p:spPr>
            <a:xfrm>
              <a:off x="1832168" y="2185263"/>
              <a:ext cx="35" cy="36263"/>
            </a:xfrm>
            <a:custGeom>
              <a:avLst/>
              <a:gdLst/>
              <a:ahLst/>
              <a:cxnLst/>
              <a:rect l="l" t="t" r="r" b="b"/>
              <a:pathLst>
                <a:path w="1" h="1038" fill="none" extrusionOk="0">
                  <a:moveTo>
                    <a:pt x="1" y="1037"/>
                  </a:moveTo>
                  <a:cubicBezTo>
                    <a:pt x="1" y="1003"/>
                    <a:pt x="1" y="981"/>
                    <a:pt x="1" y="958"/>
                  </a:cubicBez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3"/>
            <p:cNvSpPr/>
            <p:nvPr/>
          </p:nvSpPr>
          <p:spPr>
            <a:xfrm>
              <a:off x="1856168" y="2183306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3"/>
            <p:cNvSpPr/>
            <p:nvPr/>
          </p:nvSpPr>
          <p:spPr>
            <a:xfrm>
              <a:off x="1879015" y="2178206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0" y="1014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3"/>
            <p:cNvSpPr/>
            <p:nvPr/>
          </p:nvSpPr>
          <p:spPr>
            <a:xfrm>
              <a:off x="1900254" y="216954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3"/>
            <p:cNvSpPr/>
            <p:nvPr/>
          </p:nvSpPr>
          <p:spPr>
            <a:xfrm>
              <a:off x="1918350" y="215735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3"/>
            <p:cNvSpPr/>
            <p:nvPr/>
          </p:nvSpPr>
          <p:spPr>
            <a:xfrm>
              <a:off x="1934489" y="213726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3"/>
            <p:cNvSpPr/>
            <p:nvPr/>
          </p:nvSpPr>
          <p:spPr>
            <a:xfrm>
              <a:off x="1807400" y="2183306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0" y="1014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3"/>
            <p:cNvSpPr/>
            <p:nvPr/>
          </p:nvSpPr>
          <p:spPr>
            <a:xfrm>
              <a:off x="1784588" y="2178206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0" y="1014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3"/>
            <p:cNvSpPr/>
            <p:nvPr/>
          </p:nvSpPr>
          <p:spPr>
            <a:xfrm>
              <a:off x="1763314" y="216954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3"/>
            <p:cNvSpPr/>
            <p:nvPr/>
          </p:nvSpPr>
          <p:spPr>
            <a:xfrm>
              <a:off x="1745218" y="215735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3"/>
            <p:cNvSpPr/>
            <p:nvPr/>
          </p:nvSpPr>
          <p:spPr>
            <a:xfrm>
              <a:off x="1729078" y="213726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3" name="Google Shape;923;p33"/>
            <p:cNvSpPr/>
            <p:nvPr/>
          </p:nvSpPr>
          <p:spPr>
            <a:xfrm>
              <a:off x="1745602" y="2048741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extrusionOk="0">
                  <a:moveTo>
                    <a:pt x="2456" y="1"/>
                  </a:moveTo>
                  <a:cubicBezTo>
                    <a:pt x="1094" y="1"/>
                    <a:pt x="1" y="766"/>
                    <a:pt x="1" y="1701"/>
                  </a:cubicBezTo>
                  <a:cubicBezTo>
                    <a:pt x="1" y="2636"/>
                    <a:pt x="1094" y="3402"/>
                    <a:pt x="2456" y="3402"/>
                  </a:cubicBezTo>
                  <a:cubicBezTo>
                    <a:pt x="3819" y="3402"/>
                    <a:pt x="4912" y="2636"/>
                    <a:pt x="4912" y="1701"/>
                  </a:cubicBezTo>
                  <a:cubicBezTo>
                    <a:pt x="4912" y="766"/>
                    <a:pt x="3819" y="1"/>
                    <a:pt x="24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3"/>
            <p:cNvSpPr/>
            <p:nvPr/>
          </p:nvSpPr>
          <p:spPr>
            <a:xfrm>
              <a:off x="1745602" y="2048741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fill="none" extrusionOk="0">
                  <a:moveTo>
                    <a:pt x="4912" y="1701"/>
                  </a:moveTo>
                  <a:cubicBezTo>
                    <a:pt x="4912" y="2636"/>
                    <a:pt x="3819" y="3402"/>
                    <a:pt x="2456" y="3402"/>
                  </a:cubicBezTo>
                  <a:cubicBezTo>
                    <a:pt x="1094" y="3402"/>
                    <a:pt x="1" y="2636"/>
                    <a:pt x="1" y="1701"/>
                  </a:cubicBezTo>
                  <a:cubicBezTo>
                    <a:pt x="1" y="766"/>
                    <a:pt x="1094" y="1"/>
                    <a:pt x="2456" y="1"/>
                  </a:cubicBezTo>
                  <a:cubicBezTo>
                    <a:pt x="3819" y="1"/>
                    <a:pt x="4912" y="766"/>
                    <a:pt x="4912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3"/>
            <p:cNvSpPr/>
            <p:nvPr/>
          </p:nvSpPr>
          <p:spPr>
            <a:xfrm>
              <a:off x="1768833" y="2074697"/>
              <a:ext cx="125556" cy="66935"/>
            </a:xfrm>
            <a:custGeom>
              <a:avLst/>
              <a:gdLst/>
              <a:ahLst/>
              <a:cxnLst/>
              <a:rect l="l" t="t" r="r" b="b"/>
              <a:pathLst>
                <a:path w="3594" h="1916" extrusionOk="0">
                  <a:moveTo>
                    <a:pt x="361" y="1"/>
                  </a:moveTo>
                  <a:lnTo>
                    <a:pt x="57" y="125"/>
                  </a:lnTo>
                  <a:lnTo>
                    <a:pt x="282" y="249"/>
                  </a:lnTo>
                  <a:cubicBezTo>
                    <a:pt x="91" y="350"/>
                    <a:pt x="1" y="463"/>
                    <a:pt x="1" y="564"/>
                  </a:cubicBezTo>
                  <a:cubicBezTo>
                    <a:pt x="12" y="677"/>
                    <a:pt x="113" y="789"/>
                    <a:pt x="316" y="902"/>
                  </a:cubicBezTo>
                  <a:cubicBezTo>
                    <a:pt x="462" y="981"/>
                    <a:pt x="609" y="1037"/>
                    <a:pt x="778" y="1082"/>
                  </a:cubicBezTo>
                  <a:cubicBezTo>
                    <a:pt x="935" y="1116"/>
                    <a:pt x="1082" y="1139"/>
                    <a:pt x="1217" y="1150"/>
                  </a:cubicBezTo>
                  <a:cubicBezTo>
                    <a:pt x="1341" y="1150"/>
                    <a:pt x="1577" y="1150"/>
                    <a:pt x="1904" y="1139"/>
                  </a:cubicBezTo>
                  <a:cubicBezTo>
                    <a:pt x="2096" y="1139"/>
                    <a:pt x="2231" y="1150"/>
                    <a:pt x="2321" y="1172"/>
                  </a:cubicBezTo>
                  <a:cubicBezTo>
                    <a:pt x="2411" y="1206"/>
                    <a:pt x="2524" y="1262"/>
                    <a:pt x="2681" y="1341"/>
                  </a:cubicBezTo>
                  <a:cubicBezTo>
                    <a:pt x="2738" y="1375"/>
                    <a:pt x="2771" y="1409"/>
                    <a:pt x="2783" y="1431"/>
                  </a:cubicBezTo>
                  <a:cubicBezTo>
                    <a:pt x="2794" y="1454"/>
                    <a:pt x="2783" y="1476"/>
                    <a:pt x="2738" y="1499"/>
                  </a:cubicBezTo>
                  <a:cubicBezTo>
                    <a:pt x="2709" y="1510"/>
                    <a:pt x="2681" y="1516"/>
                    <a:pt x="2653" y="1516"/>
                  </a:cubicBezTo>
                  <a:cubicBezTo>
                    <a:pt x="2625" y="1516"/>
                    <a:pt x="2597" y="1510"/>
                    <a:pt x="2569" y="1499"/>
                  </a:cubicBezTo>
                  <a:cubicBezTo>
                    <a:pt x="2512" y="1476"/>
                    <a:pt x="2400" y="1420"/>
                    <a:pt x="2208" y="1319"/>
                  </a:cubicBezTo>
                  <a:lnTo>
                    <a:pt x="2050" y="1229"/>
                  </a:lnTo>
                  <a:lnTo>
                    <a:pt x="1408" y="1488"/>
                  </a:lnTo>
                  <a:lnTo>
                    <a:pt x="1532" y="1567"/>
                  </a:lnTo>
                  <a:cubicBezTo>
                    <a:pt x="1836" y="1735"/>
                    <a:pt x="2118" y="1826"/>
                    <a:pt x="2366" y="1837"/>
                  </a:cubicBezTo>
                  <a:cubicBezTo>
                    <a:pt x="2407" y="1839"/>
                    <a:pt x="2448" y="1840"/>
                    <a:pt x="2488" y="1840"/>
                  </a:cubicBezTo>
                  <a:cubicBezTo>
                    <a:pt x="2687" y="1840"/>
                    <a:pt x="2869" y="1816"/>
                    <a:pt x="3019" y="1769"/>
                  </a:cubicBezTo>
                  <a:lnTo>
                    <a:pt x="3289" y="1916"/>
                  </a:lnTo>
                  <a:lnTo>
                    <a:pt x="3582" y="1792"/>
                  </a:lnTo>
                  <a:lnTo>
                    <a:pt x="3323" y="1657"/>
                  </a:lnTo>
                  <a:cubicBezTo>
                    <a:pt x="3515" y="1544"/>
                    <a:pt x="3594" y="1431"/>
                    <a:pt x="3560" y="1307"/>
                  </a:cubicBezTo>
                  <a:cubicBezTo>
                    <a:pt x="3537" y="1184"/>
                    <a:pt x="3402" y="1060"/>
                    <a:pt x="3154" y="925"/>
                  </a:cubicBezTo>
                  <a:cubicBezTo>
                    <a:pt x="3008" y="834"/>
                    <a:pt x="2861" y="778"/>
                    <a:pt x="2715" y="733"/>
                  </a:cubicBezTo>
                  <a:cubicBezTo>
                    <a:pt x="2580" y="699"/>
                    <a:pt x="2445" y="677"/>
                    <a:pt x="2332" y="665"/>
                  </a:cubicBezTo>
                  <a:cubicBezTo>
                    <a:pt x="2219" y="665"/>
                    <a:pt x="2028" y="665"/>
                    <a:pt x="1758" y="677"/>
                  </a:cubicBezTo>
                  <a:lnTo>
                    <a:pt x="1161" y="677"/>
                  </a:lnTo>
                  <a:cubicBezTo>
                    <a:pt x="1082" y="665"/>
                    <a:pt x="992" y="632"/>
                    <a:pt x="879" y="575"/>
                  </a:cubicBezTo>
                  <a:cubicBezTo>
                    <a:pt x="823" y="542"/>
                    <a:pt x="778" y="508"/>
                    <a:pt x="766" y="485"/>
                  </a:cubicBezTo>
                  <a:cubicBezTo>
                    <a:pt x="755" y="463"/>
                    <a:pt x="766" y="440"/>
                    <a:pt x="811" y="418"/>
                  </a:cubicBezTo>
                  <a:cubicBezTo>
                    <a:pt x="837" y="411"/>
                    <a:pt x="864" y="405"/>
                    <a:pt x="892" y="405"/>
                  </a:cubicBezTo>
                  <a:cubicBezTo>
                    <a:pt x="912" y="405"/>
                    <a:pt x="934" y="408"/>
                    <a:pt x="958" y="418"/>
                  </a:cubicBezTo>
                  <a:cubicBezTo>
                    <a:pt x="1014" y="429"/>
                    <a:pt x="1093" y="463"/>
                    <a:pt x="1217" y="530"/>
                  </a:cubicBezTo>
                  <a:lnTo>
                    <a:pt x="1330" y="598"/>
                  </a:lnTo>
                  <a:lnTo>
                    <a:pt x="1961" y="332"/>
                  </a:lnTo>
                  <a:lnTo>
                    <a:pt x="1961" y="332"/>
                  </a:lnTo>
                  <a:cubicBezTo>
                    <a:pt x="1964" y="334"/>
                    <a:pt x="1968" y="337"/>
                    <a:pt x="1972" y="339"/>
                  </a:cubicBezTo>
                  <a:lnTo>
                    <a:pt x="1972" y="328"/>
                  </a:lnTo>
                  <a:lnTo>
                    <a:pt x="1961" y="332"/>
                  </a:lnTo>
                  <a:lnTo>
                    <a:pt x="1961" y="332"/>
                  </a:lnTo>
                  <a:cubicBezTo>
                    <a:pt x="1909" y="302"/>
                    <a:pt x="1869" y="281"/>
                    <a:pt x="1848" y="260"/>
                  </a:cubicBezTo>
                  <a:cubicBezTo>
                    <a:pt x="1645" y="147"/>
                    <a:pt x="1442" y="80"/>
                    <a:pt x="1228" y="57"/>
                  </a:cubicBezTo>
                  <a:cubicBezTo>
                    <a:pt x="1175" y="52"/>
                    <a:pt x="1121" y="49"/>
                    <a:pt x="1068" y="49"/>
                  </a:cubicBezTo>
                  <a:cubicBezTo>
                    <a:pt x="907" y="49"/>
                    <a:pt x="744" y="74"/>
                    <a:pt x="575" y="125"/>
                  </a:cubicBezTo>
                  <a:lnTo>
                    <a:pt x="36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3"/>
            <p:cNvSpPr/>
            <p:nvPr/>
          </p:nvSpPr>
          <p:spPr>
            <a:xfrm>
              <a:off x="1768833" y="2074697"/>
              <a:ext cx="125556" cy="66935"/>
            </a:xfrm>
            <a:custGeom>
              <a:avLst/>
              <a:gdLst/>
              <a:ahLst/>
              <a:cxnLst/>
              <a:rect l="l" t="t" r="r" b="b"/>
              <a:pathLst>
                <a:path w="3594" h="1916" fill="none" extrusionOk="0">
                  <a:moveTo>
                    <a:pt x="1972" y="328"/>
                  </a:moveTo>
                  <a:lnTo>
                    <a:pt x="1330" y="598"/>
                  </a:lnTo>
                  <a:lnTo>
                    <a:pt x="1217" y="530"/>
                  </a:lnTo>
                  <a:cubicBezTo>
                    <a:pt x="1093" y="463"/>
                    <a:pt x="1014" y="429"/>
                    <a:pt x="958" y="418"/>
                  </a:cubicBezTo>
                  <a:cubicBezTo>
                    <a:pt x="902" y="395"/>
                    <a:pt x="857" y="406"/>
                    <a:pt x="811" y="418"/>
                  </a:cubicBezTo>
                  <a:cubicBezTo>
                    <a:pt x="766" y="440"/>
                    <a:pt x="755" y="463"/>
                    <a:pt x="766" y="485"/>
                  </a:cubicBezTo>
                  <a:cubicBezTo>
                    <a:pt x="778" y="508"/>
                    <a:pt x="823" y="542"/>
                    <a:pt x="879" y="575"/>
                  </a:cubicBezTo>
                  <a:cubicBezTo>
                    <a:pt x="992" y="632"/>
                    <a:pt x="1082" y="665"/>
                    <a:pt x="1161" y="677"/>
                  </a:cubicBezTo>
                  <a:cubicBezTo>
                    <a:pt x="1251" y="677"/>
                    <a:pt x="1442" y="677"/>
                    <a:pt x="1758" y="677"/>
                  </a:cubicBezTo>
                  <a:cubicBezTo>
                    <a:pt x="2028" y="665"/>
                    <a:pt x="2219" y="665"/>
                    <a:pt x="2332" y="665"/>
                  </a:cubicBezTo>
                  <a:cubicBezTo>
                    <a:pt x="2445" y="677"/>
                    <a:pt x="2580" y="699"/>
                    <a:pt x="2715" y="733"/>
                  </a:cubicBezTo>
                  <a:cubicBezTo>
                    <a:pt x="2861" y="778"/>
                    <a:pt x="3008" y="834"/>
                    <a:pt x="3154" y="925"/>
                  </a:cubicBezTo>
                  <a:cubicBezTo>
                    <a:pt x="3402" y="1060"/>
                    <a:pt x="3537" y="1184"/>
                    <a:pt x="3560" y="1307"/>
                  </a:cubicBezTo>
                  <a:cubicBezTo>
                    <a:pt x="3594" y="1431"/>
                    <a:pt x="3515" y="1544"/>
                    <a:pt x="3323" y="1657"/>
                  </a:cubicBezTo>
                  <a:lnTo>
                    <a:pt x="3582" y="1792"/>
                  </a:lnTo>
                  <a:lnTo>
                    <a:pt x="3289" y="1916"/>
                  </a:lnTo>
                  <a:lnTo>
                    <a:pt x="3019" y="1769"/>
                  </a:lnTo>
                  <a:cubicBezTo>
                    <a:pt x="2839" y="1826"/>
                    <a:pt x="2614" y="1848"/>
                    <a:pt x="2366" y="1837"/>
                  </a:cubicBezTo>
                  <a:cubicBezTo>
                    <a:pt x="2118" y="1826"/>
                    <a:pt x="1836" y="1735"/>
                    <a:pt x="1532" y="1567"/>
                  </a:cubicBezTo>
                  <a:lnTo>
                    <a:pt x="1408" y="1488"/>
                  </a:lnTo>
                  <a:lnTo>
                    <a:pt x="2050" y="1229"/>
                  </a:lnTo>
                  <a:lnTo>
                    <a:pt x="2208" y="1319"/>
                  </a:lnTo>
                  <a:cubicBezTo>
                    <a:pt x="2400" y="1420"/>
                    <a:pt x="2512" y="1476"/>
                    <a:pt x="2569" y="1499"/>
                  </a:cubicBezTo>
                  <a:cubicBezTo>
                    <a:pt x="2625" y="1521"/>
                    <a:pt x="2681" y="1521"/>
                    <a:pt x="2738" y="1499"/>
                  </a:cubicBezTo>
                  <a:cubicBezTo>
                    <a:pt x="2783" y="1476"/>
                    <a:pt x="2794" y="1454"/>
                    <a:pt x="2783" y="1431"/>
                  </a:cubicBezTo>
                  <a:cubicBezTo>
                    <a:pt x="2771" y="1409"/>
                    <a:pt x="2738" y="1375"/>
                    <a:pt x="2681" y="1341"/>
                  </a:cubicBezTo>
                  <a:cubicBezTo>
                    <a:pt x="2524" y="1262"/>
                    <a:pt x="2411" y="1206"/>
                    <a:pt x="2321" y="1172"/>
                  </a:cubicBezTo>
                  <a:cubicBezTo>
                    <a:pt x="2231" y="1150"/>
                    <a:pt x="2096" y="1139"/>
                    <a:pt x="1904" y="1139"/>
                  </a:cubicBezTo>
                  <a:cubicBezTo>
                    <a:pt x="1577" y="1150"/>
                    <a:pt x="1341" y="1150"/>
                    <a:pt x="1217" y="1150"/>
                  </a:cubicBezTo>
                  <a:cubicBezTo>
                    <a:pt x="1082" y="1139"/>
                    <a:pt x="935" y="1116"/>
                    <a:pt x="778" y="1082"/>
                  </a:cubicBezTo>
                  <a:cubicBezTo>
                    <a:pt x="609" y="1037"/>
                    <a:pt x="462" y="981"/>
                    <a:pt x="316" y="902"/>
                  </a:cubicBezTo>
                  <a:cubicBezTo>
                    <a:pt x="113" y="789"/>
                    <a:pt x="12" y="677"/>
                    <a:pt x="1" y="564"/>
                  </a:cubicBezTo>
                  <a:cubicBezTo>
                    <a:pt x="1" y="463"/>
                    <a:pt x="91" y="350"/>
                    <a:pt x="282" y="249"/>
                  </a:cubicBezTo>
                  <a:lnTo>
                    <a:pt x="57" y="125"/>
                  </a:lnTo>
                  <a:lnTo>
                    <a:pt x="361" y="1"/>
                  </a:lnTo>
                  <a:lnTo>
                    <a:pt x="575" y="125"/>
                  </a:lnTo>
                  <a:cubicBezTo>
                    <a:pt x="800" y="57"/>
                    <a:pt x="1014" y="35"/>
                    <a:pt x="1228" y="57"/>
                  </a:cubicBezTo>
                  <a:cubicBezTo>
                    <a:pt x="1442" y="80"/>
                    <a:pt x="1645" y="147"/>
                    <a:pt x="1848" y="260"/>
                  </a:cubicBezTo>
                  <a:cubicBezTo>
                    <a:pt x="1870" y="283"/>
                    <a:pt x="1915" y="305"/>
                    <a:pt x="1972" y="33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3"/>
            <p:cNvSpPr/>
            <p:nvPr/>
          </p:nvSpPr>
          <p:spPr>
            <a:xfrm>
              <a:off x="1477660" y="1901111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0"/>
                  </a:moveTo>
                  <a:cubicBezTo>
                    <a:pt x="9507" y="0"/>
                    <a:pt x="9400" y="31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3"/>
                    <a:pt x="226" y="5927"/>
                  </a:cubicBezTo>
                  <a:lnTo>
                    <a:pt x="5576" y="9081"/>
                  </a:lnTo>
                  <a:cubicBezTo>
                    <a:pt x="5694" y="9149"/>
                    <a:pt x="5824" y="9182"/>
                    <a:pt x="5952" y="9182"/>
                  </a:cubicBezTo>
                  <a:cubicBezTo>
                    <a:pt x="6080" y="9182"/>
                    <a:pt x="6207" y="9149"/>
                    <a:pt x="6319" y="9081"/>
                  </a:cubicBezTo>
                  <a:lnTo>
                    <a:pt x="15488" y="3742"/>
                  </a:lnTo>
                  <a:cubicBezTo>
                    <a:pt x="15645" y="3652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1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3"/>
            <p:cNvSpPr/>
            <p:nvPr/>
          </p:nvSpPr>
          <p:spPr>
            <a:xfrm>
              <a:off x="1477660" y="1900028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8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0"/>
                    <a:pt x="9496" y="0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4"/>
                    <a:pt x="226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3"/>
            <p:cNvSpPr/>
            <p:nvPr/>
          </p:nvSpPr>
          <p:spPr>
            <a:xfrm>
              <a:off x="1477660" y="1894683"/>
              <a:ext cx="546593" cy="320948"/>
            </a:xfrm>
            <a:custGeom>
              <a:avLst/>
              <a:gdLst/>
              <a:ahLst/>
              <a:cxnLst/>
              <a:rect l="l" t="t" r="r" b="b"/>
              <a:pathLst>
                <a:path w="15646" h="9187" extrusionOk="0">
                  <a:moveTo>
                    <a:pt x="9615" y="1"/>
                  </a:moveTo>
                  <a:cubicBezTo>
                    <a:pt x="9507" y="1"/>
                    <a:pt x="9400" y="29"/>
                    <a:pt x="9304" y="85"/>
                  </a:cubicBezTo>
                  <a:lnTo>
                    <a:pt x="226" y="5345"/>
                  </a:lnTo>
                  <a:cubicBezTo>
                    <a:pt x="1" y="5481"/>
                    <a:pt x="1" y="5796"/>
                    <a:pt x="226" y="5931"/>
                  </a:cubicBezTo>
                  <a:lnTo>
                    <a:pt x="5576" y="9085"/>
                  </a:lnTo>
                  <a:cubicBezTo>
                    <a:pt x="5694" y="9152"/>
                    <a:pt x="5824" y="9186"/>
                    <a:pt x="5952" y="9186"/>
                  </a:cubicBezTo>
                  <a:cubicBezTo>
                    <a:pt x="6080" y="9186"/>
                    <a:pt x="6207" y="9152"/>
                    <a:pt x="6319" y="9085"/>
                  </a:cubicBezTo>
                  <a:lnTo>
                    <a:pt x="15488" y="3746"/>
                  </a:lnTo>
                  <a:cubicBezTo>
                    <a:pt x="15645" y="3656"/>
                    <a:pt x="15645" y="3431"/>
                    <a:pt x="15488" y="3341"/>
                  </a:cubicBezTo>
                  <a:lnTo>
                    <a:pt x="9935" y="85"/>
                  </a:lnTo>
                  <a:cubicBezTo>
                    <a:pt x="9834" y="29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3"/>
            <p:cNvSpPr/>
            <p:nvPr/>
          </p:nvSpPr>
          <p:spPr>
            <a:xfrm>
              <a:off x="1477660" y="1893705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3"/>
                  </a:lnTo>
                  <a:cubicBezTo>
                    <a:pt x="5813" y="9248"/>
                    <a:pt x="6094" y="9248"/>
                    <a:pt x="6319" y="9113"/>
                  </a:cubicBezTo>
                  <a:lnTo>
                    <a:pt x="15488" y="3774"/>
                  </a:lnTo>
                  <a:cubicBezTo>
                    <a:pt x="15645" y="3684"/>
                    <a:pt x="15645" y="3459"/>
                    <a:pt x="15488" y="3369"/>
                  </a:cubicBezTo>
                  <a:lnTo>
                    <a:pt x="9935" y="113"/>
                  </a:lnTo>
                  <a:cubicBezTo>
                    <a:pt x="9732" y="1"/>
                    <a:pt x="9496" y="1"/>
                    <a:pt x="9304" y="113"/>
                  </a:cubicBezTo>
                  <a:lnTo>
                    <a:pt x="226" y="5373"/>
                  </a:lnTo>
                  <a:cubicBezTo>
                    <a:pt x="1" y="5509"/>
                    <a:pt x="1" y="5824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3"/>
            <p:cNvSpPr/>
            <p:nvPr/>
          </p:nvSpPr>
          <p:spPr>
            <a:xfrm>
              <a:off x="1531178" y="1927555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extrusionOk="0">
                  <a:moveTo>
                    <a:pt x="8752" y="0"/>
                  </a:moveTo>
                  <a:cubicBezTo>
                    <a:pt x="8628" y="169"/>
                    <a:pt x="8380" y="282"/>
                    <a:pt x="8088" y="282"/>
                  </a:cubicBezTo>
                  <a:cubicBezTo>
                    <a:pt x="7806" y="282"/>
                    <a:pt x="7558" y="169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8"/>
                    <a:pt x="271" y="4686"/>
                  </a:cubicBezTo>
                  <a:cubicBezTo>
                    <a:pt x="271" y="4855"/>
                    <a:pt x="169" y="4990"/>
                    <a:pt x="12" y="5091"/>
                  </a:cubicBezTo>
                  <a:lnTo>
                    <a:pt x="3774" y="7310"/>
                  </a:lnTo>
                  <a:cubicBezTo>
                    <a:pt x="3909" y="7153"/>
                    <a:pt x="4145" y="7051"/>
                    <a:pt x="4427" y="7051"/>
                  </a:cubicBezTo>
                  <a:cubicBezTo>
                    <a:pt x="4709" y="7051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2"/>
                    <a:pt x="12311" y="2276"/>
                    <a:pt x="12469" y="2174"/>
                  </a:cubicBezTo>
                  <a:lnTo>
                    <a:pt x="8752" y="0"/>
                  </a:ln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3"/>
            <p:cNvSpPr/>
            <p:nvPr/>
          </p:nvSpPr>
          <p:spPr>
            <a:xfrm>
              <a:off x="1531178" y="1927555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fill="none" extrusionOk="0">
                  <a:moveTo>
                    <a:pt x="12199" y="2580"/>
                  </a:moveTo>
                  <a:cubicBezTo>
                    <a:pt x="12199" y="2422"/>
                    <a:pt x="12311" y="2276"/>
                    <a:pt x="12469" y="2174"/>
                  </a:cubicBezTo>
                  <a:lnTo>
                    <a:pt x="8752" y="0"/>
                  </a:lnTo>
                  <a:cubicBezTo>
                    <a:pt x="8628" y="169"/>
                    <a:pt x="8380" y="282"/>
                    <a:pt x="8088" y="282"/>
                  </a:cubicBezTo>
                  <a:cubicBezTo>
                    <a:pt x="7806" y="282"/>
                    <a:pt x="7558" y="169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8"/>
                    <a:pt x="271" y="4686"/>
                  </a:cubicBezTo>
                  <a:cubicBezTo>
                    <a:pt x="271" y="4855"/>
                    <a:pt x="169" y="4990"/>
                    <a:pt x="12" y="5091"/>
                  </a:cubicBezTo>
                  <a:lnTo>
                    <a:pt x="3774" y="7310"/>
                  </a:lnTo>
                  <a:cubicBezTo>
                    <a:pt x="3909" y="7153"/>
                    <a:pt x="4145" y="7051"/>
                    <a:pt x="4427" y="7051"/>
                  </a:cubicBezTo>
                  <a:cubicBezTo>
                    <a:pt x="4709" y="7051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3"/>
            <p:cNvSpPr/>
            <p:nvPr/>
          </p:nvSpPr>
          <p:spPr>
            <a:xfrm>
              <a:off x="1671647" y="1987747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extrusionOk="0">
                  <a:moveTo>
                    <a:pt x="2456" y="1"/>
                  </a:moveTo>
                  <a:cubicBezTo>
                    <a:pt x="1104" y="1"/>
                    <a:pt x="0" y="767"/>
                    <a:pt x="0" y="1702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2"/>
                  </a:cubicBezTo>
                  <a:cubicBezTo>
                    <a:pt x="4911" y="767"/>
                    <a:pt x="3819" y="1"/>
                    <a:pt x="24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3"/>
            <p:cNvSpPr/>
            <p:nvPr/>
          </p:nvSpPr>
          <p:spPr>
            <a:xfrm>
              <a:off x="1671647" y="1987747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fill="none" extrusionOk="0">
                  <a:moveTo>
                    <a:pt x="4911" y="1702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2"/>
                  </a:cubicBezTo>
                  <a:cubicBezTo>
                    <a:pt x="0" y="767"/>
                    <a:pt x="1104" y="1"/>
                    <a:pt x="2456" y="1"/>
                  </a:cubicBezTo>
                  <a:cubicBezTo>
                    <a:pt x="3819" y="1"/>
                    <a:pt x="4911" y="767"/>
                    <a:pt x="4911" y="1702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3"/>
            <p:cNvSpPr/>
            <p:nvPr/>
          </p:nvSpPr>
          <p:spPr>
            <a:xfrm>
              <a:off x="1694878" y="2014122"/>
              <a:ext cx="125556" cy="66516"/>
            </a:xfrm>
            <a:custGeom>
              <a:avLst/>
              <a:gdLst/>
              <a:ahLst/>
              <a:cxnLst/>
              <a:rect l="l" t="t" r="r" b="b"/>
              <a:pathLst>
                <a:path w="3594" h="1904" extrusionOk="0">
                  <a:moveTo>
                    <a:pt x="360" y="0"/>
                  </a:moveTo>
                  <a:lnTo>
                    <a:pt x="68" y="113"/>
                  </a:lnTo>
                  <a:lnTo>
                    <a:pt x="282" y="237"/>
                  </a:lnTo>
                  <a:cubicBezTo>
                    <a:pt x="90" y="338"/>
                    <a:pt x="0" y="451"/>
                    <a:pt x="11" y="552"/>
                  </a:cubicBezTo>
                  <a:cubicBezTo>
                    <a:pt x="11" y="665"/>
                    <a:pt x="124" y="778"/>
                    <a:pt x="327" y="890"/>
                  </a:cubicBezTo>
                  <a:cubicBezTo>
                    <a:pt x="462" y="969"/>
                    <a:pt x="608" y="1025"/>
                    <a:pt x="777" y="1070"/>
                  </a:cubicBezTo>
                  <a:cubicBezTo>
                    <a:pt x="935" y="1104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4"/>
                    <a:pt x="2523" y="1251"/>
                    <a:pt x="2681" y="1329"/>
                  </a:cubicBezTo>
                  <a:cubicBezTo>
                    <a:pt x="2737" y="1363"/>
                    <a:pt x="2771" y="1397"/>
                    <a:pt x="2782" y="1420"/>
                  </a:cubicBezTo>
                  <a:cubicBezTo>
                    <a:pt x="2793" y="1442"/>
                    <a:pt x="2782" y="1465"/>
                    <a:pt x="2737" y="1487"/>
                  </a:cubicBezTo>
                  <a:cubicBezTo>
                    <a:pt x="2709" y="1498"/>
                    <a:pt x="2684" y="1504"/>
                    <a:pt x="2657" y="1504"/>
                  </a:cubicBezTo>
                  <a:cubicBezTo>
                    <a:pt x="2630" y="1504"/>
                    <a:pt x="2602" y="1498"/>
                    <a:pt x="2568" y="1487"/>
                  </a:cubicBezTo>
                  <a:cubicBezTo>
                    <a:pt x="2512" y="1476"/>
                    <a:pt x="2399" y="1408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5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4"/>
                    <a:pt x="3030" y="1757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2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6"/>
                    <a:pt x="2714" y="721"/>
                  </a:cubicBezTo>
                  <a:cubicBezTo>
                    <a:pt x="2579" y="687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3"/>
                    <a:pt x="1376" y="673"/>
                  </a:cubicBezTo>
                  <a:cubicBezTo>
                    <a:pt x="1278" y="673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3"/>
                  </a:cubicBezTo>
                  <a:cubicBezTo>
                    <a:pt x="755" y="451"/>
                    <a:pt x="766" y="428"/>
                    <a:pt x="811" y="406"/>
                  </a:cubicBezTo>
                  <a:cubicBezTo>
                    <a:pt x="837" y="399"/>
                    <a:pt x="863" y="393"/>
                    <a:pt x="891" y="393"/>
                  </a:cubicBezTo>
                  <a:cubicBezTo>
                    <a:pt x="912" y="393"/>
                    <a:pt x="934" y="396"/>
                    <a:pt x="957" y="406"/>
                  </a:cubicBezTo>
                  <a:cubicBezTo>
                    <a:pt x="1014" y="417"/>
                    <a:pt x="1093" y="462"/>
                    <a:pt x="1216" y="518"/>
                  </a:cubicBezTo>
                  <a:lnTo>
                    <a:pt x="1329" y="586"/>
                  </a:lnTo>
                  <a:lnTo>
                    <a:pt x="1971" y="327"/>
                  </a:lnTo>
                  <a:cubicBezTo>
                    <a:pt x="1915" y="293"/>
                    <a:pt x="1881" y="271"/>
                    <a:pt x="1847" y="248"/>
                  </a:cubicBezTo>
                  <a:cubicBezTo>
                    <a:pt x="1644" y="136"/>
                    <a:pt x="1442" y="68"/>
                    <a:pt x="1228" y="45"/>
                  </a:cubicBezTo>
                  <a:cubicBezTo>
                    <a:pt x="1174" y="40"/>
                    <a:pt x="1121" y="37"/>
                    <a:pt x="1067" y="37"/>
                  </a:cubicBezTo>
                  <a:cubicBezTo>
                    <a:pt x="906" y="37"/>
                    <a:pt x="743" y="62"/>
                    <a:pt x="574" y="113"/>
                  </a:cubicBezTo>
                  <a:lnTo>
                    <a:pt x="36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6" name="Google Shape;936;p33"/>
            <p:cNvSpPr/>
            <p:nvPr/>
          </p:nvSpPr>
          <p:spPr>
            <a:xfrm>
              <a:off x="1694878" y="2014122"/>
              <a:ext cx="125556" cy="66516"/>
            </a:xfrm>
            <a:custGeom>
              <a:avLst/>
              <a:gdLst/>
              <a:ahLst/>
              <a:cxnLst/>
              <a:rect l="l" t="t" r="r" b="b"/>
              <a:pathLst>
                <a:path w="3594" h="1904" fill="none" extrusionOk="0">
                  <a:moveTo>
                    <a:pt x="1971" y="327"/>
                  </a:moveTo>
                  <a:lnTo>
                    <a:pt x="1329" y="586"/>
                  </a:lnTo>
                  <a:lnTo>
                    <a:pt x="1216" y="518"/>
                  </a:lnTo>
                  <a:cubicBezTo>
                    <a:pt x="1093" y="462"/>
                    <a:pt x="1014" y="417"/>
                    <a:pt x="957" y="406"/>
                  </a:cubicBezTo>
                  <a:cubicBezTo>
                    <a:pt x="901" y="383"/>
                    <a:pt x="856" y="395"/>
                    <a:pt x="811" y="406"/>
                  </a:cubicBezTo>
                  <a:cubicBezTo>
                    <a:pt x="766" y="428"/>
                    <a:pt x="755" y="451"/>
                    <a:pt x="766" y="473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6"/>
                    <a:pt x="1442" y="676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7"/>
                    <a:pt x="2714" y="721"/>
                  </a:cubicBezTo>
                  <a:cubicBezTo>
                    <a:pt x="2861" y="766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2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7"/>
                  </a:lnTo>
                  <a:cubicBezTo>
                    <a:pt x="2838" y="1814"/>
                    <a:pt x="2613" y="1836"/>
                    <a:pt x="2365" y="1825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8"/>
                    <a:pt x="2512" y="1476"/>
                    <a:pt x="2568" y="1487"/>
                  </a:cubicBezTo>
                  <a:cubicBezTo>
                    <a:pt x="2636" y="1510"/>
                    <a:pt x="2681" y="1510"/>
                    <a:pt x="2737" y="1487"/>
                  </a:cubicBezTo>
                  <a:cubicBezTo>
                    <a:pt x="2782" y="1465"/>
                    <a:pt x="2793" y="1442"/>
                    <a:pt x="2782" y="1420"/>
                  </a:cubicBezTo>
                  <a:cubicBezTo>
                    <a:pt x="2771" y="1397"/>
                    <a:pt x="2737" y="1363"/>
                    <a:pt x="2681" y="1329"/>
                  </a:cubicBezTo>
                  <a:cubicBezTo>
                    <a:pt x="2523" y="1251"/>
                    <a:pt x="2410" y="1194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4"/>
                    <a:pt x="777" y="1070"/>
                  </a:cubicBezTo>
                  <a:cubicBezTo>
                    <a:pt x="608" y="1025"/>
                    <a:pt x="462" y="969"/>
                    <a:pt x="327" y="890"/>
                  </a:cubicBezTo>
                  <a:cubicBezTo>
                    <a:pt x="124" y="778"/>
                    <a:pt x="11" y="665"/>
                    <a:pt x="11" y="552"/>
                  </a:cubicBezTo>
                  <a:cubicBezTo>
                    <a:pt x="0" y="451"/>
                    <a:pt x="90" y="338"/>
                    <a:pt x="282" y="237"/>
                  </a:cubicBezTo>
                  <a:lnTo>
                    <a:pt x="68" y="113"/>
                  </a:lnTo>
                  <a:lnTo>
                    <a:pt x="360" y="0"/>
                  </a:lnTo>
                  <a:lnTo>
                    <a:pt x="574" y="113"/>
                  </a:lnTo>
                  <a:cubicBezTo>
                    <a:pt x="800" y="45"/>
                    <a:pt x="1014" y="23"/>
                    <a:pt x="1228" y="45"/>
                  </a:cubicBezTo>
                  <a:cubicBezTo>
                    <a:pt x="1442" y="68"/>
                    <a:pt x="1644" y="136"/>
                    <a:pt x="1847" y="248"/>
                  </a:cubicBezTo>
                  <a:cubicBezTo>
                    <a:pt x="1881" y="271"/>
                    <a:pt x="1915" y="293"/>
                    <a:pt x="1971" y="32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7" name="Google Shape;937;p33"/>
            <p:cNvSpPr/>
            <p:nvPr/>
          </p:nvSpPr>
          <p:spPr>
            <a:xfrm>
              <a:off x="1628364" y="2101072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7" y="1"/>
                  </a:moveTo>
                  <a:cubicBezTo>
                    <a:pt x="271" y="1"/>
                    <a:pt x="1" y="181"/>
                    <a:pt x="1" y="406"/>
                  </a:cubicBezTo>
                  <a:cubicBezTo>
                    <a:pt x="1" y="631"/>
                    <a:pt x="271" y="823"/>
                    <a:pt x="597" y="823"/>
                  </a:cubicBezTo>
                  <a:cubicBezTo>
                    <a:pt x="924" y="823"/>
                    <a:pt x="1183" y="631"/>
                    <a:pt x="1183" y="406"/>
                  </a:cubicBezTo>
                  <a:cubicBezTo>
                    <a:pt x="1183" y="181"/>
                    <a:pt x="924" y="1"/>
                    <a:pt x="59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8" name="Google Shape;938;p33"/>
            <p:cNvSpPr/>
            <p:nvPr/>
          </p:nvSpPr>
          <p:spPr>
            <a:xfrm>
              <a:off x="1843592" y="1975555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8" y="1"/>
                  </a:moveTo>
                  <a:cubicBezTo>
                    <a:pt x="260" y="1"/>
                    <a:pt x="1" y="181"/>
                    <a:pt x="1" y="406"/>
                  </a:cubicBezTo>
                  <a:cubicBezTo>
                    <a:pt x="1" y="631"/>
                    <a:pt x="260" y="823"/>
                    <a:pt x="598" y="823"/>
                  </a:cubicBezTo>
                  <a:cubicBezTo>
                    <a:pt x="924" y="823"/>
                    <a:pt x="1183" y="631"/>
                    <a:pt x="1183" y="406"/>
                  </a:cubicBezTo>
                  <a:cubicBezTo>
                    <a:pt x="1183" y="181"/>
                    <a:pt x="924" y="1"/>
                    <a:pt x="59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9" name="Google Shape;939;p33"/>
            <p:cNvSpPr/>
            <p:nvPr/>
          </p:nvSpPr>
          <p:spPr>
            <a:xfrm>
              <a:off x="1477660" y="1871591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0"/>
                  </a:moveTo>
                  <a:cubicBezTo>
                    <a:pt x="9507" y="0"/>
                    <a:pt x="9400" y="31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4"/>
                    <a:pt x="226" y="5928"/>
                  </a:cubicBezTo>
                  <a:lnTo>
                    <a:pt x="5576" y="9081"/>
                  </a:lnTo>
                  <a:cubicBezTo>
                    <a:pt x="5694" y="9149"/>
                    <a:pt x="5824" y="9183"/>
                    <a:pt x="5952" y="9183"/>
                  </a:cubicBezTo>
                  <a:cubicBezTo>
                    <a:pt x="6080" y="9183"/>
                    <a:pt x="6207" y="9149"/>
                    <a:pt x="6319" y="9081"/>
                  </a:cubicBezTo>
                  <a:lnTo>
                    <a:pt x="15488" y="3742"/>
                  </a:lnTo>
                  <a:cubicBezTo>
                    <a:pt x="15645" y="3652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1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3"/>
            <p:cNvSpPr/>
            <p:nvPr/>
          </p:nvSpPr>
          <p:spPr>
            <a:xfrm>
              <a:off x="1477660" y="1870508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0"/>
                    <a:pt x="9496" y="0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5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3"/>
            <p:cNvSpPr/>
            <p:nvPr/>
          </p:nvSpPr>
          <p:spPr>
            <a:xfrm>
              <a:off x="1477660" y="1865198"/>
              <a:ext cx="546593" cy="320913"/>
            </a:xfrm>
            <a:custGeom>
              <a:avLst/>
              <a:gdLst/>
              <a:ahLst/>
              <a:cxnLst/>
              <a:rect l="l" t="t" r="r" b="b"/>
              <a:pathLst>
                <a:path w="15646" h="9186" extrusionOk="0">
                  <a:moveTo>
                    <a:pt x="9615" y="0"/>
                  </a:moveTo>
                  <a:cubicBezTo>
                    <a:pt x="9507" y="0"/>
                    <a:pt x="9400" y="28"/>
                    <a:pt x="9304" y="85"/>
                  </a:cubicBezTo>
                  <a:lnTo>
                    <a:pt x="226" y="5345"/>
                  </a:lnTo>
                  <a:cubicBezTo>
                    <a:pt x="1" y="5480"/>
                    <a:pt x="1" y="5795"/>
                    <a:pt x="226" y="5930"/>
                  </a:cubicBezTo>
                  <a:lnTo>
                    <a:pt x="5576" y="9084"/>
                  </a:lnTo>
                  <a:cubicBezTo>
                    <a:pt x="5694" y="9152"/>
                    <a:pt x="5824" y="9185"/>
                    <a:pt x="5952" y="9185"/>
                  </a:cubicBezTo>
                  <a:cubicBezTo>
                    <a:pt x="6080" y="9185"/>
                    <a:pt x="6207" y="9152"/>
                    <a:pt x="6319" y="9084"/>
                  </a:cubicBezTo>
                  <a:lnTo>
                    <a:pt x="15488" y="3745"/>
                  </a:lnTo>
                  <a:cubicBezTo>
                    <a:pt x="15645" y="3655"/>
                    <a:pt x="15645" y="3430"/>
                    <a:pt x="15488" y="3340"/>
                  </a:cubicBezTo>
                  <a:lnTo>
                    <a:pt x="9935" y="85"/>
                  </a:lnTo>
                  <a:cubicBezTo>
                    <a:pt x="9834" y="28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3"/>
            <p:cNvSpPr/>
            <p:nvPr/>
          </p:nvSpPr>
          <p:spPr>
            <a:xfrm>
              <a:off x="1477660" y="1864220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8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13"/>
                  </a:lnTo>
                  <a:cubicBezTo>
                    <a:pt x="9732" y="0"/>
                    <a:pt x="9496" y="0"/>
                    <a:pt x="9304" y="113"/>
                  </a:cubicBezTo>
                  <a:lnTo>
                    <a:pt x="226" y="5373"/>
                  </a:lnTo>
                  <a:cubicBezTo>
                    <a:pt x="1" y="5508"/>
                    <a:pt x="1" y="5823"/>
                    <a:pt x="226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3"/>
            <p:cNvSpPr/>
            <p:nvPr/>
          </p:nvSpPr>
          <p:spPr>
            <a:xfrm>
              <a:off x="1531178" y="1898036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extrusionOk="0">
                  <a:moveTo>
                    <a:pt x="8752" y="1"/>
                  </a:moveTo>
                  <a:cubicBezTo>
                    <a:pt x="8628" y="170"/>
                    <a:pt x="8380" y="282"/>
                    <a:pt x="8088" y="282"/>
                  </a:cubicBezTo>
                  <a:cubicBezTo>
                    <a:pt x="7806" y="282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0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2"/>
                    <a:pt x="12311" y="2276"/>
                    <a:pt x="12469" y="2175"/>
                  </a:cubicBezTo>
                  <a:lnTo>
                    <a:pt x="8752" y="1"/>
                  </a:ln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3"/>
            <p:cNvSpPr/>
            <p:nvPr/>
          </p:nvSpPr>
          <p:spPr>
            <a:xfrm>
              <a:off x="1531178" y="1898036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fill="none" extrusionOk="0">
                  <a:moveTo>
                    <a:pt x="12199" y="2580"/>
                  </a:moveTo>
                  <a:cubicBezTo>
                    <a:pt x="12199" y="2422"/>
                    <a:pt x="12311" y="2276"/>
                    <a:pt x="12469" y="2175"/>
                  </a:cubicBezTo>
                  <a:lnTo>
                    <a:pt x="8752" y="1"/>
                  </a:lnTo>
                  <a:cubicBezTo>
                    <a:pt x="8628" y="170"/>
                    <a:pt x="8380" y="282"/>
                    <a:pt x="8088" y="282"/>
                  </a:cubicBezTo>
                  <a:cubicBezTo>
                    <a:pt x="7806" y="282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0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3"/>
            <p:cNvSpPr/>
            <p:nvPr/>
          </p:nvSpPr>
          <p:spPr>
            <a:xfrm>
              <a:off x="1671647" y="1958262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1"/>
                  </a:cubicBezTo>
                  <a:cubicBezTo>
                    <a:pt x="4911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3"/>
            <p:cNvSpPr/>
            <p:nvPr/>
          </p:nvSpPr>
          <p:spPr>
            <a:xfrm>
              <a:off x="1671647" y="1958262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fill="none" extrusionOk="0">
                  <a:moveTo>
                    <a:pt x="4911" y="1701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11" y="766"/>
                    <a:pt x="4911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3"/>
            <p:cNvSpPr/>
            <p:nvPr/>
          </p:nvSpPr>
          <p:spPr>
            <a:xfrm>
              <a:off x="1694878" y="1984602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0" y="1"/>
                  </a:moveTo>
                  <a:lnTo>
                    <a:pt x="68" y="113"/>
                  </a:lnTo>
                  <a:lnTo>
                    <a:pt x="282" y="237"/>
                  </a:lnTo>
                  <a:cubicBezTo>
                    <a:pt x="90" y="339"/>
                    <a:pt x="0" y="451"/>
                    <a:pt x="11" y="553"/>
                  </a:cubicBezTo>
                  <a:cubicBezTo>
                    <a:pt x="11" y="665"/>
                    <a:pt x="124" y="778"/>
                    <a:pt x="327" y="890"/>
                  </a:cubicBezTo>
                  <a:cubicBezTo>
                    <a:pt x="462" y="969"/>
                    <a:pt x="608" y="1026"/>
                    <a:pt x="777" y="1071"/>
                  </a:cubicBezTo>
                  <a:cubicBezTo>
                    <a:pt x="935" y="1104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5"/>
                    <a:pt x="2523" y="1251"/>
                    <a:pt x="2681" y="1330"/>
                  </a:cubicBezTo>
                  <a:cubicBezTo>
                    <a:pt x="2737" y="1363"/>
                    <a:pt x="2771" y="1397"/>
                    <a:pt x="2782" y="1420"/>
                  </a:cubicBezTo>
                  <a:cubicBezTo>
                    <a:pt x="2793" y="1442"/>
                    <a:pt x="2782" y="1465"/>
                    <a:pt x="2737" y="1487"/>
                  </a:cubicBezTo>
                  <a:cubicBezTo>
                    <a:pt x="2709" y="1499"/>
                    <a:pt x="2684" y="1504"/>
                    <a:pt x="2657" y="1504"/>
                  </a:cubicBezTo>
                  <a:cubicBezTo>
                    <a:pt x="2630" y="1504"/>
                    <a:pt x="2602" y="1499"/>
                    <a:pt x="2568" y="1487"/>
                  </a:cubicBezTo>
                  <a:cubicBezTo>
                    <a:pt x="2512" y="1476"/>
                    <a:pt x="2399" y="1409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5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5"/>
                    <a:pt x="3030" y="1758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2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7"/>
                    <a:pt x="2714" y="721"/>
                  </a:cubicBezTo>
                  <a:cubicBezTo>
                    <a:pt x="2579" y="688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4"/>
                    <a:pt x="1376" y="674"/>
                  </a:cubicBezTo>
                  <a:cubicBezTo>
                    <a:pt x="1278" y="674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4"/>
                  </a:cubicBezTo>
                  <a:cubicBezTo>
                    <a:pt x="755" y="451"/>
                    <a:pt x="766" y="429"/>
                    <a:pt x="811" y="406"/>
                  </a:cubicBezTo>
                  <a:cubicBezTo>
                    <a:pt x="837" y="400"/>
                    <a:pt x="863" y="393"/>
                    <a:pt x="891" y="393"/>
                  </a:cubicBezTo>
                  <a:cubicBezTo>
                    <a:pt x="912" y="393"/>
                    <a:pt x="934" y="397"/>
                    <a:pt x="957" y="406"/>
                  </a:cubicBezTo>
                  <a:cubicBezTo>
                    <a:pt x="1014" y="417"/>
                    <a:pt x="1093" y="462"/>
                    <a:pt x="1216" y="519"/>
                  </a:cubicBezTo>
                  <a:lnTo>
                    <a:pt x="1329" y="586"/>
                  </a:lnTo>
                  <a:lnTo>
                    <a:pt x="1971" y="327"/>
                  </a:lnTo>
                  <a:cubicBezTo>
                    <a:pt x="1915" y="293"/>
                    <a:pt x="1881" y="271"/>
                    <a:pt x="1847" y="248"/>
                  </a:cubicBezTo>
                  <a:cubicBezTo>
                    <a:pt x="1644" y="136"/>
                    <a:pt x="1442" y="68"/>
                    <a:pt x="1228" y="46"/>
                  </a:cubicBezTo>
                  <a:cubicBezTo>
                    <a:pt x="1174" y="40"/>
                    <a:pt x="1121" y="37"/>
                    <a:pt x="1067" y="37"/>
                  </a:cubicBezTo>
                  <a:cubicBezTo>
                    <a:pt x="906" y="37"/>
                    <a:pt x="743" y="63"/>
                    <a:pt x="574" y="113"/>
                  </a:cubicBezTo>
                  <a:lnTo>
                    <a:pt x="36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8" name="Google Shape;948;p33"/>
            <p:cNvSpPr/>
            <p:nvPr/>
          </p:nvSpPr>
          <p:spPr>
            <a:xfrm>
              <a:off x="1694878" y="1984602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1" y="327"/>
                  </a:moveTo>
                  <a:lnTo>
                    <a:pt x="1329" y="586"/>
                  </a:lnTo>
                  <a:lnTo>
                    <a:pt x="1216" y="519"/>
                  </a:lnTo>
                  <a:cubicBezTo>
                    <a:pt x="1093" y="462"/>
                    <a:pt x="1014" y="417"/>
                    <a:pt x="957" y="406"/>
                  </a:cubicBezTo>
                  <a:cubicBezTo>
                    <a:pt x="901" y="384"/>
                    <a:pt x="856" y="395"/>
                    <a:pt x="811" y="406"/>
                  </a:cubicBezTo>
                  <a:cubicBezTo>
                    <a:pt x="766" y="429"/>
                    <a:pt x="755" y="451"/>
                    <a:pt x="766" y="474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6"/>
                    <a:pt x="1442" y="676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8"/>
                    <a:pt x="2714" y="721"/>
                  </a:cubicBezTo>
                  <a:cubicBezTo>
                    <a:pt x="2861" y="767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2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8"/>
                  </a:lnTo>
                  <a:cubicBezTo>
                    <a:pt x="2838" y="1814"/>
                    <a:pt x="2613" y="1837"/>
                    <a:pt x="2365" y="1825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9"/>
                    <a:pt x="2512" y="1476"/>
                    <a:pt x="2568" y="1487"/>
                  </a:cubicBezTo>
                  <a:cubicBezTo>
                    <a:pt x="2636" y="1510"/>
                    <a:pt x="2681" y="1510"/>
                    <a:pt x="2737" y="1487"/>
                  </a:cubicBezTo>
                  <a:cubicBezTo>
                    <a:pt x="2782" y="1465"/>
                    <a:pt x="2793" y="1442"/>
                    <a:pt x="2782" y="1420"/>
                  </a:cubicBezTo>
                  <a:cubicBezTo>
                    <a:pt x="2771" y="1397"/>
                    <a:pt x="2737" y="1363"/>
                    <a:pt x="2681" y="1330"/>
                  </a:cubicBezTo>
                  <a:cubicBezTo>
                    <a:pt x="2523" y="1251"/>
                    <a:pt x="2410" y="1195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4"/>
                    <a:pt x="777" y="1071"/>
                  </a:cubicBezTo>
                  <a:cubicBezTo>
                    <a:pt x="608" y="1026"/>
                    <a:pt x="462" y="969"/>
                    <a:pt x="327" y="890"/>
                  </a:cubicBezTo>
                  <a:cubicBezTo>
                    <a:pt x="124" y="778"/>
                    <a:pt x="11" y="665"/>
                    <a:pt x="11" y="553"/>
                  </a:cubicBezTo>
                  <a:cubicBezTo>
                    <a:pt x="0" y="451"/>
                    <a:pt x="90" y="339"/>
                    <a:pt x="282" y="237"/>
                  </a:cubicBezTo>
                  <a:lnTo>
                    <a:pt x="68" y="113"/>
                  </a:lnTo>
                  <a:lnTo>
                    <a:pt x="360" y="1"/>
                  </a:lnTo>
                  <a:lnTo>
                    <a:pt x="574" y="113"/>
                  </a:lnTo>
                  <a:cubicBezTo>
                    <a:pt x="800" y="46"/>
                    <a:pt x="1014" y="23"/>
                    <a:pt x="1228" y="46"/>
                  </a:cubicBezTo>
                  <a:cubicBezTo>
                    <a:pt x="1442" y="68"/>
                    <a:pt x="1644" y="136"/>
                    <a:pt x="1847" y="248"/>
                  </a:cubicBezTo>
                  <a:cubicBezTo>
                    <a:pt x="1881" y="271"/>
                    <a:pt x="1915" y="293"/>
                    <a:pt x="1971" y="32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3"/>
            <p:cNvSpPr/>
            <p:nvPr/>
          </p:nvSpPr>
          <p:spPr>
            <a:xfrm>
              <a:off x="1628364" y="2071553"/>
              <a:ext cx="41363" cy="28786"/>
            </a:xfrm>
            <a:custGeom>
              <a:avLst/>
              <a:gdLst/>
              <a:ahLst/>
              <a:cxnLst/>
              <a:rect l="l" t="t" r="r" b="b"/>
              <a:pathLst>
                <a:path w="1184" h="824" extrusionOk="0">
                  <a:moveTo>
                    <a:pt x="597" y="1"/>
                  </a:moveTo>
                  <a:cubicBezTo>
                    <a:pt x="271" y="1"/>
                    <a:pt x="1" y="181"/>
                    <a:pt x="1" y="406"/>
                  </a:cubicBezTo>
                  <a:cubicBezTo>
                    <a:pt x="1" y="632"/>
                    <a:pt x="271" y="823"/>
                    <a:pt x="597" y="823"/>
                  </a:cubicBezTo>
                  <a:cubicBezTo>
                    <a:pt x="924" y="823"/>
                    <a:pt x="1183" y="632"/>
                    <a:pt x="1183" y="406"/>
                  </a:cubicBezTo>
                  <a:cubicBezTo>
                    <a:pt x="1183" y="181"/>
                    <a:pt x="924" y="1"/>
                    <a:pt x="59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3"/>
            <p:cNvSpPr/>
            <p:nvPr/>
          </p:nvSpPr>
          <p:spPr>
            <a:xfrm>
              <a:off x="1843592" y="1946035"/>
              <a:ext cx="41363" cy="28786"/>
            </a:xfrm>
            <a:custGeom>
              <a:avLst/>
              <a:gdLst/>
              <a:ahLst/>
              <a:cxnLst/>
              <a:rect l="l" t="t" r="r" b="b"/>
              <a:pathLst>
                <a:path w="1184" h="824" extrusionOk="0">
                  <a:moveTo>
                    <a:pt x="598" y="1"/>
                  </a:moveTo>
                  <a:cubicBezTo>
                    <a:pt x="260" y="1"/>
                    <a:pt x="1" y="181"/>
                    <a:pt x="1" y="406"/>
                  </a:cubicBezTo>
                  <a:cubicBezTo>
                    <a:pt x="1" y="632"/>
                    <a:pt x="260" y="823"/>
                    <a:pt x="598" y="823"/>
                  </a:cubicBezTo>
                  <a:cubicBezTo>
                    <a:pt x="924" y="823"/>
                    <a:pt x="1183" y="632"/>
                    <a:pt x="1183" y="406"/>
                  </a:cubicBezTo>
                  <a:cubicBezTo>
                    <a:pt x="1183" y="181"/>
                    <a:pt x="924" y="1"/>
                    <a:pt x="59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3"/>
            <p:cNvSpPr/>
            <p:nvPr/>
          </p:nvSpPr>
          <p:spPr>
            <a:xfrm>
              <a:off x="1477660" y="1842072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1"/>
                  </a:moveTo>
                  <a:cubicBezTo>
                    <a:pt x="9507" y="1"/>
                    <a:pt x="9400" y="32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4"/>
                    <a:pt x="226" y="5928"/>
                  </a:cubicBezTo>
                  <a:lnTo>
                    <a:pt x="5576" y="9082"/>
                  </a:lnTo>
                  <a:cubicBezTo>
                    <a:pt x="5694" y="9149"/>
                    <a:pt x="5824" y="9183"/>
                    <a:pt x="5952" y="9183"/>
                  </a:cubicBezTo>
                  <a:cubicBezTo>
                    <a:pt x="6080" y="9183"/>
                    <a:pt x="6207" y="9149"/>
                    <a:pt x="6319" y="9082"/>
                  </a:cubicBezTo>
                  <a:lnTo>
                    <a:pt x="15488" y="3743"/>
                  </a:lnTo>
                  <a:cubicBezTo>
                    <a:pt x="15645" y="3653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2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3"/>
            <p:cNvSpPr/>
            <p:nvPr/>
          </p:nvSpPr>
          <p:spPr>
            <a:xfrm>
              <a:off x="1477660" y="1840989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3"/>
                  </a:lnTo>
                  <a:cubicBezTo>
                    <a:pt x="5813" y="9248"/>
                    <a:pt x="6094" y="9248"/>
                    <a:pt x="6319" y="9113"/>
                  </a:cubicBezTo>
                  <a:lnTo>
                    <a:pt x="15488" y="3774"/>
                  </a:lnTo>
                  <a:cubicBezTo>
                    <a:pt x="15645" y="3684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1"/>
                    <a:pt x="9496" y="1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5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3"/>
            <p:cNvSpPr/>
            <p:nvPr/>
          </p:nvSpPr>
          <p:spPr>
            <a:xfrm>
              <a:off x="1477660" y="1835679"/>
              <a:ext cx="546593" cy="320913"/>
            </a:xfrm>
            <a:custGeom>
              <a:avLst/>
              <a:gdLst/>
              <a:ahLst/>
              <a:cxnLst/>
              <a:rect l="l" t="t" r="r" b="b"/>
              <a:pathLst>
                <a:path w="15646" h="9186" extrusionOk="0">
                  <a:moveTo>
                    <a:pt x="9615" y="1"/>
                  </a:moveTo>
                  <a:cubicBezTo>
                    <a:pt x="9507" y="1"/>
                    <a:pt x="9400" y="29"/>
                    <a:pt x="9304" y="85"/>
                  </a:cubicBezTo>
                  <a:lnTo>
                    <a:pt x="226" y="5345"/>
                  </a:lnTo>
                  <a:cubicBezTo>
                    <a:pt x="1" y="5480"/>
                    <a:pt x="1" y="5795"/>
                    <a:pt x="226" y="5931"/>
                  </a:cubicBezTo>
                  <a:lnTo>
                    <a:pt x="5576" y="9084"/>
                  </a:lnTo>
                  <a:cubicBezTo>
                    <a:pt x="5694" y="9152"/>
                    <a:pt x="5824" y="9186"/>
                    <a:pt x="5952" y="9186"/>
                  </a:cubicBezTo>
                  <a:cubicBezTo>
                    <a:pt x="6080" y="9186"/>
                    <a:pt x="6207" y="9152"/>
                    <a:pt x="6319" y="9084"/>
                  </a:cubicBezTo>
                  <a:lnTo>
                    <a:pt x="15488" y="3746"/>
                  </a:lnTo>
                  <a:cubicBezTo>
                    <a:pt x="15645" y="3655"/>
                    <a:pt x="15645" y="3430"/>
                    <a:pt x="15488" y="3340"/>
                  </a:cubicBezTo>
                  <a:lnTo>
                    <a:pt x="9935" y="85"/>
                  </a:lnTo>
                  <a:cubicBezTo>
                    <a:pt x="9834" y="29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3"/>
            <p:cNvSpPr/>
            <p:nvPr/>
          </p:nvSpPr>
          <p:spPr>
            <a:xfrm>
              <a:off x="1477660" y="1834701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4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13"/>
                  </a:lnTo>
                  <a:cubicBezTo>
                    <a:pt x="9732" y="0"/>
                    <a:pt x="9496" y="0"/>
                    <a:pt x="9304" y="113"/>
                  </a:cubicBezTo>
                  <a:lnTo>
                    <a:pt x="226" y="5373"/>
                  </a:lnTo>
                  <a:cubicBezTo>
                    <a:pt x="1" y="5508"/>
                    <a:pt x="1" y="5823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3"/>
            <p:cNvSpPr/>
            <p:nvPr/>
          </p:nvSpPr>
          <p:spPr>
            <a:xfrm>
              <a:off x="1531178" y="1868517"/>
              <a:ext cx="437980" cy="255829"/>
            </a:xfrm>
            <a:custGeom>
              <a:avLst/>
              <a:gdLst/>
              <a:ahLst/>
              <a:cxnLst/>
              <a:rect l="l" t="t" r="r" b="b"/>
              <a:pathLst>
                <a:path w="12537" h="7323" extrusionOk="0">
                  <a:moveTo>
                    <a:pt x="8752" y="1"/>
                  </a:moveTo>
                  <a:cubicBezTo>
                    <a:pt x="8628" y="170"/>
                    <a:pt x="8380" y="283"/>
                    <a:pt x="8088" y="283"/>
                  </a:cubicBezTo>
                  <a:cubicBezTo>
                    <a:pt x="7806" y="283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1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20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3"/>
                    <a:pt x="12311" y="2276"/>
                    <a:pt x="12469" y="2175"/>
                  </a:cubicBezTo>
                  <a:lnTo>
                    <a:pt x="8752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3"/>
            <p:cNvSpPr/>
            <p:nvPr/>
          </p:nvSpPr>
          <p:spPr>
            <a:xfrm>
              <a:off x="1531178" y="1868517"/>
              <a:ext cx="437980" cy="255829"/>
            </a:xfrm>
            <a:custGeom>
              <a:avLst/>
              <a:gdLst/>
              <a:ahLst/>
              <a:cxnLst/>
              <a:rect l="l" t="t" r="r" b="b"/>
              <a:pathLst>
                <a:path w="12537" h="7323" fill="none" extrusionOk="0">
                  <a:moveTo>
                    <a:pt x="12199" y="2580"/>
                  </a:moveTo>
                  <a:cubicBezTo>
                    <a:pt x="12199" y="2423"/>
                    <a:pt x="12311" y="2276"/>
                    <a:pt x="12469" y="2175"/>
                  </a:cubicBezTo>
                  <a:lnTo>
                    <a:pt x="8752" y="1"/>
                  </a:lnTo>
                  <a:cubicBezTo>
                    <a:pt x="8628" y="170"/>
                    <a:pt x="8380" y="283"/>
                    <a:pt x="8088" y="283"/>
                  </a:cubicBezTo>
                  <a:cubicBezTo>
                    <a:pt x="7806" y="283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1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20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3"/>
            <p:cNvSpPr/>
            <p:nvPr/>
          </p:nvSpPr>
          <p:spPr>
            <a:xfrm>
              <a:off x="1671647" y="1928743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1"/>
                  </a:cubicBezTo>
                  <a:cubicBezTo>
                    <a:pt x="4911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" name="Google Shape;958;p33"/>
            <p:cNvSpPr/>
            <p:nvPr/>
          </p:nvSpPr>
          <p:spPr>
            <a:xfrm>
              <a:off x="1671647" y="1928743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fill="none" extrusionOk="0">
                  <a:moveTo>
                    <a:pt x="4911" y="1701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11" y="766"/>
                    <a:pt x="4911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3"/>
            <p:cNvSpPr/>
            <p:nvPr/>
          </p:nvSpPr>
          <p:spPr>
            <a:xfrm>
              <a:off x="1694878" y="1955083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0" y="1"/>
                  </a:moveTo>
                  <a:lnTo>
                    <a:pt x="68" y="114"/>
                  </a:lnTo>
                  <a:lnTo>
                    <a:pt x="282" y="237"/>
                  </a:lnTo>
                  <a:cubicBezTo>
                    <a:pt x="90" y="339"/>
                    <a:pt x="0" y="451"/>
                    <a:pt x="11" y="553"/>
                  </a:cubicBezTo>
                  <a:cubicBezTo>
                    <a:pt x="11" y="665"/>
                    <a:pt x="124" y="778"/>
                    <a:pt x="327" y="891"/>
                  </a:cubicBezTo>
                  <a:cubicBezTo>
                    <a:pt x="462" y="970"/>
                    <a:pt x="608" y="1026"/>
                    <a:pt x="777" y="1071"/>
                  </a:cubicBezTo>
                  <a:cubicBezTo>
                    <a:pt x="935" y="1105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5"/>
                    <a:pt x="2523" y="1251"/>
                    <a:pt x="2681" y="1330"/>
                  </a:cubicBezTo>
                  <a:cubicBezTo>
                    <a:pt x="2737" y="1364"/>
                    <a:pt x="2771" y="1398"/>
                    <a:pt x="2782" y="1420"/>
                  </a:cubicBezTo>
                  <a:cubicBezTo>
                    <a:pt x="2793" y="1443"/>
                    <a:pt x="2782" y="1465"/>
                    <a:pt x="2737" y="1488"/>
                  </a:cubicBezTo>
                  <a:cubicBezTo>
                    <a:pt x="2709" y="1499"/>
                    <a:pt x="2684" y="1505"/>
                    <a:pt x="2657" y="1505"/>
                  </a:cubicBezTo>
                  <a:cubicBezTo>
                    <a:pt x="2630" y="1505"/>
                    <a:pt x="2602" y="1499"/>
                    <a:pt x="2568" y="1488"/>
                  </a:cubicBezTo>
                  <a:cubicBezTo>
                    <a:pt x="2512" y="1476"/>
                    <a:pt x="2399" y="1409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6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5"/>
                    <a:pt x="3030" y="1758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3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7"/>
                    <a:pt x="2714" y="722"/>
                  </a:cubicBezTo>
                  <a:cubicBezTo>
                    <a:pt x="2579" y="688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4"/>
                    <a:pt x="1376" y="674"/>
                  </a:cubicBezTo>
                  <a:cubicBezTo>
                    <a:pt x="1278" y="674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4"/>
                  </a:cubicBezTo>
                  <a:cubicBezTo>
                    <a:pt x="755" y="451"/>
                    <a:pt x="766" y="429"/>
                    <a:pt x="811" y="406"/>
                  </a:cubicBezTo>
                  <a:cubicBezTo>
                    <a:pt x="837" y="400"/>
                    <a:pt x="863" y="393"/>
                    <a:pt x="891" y="393"/>
                  </a:cubicBezTo>
                  <a:cubicBezTo>
                    <a:pt x="912" y="393"/>
                    <a:pt x="934" y="397"/>
                    <a:pt x="957" y="406"/>
                  </a:cubicBezTo>
                  <a:cubicBezTo>
                    <a:pt x="1014" y="418"/>
                    <a:pt x="1093" y="463"/>
                    <a:pt x="1216" y="519"/>
                  </a:cubicBezTo>
                  <a:lnTo>
                    <a:pt x="1329" y="587"/>
                  </a:lnTo>
                  <a:lnTo>
                    <a:pt x="1971" y="328"/>
                  </a:lnTo>
                  <a:cubicBezTo>
                    <a:pt x="1915" y="294"/>
                    <a:pt x="1881" y="271"/>
                    <a:pt x="1847" y="249"/>
                  </a:cubicBezTo>
                  <a:cubicBezTo>
                    <a:pt x="1644" y="136"/>
                    <a:pt x="1442" y="68"/>
                    <a:pt x="1228" y="46"/>
                  </a:cubicBezTo>
                  <a:cubicBezTo>
                    <a:pt x="1174" y="40"/>
                    <a:pt x="1121" y="38"/>
                    <a:pt x="1067" y="38"/>
                  </a:cubicBezTo>
                  <a:cubicBezTo>
                    <a:pt x="906" y="38"/>
                    <a:pt x="743" y="63"/>
                    <a:pt x="574" y="114"/>
                  </a:cubicBezTo>
                  <a:lnTo>
                    <a:pt x="360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3"/>
            <p:cNvSpPr/>
            <p:nvPr/>
          </p:nvSpPr>
          <p:spPr>
            <a:xfrm>
              <a:off x="1694878" y="1955083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1" y="328"/>
                  </a:moveTo>
                  <a:lnTo>
                    <a:pt x="1329" y="587"/>
                  </a:lnTo>
                  <a:lnTo>
                    <a:pt x="1216" y="519"/>
                  </a:lnTo>
                  <a:cubicBezTo>
                    <a:pt x="1093" y="463"/>
                    <a:pt x="1014" y="418"/>
                    <a:pt x="957" y="406"/>
                  </a:cubicBezTo>
                  <a:cubicBezTo>
                    <a:pt x="901" y="384"/>
                    <a:pt x="856" y="395"/>
                    <a:pt x="811" y="406"/>
                  </a:cubicBezTo>
                  <a:cubicBezTo>
                    <a:pt x="766" y="429"/>
                    <a:pt x="755" y="451"/>
                    <a:pt x="766" y="474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7"/>
                    <a:pt x="1442" y="677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8"/>
                    <a:pt x="2714" y="722"/>
                  </a:cubicBezTo>
                  <a:cubicBezTo>
                    <a:pt x="2861" y="767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3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8"/>
                  </a:lnTo>
                  <a:cubicBezTo>
                    <a:pt x="2838" y="1814"/>
                    <a:pt x="2613" y="1837"/>
                    <a:pt x="2365" y="1826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9"/>
                    <a:pt x="2512" y="1476"/>
                    <a:pt x="2568" y="1488"/>
                  </a:cubicBezTo>
                  <a:cubicBezTo>
                    <a:pt x="2636" y="1510"/>
                    <a:pt x="2681" y="1510"/>
                    <a:pt x="2737" y="1488"/>
                  </a:cubicBezTo>
                  <a:cubicBezTo>
                    <a:pt x="2782" y="1465"/>
                    <a:pt x="2793" y="1443"/>
                    <a:pt x="2782" y="1420"/>
                  </a:cubicBezTo>
                  <a:cubicBezTo>
                    <a:pt x="2771" y="1398"/>
                    <a:pt x="2737" y="1364"/>
                    <a:pt x="2681" y="1330"/>
                  </a:cubicBezTo>
                  <a:cubicBezTo>
                    <a:pt x="2523" y="1251"/>
                    <a:pt x="2410" y="1195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5"/>
                    <a:pt x="777" y="1071"/>
                  </a:cubicBezTo>
                  <a:cubicBezTo>
                    <a:pt x="608" y="1026"/>
                    <a:pt x="462" y="970"/>
                    <a:pt x="327" y="891"/>
                  </a:cubicBezTo>
                  <a:cubicBezTo>
                    <a:pt x="124" y="778"/>
                    <a:pt x="11" y="665"/>
                    <a:pt x="11" y="553"/>
                  </a:cubicBezTo>
                  <a:cubicBezTo>
                    <a:pt x="0" y="451"/>
                    <a:pt x="90" y="339"/>
                    <a:pt x="282" y="237"/>
                  </a:cubicBezTo>
                  <a:lnTo>
                    <a:pt x="68" y="114"/>
                  </a:lnTo>
                  <a:lnTo>
                    <a:pt x="360" y="1"/>
                  </a:lnTo>
                  <a:lnTo>
                    <a:pt x="574" y="114"/>
                  </a:lnTo>
                  <a:cubicBezTo>
                    <a:pt x="800" y="46"/>
                    <a:pt x="1014" y="23"/>
                    <a:pt x="1228" y="46"/>
                  </a:cubicBezTo>
                  <a:cubicBezTo>
                    <a:pt x="1442" y="68"/>
                    <a:pt x="1644" y="136"/>
                    <a:pt x="1847" y="249"/>
                  </a:cubicBezTo>
                  <a:cubicBezTo>
                    <a:pt x="1881" y="271"/>
                    <a:pt x="1915" y="294"/>
                    <a:pt x="1971" y="32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3"/>
            <p:cNvSpPr/>
            <p:nvPr/>
          </p:nvSpPr>
          <p:spPr>
            <a:xfrm>
              <a:off x="1628364" y="2042069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7" y="0"/>
                  </a:moveTo>
                  <a:cubicBezTo>
                    <a:pt x="271" y="0"/>
                    <a:pt x="1" y="180"/>
                    <a:pt x="1" y="406"/>
                  </a:cubicBezTo>
                  <a:cubicBezTo>
                    <a:pt x="1" y="631"/>
                    <a:pt x="271" y="822"/>
                    <a:pt x="597" y="822"/>
                  </a:cubicBezTo>
                  <a:cubicBezTo>
                    <a:pt x="924" y="822"/>
                    <a:pt x="1183" y="631"/>
                    <a:pt x="1183" y="406"/>
                  </a:cubicBezTo>
                  <a:cubicBezTo>
                    <a:pt x="1183" y="180"/>
                    <a:pt x="924" y="0"/>
                    <a:pt x="5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3"/>
            <p:cNvSpPr/>
            <p:nvPr/>
          </p:nvSpPr>
          <p:spPr>
            <a:xfrm>
              <a:off x="1843592" y="1916551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8" y="0"/>
                  </a:moveTo>
                  <a:cubicBezTo>
                    <a:pt x="260" y="0"/>
                    <a:pt x="1" y="180"/>
                    <a:pt x="1" y="406"/>
                  </a:cubicBezTo>
                  <a:cubicBezTo>
                    <a:pt x="1" y="631"/>
                    <a:pt x="260" y="822"/>
                    <a:pt x="598" y="822"/>
                  </a:cubicBezTo>
                  <a:cubicBezTo>
                    <a:pt x="924" y="822"/>
                    <a:pt x="1183" y="631"/>
                    <a:pt x="1183" y="406"/>
                  </a:cubicBezTo>
                  <a:cubicBezTo>
                    <a:pt x="1183" y="180"/>
                    <a:pt x="924" y="0"/>
                    <a:pt x="59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3" name="Google Shape;963;p33"/>
          <p:cNvGrpSpPr/>
          <p:nvPr/>
        </p:nvGrpSpPr>
        <p:grpSpPr>
          <a:xfrm>
            <a:off x="1051028" y="1240410"/>
            <a:ext cx="1226139" cy="1052197"/>
            <a:chOff x="3337647" y="-19723"/>
            <a:chExt cx="543453" cy="466358"/>
          </a:xfrm>
        </p:grpSpPr>
        <p:grpSp>
          <p:nvGrpSpPr>
            <p:cNvPr id="964" name="Google Shape;964;p33"/>
            <p:cNvGrpSpPr/>
            <p:nvPr/>
          </p:nvGrpSpPr>
          <p:grpSpPr>
            <a:xfrm>
              <a:off x="3337647" y="-19723"/>
              <a:ext cx="543453" cy="466358"/>
              <a:chOff x="3670072" y="965127"/>
              <a:chExt cx="543453" cy="466358"/>
            </a:xfrm>
          </p:grpSpPr>
          <p:sp>
            <p:nvSpPr>
              <p:cNvPr id="965" name="Google Shape;965;p33"/>
              <p:cNvSpPr/>
              <p:nvPr/>
            </p:nvSpPr>
            <p:spPr>
              <a:xfrm>
                <a:off x="3670077" y="1171687"/>
                <a:ext cx="543449" cy="259798"/>
              </a:xfrm>
              <a:custGeom>
                <a:avLst/>
                <a:gdLst/>
                <a:ahLst/>
                <a:cxnLst/>
                <a:rect l="l" t="t" r="r" b="b"/>
                <a:pathLst>
                  <a:path w="15556" h="6748" extrusionOk="0">
                    <a:moveTo>
                      <a:pt x="23" y="1"/>
                    </a:moveTo>
                    <a:cubicBezTo>
                      <a:pt x="35" y="46"/>
                      <a:pt x="35" y="80"/>
                      <a:pt x="46" y="125"/>
                    </a:cubicBezTo>
                    <a:cubicBezTo>
                      <a:pt x="12" y="249"/>
                      <a:pt x="1" y="372"/>
                      <a:pt x="1" y="508"/>
                    </a:cubicBezTo>
                    <a:cubicBezTo>
                      <a:pt x="1" y="586"/>
                      <a:pt x="1" y="654"/>
                      <a:pt x="12" y="733"/>
                    </a:cubicBezTo>
                    <a:lnTo>
                      <a:pt x="1" y="1397"/>
                    </a:lnTo>
                    <a:cubicBezTo>
                      <a:pt x="1" y="1454"/>
                      <a:pt x="1" y="1499"/>
                      <a:pt x="1" y="1544"/>
                    </a:cubicBezTo>
                    <a:cubicBezTo>
                      <a:pt x="1" y="1916"/>
                      <a:pt x="125" y="2265"/>
                      <a:pt x="361" y="2569"/>
                    </a:cubicBezTo>
                    <a:cubicBezTo>
                      <a:pt x="372" y="2580"/>
                      <a:pt x="384" y="2591"/>
                      <a:pt x="395" y="2614"/>
                    </a:cubicBezTo>
                    <a:cubicBezTo>
                      <a:pt x="936" y="3290"/>
                      <a:pt x="1983" y="3740"/>
                      <a:pt x="3177" y="3740"/>
                    </a:cubicBezTo>
                    <a:cubicBezTo>
                      <a:pt x="3898" y="3740"/>
                      <a:pt x="4551" y="3582"/>
                      <a:pt x="5092" y="3301"/>
                    </a:cubicBezTo>
                    <a:lnTo>
                      <a:pt x="5092" y="3301"/>
                    </a:lnTo>
                    <a:cubicBezTo>
                      <a:pt x="5081" y="3368"/>
                      <a:pt x="5069" y="3436"/>
                      <a:pt x="5069" y="3504"/>
                    </a:cubicBezTo>
                    <a:cubicBezTo>
                      <a:pt x="5069" y="3582"/>
                      <a:pt x="5081" y="3661"/>
                      <a:pt x="5092" y="3740"/>
                    </a:cubicBezTo>
                    <a:lnTo>
                      <a:pt x="5081" y="4405"/>
                    </a:lnTo>
                    <a:cubicBezTo>
                      <a:pt x="5081" y="4450"/>
                      <a:pt x="5069" y="4506"/>
                      <a:pt x="5069" y="4551"/>
                    </a:cubicBezTo>
                    <a:cubicBezTo>
                      <a:pt x="5069" y="4698"/>
                      <a:pt x="5092" y="4844"/>
                      <a:pt x="5137" y="4990"/>
                    </a:cubicBezTo>
                    <a:cubicBezTo>
                      <a:pt x="5430" y="5993"/>
                      <a:pt x="6714" y="6747"/>
                      <a:pt x="8257" y="6747"/>
                    </a:cubicBezTo>
                    <a:cubicBezTo>
                      <a:pt x="9000" y="6747"/>
                      <a:pt x="9687" y="6567"/>
                      <a:pt x="10239" y="6274"/>
                    </a:cubicBezTo>
                    <a:cubicBezTo>
                      <a:pt x="10262" y="6252"/>
                      <a:pt x="10295" y="6241"/>
                      <a:pt x="10318" y="6218"/>
                    </a:cubicBezTo>
                    <a:cubicBezTo>
                      <a:pt x="10611" y="6049"/>
                      <a:pt x="10847" y="5846"/>
                      <a:pt x="11039" y="5610"/>
                    </a:cubicBezTo>
                    <a:cubicBezTo>
                      <a:pt x="11050" y="5599"/>
                      <a:pt x="11061" y="5587"/>
                      <a:pt x="11073" y="5576"/>
                    </a:cubicBezTo>
                    <a:cubicBezTo>
                      <a:pt x="11208" y="5396"/>
                      <a:pt x="11309" y="5193"/>
                      <a:pt x="11365" y="4990"/>
                    </a:cubicBezTo>
                    <a:cubicBezTo>
                      <a:pt x="11411" y="4844"/>
                      <a:pt x="11433" y="4698"/>
                      <a:pt x="11433" y="4551"/>
                    </a:cubicBezTo>
                    <a:lnTo>
                      <a:pt x="11433" y="4258"/>
                    </a:lnTo>
                    <a:cubicBezTo>
                      <a:pt x="11726" y="4326"/>
                      <a:pt x="12041" y="4360"/>
                      <a:pt x="12368" y="4360"/>
                    </a:cubicBezTo>
                    <a:cubicBezTo>
                      <a:pt x="13123" y="4360"/>
                      <a:pt x="13810" y="4179"/>
                      <a:pt x="14350" y="3875"/>
                    </a:cubicBezTo>
                    <a:cubicBezTo>
                      <a:pt x="14384" y="3864"/>
                      <a:pt x="14407" y="3842"/>
                      <a:pt x="14440" y="3830"/>
                    </a:cubicBezTo>
                    <a:cubicBezTo>
                      <a:pt x="14722" y="3661"/>
                      <a:pt x="14970" y="3447"/>
                      <a:pt x="15150" y="3222"/>
                    </a:cubicBezTo>
                    <a:cubicBezTo>
                      <a:pt x="15161" y="3211"/>
                      <a:pt x="15172" y="3188"/>
                      <a:pt x="15184" y="3177"/>
                    </a:cubicBezTo>
                    <a:cubicBezTo>
                      <a:pt x="15319" y="2997"/>
                      <a:pt x="15432" y="2805"/>
                      <a:pt x="15488" y="2603"/>
                    </a:cubicBezTo>
                    <a:cubicBezTo>
                      <a:pt x="15533" y="2456"/>
                      <a:pt x="15555" y="2310"/>
                      <a:pt x="15555" y="2152"/>
                    </a:cubicBezTo>
                    <a:lnTo>
                      <a:pt x="15555" y="1116"/>
                    </a:lnTo>
                    <a:cubicBezTo>
                      <a:pt x="15555" y="981"/>
                      <a:pt x="15533" y="857"/>
                      <a:pt x="15499" y="733"/>
                    </a:cubicBezTo>
                    <a:cubicBezTo>
                      <a:pt x="15533" y="609"/>
                      <a:pt x="15555" y="485"/>
                      <a:pt x="15555" y="350"/>
                    </a:cubicBezTo>
                    <a:lnTo>
                      <a:pt x="15555" y="1"/>
                    </a:lnTo>
                    <a:close/>
                  </a:path>
                </a:pathLst>
              </a:custGeom>
              <a:solidFill>
                <a:srgbClr val="000000">
                  <a:alpha val="126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6" name="Google Shape;966;p33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lnTo>
                      <a:pt x="5981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7" name="Google Shape;967;p33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" name="Google Shape;968;p33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fill="none" extrusionOk="0">
                    <a:moveTo>
                      <a:pt x="5981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" name="Google Shape;969;p33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" name="Google Shape;970;p33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64" y="3413"/>
                      <a:pt x="6364" y="2197"/>
                    </a:cubicBezTo>
                    <a:cubicBezTo>
                      <a:pt x="6364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" name="Google Shape;971;p33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" name="Google Shape;972;p33"/>
              <p:cNvSpPr/>
              <p:nvPr/>
            </p:nvSpPr>
            <p:spPr>
              <a:xfrm>
                <a:off x="4102903" y="127478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cubicBezTo>
                      <a:pt x="0" y="1003"/>
                      <a:pt x="0" y="981"/>
                      <a:pt x="0" y="947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" name="Google Shape;973;p33"/>
              <p:cNvSpPr/>
              <p:nvPr/>
            </p:nvSpPr>
            <p:spPr>
              <a:xfrm>
                <a:off x="4078100" y="127244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" name="Google Shape;974;p33"/>
              <p:cNvSpPr/>
              <p:nvPr/>
            </p:nvSpPr>
            <p:spPr>
              <a:xfrm>
                <a:off x="4055288" y="126730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5" name="Google Shape;975;p33"/>
              <p:cNvSpPr/>
              <p:nvPr/>
            </p:nvSpPr>
            <p:spPr>
              <a:xfrm>
                <a:off x="4034048" y="125864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6" name="Google Shape;976;p33"/>
              <p:cNvSpPr/>
              <p:nvPr/>
            </p:nvSpPr>
            <p:spPr>
              <a:xfrm>
                <a:off x="4016337" y="124645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7" name="Google Shape;977;p33"/>
              <p:cNvSpPr/>
              <p:nvPr/>
            </p:nvSpPr>
            <p:spPr>
              <a:xfrm>
                <a:off x="3999813" y="122639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8" name="Google Shape;978;p33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23" y="2647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9" name="Google Shape;979;p33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0" name="Google Shape;980;p33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37"/>
                    </a:lnTo>
                    <a:cubicBezTo>
                      <a:pt x="90" y="350"/>
                      <a:pt x="0" y="451"/>
                      <a:pt x="11" y="564"/>
                    </a:cubicBezTo>
                    <a:cubicBezTo>
                      <a:pt x="11" y="665"/>
                      <a:pt x="124" y="778"/>
                      <a:pt x="327" y="891"/>
                    </a:cubicBezTo>
                    <a:cubicBezTo>
                      <a:pt x="462" y="969"/>
                      <a:pt x="620" y="1026"/>
                      <a:pt x="777" y="1071"/>
                    </a:cubicBezTo>
                    <a:cubicBezTo>
                      <a:pt x="935" y="1105"/>
                      <a:pt x="1081" y="1138"/>
                      <a:pt x="1216" y="1138"/>
                    </a:cubicBezTo>
                    <a:cubicBezTo>
                      <a:pt x="1352" y="1138"/>
                      <a:pt x="1577" y="1138"/>
                      <a:pt x="1904" y="1127"/>
                    </a:cubicBezTo>
                    <a:cubicBezTo>
                      <a:pt x="2095" y="1127"/>
                      <a:pt x="2241" y="1138"/>
                      <a:pt x="2320" y="1161"/>
                    </a:cubicBezTo>
                    <a:cubicBezTo>
                      <a:pt x="2410" y="1195"/>
                      <a:pt x="2534" y="1251"/>
                      <a:pt x="2681" y="1330"/>
                    </a:cubicBezTo>
                    <a:cubicBezTo>
                      <a:pt x="2737" y="1364"/>
                      <a:pt x="2782" y="1397"/>
                      <a:pt x="2782" y="1420"/>
                    </a:cubicBezTo>
                    <a:cubicBezTo>
                      <a:pt x="2793" y="1454"/>
                      <a:pt x="2782" y="1476"/>
                      <a:pt x="2737" y="1487"/>
                    </a:cubicBezTo>
                    <a:cubicBezTo>
                      <a:pt x="2709" y="1499"/>
                      <a:pt x="2684" y="1504"/>
                      <a:pt x="2658" y="1504"/>
                    </a:cubicBezTo>
                    <a:cubicBezTo>
                      <a:pt x="2633" y="1504"/>
                      <a:pt x="2608" y="1499"/>
                      <a:pt x="2579" y="1487"/>
                    </a:cubicBezTo>
                    <a:cubicBezTo>
                      <a:pt x="2512" y="1476"/>
                      <a:pt x="2399" y="1409"/>
                      <a:pt x="2219" y="1307"/>
                    </a:cubicBezTo>
                    <a:lnTo>
                      <a:pt x="2050" y="1217"/>
                    </a:lnTo>
                    <a:lnTo>
                      <a:pt x="1408" y="1487"/>
                    </a:lnTo>
                    <a:lnTo>
                      <a:pt x="1543" y="1555"/>
                    </a:lnTo>
                    <a:cubicBezTo>
                      <a:pt x="1847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4" y="1834"/>
                      <a:pt x="2886" y="1809"/>
                      <a:pt x="3030" y="1758"/>
                    </a:cubicBezTo>
                    <a:lnTo>
                      <a:pt x="3289" y="1904"/>
                    </a:lnTo>
                    <a:lnTo>
                      <a:pt x="3582" y="1792"/>
                    </a:lnTo>
                    <a:lnTo>
                      <a:pt x="3334" y="1645"/>
                    </a:lnTo>
                    <a:cubicBezTo>
                      <a:pt x="3514" y="1533"/>
                      <a:pt x="3593" y="1420"/>
                      <a:pt x="3571" y="1296"/>
                    </a:cubicBezTo>
                    <a:cubicBezTo>
                      <a:pt x="3537" y="1172"/>
                      <a:pt x="3402" y="1048"/>
                      <a:pt x="3165" y="913"/>
                    </a:cubicBezTo>
                    <a:cubicBezTo>
                      <a:pt x="3007" y="834"/>
                      <a:pt x="2861" y="767"/>
                      <a:pt x="2726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3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5" y="671"/>
                      <a:pt x="1478" y="674"/>
                      <a:pt x="1380" y="674"/>
                    </a:cubicBezTo>
                    <a:cubicBezTo>
                      <a:pt x="1281" y="674"/>
                      <a:pt x="1211" y="671"/>
                      <a:pt x="1171" y="665"/>
                    </a:cubicBezTo>
                    <a:cubicBezTo>
                      <a:pt x="1081" y="665"/>
                      <a:pt x="991" y="631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7" y="404"/>
                      <a:pt x="868" y="399"/>
                      <a:pt x="897" y="399"/>
                    </a:cubicBezTo>
                    <a:cubicBezTo>
                      <a:pt x="918" y="399"/>
                      <a:pt x="939" y="402"/>
                      <a:pt x="957" y="406"/>
                    </a:cubicBezTo>
                    <a:cubicBezTo>
                      <a:pt x="1014" y="417"/>
                      <a:pt x="1093" y="463"/>
                      <a:pt x="1216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81" y="271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1" name="Google Shape;981;p33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6" y="530"/>
                    </a:lnTo>
                    <a:cubicBezTo>
                      <a:pt x="1093" y="463"/>
                      <a:pt x="1014" y="417"/>
                      <a:pt x="957" y="406"/>
                    </a:cubicBezTo>
                    <a:cubicBezTo>
                      <a:pt x="912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31"/>
                      <a:pt x="1081" y="665"/>
                      <a:pt x="1171" y="665"/>
                    </a:cubicBezTo>
                    <a:cubicBezTo>
                      <a:pt x="1250" y="677"/>
                      <a:pt x="1453" y="677"/>
                      <a:pt x="1757" y="665"/>
                    </a:cubicBezTo>
                    <a:cubicBezTo>
                      <a:pt x="2027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26" y="733"/>
                    </a:cubicBezTo>
                    <a:cubicBezTo>
                      <a:pt x="2861" y="767"/>
                      <a:pt x="3007" y="834"/>
                      <a:pt x="3165" y="913"/>
                    </a:cubicBezTo>
                    <a:cubicBezTo>
                      <a:pt x="3402" y="1048"/>
                      <a:pt x="3537" y="1172"/>
                      <a:pt x="3571" y="1296"/>
                    </a:cubicBezTo>
                    <a:cubicBezTo>
                      <a:pt x="3593" y="1420"/>
                      <a:pt x="3514" y="1533"/>
                      <a:pt x="3334" y="1645"/>
                    </a:cubicBezTo>
                    <a:lnTo>
                      <a:pt x="3582" y="1792"/>
                    </a:lnTo>
                    <a:lnTo>
                      <a:pt x="3289" y="1904"/>
                    </a:lnTo>
                    <a:lnTo>
                      <a:pt x="3030" y="1758"/>
                    </a:lnTo>
                    <a:cubicBezTo>
                      <a:pt x="2838" y="1825"/>
                      <a:pt x="2613" y="1848"/>
                      <a:pt x="2365" y="1825"/>
                    </a:cubicBezTo>
                    <a:cubicBezTo>
                      <a:pt x="2118" y="1814"/>
                      <a:pt x="1847" y="1724"/>
                      <a:pt x="1543" y="1555"/>
                    </a:cubicBezTo>
                    <a:lnTo>
                      <a:pt x="1408" y="1487"/>
                    </a:lnTo>
                    <a:lnTo>
                      <a:pt x="2050" y="1217"/>
                    </a:lnTo>
                    <a:lnTo>
                      <a:pt x="2219" y="1307"/>
                    </a:lnTo>
                    <a:cubicBezTo>
                      <a:pt x="2399" y="1409"/>
                      <a:pt x="2512" y="1476"/>
                      <a:pt x="2579" y="1487"/>
                    </a:cubicBezTo>
                    <a:cubicBezTo>
                      <a:pt x="2636" y="1510"/>
                      <a:pt x="2681" y="1510"/>
                      <a:pt x="2737" y="1487"/>
                    </a:cubicBezTo>
                    <a:cubicBezTo>
                      <a:pt x="2782" y="1476"/>
                      <a:pt x="2793" y="1454"/>
                      <a:pt x="2782" y="1420"/>
                    </a:cubicBezTo>
                    <a:cubicBezTo>
                      <a:pt x="2782" y="1397"/>
                      <a:pt x="2737" y="1364"/>
                      <a:pt x="2681" y="1330"/>
                    </a:cubicBezTo>
                    <a:cubicBezTo>
                      <a:pt x="2534" y="1251"/>
                      <a:pt x="2410" y="1195"/>
                      <a:pt x="2320" y="1161"/>
                    </a:cubicBezTo>
                    <a:cubicBezTo>
                      <a:pt x="2241" y="1138"/>
                      <a:pt x="2095" y="1127"/>
                      <a:pt x="1904" y="1127"/>
                    </a:cubicBezTo>
                    <a:cubicBezTo>
                      <a:pt x="1577" y="1138"/>
                      <a:pt x="1352" y="1138"/>
                      <a:pt x="1216" y="1138"/>
                    </a:cubicBezTo>
                    <a:cubicBezTo>
                      <a:pt x="1081" y="1138"/>
                      <a:pt x="935" y="1105"/>
                      <a:pt x="777" y="1071"/>
                    </a:cubicBezTo>
                    <a:cubicBezTo>
                      <a:pt x="620" y="1026"/>
                      <a:pt x="462" y="969"/>
                      <a:pt x="327" y="891"/>
                    </a:cubicBezTo>
                    <a:cubicBezTo>
                      <a:pt x="124" y="778"/>
                      <a:pt x="11" y="665"/>
                      <a:pt x="11" y="564"/>
                    </a:cubicBezTo>
                    <a:cubicBezTo>
                      <a:pt x="0" y="451"/>
                      <a:pt x="90" y="350"/>
                      <a:pt x="282" y="237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2" name="Google Shape;982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3" name="Google Shape;983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4" name="Google Shape;984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5" name="Google Shape;985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6" name="Google Shape;986;p33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7"/>
                    </a:cubicBezTo>
                    <a:cubicBezTo>
                      <a:pt x="6364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7" name="Google Shape;987;p33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3"/>
                      <a:pt x="4934" y="4393"/>
                      <a:pt x="3177" y="4393"/>
                    </a:cubicBezTo>
                    <a:cubicBezTo>
                      <a:pt x="1420" y="4393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8" name="Google Shape;988;p33"/>
              <p:cNvSpPr/>
              <p:nvPr/>
            </p:nvSpPr>
            <p:spPr>
              <a:xfrm>
                <a:off x="4102903" y="121144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0" y="958"/>
                    </a:cubicBez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9" name="Google Shape;989;p33"/>
              <p:cNvSpPr/>
              <p:nvPr/>
            </p:nvSpPr>
            <p:spPr>
              <a:xfrm>
                <a:off x="4078100" y="1209490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0" name="Google Shape;990;p33"/>
              <p:cNvSpPr/>
              <p:nvPr/>
            </p:nvSpPr>
            <p:spPr>
              <a:xfrm>
                <a:off x="4055288" y="1204354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1" name="Google Shape;991;p33"/>
              <p:cNvSpPr/>
              <p:nvPr/>
            </p:nvSpPr>
            <p:spPr>
              <a:xfrm>
                <a:off x="4034048" y="119569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2" name="Google Shape;992;p33"/>
              <p:cNvSpPr/>
              <p:nvPr/>
            </p:nvSpPr>
            <p:spPr>
              <a:xfrm>
                <a:off x="4016337" y="118349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3" name="Google Shape;993;p33"/>
              <p:cNvSpPr/>
              <p:nvPr/>
            </p:nvSpPr>
            <p:spPr>
              <a:xfrm>
                <a:off x="3999813" y="116344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4" name="Google Shape;994;p33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37"/>
                      <a:pt x="1104" y="3402"/>
                      <a:pt x="2456" y="3402"/>
                    </a:cubicBezTo>
                    <a:cubicBezTo>
                      <a:pt x="3819" y="3402"/>
                      <a:pt x="4923" y="2637"/>
                      <a:pt x="4923" y="1702"/>
                    </a:cubicBezTo>
                    <a:cubicBezTo>
                      <a:pt x="4923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5" name="Google Shape;995;p33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fill="none" extrusionOk="0">
                    <a:moveTo>
                      <a:pt x="4923" y="1702"/>
                    </a:moveTo>
                    <a:cubicBezTo>
                      <a:pt x="4923" y="2637"/>
                      <a:pt x="3819" y="3402"/>
                      <a:pt x="2456" y="3402"/>
                    </a:cubicBezTo>
                    <a:cubicBezTo>
                      <a:pt x="1104" y="3402"/>
                      <a:pt x="1" y="2637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23" y="767"/>
                      <a:pt x="4923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6" name="Google Shape;996;p33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90" y="350"/>
                      <a:pt x="0" y="462"/>
                      <a:pt x="11" y="564"/>
                    </a:cubicBezTo>
                    <a:cubicBezTo>
                      <a:pt x="11" y="676"/>
                      <a:pt x="124" y="789"/>
                      <a:pt x="327" y="901"/>
                    </a:cubicBezTo>
                    <a:cubicBezTo>
                      <a:pt x="462" y="980"/>
                      <a:pt x="620" y="1037"/>
                      <a:pt x="777" y="1082"/>
                    </a:cubicBezTo>
                    <a:cubicBezTo>
                      <a:pt x="935" y="1115"/>
                      <a:pt x="1081" y="1138"/>
                      <a:pt x="1216" y="1149"/>
                    </a:cubicBezTo>
                    <a:cubicBezTo>
                      <a:pt x="1352" y="1149"/>
                      <a:pt x="1577" y="1149"/>
                      <a:pt x="1904" y="1138"/>
                    </a:cubicBezTo>
                    <a:cubicBezTo>
                      <a:pt x="2095" y="1138"/>
                      <a:pt x="2241" y="1149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4"/>
                      <a:pt x="2782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10"/>
                      <a:pt x="2684" y="1515"/>
                      <a:pt x="2658" y="1515"/>
                    </a:cubicBezTo>
                    <a:cubicBezTo>
                      <a:pt x="2633" y="1515"/>
                      <a:pt x="2608" y="1510"/>
                      <a:pt x="2579" y="1498"/>
                    </a:cubicBezTo>
                    <a:cubicBezTo>
                      <a:pt x="2512" y="1487"/>
                      <a:pt x="2399" y="1420"/>
                      <a:pt x="2219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34" y="1656"/>
                    </a:lnTo>
                    <a:cubicBezTo>
                      <a:pt x="3514" y="1543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2"/>
                    </a:cubicBezTo>
                    <a:cubicBezTo>
                      <a:pt x="2579" y="699"/>
                      <a:pt x="2444" y="676"/>
                      <a:pt x="2332" y="665"/>
                    </a:cubicBezTo>
                    <a:cubicBezTo>
                      <a:pt x="2219" y="665"/>
                      <a:pt x="2027" y="665"/>
                      <a:pt x="1757" y="676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5"/>
                    </a:cubicBezTo>
                    <a:cubicBezTo>
                      <a:pt x="755" y="462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8"/>
                      <a:pt x="1093" y="473"/>
                      <a:pt x="1216" y="530"/>
                    </a:cubicBezTo>
                    <a:lnTo>
                      <a:pt x="1329" y="597"/>
                    </a:lnTo>
                    <a:lnTo>
                      <a:pt x="1971" y="338"/>
                    </a:lnTo>
                    <a:cubicBezTo>
                      <a:pt x="1915" y="304"/>
                      <a:pt x="1881" y="282"/>
                      <a:pt x="1847" y="259"/>
                    </a:cubicBezTo>
                    <a:cubicBezTo>
                      <a:pt x="1644" y="147"/>
                      <a:pt x="1442" y="79"/>
                      <a:pt x="1228" y="57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3" y="74"/>
                      <a:pt x="574" y="124"/>
                    </a:cubicBezTo>
                    <a:lnTo>
                      <a:pt x="3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7" name="Google Shape;997;p33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8"/>
                    </a:moveTo>
                    <a:lnTo>
                      <a:pt x="1329" y="597"/>
                    </a:lnTo>
                    <a:lnTo>
                      <a:pt x="1216" y="530"/>
                    </a:lnTo>
                    <a:cubicBezTo>
                      <a:pt x="1093" y="473"/>
                      <a:pt x="1014" y="428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2"/>
                      <a:pt x="766" y="485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6"/>
                    </a:cubicBezTo>
                    <a:cubicBezTo>
                      <a:pt x="1250" y="687"/>
                      <a:pt x="1453" y="687"/>
                      <a:pt x="1757" y="676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6"/>
                      <a:pt x="2579" y="699"/>
                      <a:pt x="2726" y="732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3"/>
                      <a:pt x="3334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6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8"/>
                    </a:lnTo>
                    <a:cubicBezTo>
                      <a:pt x="2399" y="1420"/>
                      <a:pt x="2512" y="1487"/>
                      <a:pt x="2579" y="1498"/>
                    </a:cubicBezTo>
                    <a:cubicBezTo>
                      <a:pt x="2636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82" y="1408"/>
                      <a:pt x="2737" y="1374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49"/>
                      <a:pt x="2095" y="1138"/>
                      <a:pt x="1904" y="1138"/>
                    </a:cubicBezTo>
                    <a:cubicBezTo>
                      <a:pt x="1577" y="1149"/>
                      <a:pt x="1352" y="1149"/>
                      <a:pt x="1216" y="1149"/>
                    </a:cubicBezTo>
                    <a:cubicBezTo>
                      <a:pt x="1081" y="1138"/>
                      <a:pt x="935" y="1115"/>
                      <a:pt x="777" y="1082"/>
                    </a:cubicBezTo>
                    <a:cubicBezTo>
                      <a:pt x="620" y="1037"/>
                      <a:pt x="462" y="980"/>
                      <a:pt x="327" y="901"/>
                    </a:cubicBezTo>
                    <a:cubicBezTo>
                      <a:pt x="124" y="789"/>
                      <a:pt x="11" y="676"/>
                      <a:pt x="11" y="564"/>
                    </a:cubicBezTo>
                    <a:cubicBezTo>
                      <a:pt x="0" y="462"/>
                      <a:pt x="90" y="350"/>
                      <a:pt x="282" y="248"/>
                    </a:cubicBezTo>
                    <a:lnTo>
                      <a:pt x="68" y="124"/>
                    </a:lnTo>
                    <a:lnTo>
                      <a:pt x="360" y="0"/>
                    </a:lnTo>
                    <a:lnTo>
                      <a:pt x="574" y="124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4" y="147"/>
                      <a:pt x="1847" y="259"/>
                    </a:cubicBezTo>
                    <a:cubicBezTo>
                      <a:pt x="1881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8" name="Google Shape;998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9" name="Google Shape;999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0" name="Google Shape;1000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1" name="Google Shape;1001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9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2" name="Google Shape;1002;p33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1"/>
                    </a:moveTo>
                    <a:cubicBezTo>
                      <a:pt x="1420" y="1"/>
                      <a:pt x="1" y="981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64" y="3414"/>
                      <a:pt x="6364" y="2197"/>
                    </a:cubicBezTo>
                    <a:cubicBezTo>
                      <a:pt x="6364" y="981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3" name="Google Shape;1003;p33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4"/>
                      <a:pt x="4934" y="4393"/>
                      <a:pt x="3177" y="4393"/>
                    </a:cubicBezTo>
                    <a:cubicBezTo>
                      <a:pt x="1420" y="4393"/>
                      <a:pt x="1" y="3414"/>
                      <a:pt x="1" y="2197"/>
                    </a:cubicBezTo>
                    <a:cubicBezTo>
                      <a:pt x="1" y="981"/>
                      <a:pt x="1420" y="1"/>
                      <a:pt x="3177" y="1"/>
                    </a:cubicBezTo>
                    <a:cubicBezTo>
                      <a:pt x="4934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4" name="Google Shape;1004;p33"/>
              <p:cNvSpPr/>
              <p:nvPr/>
            </p:nvSpPr>
            <p:spPr>
              <a:xfrm>
                <a:off x="4102903" y="1147692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1"/>
                      <a:pt x="0" y="958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5" name="Google Shape;1005;p33"/>
              <p:cNvSpPr/>
              <p:nvPr/>
            </p:nvSpPr>
            <p:spPr>
              <a:xfrm>
                <a:off x="4078100" y="114573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6" name="Google Shape;1006;p33"/>
              <p:cNvSpPr/>
              <p:nvPr/>
            </p:nvSpPr>
            <p:spPr>
              <a:xfrm>
                <a:off x="4055288" y="1140600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7" name="Google Shape;1007;p33"/>
              <p:cNvSpPr/>
              <p:nvPr/>
            </p:nvSpPr>
            <p:spPr>
              <a:xfrm>
                <a:off x="4034048" y="113197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8" name="Google Shape;1008;p33"/>
              <p:cNvSpPr/>
              <p:nvPr/>
            </p:nvSpPr>
            <p:spPr>
              <a:xfrm>
                <a:off x="4016337" y="111974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9" name="Google Shape;1009;p33"/>
              <p:cNvSpPr/>
              <p:nvPr/>
            </p:nvSpPr>
            <p:spPr>
              <a:xfrm>
                <a:off x="3999813" y="109969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0" name="Google Shape;1010;p33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23" y="2636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1" name="Google Shape;1011;p33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2" name="Google Shape;1012;p33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49"/>
                    </a:lnTo>
                    <a:cubicBezTo>
                      <a:pt x="90" y="350"/>
                      <a:pt x="0" y="463"/>
                      <a:pt x="11" y="564"/>
                    </a:cubicBezTo>
                    <a:cubicBezTo>
                      <a:pt x="11" y="677"/>
                      <a:pt x="124" y="789"/>
                      <a:pt x="327" y="902"/>
                    </a:cubicBezTo>
                    <a:cubicBezTo>
                      <a:pt x="462" y="981"/>
                      <a:pt x="620" y="1037"/>
                      <a:pt x="777" y="1082"/>
                    </a:cubicBezTo>
                    <a:cubicBezTo>
                      <a:pt x="935" y="1116"/>
                      <a:pt x="1081" y="1138"/>
                      <a:pt x="1216" y="1150"/>
                    </a:cubicBezTo>
                    <a:cubicBezTo>
                      <a:pt x="1352" y="1150"/>
                      <a:pt x="1577" y="1150"/>
                      <a:pt x="1904" y="1138"/>
                    </a:cubicBezTo>
                    <a:cubicBezTo>
                      <a:pt x="2095" y="1138"/>
                      <a:pt x="2241" y="1150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5"/>
                      <a:pt x="2782" y="1409"/>
                      <a:pt x="2782" y="1431"/>
                    </a:cubicBezTo>
                    <a:cubicBezTo>
                      <a:pt x="2793" y="1454"/>
                      <a:pt x="2782" y="1476"/>
                      <a:pt x="2737" y="1499"/>
                    </a:cubicBezTo>
                    <a:cubicBezTo>
                      <a:pt x="2709" y="1510"/>
                      <a:pt x="2684" y="1516"/>
                      <a:pt x="2658" y="1516"/>
                    </a:cubicBezTo>
                    <a:cubicBezTo>
                      <a:pt x="2633" y="1516"/>
                      <a:pt x="2608" y="1510"/>
                      <a:pt x="2579" y="1499"/>
                    </a:cubicBezTo>
                    <a:cubicBezTo>
                      <a:pt x="2512" y="1487"/>
                      <a:pt x="2399" y="1420"/>
                      <a:pt x="2219" y="1319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7"/>
                    </a:cubicBezTo>
                    <a:cubicBezTo>
                      <a:pt x="2407" y="1839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2"/>
                    </a:lnTo>
                    <a:lnTo>
                      <a:pt x="3334" y="1656"/>
                    </a:lnTo>
                    <a:cubicBezTo>
                      <a:pt x="3514" y="1544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3"/>
                    </a:cubicBezTo>
                    <a:cubicBezTo>
                      <a:pt x="2579" y="699"/>
                      <a:pt x="2444" y="677"/>
                      <a:pt x="2332" y="665"/>
                    </a:cubicBezTo>
                    <a:cubicBezTo>
                      <a:pt x="2219" y="665"/>
                      <a:pt x="2027" y="665"/>
                      <a:pt x="1757" y="677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7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8"/>
                      <a:pt x="766" y="485"/>
                    </a:cubicBezTo>
                    <a:cubicBezTo>
                      <a:pt x="755" y="463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9"/>
                      <a:pt x="1093" y="474"/>
                      <a:pt x="1216" y="530"/>
                    </a:cubicBezTo>
                    <a:lnTo>
                      <a:pt x="1329" y="598"/>
                    </a:lnTo>
                    <a:lnTo>
                      <a:pt x="1971" y="339"/>
                    </a:lnTo>
                    <a:cubicBezTo>
                      <a:pt x="1915" y="305"/>
                      <a:pt x="1881" y="282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3" name="Google Shape;1013;p33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9"/>
                    </a:moveTo>
                    <a:lnTo>
                      <a:pt x="1329" y="598"/>
                    </a:lnTo>
                    <a:lnTo>
                      <a:pt x="1216" y="530"/>
                    </a:lnTo>
                    <a:cubicBezTo>
                      <a:pt x="1093" y="474"/>
                      <a:pt x="1014" y="429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3"/>
                      <a:pt x="766" y="485"/>
                    </a:cubicBezTo>
                    <a:cubicBezTo>
                      <a:pt x="777" y="508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7"/>
                    </a:cubicBezTo>
                    <a:cubicBezTo>
                      <a:pt x="1250" y="688"/>
                      <a:pt x="1453" y="688"/>
                      <a:pt x="1757" y="677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7"/>
                      <a:pt x="2579" y="699"/>
                      <a:pt x="2726" y="733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4"/>
                      <a:pt x="3334" y="1656"/>
                    </a:cubicBezTo>
                    <a:lnTo>
                      <a:pt x="3582" y="1792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7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9"/>
                    </a:lnTo>
                    <a:cubicBezTo>
                      <a:pt x="2399" y="1420"/>
                      <a:pt x="2512" y="1487"/>
                      <a:pt x="2579" y="1499"/>
                    </a:cubicBezTo>
                    <a:cubicBezTo>
                      <a:pt x="2636" y="1521"/>
                      <a:pt x="2681" y="1521"/>
                      <a:pt x="2737" y="1499"/>
                    </a:cubicBezTo>
                    <a:cubicBezTo>
                      <a:pt x="2782" y="1476"/>
                      <a:pt x="2793" y="1454"/>
                      <a:pt x="2782" y="1431"/>
                    </a:cubicBezTo>
                    <a:cubicBezTo>
                      <a:pt x="2782" y="1409"/>
                      <a:pt x="2737" y="1375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50"/>
                      <a:pt x="2095" y="1138"/>
                      <a:pt x="1904" y="1138"/>
                    </a:cubicBezTo>
                    <a:cubicBezTo>
                      <a:pt x="1577" y="1150"/>
                      <a:pt x="1352" y="1150"/>
                      <a:pt x="1216" y="1150"/>
                    </a:cubicBezTo>
                    <a:cubicBezTo>
                      <a:pt x="1081" y="1138"/>
                      <a:pt x="935" y="1116"/>
                      <a:pt x="777" y="1082"/>
                    </a:cubicBezTo>
                    <a:cubicBezTo>
                      <a:pt x="620" y="1037"/>
                      <a:pt x="462" y="981"/>
                      <a:pt x="327" y="902"/>
                    </a:cubicBezTo>
                    <a:cubicBezTo>
                      <a:pt x="124" y="789"/>
                      <a:pt x="11" y="677"/>
                      <a:pt x="11" y="564"/>
                    </a:cubicBezTo>
                    <a:cubicBezTo>
                      <a:pt x="0" y="463"/>
                      <a:pt x="90" y="350"/>
                      <a:pt x="282" y="249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82"/>
                      <a:pt x="1915" y="305"/>
                      <a:pt x="1971" y="33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4" name="Google Shape;1014;p33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extrusionOk="0">
                    <a:moveTo>
                      <a:pt x="3177" y="1"/>
                    </a:move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lnTo>
                      <a:pt x="5982" y="1150"/>
                    </a:lnTo>
                    <a:cubicBezTo>
                      <a:pt x="5441" y="463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5" name="Google Shape;1015;p33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4"/>
                      <a:pt x="3177" y="4404"/>
                    </a:cubicBezTo>
                    <a:cubicBezTo>
                      <a:pt x="4934" y="4404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6" name="Google Shape;1016;p33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fill="none" extrusionOk="0">
                    <a:moveTo>
                      <a:pt x="5982" y="1150"/>
                    </a:moveTo>
                    <a:cubicBezTo>
                      <a:pt x="5441" y="463"/>
                      <a:pt x="4393" y="1"/>
                      <a:pt x="3177" y="1"/>
                    </a:cubicBez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7" name="Google Shape;1017;p33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4"/>
                      <a:pt x="3177" y="4404"/>
                    </a:cubicBezTo>
                    <a:cubicBezTo>
                      <a:pt x="1420" y="4404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8" name="Google Shape;1018;p33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9" name="Google Shape;1019;p33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0" name="Google Shape;1020;p33"/>
              <p:cNvSpPr/>
              <p:nvPr/>
            </p:nvSpPr>
            <p:spPr>
              <a:xfrm>
                <a:off x="3781826" y="1253157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14"/>
                      <a:pt x="1" y="980"/>
                      <a:pt x="1" y="958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1" name="Google Shape;1021;p33"/>
              <p:cNvSpPr/>
              <p:nvPr/>
            </p:nvSpPr>
            <p:spPr>
              <a:xfrm>
                <a:off x="3805825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2" name="Google Shape;1022;p33"/>
              <p:cNvSpPr/>
              <p:nvPr/>
            </p:nvSpPr>
            <p:spPr>
              <a:xfrm>
                <a:off x="3828637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3" name="Google Shape;1023;p33"/>
              <p:cNvSpPr/>
              <p:nvPr/>
            </p:nvSpPr>
            <p:spPr>
              <a:xfrm>
                <a:off x="3849912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4" name="Google Shape;1024;p33"/>
              <p:cNvSpPr/>
              <p:nvPr/>
            </p:nvSpPr>
            <p:spPr>
              <a:xfrm>
                <a:off x="3868008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5" name="Google Shape;1025;p33"/>
              <p:cNvSpPr/>
              <p:nvPr/>
            </p:nvSpPr>
            <p:spPr>
              <a:xfrm>
                <a:off x="3884147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6" name="Google Shape;1026;p33"/>
              <p:cNvSpPr/>
              <p:nvPr/>
            </p:nvSpPr>
            <p:spPr>
              <a:xfrm>
                <a:off x="3757023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7" name="Google Shape;1027;p33"/>
              <p:cNvSpPr/>
              <p:nvPr/>
            </p:nvSpPr>
            <p:spPr>
              <a:xfrm>
                <a:off x="3734211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8" name="Google Shape;1028;p33"/>
              <p:cNvSpPr/>
              <p:nvPr/>
            </p:nvSpPr>
            <p:spPr>
              <a:xfrm>
                <a:off x="3712971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9" name="Google Shape;1029;p33"/>
              <p:cNvSpPr/>
              <p:nvPr/>
            </p:nvSpPr>
            <p:spPr>
              <a:xfrm>
                <a:off x="3694876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0" name="Google Shape;1030;p33"/>
              <p:cNvSpPr/>
              <p:nvPr/>
            </p:nvSpPr>
            <p:spPr>
              <a:xfrm>
                <a:off x="3678736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1" name="Google Shape;1031;p33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48"/>
                      <a:pt x="1104" y="3402"/>
                      <a:pt x="2456" y="3402"/>
                    </a:cubicBezTo>
                    <a:cubicBezTo>
                      <a:pt x="3819" y="3402"/>
                      <a:pt x="4911" y="2648"/>
                      <a:pt x="4911" y="1702"/>
                    </a:cubicBezTo>
                    <a:cubicBezTo>
                      <a:pt x="4911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2" name="Google Shape;1032;p33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48"/>
                      <a:pt x="3819" y="3402"/>
                      <a:pt x="2456" y="3402"/>
                    </a:cubicBezTo>
                    <a:cubicBezTo>
                      <a:pt x="1104" y="3402"/>
                      <a:pt x="1" y="2648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11" y="767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3" name="Google Shape;1033;p33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8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0"/>
                    </a:cubicBezTo>
                    <a:cubicBezTo>
                      <a:pt x="462" y="969"/>
                      <a:pt x="608" y="1025"/>
                      <a:pt x="777" y="1071"/>
                    </a:cubicBezTo>
                    <a:cubicBezTo>
                      <a:pt x="935" y="1104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4"/>
                      <a:pt x="2523" y="1251"/>
                      <a:pt x="2681" y="1330"/>
                    </a:cubicBezTo>
                    <a:cubicBezTo>
                      <a:pt x="2737" y="1363"/>
                      <a:pt x="2771" y="1397"/>
                      <a:pt x="2782" y="1420"/>
                    </a:cubicBezTo>
                    <a:cubicBezTo>
                      <a:pt x="2793" y="1453"/>
                      <a:pt x="2782" y="1465"/>
                      <a:pt x="2737" y="1487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7"/>
                    </a:cubicBezTo>
                    <a:cubicBezTo>
                      <a:pt x="2512" y="1476"/>
                      <a:pt x="2399" y="1408"/>
                      <a:pt x="2208" y="1307"/>
                    </a:cubicBezTo>
                    <a:lnTo>
                      <a:pt x="2050" y="1217"/>
                    </a:lnTo>
                    <a:lnTo>
                      <a:pt x="1408" y="1476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19" y="1828"/>
                      <a:pt x="2471" y="1829"/>
                      <a:pt x="2522" y="1829"/>
                    </a:cubicBezTo>
                    <a:cubicBezTo>
                      <a:pt x="2708" y="1829"/>
                      <a:pt x="2877" y="1811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2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6"/>
                      <a:pt x="2715" y="733"/>
                    </a:cubicBezTo>
                    <a:cubicBezTo>
                      <a:pt x="2579" y="688"/>
                      <a:pt x="2444" y="665"/>
                      <a:pt x="2332" y="654"/>
                    </a:cubicBezTo>
                    <a:cubicBezTo>
                      <a:pt x="2219" y="654"/>
                      <a:pt x="2028" y="654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20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1"/>
                      <a:pt x="958" y="406"/>
                    </a:cubicBezTo>
                    <a:cubicBezTo>
                      <a:pt x="1014" y="417"/>
                      <a:pt x="1093" y="462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3"/>
                      <a:pt x="1870" y="271"/>
                      <a:pt x="1847" y="248"/>
                    </a:cubicBezTo>
                    <a:cubicBezTo>
                      <a:pt x="1645" y="147"/>
                      <a:pt x="1442" y="79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1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4" name="Google Shape;1034;p33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2"/>
                      <a:pt x="1014" y="417"/>
                      <a:pt x="958" y="406"/>
                    </a:cubicBezTo>
                    <a:cubicBezTo>
                      <a:pt x="901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20"/>
                      <a:pt x="1081" y="665"/>
                      <a:pt x="1160" y="665"/>
                    </a:cubicBezTo>
                    <a:cubicBezTo>
                      <a:pt x="1250" y="676"/>
                      <a:pt x="1442" y="676"/>
                      <a:pt x="1757" y="665"/>
                    </a:cubicBezTo>
                    <a:cubicBezTo>
                      <a:pt x="2028" y="654"/>
                      <a:pt x="2219" y="654"/>
                      <a:pt x="2332" y="654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6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2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36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76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8"/>
                      <a:pt x="2512" y="1476"/>
                      <a:pt x="2568" y="1487"/>
                    </a:cubicBezTo>
                    <a:cubicBezTo>
                      <a:pt x="2625" y="1510"/>
                      <a:pt x="2681" y="1510"/>
                      <a:pt x="2737" y="1487"/>
                    </a:cubicBezTo>
                    <a:cubicBezTo>
                      <a:pt x="2782" y="1465"/>
                      <a:pt x="2793" y="1453"/>
                      <a:pt x="2782" y="1420"/>
                    </a:cubicBezTo>
                    <a:cubicBezTo>
                      <a:pt x="2771" y="1397"/>
                      <a:pt x="2737" y="1363"/>
                      <a:pt x="2681" y="1330"/>
                    </a:cubicBezTo>
                    <a:cubicBezTo>
                      <a:pt x="2523" y="1251"/>
                      <a:pt x="2411" y="1194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4"/>
                      <a:pt x="777" y="1071"/>
                    </a:cubicBezTo>
                    <a:cubicBezTo>
                      <a:pt x="608" y="1025"/>
                      <a:pt x="462" y="969"/>
                      <a:pt x="316" y="890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8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5" y="147"/>
                      <a:pt x="1847" y="248"/>
                    </a:cubicBezTo>
                    <a:cubicBezTo>
                      <a:pt x="1870" y="271"/>
                      <a:pt x="1915" y="293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5" name="Google Shape;1035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lnTo>
                      <a:pt x="5982" y="1161"/>
                    </a:lnTo>
                    <a:cubicBezTo>
                      <a:pt x="5441" y="473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6" name="Google Shape;1036;p33"/>
              <p:cNvSpPr/>
              <p:nvPr/>
            </p:nvSpPr>
            <p:spPr>
              <a:xfrm>
                <a:off x="3674793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92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92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7" name="Google Shape;1037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5982" y="1161"/>
                    </a:moveTo>
                    <a:cubicBezTo>
                      <a:pt x="5441" y="473"/>
                      <a:pt x="4393" y="0"/>
                      <a:pt x="3177" y="0"/>
                    </a:cubicBez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8" name="Google Shape;1038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92"/>
                      <a:pt x="1420" y="0"/>
                      <a:pt x="3177" y="0"/>
                    </a:cubicBezTo>
                    <a:cubicBezTo>
                      <a:pt x="4934" y="0"/>
                      <a:pt x="6353" y="992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9" name="Google Shape;1039;p33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9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0" name="Google Shape;1040;p33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9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1" name="Google Shape;1041;p33"/>
              <p:cNvSpPr/>
              <p:nvPr/>
            </p:nvSpPr>
            <p:spPr>
              <a:xfrm>
                <a:off x="3781826" y="119020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03"/>
                      <a:pt x="1" y="980"/>
                      <a:pt x="1" y="957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2" name="Google Shape;1042;p33"/>
              <p:cNvSpPr/>
              <p:nvPr/>
            </p:nvSpPr>
            <p:spPr>
              <a:xfrm>
                <a:off x="3805825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3" name="Google Shape;1043;p33"/>
              <p:cNvSpPr/>
              <p:nvPr/>
            </p:nvSpPr>
            <p:spPr>
              <a:xfrm>
                <a:off x="3828637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4" name="Google Shape;1044;p33"/>
              <p:cNvSpPr/>
              <p:nvPr/>
            </p:nvSpPr>
            <p:spPr>
              <a:xfrm>
                <a:off x="3849912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5" name="Google Shape;1045;p33"/>
              <p:cNvSpPr/>
              <p:nvPr/>
            </p:nvSpPr>
            <p:spPr>
              <a:xfrm>
                <a:off x="3868008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6" name="Google Shape;1046;p33"/>
              <p:cNvSpPr/>
              <p:nvPr/>
            </p:nvSpPr>
            <p:spPr>
              <a:xfrm>
                <a:off x="3884147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7" name="Google Shape;1047;p33"/>
              <p:cNvSpPr/>
              <p:nvPr/>
            </p:nvSpPr>
            <p:spPr>
              <a:xfrm>
                <a:off x="3757023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8" name="Google Shape;1048;p33"/>
              <p:cNvSpPr/>
              <p:nvPr/>
            </p:nvSpPr>
            <p:spPr>
              <a:xfrm>
                <a:off x="3734211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9" name="Google Shape;1049;p33"/>
              <p:cNvSpPr/>
              <p:nvPr/>
            </p:nvSpPr>
            <p:spPr>
              <a:xfrm>
                <a:off x="3712971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0" name="Google Shape;1050;p33"/>
              <p:cNvSpPr/>
              <p:nvPr/>
            </p:nvSpPr>
            <p:spPr>
              <a:xfrm>
                <a:off x="3694876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1" name="Google Shape;1051;p33"/>
              <p:cNvSpPr/>
              <p:nvPr/>
            </p:nvSpPr>
            <p:spPr>
              <a:xfrm>
                <a:off x="3678736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2" name="Google Shape;1052;p33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55"/>
                      <a:pt x="1" y="1702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11" y="2636"/>
                      <a:pt x="4911" y="1702"/>
                    </a:cubicBezTo>
                    <a:cubicBezTo>
                      <a:pt x="4911" y="755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3" name="Google Shape;1053;p33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2"/>
                    </a:cubicBezTo>
                    <a:cubicBezTo>
                      <a:pt x="1" y="755"/>
                      <a:pt x="1104" y="1"/>
                      <a:pt x="2456" y="1"/>
                    </a:cubicBezTo>
                    <a:cubicBezTo>
                      <a:pt x="3819" y="1"/>
                      <a:pt x="4911" y="755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4" name="Google Shape;1054;p33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extrusionOk="0">
                    <a:moveTo>
                      <a:pt x="361" y="0"/>
                    </a:moveTo>
                    <a:lnTo>
                      <a:pt x="57" y="124"/>
                    </a:lnTo>
                    <a:lnTo>
                      <a:pt x="282" y="248"/>
                    </a:lnTo>
                    <a:cubicBezTo>
                      <a:pt x="90" y="349"/>
                      <a:pt x="0" y="462"/>
                      <a:pt x="0" y="563"/>
                    </a:cubicBezTo>
                    <a:cubicBezTo>
                      <a:pt x="11" y="676"/>
                      <a:pt x="113" y="789"/>
                      <a:pt x="316" y="901"/>
                    </a:cubicBezTo>
                    <a:cubicBezTo>
                      <a:pt x="462" y="980"/>
                      <a:pt x="608" y="1036"/>
                      <a:pt x="777" y="1081"/>
                    </a:cubicBezTo>
                    <a:cubicBezTo>
                      <a:pt x="935" y="1115"/>
                      <a:pt x="1081" y="1138"/>
                      <a:pt x="1217" y="1149"/>
                    </a:cubicBezTo>
                    <a:cubicBezTo>
                      <a:pt x="1341" y="1149"/>
                      <a:pt x="1577" y="1149"/>
                      <a:pt x="1904" y="1138"/>
                    </a:cubicBezTo>
                    <a:cubicBezTo>
                      <a:pt x="2095" y="1138"/>
                      <a:pt x="2230" y="1149"/>
                      <a:pt x="2320" y="1172"/>
                    </a:cubicBezTo>
                    <a:cubicBezTo>
                      <a:pt x="2411" y="1205"/>
                      <a:pt x="2523" y="1262"/>
                      <a:pt x="2681" y="1340"/>
                    </a:cubicBezTo>
                    <a:cubicBezTo>
                      <a:pt x="2737" y="1374"/>
                      <a:pt x="2771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09"/>
                      <a:pt x="2681" y="1515"/>
                      <a:pt x="2653" y="1515"/>
                    </a:cubicBezTo>
                    <a:cubicBezTo>
                      <a:pt x="2625" y="1515"/>
                      <a:pt x="2596" y="1509"/>
                      <a:pt x="2568" y="1498"/>
                    </a:cubicBezTo>
                    <a:cubicBezTo>
                      <a:pt x="2512" y="1476"/>
                      <a:pt x="2399" y="1419"/>
                      <a:pt x="2208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32" y="1566"/>
                    </a:lnTo>
                    <a:cubicBezTo>
                      <a:pt x="1836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69" y="1815"/>
                      <a:pt x="3019" y="1768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23" y="1656"/>
                    </a:lnTo>
                    <a:cubicBezTo>
                      <a:pt x="3514" y="1543"/>
                      <a:pt x="3593" y="1431"/>
                      <a:pt x="3559" y="1307"/>
                    </a:cubicBezTo>
                    <a:cubicBezTo>
                      <a:pt x="3537" y="1183"/>
                      <a:pt x="3402" y="1059"/>
                      <a:pt x="3154" y="924"/>
                    </a:cubicBezTo>
                    <a:cubicBezTo>
                      <a:pt x="3007" y="834"/>
                      <a:pt x="2861" y="777"/>
                      <a:pt x="2715" y="732"/>
                    </a:cubicBezTo>
                    <a:cubicBezTo>
                      <a:pt x="2579" y="698"/>
                      <a:pt x="2444" y="676"/>
                      <a:pt x="2332" y="665"/>
                    </a:cubicBezTo>
                    <a:cubicBezTo>
                      <a:pt x="2219" y="665"/>
                      <a:pt x="2028" y="665"/>
                      <a:pt x="1757" y="676"/>
                    </a:cubicBezTo>
                    <a:cubicBezTo>
                      <a:pt x="1547" y="676"/>
                      <a:pt x="1392" y="681"/>
                      <a:pt x="1285" y="681"/>
                    </a:cubicBezTo>
                    <a:cubicBezTo>
                      <a:pt x="1232" y="681"/>
                      <a:pt x="1190" y="680"/>
                      <a:pt x="1160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4"/>
                    </a:cubicBezTo>
                    <a:cubicBezTo>
                      <a:pt x="755" y="462"/>
                      <a:pt x="766" y="439"/>
                      <a:pt x="811" y="417"/>
                    </a:cubicBezTo>
                    <a:cubicBezTo>
                      <a:pt x="837" y="410"/>
                      <a:pt x="863" y="404"/>
                      <a:pt x="891" y="404"/>
                    </a:cubicBezTo>
                    <a:cubicBezTo>
                      <a:pt x="912" y="404"/>
                      <a:pt x="934" y="407"/>
                      <a:pt x="958" y="417"/>
                    </a:cubicBezTo>
                    <a:cubicBezTo>
                      <a:pt x="1014" y="428"/>
                      <a:pt x="1093" y="462"/>
                      <a:pt x="1217" y="530"/>
                    </a:cubicBezTo>
                    <a:lnTo>
                      <a:pt x="1329" y="59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64" y="334"/>
                      <a:pt x="1968" y="336"/>
                      <a:pt x="1971" y="338"/>
                    </a:cubicBezTo>
                    <a:lnTo>
                      <a:pt x="1971" y="32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09" y="301"/>
                      <a:pt x="1868" y="280"/>
                      <a:pt x="1847" y="259"/>
                    </a:cubicBezTo>
                    <a:cubicBezTo>
                      <a:pt x="1645" y="147"/>
                      <a:pt x="1442" y="79"/>
                      <a:pt x="1228" y="56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4" y="73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5" name="Google Shape;1055;p33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fill="none" extrusionOk="0">
                    <a:moveTo>
                      <a:pt x="1971" y="327"/>
                    </a:moveTo>
                    <a:lnTo>
                      <a:pt x="1329" y="597"/>
                    </a:lnTo>
                    <a:lnTo>
                      <a:pt x="1217" y="530"/>
                    </a:lnTo>
                    <a:cubicBezTo>
                      <a:pt x="1093" y="462"/>
                      <a:pt x="1014" y="428"/>
                      <a:pt x="958" y="417"/>
                    </a:cubicBezTo>
                    <a:cubicBezTo>
                      <a:pt x="901" y="394"/>
                      <a:pt x="856" y="406"/>
                      <a:pt x="811" y="417"/>
                    </a:cubicBezTo>
                    <a:cubicBezTo>
                      <a:pt x="766" y="439"/>
                      <a:pt x="755" y="462"/>
                      <a:pt x="766" y="484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60" y="676"/>
                    </a:cubicBezTo>
                    <a:cubicBezTo>
                      <a:pt x="1250" y="687"/>
                      <a:pt x="1442" y="676"/>
                      <a:pt x="1757" y="676"/>
                    </a:cubicBezTo>
                    <a:cubicBezTo>
                      <a:pt x="2028" y="665"/>
                      <a:pt x="2219" y="665"/>
                      <a:pt x="2332" y="665"/>
                    </a:cubicBezTo>
                    <a:cubicBezTo>
                      <a:pt x="2444" y="676"/>
                      <a:pt x="2579" y="698"/>
                      <a:pt x="2715" y="732"/>
                    </a:cubicBezTo>
                    <a:cubicBezTo>
                      <a:pt x="2861" y="777"/>
                      <a:pt x="3007" y="834"/>
                      <a:pt x="3154" y="924"/>
                    </a:cubicBezTo>
                    <a:cubicBezTo>
                      <a:pt x="3402" y="1059"/>
                      <a:pt x="3537" y="1183"/>
                      <a:pt x="3559" y="1307"/>
                    </a:cubicBezTo>
                    <a:cubicBezTo>
                      <a:pt x="3593" y="1431"/>
                      <a:pt x="3514" y="1543"/>
                      <a:pt x="3323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19" y="1768"/>
                    </a:lnTo>
                    <a:cubicBezTo>
                      <a:pt x="2839" y="1825"/>
                      <a:pt x="2613" y="1847"/>
                      <a:pt x="2365" y="1836"/>
                    </a:cubicBezTo>
                    <a:cubicBezTo>
                      <a:pt x="2118" y="1825"/>
                      <a:pt x="1836" y="1735"/>
                      <a:pt x="1532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08" y="1318"/>
                    </a:lnTo>
                    <a:cubicBezTo>
                      <a:pt x="2399" y="1419"/>
                      <a:pt x="2512" y="1476"/>
                      <a:pt x="2568" y="1498"/>
                    </a:cubicBezTo>
                    <a:cubicBezTo>
                      <a:pt x="2625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71" y="1408"/>
                      <a:pt x="2737" y="1374"/>
                      <a:pt x="2681" y="1340"/>
                    </a:cubicBezTo>
                    <a:cubicBezTo>
                      <a:pt x="2523" y="1262"/>
                      <a:pt x="2411" y="1205"/>
                      <a:pt x="2320" y="1172"/>
                    </a:cubicBezTo>
                    <a:cubicBezTo>
                      <a:pt x="2230" y="1149"/>
                      <a:pt x="2095" y="1138"/>
                      <a:pt x="1904" y="1138"/>
                    </a:cubicBezTo>
                    <a:cubicBezTo>
                      <a:pt x="1577" y="1149"/>
                      <a:pt x="1341" y="1149"/>
                      <a:pt x="1217" y="1149"/>
                    </a:cubicBezTo>
                    <a:cubicBezTo>
                      <a:pt x="1081" y="1138"/>
                      <a:pt x="935" y="1115"/>
                      <a:pt x="777" y="1081"/>
                    </a:cubicBezTo>
                    <a:cubicBezTo>
                      <a:pt x="608" y="1036"/>
                      <a:pt x="462" y="980"/>
                      <a:pt x="316" y="901"/>
                    </a:cubicBezTo>
                    <a:cubicBezTo>
                      <a:pt x="113" y="789"/>
                      <a:pt x="11" y="676"/>
                      <a:pt x="0" y="563"/>
                    </a:cubicBezTo>
                    <a:cubicBezTo>
                      <a:pt x="0" y="462"/>
                      <a:pt x="90" y="349"/>
                      <a:pt x="282" y="248"/>
                    </a:cubicBezTo>
                    <a:lnTo>
                      <a:pt x="57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6"/>
                      <a:pt x="1014" y="34"/>
                      <a:pt x="1228" y="56"/>
                    </a:cubicBezTo>
                    <a:cubicBezTo>
                      <a:pt x="1442" y="79"/>
                      <a:pt x="1645" y="147"/>
                      <a:pt x="1847" y="259"/>
                    </a:cubicBezTo>
                    <a:cubicBezTo>
                      <a:pt x="1870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6" name="Google Shape;1056;p33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lnTo>
                      <a:pt x="5982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7" name="Google Shape;1057;p33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8" name="Google Shape;1058;p33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fill="none" extrusionOk="0">
                    <a:moveTo>
                      <a:pt x="5982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9" name="Google Shape;1059;p33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0" name="Google Shape;1060;p33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1" name="Google Shape;1061;p33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2" name="Google Shape;1062;p33"/>
              <p:cNvSpPr/>
              <p:nvPr/>
            </p:nvSpPr>
            <p:spPr>
              <a:xfrm>
                <a:off x="3781826" y="111936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cubicBezTo>
                      <a:pt x="1" y="1003"/>
                      <a:pt x="1" y="981"/>
                      <a:pt x="1" y="947"/>
                    </a:cubicBez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3" name="Google Shape;1063;p33"/>
              <p:cNvSpPr/>
              <p:nvPr/>
            </p:nvSpPr>
            <p:spPr>
              <a:xfrm>
                <a:off x="3805825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4" name="Google Shape;1064;p33"/>
              <p:cNvSpPr/>
              <p:nvPr/>
            </p:nvSpPr>
            <p:spPr>
              <a:xfrm>
                <a:off x="3828637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5" name="Google Shape;1065;p33"/>
              <p:cNvSpPr/>
              <p:nvPr/>
            </p:nvSpPr>
            <p:spPr>
              <a:xfrm>
                <a:off x="3849912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6" name="Google Shape;1066;p33"/>
              <p:cNvSpPr/>
              <p:nvPr/>
            </p:nvSpPr>
            <p:spPr>
              <a:xfrm>
                <a:off x="3868008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7" name="Google Shape;1067;p33"/>
              <p:cNvSpPr/>
              <p:nvPr/>
            </p:nvSpPr>
            <p:spPr>
              <a:xfrm>
                <a:off x="3884147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8" name="Google Shape;1068;p33"/>
              <p:cNvSpPr/>
              <p:nvPr/>
            </p:nvSpPr>
            <p:spPr>
              <a:xfrm>
                <a:off x="3757023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9" name="Google Shape;1069;p33"/>
              <p:cNvSpPr/>
              <p:nvPr/>
            </p:nvSpPr>
            <p:spPr>
              <a:xfrm>
                <a:off x="3734211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0" name="Google Shape;1070;p33"/>
              <p:cNvSpPr/>
              <p:nvPr/>
            </p:nvSpPr>
            <p:spPr>
              <a:xfrm>
                <a:off x="3712971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1" name="Google Shape;1071;p33"/>
              <p:cNvSpPr/>
              <p:nvPr/>
            </p:nvSpPr>
            <p:spPr>
              <a:xfrm>
                <a:off x="3694876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2" name="Google Shape;1072;p33"/>
              <p:cNvSpPr/>
              <p:nvPr/>
            </p:nvSpPr>
            <p:spPr>
              <a:xfrm>
                <a:off x="3678736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3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11" y="2647"/>
                      <a:pt x="4911" y="1701"/>
                    </a:cubicBezTo>
                    <a:cubicBezTo>
                      <a:pt x="4911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4" name="Google Shape;1074;p33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fill="none" extrusionOk="0">
                    <a:moveTo>
                      <a:pt x="4911" y="1701"/>
                    </a:moveTo>
                    <a:cubicBezTo>
                      <a:pt x="4911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11" y="766"/>
                      <a:pt x="4911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5" name="Google Shape;1075;p33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9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1"/>
                    </a:cubicBezTo>
                    <a:cubicBezTo>
                      <a:pt x="462" y="969"/>
                      <a:pt x="608" y="1026"/>
                      <a:pt x="777" y="1071"/>
                    </a:cubicBezTo>
                    <a:cubicBezTo>
                      <a:pt x="935" y="1105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5"/>
                      <a:pt x="2523" y="1251"/>
                      <a:pt x="2681" y="1330"/>
                    </a:cubicBezTo>
                    <a:cubicBezTo>
                      <a:pt x="2737" y="1364"/>
                      <a:pt x="2771" y="1397"/>
                      <a:pt x="2782" y="1420"/>
                    </a:cubicBezTo>
                    <a:cubicBezTo>
                      <a:pt x="2793" y="1454"/>
                      <a:pt x="2782" y="1465"/>
                      <a:pt x="2737" y="1488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8"/>
                    </a:cubicBezTo>
                    <a:cubicBezTo>
                      <a:pt x="2512" y="1476"/>
                      <a:pt x="2399" y="1409"/>
                      <a:pt x="2208" y="1307"/>
                    </a:cubicBezTo>
                    <a:lnTo>
                      <a:pt x="2050" y="1217"/>
                    </a:lnTo>
                    <a:lnTo>
                      <a:pt x="1408" y="1488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3" y="1834"/>
                      <a:pt x="2884" y="1809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3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7"/>
                      <a:pt x="2715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4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32"/>
                      <a:pt x="879" y="564"/>
                    </a:cubicBezTo>
                    <a:cubicBezTo>
                      <a:pt x="822" y="530"/>
                      <a:pt x="777" y="508"/>
                      <a:pt x="766" y="474"/>
                    </a:cubicBezTo>
                    <a:cubicBezTo>
                      <a:pt x="755" y="451"/>
                      <a:pt x="766" y="429"/>
                      <a:pt x="811" y="418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2"/>
                      <a:pt x="958" y="406"/>
                    </a:cubicBezTo>
                    <a:cubicBezTo>
                      <a:pt x="1014" y="418"/>
                      <a:pt x="1093" y="463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70" y="271"/>
                      <a:pt x="1847" y="249"/>
                    </a:cubicBezTo>
                    <a:cubicBezTo>
                      <a:pt x="1645" y="147"/>
                      <a:pt x="1442" y="80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2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6" name="Google Shape;1076;p33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3"/>
                      <a:pt x="1014" y="418"/>
                      <a:pt x="958" y="406"/>
                    </a:cubicBezTo>
                    <a:cubicBezTo>
                      <a:pt x="901" y="395"/>
                      <a:pt x="856" y="395"/>
                      <a:pt x="811" y="418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508"/>
                      <a:pt x="822" y="530"/>
                      <a:pt x="879" y="564"/>
                    </a:cubicBezTo>
                    <a:cubicBezTo>
                      <a:pt x="991" y="632"/>
                      <a:pt x="1081" y="665"/>
                      <a:pt x="1160" y="665"/>
                    </a:cubicBezTo>
                    <a:cubicBezTo>
                      <a:pt x="1250" y="677"/>
                      <a:pt x="1442" y="677"/>
                      <a:pt x="1757" y="665"/>
                    </a:cubicBezTo>
                    <a:cubicBezTo>
                      <a:pt x="2028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7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3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48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88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9"/>
                      <a:pt x="2512" y="1476"/>
                      <a:pt x="2568" y="1488"/>
                    </a:cubicBezTo>
                    <a:cubicBezTo>
                      <a:pt x="2625" y="1510"/>
                      <a:pt x="2681" y="1510"/>
                      <a:pt x="2737" y="1488"/>
                    </a:cubicBezTo>
                    <a:cubicBezTo>
                      <a:pt x="2782" y="1465"/>
                      <a:pt x="2793" y="1454"/>
                      <a:pt x="2782" y="1420"/>
                    </a:cubicBezTo>
                    <a:cubicBezTo>
                      <a:pt x="2771" y="1397"/>
                      <a:pt x="2737" y="1364"/>
                      <a:pt x="2681" y="1330"/>
                    </a:cubicBezTo>
                    <a:cubicBezTo>
                      <a:pt x="2523" y="1251"/>
                      <a:pt x="2411" y="1195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5"/>
                      <a:pt x="777" y="1071"/>
                    </a:cubicBezTo>
                    <a:cubicBezTo>
                      <a:pt x="608" y="1026"/>
                      <a:pt x="462" y="969"/>
                      <a:pt x="316" y="891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9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5" y="147"/>
                      <a:pt x="1847" y="249"/>
                    </a:cubicBezTo>
                    <a:cubicBezTo>
                      <a:pt x="1870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7" name="Google Shape;1077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74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8" name="Google Shape;1078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9" name="Google Shape;1079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74"/>
                      <a:pt x="4393" y="1"/>
                      <a:pt x="3188" y="1"/>
                    </a:cubicBez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0" name="Google Shape;1080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4"/>
                      <a:pt x="4945" y="4405"/>
                      <a:pt x="3188" y="4405"/>
                    </a:cubicBezTo>
                    <a:cubicBezTo>
                      <a:pt x="1431" y="4405"/>
                      <a:pt x="0" y="3414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1" name="Google Shape;1081;p33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2"/>
                      <a:pt x="0" y="2208"/>
                    </a:cubicBezTo>
                    <a:cubicBezTo>
                      <a:pt x="0" y="3424"/>
                      <a:pt x="1431" y="4404"/>
                      <a:pt x="3188" y="4404"/>
                    </a:cubicBezTo>
                    <a:cubicBezTo>
                      <a:pt x="4945" y="4404"/>
                      <a:pt x="6364" y="3424"/>
                      <a:pt x="6364" y="2208"/>
                    </a:cubicBezTo>
                    <a:cubicBezTo>
                      <a:pt x="6364" y="992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2" name="Google Shape;1082;p33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4"/>
                      <a:pt x="4945" y="4404"/>
                      <a:pt x="3188" y="4404"/>
                    </a:cubicBezTo>
                    <a:cubicBezTo>
                      <a:pt x="1431" y="4404"/>
                      <a:pt x="0" y="3424"/>
                      <a:pt x="0" y="2208"/>
                    </a:cubicBezTo>
                    <a:cubicBezTo>
                      <a:pt x="0" y="992"/>
                      <a:pt x="1431" y="0"/>
                      <a:pt x="3188" y="0"/>
                    </a:cubicBezTo>
                    <a:cubicBezTo>
                      <a:pt x="4945" y="0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3" name="Google Shape;1083;p33"/>
              <p:cNvSpPr/>
              <p:nvPr/>
            </p:nvSpPr>
            <p:spPr>
              <a:xfrm>
                <a:off x="3958905" y="1358203"/>
                <a:ext cx="419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11" y="958"/>
                    </a:cubicBezTo>
                    <a:lnTo>
                      <a:pt x="1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4" name="Google Shape;1084;p33"/>
              <p:cNvSpPr/>
              <p:nvPr/>
            </p:nvSpPr>
            <p:spPr>
              <a:xfrm>
                <a:off x="3983289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5" name="Google Shape;1085;p33"/>
              <p:cNvSpPr/>
              <p:nvPr/>
            </p:nvSpPr>
            <p:spPr>
              <a:xfrm>
                <a:off x="400610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6" name="Google Shape;1086;p33"/>
              <p:cNvSpPr/>
              <p:nvPr/>
            </p:nvSpPr>
            <p:spPr>
              <a:xfrm>
                <a:off x="4027341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7" name="Google Shape;1087;p33"/>
              <p:cNvSpPr/>
              <p:nvPr/>
            </p:nvSpPr>
            <p:spPr>
              <a:xfrm>
                <a:off x="4045052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8" name="Google Shape;1088;p33"/>
              <p:cNvSpPr/>
              <p:nvPr/>
            </p:nvSpPr>
            <p:spPr>
              <a:xfrm>
                <a:off x="406157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9" name="Google Shape;1089;p33"/>
              <p:cNvSpPr/>
              <p:nvPr/>
            </p:nvSpPr>
            <p:spPr>
              <a:xfrm>
                <a:off x="3934487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0" name="Google Shape;1090;p33"/>
              <p:cNvSpPr/>
              <p:nvPr/>
            </p:nvSpPr>
            <p:spPr>
              <a:xfrm>
                <a:off x="391129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1" name="Google Shape;1091;p33"/>
              <p:cNvSpPr/>
              <p:nvPr/>
            </p:nvSpPr>
            <p:spPr>
              <a:xfrm>
                <a:off x="3890435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2" name="Google Shape;1092;p33"/>
              <p:cNvSpPr/>
              <p:nvPr/>
            </p:nvSpPr>
            <p:spPr>
              <a:xfrm>
                <a:off x="3872339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3" name="Google Shape;1093;p33"/>
              <p:cNvSpPr/>
              <p:nvPr/>
            </p:nvSpPr>
            <p:spPr>
              <a:xfrm>
                <a:off x="385581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4" name="Google Shape;1094;p33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5" name="Google Shape;1095;p33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6" name="Google Shape;1096;p33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1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62"/>
                      <a:pt x="12" y="564"/>
                    </a:cubicBezTo>
                    <a:cubicBezTo>
                      <a:pt x="23" y="676"/>
                      <a:pt x="125" y="789"/>
                      <a:pt x="327" y="902"/>
                    </a:cubicBezTo>
                    <a:cubicBezTo>
                      <a:pt x="462" y="980"/>
                      <a:pt x="620" y="1037"/>
                      <a:pt x="778" y="1071"/>
                    </a:cubicBezTo>
                    <a:cubicBezTo>
                      <a:pt x="947" y="1116"/>
                      <a:pt x="1093" y="1138"/>
                      <a:pt x="1217" y="1138"/>
                    </a:cubicBezTo>
                    <a:cubicBezTo>
                      <a:pt x="1285" y="1144"/>
                      <a:pt x="1375" y="1147"/>
                      <a:pt x="1489" y="1147"/>
                    </a:cubicBezTo>
                    <a:cubicBezTo>
                      <a:pt x="1603" y="1147"/>
                      <a:pt x="1741" y="1144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7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408"/>
                      <a:pt x="2794" y="1431"/>
                    </a:cubicBezTo>
                    <a:cubicBezTo>
                      <a:pt x="2805" y="1454"/>
                      <a:pt x="2783" y="1476"/>
                      <a:pt x="2738" y="1499"/>
                    </a:cubicBezTo>
                    <a:cubicBezTo>
                      <a:pt x="2715" y="1510"/>
                      <a:pt x="2690" y="1515"/>
                      <a:pt x="2663" y="1515"/>
                    </a:cubicBezTo>
                    <a:cubicBezTo>
                      <a:pt x="2636" y="1515"/>
                      <a:pt x="2608" y="1510"/>
                      <a:pt x="2580" y="1499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28"/>
                    </a:lnTo>
                    <a:lnTo>
                      <a:pt x="1409" y="1487"/>
                    </a:lnTo>
                    <a:lnTo>
                      <a:pt x="1544" y="1566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31"/>
                      <a:pt x="3571" y="1307"/>
                    </a:cubicBezTo>
                    <a:cubicBezTo>
                      <a:pt x="3549" y="1183"/>
                      <a:pt x="3413" y="1048"/>
                      <a:pt x="3166" y="924"/>
                    </a:cubicBezTo>
                    <a:cubicBezTo>
                      <a:pt x="3019" y="834"/>
                      <a:pt x="2873" y="778"/>
                      <a:pt x="2726" y="733"/>
                    </a:cubicBezTo>
                    <a:cubicBezTo>
                      <a:pt x="2580" y="699"/>
                      <a:pt x="2456" y="676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454" y="676"/>
                      <a:pt x="1251" y="676"/>
                      <a:pt x="1172" y="676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41"/>
                      <a:pt x="789" y="507"/>
                      <a:pt x="778" y="485"/>
                    </a:cubicBezTo>
                    <a:cubicBezTo>
                      <a:pt x="767" y="451"/>
                      <a:pt x="778" y="440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29"/>
                      <a:pt x="1104" y="462"/>
                      <a:pt x="1217" y="530"/>
                    </a:cubicBezTo>
                    <a:lnTo>
                      <a:pt x="1330" y="598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60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7" name="Google Shape;1097;p33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98"/>
                    </a:lnTo>
                    <a:lnTo>
                      <a:pt x="1217" y="530"/>
                    </a:lnTo>
                    <a:cubicBezTo>
                      <a:pt x="1104" y="462"/>
                      <a:pt x="1014" y="429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40"/>
                      <a:pt x="767" y="451"/>
                      <a:pt x="778" y="485"/>
                    </a:cubicBezTo>
                    <a:cubicBezTo>
                      <a:pt x="789" y="507"/>
                      <a:pt x="823" y="541"/>
                      <a:pt x="890" y="575"/>
                    </a:cubicBezTo>
                    <a:cubicBezTo>
                      <a:pt x="992" y="631"/>
                      <a:pt x="1093" y="665"/>
                      <a:pt x="1172" y="676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76"/>
                      <a:pt x="2580" y="699"/>
                      <a:pt x="2726" y="733"/>
                    </a:cubicBezTo>
                    <a:cubicBezTo>
                      <a:pt x="2873" y="778"/>
                      <a:pt x="3019" y="834"/>
                      <a:pt x="3166" y="924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31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66"/>
                    </a:cubicBezTo>
                    <a:lnTo>
                      <a:pt x="1409" y="1487"/>
                    </a:lnTo>
                    <a:lnTo>
                      <a:pt x="2051" y="1228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9"/>
                    </a:cubicBezTo>
                    <a:cubicBezTo>
                      <a:pt x="2636" y="1521"/>
                      <a:pt x="2693" y="1521"/>
                      <a:pt x="2738" y="1499"/>
                    </a:cubicBezTo>
                    <a:cubicBezTo>
                      <a:pt x="2783" y="1476"/>
                      <a:pt x="2805" y="1454"/>
                      <a:pt x="2794" y="1431"/>
                    </a:cubicBezTo>
                    <a:cubicBezTo>
                      <a:pt x="2783" y="1408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49"/>
                      <a:pt x="1352" y="1149"/>
                      <a:pt x="1217" y="1138"/>
                    </a:cubicBezTo>
                    <a:cubicBezTo>
                      <a:pt x="1093" y="1138"/>
                      <a:pt x="947" y="1116"/>
                      <a:pt x="778" y="1071"/>
                    </a:cubicBezTo>
                    <a:cubicBezTo>
                      <a:pt x="620" y="1037"/>
                      <a:pt x="462" y="980"/>
                      <a:pt x="327" y="902"/>
                    </a:cubicBezTo>
                    <a:cubicBezTo>
                      <a:pt x="125" y="789"/>
                      <a:pt x="23" y="676"/>
                      <a:pt x="12" y="564"/>
                    </a:cubicBezTo>
                    <a:cubicBezTo>
                      <a:pt x="1" y="462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1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60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8" name="Google Shape;1098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62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9" name="Google Shape;1099;p33"/>
              <p:cNvSpPr/>
              <p:nvPr/>
            </p:nvSpPr>
            <p:spPr>
              <a:xfrm>
                <a:off x="3849895" y="117821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0" name="Google Shape;1100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62"/>
                      <a:pt x="4393" y="1"/>
                      <a:pt x="3188" y="1"/>
                    </a:cubicBez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1" name="Google Shape;1101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45" y="4405"/>
                      <a:pt x="3188" y="4405"/>
                    </a:cubicBezTo>
                    <a:cubicBezTo>
                      <a:pt x="1431" y="4405"/>
                      <a:pt x="0" y="3413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2" name="Google Shape;1102;p33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1"/>
                      <a:pt x="0" y="2208"/>
                    </a:cubicBezTo>
                    <a:cubicBezTo>
                      <a:pt x="0" y="3413"/>
                      <a:pt x="1431" y="4404"/>
                      <a:pt x="3188" y="4404"/>
                    </a:cubicBezTo>
                    <a:cubicBezTo>
                      <a:pt x="4945" y="4404"/>
                      <a:pt x="6364" y="3413"/>
                      <a:pt x="6364" y="2208"/>
                    </a:cubicBezTo>
                    <a:cubicBezTo>
                      <a:pt x="6364" y="991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3" name="Google Shape;1103;p33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13"/>
                      <a:pt x="4945" y="4404"/>
                      <a:pt x="3188" y="4404"/>
                    </a:cubicBezTo>
                    <a:cubicBezTo>
                      <a:pt x="1431" y="4404"/>
                      <a:pt x="0" y="3413"/>
                      <a:pt x="0" y="2208"/>
                    </a:cubicBezTo>
                    <a:cubicBezTo>
                      <a:pt x="0" y="991"/>
                      <a:pt x="1431" y="0"/>
                      <a:pt x="3188" y="0"/>
                    </a:cubicBezTo>
                    <a:cubicBezTo>
                      <a:pt x="4945" y="0"/>
                      <a:pt x="6364" y="991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4" name="Google Shape;1104;p33"/>
              <p:cNvSpPr/>
              <p:nvPr/>
            </p:nvSpPr>
            <p:spPr>
              <a:xfrm>
                <a:off x="3958905" y="1295252"/>
                <a:ext cx="419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26" fill="none" extrusionOk="0">
                    <a:moveTo>
                      <a:pt x="0" y="1025"/>
                    </a:moveTo>
                    <a:cubicBezTo>
                      <a:pt x="0" y="1003"/>
                      <a:pt x="0" y="980"/>
                      <a:pt x="11" y="947"/>
                    </a:cubicBezTo>
                    <a:lnTo>
                      <a:pt x="1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5" name="Google Shape;1105;p33"/>
              <p:cNvSpPr/>
              <p:nvPr/>
            </p:nvSpPr>
            <p:spPr>
              <a:xfrm>
                <a:off x="3983289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6" name="Google Shape;1106;p33"/>
              <p:cNvSpPr/>
              <p:nvPr/>
            </p:nvSpPr>
            <p:spPr>
              <a:xfrm>
                <a:off x="400610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7" name="Google Shape;1107;p33"/>
              <p:cNvSpPr/>
              <p:nvPr/>
            </p:nvSpPr>
            <p:spPr>
              <a:xfrm>
                <a:off x="4027341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8" name="Google Shape;1108;p33"/>
              <p:cNvSpPr/>
              <p:nvPr/>
            </p:nvSpPr>
            <p:spPr>
              <a:xfrm>
                <a:off x="4045052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7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9" name="Google Shape;1109;p33"/>
              <p:cNvSpPr/>
              <p:nvPr/>
            </p:nvSpPr>
            <p:spPr>
              <a:xfrm>
                <a:off x="406157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0" name="Google Shape;1110;p33"/>
              <p:cNvSpPr/>
              <p:nvPr/>
            </p:nvSpPr>
            <p:spPr>
              <a:xfrm>
                <a:off x="3934487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1" name="Google Shape;1111;p33"/>
              <p:cNvSpPr/>
              <p:nvPr/>
            </p:nvSpPr>
            <p:spPr>
              <a:xfrm>
                <a:off x="391129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2" name="Google Shape;1112;p33"/>
              <p:cNvSpPr/>
              <p:nvPr/>
            </p:nvSpPr>
            <p:spPr>
              <a:xfrm>
                <a:off x="3890435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" name="Google Shape;1113;p33"/>
              <p:cNvSpPr/>
              <p:nvPr/>
            </p:nvSpPr>
            <p:spPr>
              <a:xfrm>
                <a:off x="3872339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4" name="Google Shape;1114;p33"/>
              <p:cNvSpPr/>
              <p:nvPr/>
            </p:nvSpPr>
            <p:spPr>
              <a:xfrm>
                <a:off x="385581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5" name="Google Shape;1115;p33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6" name="Google Shape;1116;p33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7" name="Google Shape;1117;p33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51"/>
                      <a:pt x="12" y="564"/>
                    </a:cubicBezTo>
                    <a:cubicBezTo>
                      <a:pt x="23" y="676"/>
                      <a:pt x="125" y="778"/>
                      <a:pt x="327" y="890"/>
                    </a:cubicBezTo>
                    <a:cubicBezTo>
                      <a:pt x="462" y="969"/>
                      <a:pt x="620" y="1037"/>
                      <a:pt x="778" y="1070"/>
                    </a:cubicBezTo>
                    <a:cubicBezTo>
                      <a:pt x="947" y="1115"/>
                      <a:pt x="1093" y="1138"/>
                      <a:pt x="1217" y="1138"/>
                    </a:cubicBezTo>
                    <a:cubicBezTo>
                      <a:pt x="1262" y="1142"/>
                      <a:pt x="1317" y="1143"/>
                      <a:pt x="1383" y="1143"/>
                    </a:cubicBezTo>
                    <a:cubicBezTo>
                      <a:pt x="1514" y="1143"/>
                      <a:pt x="1686" y="1138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6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397"/>
                      <a:pt x="2794" y="1431"/>
                    </a:cubicBezTo>
                    <a:cubicBezTo>
                      <a:pt x="2805" y="1453"/>
                      <a:pt x="2783" y="1476"/>
                      <a:pt x="2738" y="1487"/>
                    </a:cubicBezTo>
                    <a:cubicBezTo>
                      <a:pt x="2711" y="1500"/>
                      <a:pt x="2681" y="1506"/>
                      <a:pt x="2649" y="1506"/>
                    </a:cubicBezTo>
                    <a:cubicBezTo>
                      <a:pt x="2627" y="1506"/>
                      <a:pt x="2603" y="1503"/>
                      <a:pt x="2580" y="1498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17"/>
                    </a:lnTo>
                    <a:lnTo>
                      <a:pt x="1409" y="1487"/>
                    </a:lnTo>
                    <a:lnTo>
                      <a:pt x="1544" y="1555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20"/>
                      <a:pt x="3571" y="1307"/>
                    </a:cubicBezTo>
                    <a:cubicBezTo>
                      <a:pt x="3549" y="1183"/>
                      <a:pt x="3413" y="1048"/>
                      <a:pt x="3166" y="913"/>
                    </a:cubicBezTo>
                    <a:cubicBezTo>
                      <a:pt x="3019" y="834"/>
                      <a:pt x="2873" y="766"/>
                      <a:pt x="2726" y="733"/>
                    </a:cubicBezTo>
                    <a:cubicBezTo>
                      <a:pt x="2580" y="687"/>
                      <a:pt x="2456" y="665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611" y="671"/>
                      <a:pt x="1482" y="673"/>
                      <a:pt x="1382" y="673"/>
                    </a:cubicBezTo>
                    <a:cubicBezTo>
                      <a:pt x="1282" y="673"/>
                      <a:pt x="1211" y="671"/>
                      <a:pt x="1172" y="665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30"/>
                      <a:pt x="789" y="507"/>
                      <a:pt x="778" y="473"/>
                    </a:cubicBezTo>
                    <a:cubicBezTo>
                      <a:pt x="767" y="451"/>
                      <a:pt x="778" y="428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17"/>
                      <a:pt x="1104" y="462"/>
                      <a:pt x="1217" y="530"/>
                    </a:cubicBezTo>
                    <a:lnTo>
                      <a:pt x="1330" y="586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59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8" name="Google Shape;1118;p33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86"/>
                    </a:lnTo>
                    <a:lnTo>
                      <a:pt x="1217" y="530"/>
                    </a:lnTo>
                    <a:cubicBezTo>
                      <a:pt x="1104" y="462"/>
                      <a:pt x="1014" y="417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28"/>
                      <a:pt x="767" y="451"/>
                      <a:pt x="778" y="473"/>
                    </a:cubicBezTo>
                    <a:cubicBezTo>
                      <a:pt x="789" y="507"/>
                      <a:pt x="823" y="530"/>
                      <a:pt x="890" y="575"/>
                    </a:cubicBezTo>
                    <a:cubicBezTo>
                      <a:pt x="992" y="631"/>
                      <a:pt x="1093" y="665"/>
                      <a:pt x="1172" y="665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65"/>
                      <a:pt x="2580" y="687"/>
                      <a:pt x="2726" y="733"/>
                    </a:cubicBezTo>
                    <a:cubicBezTo>
                      <a:pt x="2873" y="766"/>
                      <a:pt x="3019" y="834"/>
                      <a:pt x="3166" y="913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20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55"/>
                    </a:cubicBezTo>
                    <a:lnTo>
                      <a:pt x="1409" y="1487"/>
                    </a:lnTo>
                    <a:lnTo>
                      <a:pt x="2051" y="1217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8"/>
                    </a:cubicBezTo>
                    <a:cubicBezTo>
                      <a:pt x="2636" y="1510"/>
                      <a:pt x="2693" y="1510"/>
                      <a:pt x="2738" y="1487"/>
                    </a:cubicBezTo>
                    <a:cubicBezTo>
                      <a:pt x="2783" y="1476"/>
                      <a:pt x="2805" y="1453"/>
                      <a:pt x="2794" y="1431"/>
                    </a:cubicBezTo>
                    <a:cubicBezTo>
                      <a:pt x="2783" y="1397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38"/>
                      <a:pt x="1352" y="1149"/>
                      <a:pt x="1217" y="1138"/>
                    </a:cubicBezTo>
                    <a:cubicBezTo>
                      <a:pt x="1093" y="1138"/>
                      <a:pt x="947" y="1115"/>
                      <a:pt x="778" y="1070"/>
                    </a:cubicBezTo>
                    <a:cubicBezTo>
                      <a:pt x="620" y="1037"/>
                      <a:pt x="462" y="969"/>
                      <a:pt x="327" y="890"/>
                    </a:cubicBezTo>
                    <a:cubicBezTo>
                      <a:pt x="125" y="778"/>
                      <a:pt x="23" y="676"/>
                      <a:pt x="12" y="564"/>
                    </a:cubicBezTo>
                    <a:cubicBezTo>
                      <a:pt x="1" y="451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59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solidFill>
                <a:schemeClr val="dk2"/>
              </a:solidFill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19" name="Google Shape;1119;p33"/>
            <p:cNvSpPr/>
            <p:nvPr/>
          </p:nvSpPr>
          <p:spPr>
            <a:xfrm>
              <a:off x="3794477" y="28759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" name="Google Shape;1120;p33"/>
            <p:cNvSpPr/>
            <p:nvPr/>
          </p:nvSpPr>
          <p:spPr>
            <a:xfrm>
              <a:off x="3817289" y="28245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" name="Google Shape;1121;p33"/>
            <p:cNvSpPr/>
            <p:nvPr/>
          </p:nvSpPr>
          <p:spPr>
            <a:xfrm>
              <a:off x="3838529" y="27379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" name="Google Shape;1122;p33"/>
            <p:cNvSpPr/>
            <p:nvPr/>
          </p:nvSpPr>
          <p:spPr>
            <a:xfrm>
              <a:off x="3856660" y="26160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" name="Google Shape;1123;p33"/>
            <p:cNvSpPr/>
            <p:nvPr/>
          </p:nvSpPr>
          <p:spPr>
            <a:xfrm>
              <a:off x="3873183" y="241548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" name="Google Shape;1124;p33"/>
            <p:cNvSpPr/>
            <p:nvPr/>
          </p:nvSpPr>
          <p:spPr>
            <a:xfrm>
              <a:off x="3794477" y="224640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" name="Google Shape;1125;p33"/>
            <p:cNvSpPr/>
            <p:nvPr/>
          </p:nvSpPr>
          <p:spPr>
            <a:xfrm>
              <a:off x="3817289" y="219504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" name="Google Shape;1126;p33"/>
            <p:cNvSpPr/>
            <p:nvPr/>
          </p:nvSpPr>
          <p:spPr>
            <a:xfrm>
              <a:off x="3838529" y="21084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" name="Google Shape;1127;p33"/>
            <p:cNvSpPr/>
            <p:nvPr/>
          </p:nvSpPr>
          <p:spPr>
            <a:xfrm>
              <a:off x="3856660" y="19864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" name="Google Shape;1128;p33"/>
            <p:cNvSpPr/>
            <p:nvPr/>
          </p:nvSpPr>
          <p:spPr>
            <a:xfrm>
              <a:off x="3873183" y="17859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" name="Google Shape;1129;p33"/>
            <p:cNvSpPr/>
            <p:nvPr/>
          </p:nvSpPr>
          <p:spPr>
            <a:xfrm>
              <a:off x="3794477" y="160885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" name="Google Shape;1130;p33"/>
            <p:cNvSpPr/>
            <p:nvPr/>
          </p:nvSpPr>
          <p:spPr>
            <a:xfrm>
              <a:off x="3817289" y="155750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5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" name="Google Shape;1131;p33"/>
            <p:cNvSpPr/>
            <p:nvPr/>
          </p:nvSpPr>
          <p:spPr>
            <a:xfrm>
              <a:off x="3838529" y="14712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" name="Google Shape;1132;p33"/>
            <p:cNvSpPr/>
            <p:nvPr/>
          </p:nvSpPr>
          <p:spPr>
            <a:xfrm>
              <a:off x="3856660" y="13489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" name="Google Shape;1133;p33"/>
            <p:cNvSpPr/>
            <p:nvPr/>
          </p:nvSpPr>
          <p:spPr>
            <a:xfrm>
              <a:off x="3873183" y="11484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" name="Google Shape;1134;p33"/>
          <p:cNvGrpSpPr/>
          <p:nvPr/>
        </p:nvGrpSpPr>
        <p:grpSpPr>
          <a:xfrm>
            <a:off x="511753" y="2579144"/>
            <a:ext cx="1060745" cy="736755"/>
            <a:chOff x="-1693165" y="2708310"/>
            <a:chExt cx="597737" cy="415167"/>
          </a:xfrm>
        </p:grpSpPr>
        <p:sp>
          <p:nvSpPr>
            <p:cNvPr id="1135" name="Google Shape;1135;p33"/>
            <p:cNvSpPr/>
            <p:nvPr/>
          </p:nvSpPr>
          <p:spPr>
            <a:xfrm>
              <a:off x="-1692362" y="2734091"/>
              <a:ext cx="596131" cy="389386"/>
            </a:xfrm>
            <a:custGeom>
              <a:avLst/>
              <a:gdLst/>
              <a:ahLst/>
              <a:cxnLst/>
              <a:rect l="l" t="t" r="r" b="b"/>
              <a:pathLst>
                <a:path w="17064" h="11146" extrusionOk="0">
                  <a:moveTo>
                    <a:pt x="7475" y="1"/>
                  </a:moveTo>
                  <a:cubicBezTo>
                    <a:pt x="7366" y="1"/>
                    <a:pt x="7259" y="29"/>
                    <a:pt x="7164" y="85"/>
                  </a:cubicBezTo>
                  <a:lnTo>
                    <a:pt x="642" y="3881"/>
                  </a:lnTo>
                  <a:cubicBezTo>
                    <a:pt x="529" y="3948"/>
                    <a:pt x="496" y="4072"/>
                    <a:pt x="541" y="4174"/>
                  </a:cubicBezTo>
                  <a:cubicBezTo>
                    <a:pt x="496" y="4275"/>
                    <a:pt x="529" y="4410"/>
                    <a:pt x="642" y="4467"/>
                  </a:cubicBezTo>
                  <a:lnTo>
                    <a:pt x="935" y="4647"/>
                  </a:lnTo>
                  <a:lnTo>
                    <a:pt x="135" y="5109"/>
                  </a:lnTo>
                  <a:cubicBezTo>
                    <a:pt x="34" y="5176"/>
                    <a:pt x="0" y="5300"/>
                    <a:pt x="45" y="5401"/>
                  </a:cubicBezTo>
                  <a:cubicBezTo>
                    <a:pt x="0" y="5503"/>
                    <a:pt x="34" y="5638"/>
                    <a:pt x="135" y="5706"/>
                  </a:cubicBezTo>
                  <a:lnTo>
                    <a:pt x="9304" y="11044"/>
                  </a:lnTo>
                  <a:cubicBezTo>
                    <a:pt x="9416" y="11112"/>
                    <a:pt x="9546" y="11146"/>
                    <a:pt x="9675" y="11146"/>
                  </a:cubicBezTo>
                  <a:cubicBezTo>
                    <a:pt x="9805" y="11146"/>
                    <a:pt x="9934" y="11112"/>
                    <a:pt x="10047" y="11044"/>
                  </a:cubicBezTo>
                  <a:lnTo>
                    <a:pt x="16366" y="7339"/>
                  </a:lnTo>
                  <a:cubicBezTo>
                    <a:pt x="16512" y="7249"/>
                    <a:pt x="16557" y="7091"/>
                    <a:pt x="16523" y="6956"/>
                  </a:cubicBezTo>
                  <a:cubicBezTo>
                    <a:pt x="16557" y="6809"/>
                    <a:pt x="16512" y="6652"/>
                    <a:pt x="16366" y="6573"/>
                  </a:cubicBezTo>
                  <a:lnTo>
                    <a:pt x="16219" y="6483"/>
                  </a:lnTo>
                  <a:lnTo>
                    <a:pt x="16873" y="6111"/>
                  </a:lnTo>
                  <a:cubicBezTo>
                    <a:pt x="17008" y="6021"/>
                    <a:pt x="17064" y="5863"/>
                    <a:pt x="17019" y="5728"/>
                  </a:cubicBezTo>
                  <a:cubicBezTo>
                    <a:pt x="17064" y="5582"/>
                    <a:pt x="17008" y="5424"/>
                    <a:pt x="16873" y="5345"/>
                  </a:cubicBezTo>
                  <a:lnTo>
                    <a:pt x="16861" y="5345"/>
                  </a:lnTo>
                  <a:lnTo>
                    <a:pt x="7794" y="85"/>
                  </a:lnTo>
                  <a:cubicBezTo>
                    <a:pt x="7693" y="29"/>
                    <a:pt x="7583" y="1"/>
                    <a:pt x="7475" y="1"/>
                  </a:cubicBezTo>
                  <a:close/>
                </a:path>
              </a:pathLst>
            </a:cu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" name="Google Shape;1136;p33"/>
            <p:cNvSpPr/>
            <p:nvPr/>
          </p:nvSpPr>
          <p:spPr>
            <a:xfrm>
              <a:off x="-1693165" y="2758894"/>
              <a:ext cx="580410" cy="339813"/>
            </a:xfrm>
            <a:custGeom>
              <a:avLst/>
              <a:gdLst/>
              <a:ahLst/>
              <a:cxnLst/>
              <a:rect l="l" t="t" r="r" b="b"/>
              <a:pathLst>
                <a:path w="16614" h="9727" extrusionOk="0">
                  <a:moveTo>
                    <a:pt x="6999" y="0"/>
                  </a:moveTo>
                  <a:cubicBezTo>
                    <a:pt x="6891" y="0"/>
                    <a:pt x="6781" y="28"/>
                    <a:pt x="6680" y="85"/>
                  </a:cubicBezTo>
                  <a:lnTo>
                    <a:pt x="158" y="3881"/>
                  </a:lnTo>
                  <a:cubicBezTo>
                    <a:pt x="1" y="3971"/>
                    <a:pt x="1" y="4196"/>
                    <a:pt x="158" y="4286"/>
                  </a:cubicBezTo>
                  <a:lnTo>
                    <a:pt x="9327" y="9625"/>
                  </a:lnTo>
                  <a:cubicBezTo>
                    <a:pt x="9439" y="9692"/>
                    <a:pt x="9569" y="9726"/>
                    <a:pt x="9698" y="9726"/>
                  </a:cubicBezTo>
                  <a:cubicBezTo>
                    <a:pt x="9828" y="9726"/>
                    <a:pt x="9957" y="9692"/>
                    <a:pt x="10070" y="9625"/>
                  </a:cubicBezTo>
                  <a:lnTo>
                    <a:pt x="16389" y="5919"/>
                  </a:lnTo>
                  <a:cubicBezTo>
                    <a:pt x="16614" y="5795"/>
                    <a:pt x="16614" y="5469"/>
                    <a:pt x="16389" y="5345"/>
                  </a:cubicBezTo>
                  <a:lnTo>
                    <a:pt x="7310" y="85"/>
                  </a:lnTo>
                  <a:cubicBezTo>
                    <a:pt x="7215" y="28"/>
                    <a:pt x="7108" y="0"/>
                    <a:pt x="6999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" name="Google Shape;1137;p33"/>
            <p:cNvSpPr/>
            <p:nvPr/>
          </p:nvSpPr>
          <p:spPr>
            <a:xfrm>
              <a:off x="-1693165" y="2757916"/>
              <a:ext cx="580410" cy="341944"/>
            </a:xfrm>
            <a:custGeom>
              <a:avLst/>
              <a:gdLst/>
              <a:ahLst/>
              <a:cxnLst/>
              <a:rect l="l" t="t" r="r" b="b"/>
              <a:pathLst>
                <a:path w="16614" h="9788" fill="none" extrusionOk="0">
                  <a:moveTo>
                    <a:pt x="16389" y="5947"/>
                  </a:moveTo>
                  <a:lnTo>
                    <a:pt x="10070" y="9653"/>
                  </a:lnTo>
                  <a:cubicBezTo>
                    <a:pt x="9845" y="9788"/>
                    <a:pt x="9552" y="9788"/>
                    <a:pt x="9327" y="9653"/>
                  </a:cubicBezTo>
                  <a:lnTo>
                    <a:pt x="158" y="4314"/>
                  </a:lnTo>
                  <a:cubicBezTo>
                    <a:pt x="1" y="4224"/>
                    <a:pt x="1" y="3999"/>
                    <a:pt x="158" y="3909"/>
                  </a:cubicBezTo>
                  <a:lnTo>
                    <a:pt x="6680" y="113"/>
                  </a:lnTo>
                  <a:cubicBezTo>
                    <a:pt x="6882" y="0"/>
                    <a:pt x="7119" y="0"/>
                    <a:pt x="7310" y="113"/>
                  </a:cubicBezTo>
                  <a:lnTo>
                    <a:pt x="16389" y="5373"/>
                  </a:lnTo>
                  <a:cubicBezTo>
                    <a:pt x="16614" y="5497"/>
                    <a:pt x="16614" y="5823"/>
                    <a:pt x="16389" y="594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" name="Google Shape;1138;p33"/>
            <p:cNvSpPr/>
            <p:nvPr/>
          </p:nvSpPr>
          <p:spPr>
            <a:xfrm>
              <a:off x="-1693165" y="2752292"/>
              <a:ext cx="580410" cy="340092"/>
            </a:xfrm>
            <a:custGeom>
              <a:avLst/>
              <a:gdLst/>
              <a:ahLst/>
              <a:cxnLst/>
              <a:rect l="l" t="t" r="r" b="b"/>
              <a:pathLst>
                <a:path w="16614" h="9735" extrusionOk="0">
                  <a:moveTo>
                    <a:pt x="6999" y="1"/>
                  </a:moveTo>
                  <a:cubicBezTo>
                    <a:pt x="6891" y="1"/>
                    <a:pt x="6781" y="32"/>
                    <a:pt x="6680" y="94"/>
                  </a:cubicBezTo>
                  <a:lnTo>
                    <a:pt x="158" y="3889"/>
                  </a:lnTo>
                  <a:cubicBezTo>
                    <a:pt x="1" y="3979"/>
                    <a:pt x="1" y="4205"/>
                    <a:pt x="158" y="4295"/>
                  </a:cubicBezTo>
                  <a:lnTo>
                    <a:pt x="9327" y="9634"/>
                  </a:lnTo>
                  <a:cubicBezTo>
                    <a:pt x="9439" y="9701"/>
                    <a:pt x="9569" y="9735"/>
                    <a:pt x="9698" y="9735"/>
                  </a:cubicBezTo>
                  <a:cubicBezTo>
                    <a:pt x="9828" y="9735"/>
                    <a:pt x="9957" y="9701"/>
                    <a:pt x="10070" y="9634"/>
                  </a:cubicBezTo>
                  <a:lnTo>
                    <a:pt x="16389" y="5928"/>
                  </a:lnTo>
                  <a:cubicBezTo>
                    <a:pt x="16614" y="5804"/>
                    <a:pt x="16614" y="5477"/>
                    <a:pt x="16389" y="5354"/>
                  </a:cubicBezTo>
                  <a:lnTo>
                    <a:pt x="7310" y="94"/>
                  </a:lnTo>
                  <a:cubicBezTo>
                    <a:pt x="7215" y="32"/>
                    <a:pt x="7108" y="1"/>
                    <a:pt x="69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" name="Google Shape;1139;p33"/>
            <p:cNvSpPr/>
            <p:nvPr/>
          </p:nvSpPr>
          <p:spPr>
            <a:xfrm>
              <a:off x="-1693165" y="2751209"/>
              <a:ext cx="580410" cy="342363"/>
            </a:xfrm>
            <a:custGeom>
              <a:avLst/>
              <a:gdLst/>
              <a:ahLst/>
              <a:cxnLst/>
              <a:rect l="l" t="t" r="r" b="b"/>
              <a:pathLst>
                <a:path w="16614" h="9800" fill="none" extrusionOk="0">
                  <a:moveTo>
                    <a:pt x="16389" y="5959"/>
                  </a:moveTo>
                  <a:lnTo>
                    <a:pt x="10070" y="9665"/>
                  </a:lnTo>
                  <a:cubicBezTo>
                    <a:pt x="9845" y="9800"/>
                    <a:pt x="9552" y="9800"/>
                    <a:pt x="9327" y="9665"/>
                  </a:cubicBezTo>
                  <a:lnTo>
                    <a:pt x="158" y="4326"/>
                  </a:lnTo>
                  <a:cubicBezTo>
                    <a:pt x="1" y="4236"/>
                    <a:pt x="1" y="4010"/>
                    <a:pt x="158" y="3920"/>
                  </a:cubicBezTo>
                  <a:lnTo>
                    <a:pt x="6680" y="125"/>
                  </a:lnTo>
                  <a:cubicBezTo>
                    <a:pt x="6882" y="1"/>
                    <a:pt x="7119" y="1"/>
                    <a:pt x="7310" y="125"/>
                  </a:cubicBezTo>
                  <a:lnTo>
                    <a:pt x="16389" y="5385"/>
                  </a:lnTo>
                  <a:cubicBezTo>
                    <a:pt x="16614" y="5508"/>
                    <a:pt x="16614" y="5835"/>
                    <a:pt x="16389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" name="Google Shape;1140;p33"/>
            <p:cNvSpPr/>
            <p:nvPr/>
          </p:nvSpPr>
          <p:spPr>
            <a:xfrm>
              <a:off x="-1545989" y="2855871"/>
              <a:ext cx="251043" cy="146413"/>
            </a:xfrm>
            <a:custGeom>
              <a:avLst/>
              <a:gdLst/>
              <a:ahLst/>
              <a:cxnLst/>
              <a:rect l="l" t="t" r="r" b="b"/>
              <a:pathLst>
                <a:path w="7186" h="4191" fill="none" extrusionOk="0">
                  <a:moveTo>
                    <a:pt x="7186" y="4191"/>
                  </a:moveTo>
                  <a:lnTo>
                    <a:pt x="0" y="1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" name="Google Shape;1141;p33"/>
            <p:cNvSpPr/>
            <p:nvPr/>
          </p:nvSpPr>
          <p:spPr>
            <a:xfrm>
              <a:off x="-1564888" y="2868482"/>
              <a:ext cx="251078" cy="146413"/>
            </a:xfrm>
            <a:custGeom>
              <a:avLst/>
              <a:gdLst/>
              <a:ahLst/>
              <a:cxnLst/>
              <a:rect l="l" t="t" r="r" b="b"/>
              <a:pathLst>
                <a:path w="7187" h="4191" fill="none" extrusionOk="0">
                  <a:moveTo>
                    <a:pt x="7186" y="4190"/>
                  </a:moveTo>
                  <a:lnTo>
                    <a:pt x="0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" name="Google Shape;1142;p33"/>
            <p:cNvSpPr/>
            <p:nvPr/>
          </p:nvSpPr>
          <p:spPr>
            <a:xfrm>
              <a:off x="-1590460" y="2881442"/>
              <a:ext cx="251078" cy="146028"/>
            </a:xfrm>
            <a:custGeom>
              <a:avLst/>
              <a:gdLst/>
              <a:ahLst/>
              <a:cxnLst/>
              <a:rect l="l" t="t" r="r" b="b"/>
              <a:pathLst>
                <a:path w="7187" h="4180" fill="none" extrusionOk="0">
                  <a:moveTo>
                    <a:pt x="7186" y="4179"/>
                  </a:moveTo>
                  <a:lnTo>
                    <a:pt x="0" y="1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" name="Google Shape;1143;p33"/>
            <p:cNvSpPr/>
            <p:nvPr/>
          </p:nvSpPr>
          <p:spPr>
            <a:xfrm>
              <a:off x="-1298133" y="2907014"/>
              <a:ext cx="118884" cy="70534"/>
            </a:xfrm>
            <a:custGeom>
              <a:avLst/>
              <a:gdLst/>
              <a:ahLst/>
              <a:cxnLst/>
              <a:rect l="l" t="t" r="r" b="b"/>
              <a:pathLst>
                <a:path w="3403" h="2019" extrusionOk="0">
                  <a:moveTo>
                    <a:pt x="1707" y="1"/>
                  </a:moveTo>
                  <a:cubicBezTo>
                    <a:pt x="1662" y="1"/>
                    <a:pt x="1617" y="12"/>
                    <a:pt x="1578" y="35"/>
                  </a:cubicBezTo>
                  <a:lnTo>
                    <a:pt x="57" y="925"/>
                  </a:lnTo>
                  <a:cubicBezTo>
                    <a:pt x="1" y="958"/>
                    <a:pt x="1" y="1048"/>
                    <a:pt x="57" y="1082"/>
                  </a:cubicBezTo>
                  <a:lnTo>
                    <a:pt x="1555" y="1983"/>
                  </a:lnTo>
                  <a:cubicBezTo>
                    <a:pt x="1591" y="2007"/>
                    <a:pt x="1637" y="2019"/>
                    <a:pt x="1684" y="2019"/>
                  </a:cubicBezTo>
                  <a:cubicBezTo>
                    <a:pt x="1725" y="2019"/>
                    <a:pt x="1766" y="2010"/>
                    <a:pt x="1803" y="1995"/>
                  </a:cubicBezTo>
                  <a:lnTo>
                    <a:pt x="3312" y="1127"/>
                  </a:lnTo>
                  <a:cubicBezTo>
                    <a:pt x="3402" y="1082"/>
                    <a:pt x="3402" y="947"/>
                    <a:pt x="3312" y="902"/>
                  </a:cubicBezTo>
                  <a:lnTo>
                    <a:pt x="1837" y="35"/>
                  </a:lnTo>
                  <a:cubicBezTo>
                    <a:pt x="1797" y="12"/>
                    <a:pt x="1752" y="1"/>
                    <a:pt x="170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" name="Google Shape;1144;p33"/>
            <p:cNvSpPr/>
            <p:nvPr/>
          </p:nvSpPr>
          <p:spPr>
            <a:xfrm>
              <a:off x="-1298133" y="2906630"/>
              <a:ext cx="118884" cy="71267"/>
            </a:xfrm>
            <a:custGeom>
              <a:avLst/>
              <a:gdLst/>
              <a:ahLst/>
              <a:cxnLst/>
              <a:rect l="l" t="t" r="r" b="b"/>
              <a:pathLst>
                <a:path w="3403" h="2040" fill="none" extrusionOk="0">
                  <a:moveTo>
                    <a:pt x="3312" y="1138"/>
                  </a:moveTo>
                  <a:lnTo>
                    <a:pt x="1803" y="2006"/>
                  </a:lnTo>
                  <a:cubicBezTo>
                    <a:pt x="1724" y="2039"/>
                    <a:pt x="1623" y="2039"/>
                    <a:pt x="1555" y="1994"/>
                  </a:cubicBezTo>
                  <a:lnTo>
                    <a:pt x="57" y="1093"/>
                  </a:lnTo>
                  <a:cubicBezTo>
                    <a:pt x="1" y="1059"/>
                    <a:pt x="1" y="969"/>
                    <a:pt x="57" y="936"/>
                  </a:cubicBezTo>
                  <a:lnTo>
                    <a:pt x="1578" y="46"/>
                  </a:lnTo>
                  <a:cubicBezTo>
                    <a:pt x="1657" y="1"/>
                    <a:pt x="1758" y="1"/>
                    <a:pt x="1837" y="46"/>
                  </a:cubicBezTo>
                  <a:lnTo>
                    <a:pt x="3312" y="913"/>
                  </a:lnTo>
                  <a:cubicBezTo>
                    <a:pt x="3402" y="958"/>
                    <a:pt x="3402" y="1093"/>
                    <a:pt x="3312" y="113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" name="Google Shape;1145;p33"/>
            <p:cNvSpPr/>
            <p:nvPr/>
          </p:nvSpPr>
          <p:spPr>
            <a:xfrm>
              <a:off x="-1252091" y="2914490"/>
              <a:ext cx="62219" cy="36647"/>
            </a:xfrm>
            <a:custGeom>
              <a:avLst/>
              <a:gdLst/>
              <a:ahLst/>
              <a:cxnLst/>
              <a:rect l="l" t="t" r="r" b="b"/>
              <a:pathLst>
                <a:path w="1781" h="1049" fill="none" extrusionOk="0">
                  <a:moveTo>
                    <a:pt x="1780" y="1048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" name="Google Shape;1146;p33"/>
            <p:cNvSpPr/>
            <p:nvPr/>
          </p:nvSpPr>
          <p:spPr>
            <a:xfrm>
              <a:off x="-1284334" y="2932201"/>
              <a:ext cx="62184" cy="36647"/>
            </a:xfrm>
            <a:custGeom>
              <a:avLst/>
              <a:gdLst/>
              <a:ahLst/>
              <a:cxnLst/>
              <a:rect l="l" t="t" r="r" b="b"/>
              <a:pathLst>
                <a:path w="1780" h="1049" fill="none" extrusionOk="0">
                  <a:moveTo>
                    <a:pt x="1780" y="1048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" name="Google Shape;1147;p33"/>
            <p:cNvSpPr/>
            <p:nvPr/>
          </p:nvSpPr>
          <p:spPr>
            <a:xfrm>
              <a:off x="-1252475" y="2933005"/>
              <a:ext cx="62219" cy="37800"/>
            </a:xfrm>
            <a:custGeom>
              <a:avLst/>
              <a:gdLst/>
              <a:ahLst/>
              <a:cxnLst/>
              <a:rect l="l" t="t" r="r" b="b"/>
              <a:pathLst>
                <a:path w="1781" h="1082" fill="none" extrusionOk="0">
                  <a:moveTo>
                    <a:pt x="1780" y="0"/>
                  </a:moveTo>
                  <a:lnTo>
                    <a:pt x="0" y="1082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" name="Google Shape;1148;p33"/>
            <p:cNvSpPr/>
            <p:nvPr/>
          </p:nvSpPr>
          <p:spPr>
            <a:xfrm>
              <a:off x="-1247374" y="2935345"/>
              <a:ext cx="31127" cy="18935"/>
            </a:xfrm>
            <a:custGeom>
              <a:avLst/>
              <a:gdLst/>
              <a:ahLst/>
              <a:cxnLst/>
              <a:rect l="l" t="t" r="r" b="b"/>
              <a:pathLst>
                <a:path w="891" h="542" fill="none" extrusionOk="0">
                  <a:moveTo>
                    <a:pt x="891" y="1"/>
                  </a:moveTo>
                  <a:lnTo>
                    <a:pt x="1" y="542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" name="Google Shape;1149;p33"/>
            <p:cNvSpPr/>
            <p:nvPr/>
          </p:nvSpPr>
          <p:spPr>
            <a:xfrm>
              <a:off x="-1261138" y="2926298"/>
              <a:ext cx="30743" cy="18550"/>
            </a:xfrm>
            <a:custGeom>
              <a:avLst/>
              <a:gdLst/>
              <a:ahLst/>
              <a:cxnLst/>
              <a:rect l="l" t="t" r="r" b="b"/>
              <a:pathLst>
                <a:path w="880" h="531" fill="none" extrusionOk="0">
                  <a:moveTo>
                    <a:pt x="879" y="1"/>
                  </a:moveTo>
                  <a:lnTo>
                    <a:pt x="1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" name="Google Shape;1150;p33"/>
            <p:cNvSpPr/>
            <p:nvPr/>
          </p:nvSpPr>
          <p:spPr>
            <a:xfrm>
              <a:off x="-1290238" y="2911765"/>
              <a:ext cx="61416" cy="36996"/>
            </a:xfrm>
            <a:custGeom>
              <a:avLst/>
              <a:gdLst/>
              <a:ahLst/>
              <a:cxnLst/>
              <a:rect l="l" t="t" r="r" b="b"/>
              <a:pathLst>
                <a:path w="1758" h="1059" fill="none" extrusionOk="0">
                  <a:moveTo>
                    <a:pt x="1757" y="0"/>
                  </a:moveTo>
                  <a:cubicBezTo>
                    <a:pt x="1746" y="23"/>
                    <a:pt x="0" y="1059"/>
                    <a:pt x="0" y="1059"/>
                  </a:cubicBez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" name="Google Shape;1151;p33"/>
            <p:cNvSpPr/>
            <p:nvPr/>
          </p:nvSpPr>
          <p:spPr>
            <a:xfrm>
              <a:off x="-1675454" y="2715716"/>
              <a:ext cx="580026" cy="340092"/>
            </a:xfrm>
            <a:custGeom>
              <a:avLst/>
              <a:gdLst/>
              <a:ahLst/>
              <a:cxnLst/>
              <a:rect l="l" t="t" r="r" b="b"/>
              <a:pathLst>
                <a:path w="16603" h="9735" extrusionOk="0">
                  <a:moveTo>
                    <a:pt x="6991" y="0"/>
                  </a:moveTo>
                  <a:cubicBezTo>
                    <a:pt x="6882" y="0"/>
                    <a:pt x="6775" y="31"/>
                    <a:pt x="6680" y="93"/>
                  </a:cubicBezTo>
                  <a:lnTo>
                    <a:pt x="158" y="3889"/>
                  </a:lnTo>
                  <a:cubicBezTo>
                    <a:pt x="0" y="3979"/>
                    <a:pt x="0" y="4204"/>
                    <a:pt x="158" y="4294"/>
                  </a:cubicBezTo>
                  <a:lnTo>
                    <a:pt x="9315" y="9633"/>
                  </a:lnTo>
                  <a:cubicBezTo>
                    <a:pt x="9433" y="9701"/>
                    <a:pt x="9563" y="9734"/>
                    <a:pt x="9691" y="9734"/>
                  </a:cubicBezTo>
                  <a:cubicBezTo>
                    <a:pt x="9819" y="9734"/>
                    <a:pt x="9946" y="9701"/>
                    <a:pt x="10059" y="9633"/>
                  </a:cubicBezTo>
                  <a:lnTo>
                    <a:pt x="16377" y="5927"/>
                  </a:lnTo>
                  <a:cubicBezTo>
                    <a:pt x="16603" y="5804"/>
                    <a:pt x="16603" y="5477"/>
                    <a:pt x="16377" y="5353"/>
                  </a:cubicBezTo>
                  <a:lnTo>
                    <a:pt x="7310" y="93"/>
                  </a:lnTo>
                  <a:cubicBezTo>
                    <a:pt x="7209" y="31"/>
                    <a:pt x="7099" y="0"/>
                    <a:pt x="69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" name="Google Shape;1152;p33"/>
            <p:cNvSpPr/>
            <p:nvPr/>
          </p:nvSpPr>
          <p:spPr>
            <a:xfrm>
              <a:off x="-1675454" y="2714633"/>
              <a:ext cx="580026" cy="342363"/>
            </a:xfrm>
            <a:custGeom>
              <a:avLst/>
              <a:gdLst/>
              <a:ahLst/>
              <a:cxnLst/>
              <a:rect l="l" t="t" r="r" b="b"/>
              <a:pathLst>
                <a:path w="16603" h="9800" fill="none" extrusionOk="0">
                  <a:moveTo>
                    <a:pt x="16377" y="5958"/>
                  </a:moveTo>
                  <a:lnTo>
                    <a:pt x="10059" y="9664"/>
                  </a:lnTo>
                  <a:cubicBezTo>
                    <a:pt x="9833" y="9799"/>
                    <a:pt x="9552" y="9799"/>
                    <a:pt x="9315" y="9664"/>
                  </a:cubicBezTo>
                  <a:lnTo>
                    <a:pt x="158" y="4325"/>
                  </a:lnTo>
                  <a:cubicBezTo>
                    <a:pt x="0" y="4235"/>
                    <a:pt x="0" y="4010"/>
                    <a:pt x="158" y="3920"/>
                  </a:cubicBezTo>
                  <a:lnTo>
                    <a:pt x="6680" y="124"/>
                  </a:lnTo>
                  <a:cubicBezTo>
                    <a:pt x="6871" y="0"/>
                    <a:pt x="7108" y="0"/>
                    <a:pt x="7310" y="124"/>
                  </a:cubicBezTo>
                  <a:lnTo>
                    <a:pt x="16377" y="5384"/>
                  </a:lnTo>
                  <a:cubicBezTo>
                    <a:pt x="16603" y="5508"/>
                    <a:pt x="16603" y="5835"/>
                    <a:pt x="16377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" name="Google Shape;1153;p33"/>
            <p:cNvSpPr/>
            <p:nvPr/>
          </p:nvSpPr>
          <p:spPr>
            <a:xfrm>
              <a:off x="-1675454" y="2709323"/>
              <a:ext cx="580026" cy="340197"/>
            </a:xfrm>
            <a:custGeom>
              <a:avLst/>
              <a:gdLst/>
              <a:ahLst/>
              <a:cxnLst/>
              <a:rect l="l" t="t" r="r" b="b"/>
              <a:pathLst>
                <a:path w="16603" h="9738" extrusionOk="0">
                  <a:moveTo>
                    <a:pt x="6991" y="0"/>
                  </a:moveTo>
                  <a:cubicBezTo>
                    <a:pt x="6882" y="0"/>
                    <a:pt x="6775" y="28"/>
                    <a:pt x="6680" y="85"/>
                  </a:cubicBezTo>
                  <a:lnTo>
                    <a:pt x="158" y="3880"/>
                  </a:lnTo>
                  <a:cubicBezTo>
                    <a:pt x="0" y="3982"/>
                    <a:pt x="0" y="4207"/>
                    <a:pt x="158" y="4297"/>
                  </a:cubicBezTo>
                  <a:lnTo>
                    <a:pt x="9315" y="9636"/>
                  </a:lnTo>
                  <a:cubicBezTo>
                    <a:pt x="9433" y="9703"/>
                    <a:pt x="9563" y="9737"/>
                    <a:pt x="9691" y="9737"/>
                  </a:cubicBezTo>
                  <a:cubicBezTo>
                    <a:pt x="9819" y="9737"/>
                    <a:pt x="9946" y="9703"/>
                    <a:pt x="10059" y="9636"/>
                  </a:cubicBezTo>
                  <a:lnTo>
                    <a:pt x="16377" y="5930"/>
                  </a:lnTo>
                  <a:cubicBezTo>
                    <a:pt x="16603" y="5795"/>
                    <a:pt x="16603" y="5480"/>
                    <a:pt x="16377" y="5345"/>
                  </a:cubicBezTo>
                  <a:lnTo>
                    <a:pt x="7310" y="85"/>
                  </a:lnTo>
                  <a:cubicBezTo>
                    <a:pt x="7209" y="28"/>
                    <a:pt x="7099" y="0"/>
                    <a:pt x="699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" name="Google Shape;1154;p33"/>
            <p:cNvSpPr/>
            <p:nvPr/>
          </p:nvSpPr>
          <p:spPr>
            <a:xfrm>
              <a:off x="-1675454" y="2708310"/>
              <a:ext cx="580026" cy="342398"/>
            </a:xfrm>
            <a:custGeom>
              <a:avLst/>
              <a:gdLst/>
              <a:ahLst/>
              <a:cxnLst/>
              <a:rect l="l" t="t" r="r" b="b"/>
              <a:pathLst>
                <a:path w="16603" h="9801" fill="none" extrusionOk="0">
                  <a:moveTo>
                    <a:pt x="16377" y="5959"/>
                  </a:moveTo>
                  <a:lnTo>
                    <a:pt x="10059" y="9665"/>
                  </a:lnTo>
                  <a:cubicBezTo>
                    <a:pt x="9833" y="9800"/>
                    <a:pt x="9552" y="9800"/>
                    <a:pt x="9315" y="9665"/>
                  </a:cubicBezTo>
                  <a:lnTo>
                    <a:pt x="158" y="4326"/>
                  </a:lnTo>
                  <a:cubicBezTo>
                    <a:pt x="0" y="4236"/>
                    <a:pt x="0" y="4011"/>
                    <a:pt x="158" y="3909"/>
                  </a:cubicBezTo>
                  <a:lnTo>
                    <a:pt x="6680" y="114"/>
                  </a:lnTo>
                  <a:cubicBezTo>
                    <a:pt x="6871" y="1"/>
                    <a:pt x="7108" y="1"/>
                    <a:pt x="7310" y="114"/>
                  </a:cubicBezTo>
                  <a:lnTo>
                    <a:pt x="16377" y="5374"/>
                  </a:lnTo>
                  <a:cubicBezTo>
                    <a:pt x="16603" y="5509"/>
                    <a:pt x="16603" y="5824"/>
                    <a:pt x="16377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" name="Google Shape;1155;p33"/>
            <p:cNvSpPr/>
            <p:nvPr/>
          </p:nvSpPr>
          <p:spPr>
            <a:xfrm>
              <a:off x="-1528312" y="2813007"/>
              <a:ext cx="251078" cy="146378"/>
            </a:xfrm>
            <a:custGeom>
              <a:avLst/>
              <a:gdLst/>
              <a:ahLst/>
              <a:cxnLst/>
              <a:rect l="l" t="t" r="r" b="b"/>
              <a:pathLst>
                <a:path w="7187" h="4190" fill="none" extrusionOk="0">
                  <a:moveTo>
                    <a:pt x="7187" y="4190"/>
                  </a:moveTo>
                  <a:lnTo>
                    <a:pt x="1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" name="Google Shape;1156;p33"/>
            <p:cNvSpPr/>
            <p:nvPr/>
          </p:nvSpPr>
          <p:spPr>
            <a:xfrm>
              <a:off x="-1547596" y="2825583"/>
              <a:ext cx="251078" cy="146413"/>
            </a:xfrm>
            <a:custGeom>
              <a:avLst/>
              <a:gdLst/>
              <a:ahLst/>
              <a:cxnLst/>
              <a:rect l="l" t="t" r="r" b="b"/>
              <a:pathLst>
                <a:path w="7187" h="4191" fill="none" extrusionOk="0">
                  <a:moveTo>
                    <a:pt x="7187" y="4190"/>
                  </a:moveTo>
                  <a:lnTo>
                    <a:pt x="1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" name="Google Shape;1157;p33"/>
            <p:cNvSpPr/>
            <p:nvPr/>
          </p:nvSpPr>
          <p:spPr>
            <a:xfrm>
              <a:off x="-1572748" y="2838579"/>
              <a:ext cx="251078" cy="145993"/>
            </a:xfrm>
            <a:custGeom>
              <a:avLst/>
              <a:gdLst/>
              <a:ahLst/>
              <a:cxnLst/>
              <a:rect l="l" t="t" r="r" b="b"/>
              <a:pathLst>
                <a:path w="7187" h="4179" fill="none" extrusionOk="0">
                  <a:moveTo>
                    <a:pt x="7186" y="4179"/>
                  </a:moveTo>
                  <a:lnTo>
                    <a:pt x="0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" name="Google Shape;1158;p33"/>
            <p:cNvSpPr/>
            <p:nvPr/>
          </p:nvSpPr>
          <p:spPr>
            <a:xfrm>
              <a:off x="-1280806" y="2864150"/>
              <a:ext cx="119268" cy="70499"/>
            </a:xfrm>
            <a:custGeom>
              <a:avLst/>
              <a:gdLst/>
              <a:ahLst/>
              <a:cxnLst/>
              <a:rect l="l" t="t" r="r" b="b"/>
              <a:pathLst>
                <a:path w="3414" h="2018" extrusionOk="0">
                  <a:moveTo>
                    <a:pt x="1707" y="0"/>
                  </a:moveTo>
                  <a:cubicBezTo>
                    <a:pt x="1662" y="0"/>
                    <a:pt x="1617" y="11"/>
                    <a:pt x="1577" y="34"/>
                  </a:cubicBezTo>
                  <a:lnTo>
                    <a:pt x="68" y="924"/>
                  </a:lnTo>
                  <a:cubicBezTo>
                    <a:pt x="0" y="958"/>
                    <a:pt x="0" y="1048"/>
                    <a:pt x="68" y="1082"/>
                  </a:cubicBezTo>
                  <a:lnTo>
                    <a:pt x="1555" y="1983"/>
                  </a:lnTo>
                  <a:cubicBezTo>
                    <a:pt x="1597" y="2007"/>
                    <a:pt x="1643" y="2018"/>
                    <a:pt x="1688" y="2018"/>
                  </a:cubicBezTo>
                  <a:cubicBezTo>
                    <a:pt x="1727" y="2018"/>
                    <a:pt x="1766" y="2010"/>
                    <a:pt x="1803" y="1994"/>
                  </a:cubicBezTo>
                  <a:lnTo>
                    <a:pt x="3323" y="1127"/>
                  </a:lnTo>
                  <a:lnTo>
                    <a:pt x="3312" y="1127"/>
                  </a:lnTo>
                  <a:cubicBezTo>
                    <a:pt x="3402" y="1082"/>
                    <a:pt x="3413" y="946"/>
                    <a:pt x="3323" y="901"/>
                  </a:cubicBezTo>
                  <a:lnTo>
                    <a:pt x="1836" y="34"/>
                  </a:lnTo>
                  <a:cubicBezTo>
                    <a:pt x="1797" y="11"/>
                    <a:pt x="1752" y="0"/>
                    <a:pt x="170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" name="Google Shape;1159;p33"/>
            <p:cNvSpPr/>
            <p:nvPr/>
          </p:nvSpPr>
          <p:spPr>
            <a:xfrm>
              <a:off x="-1280806" y="2863731"/>
              <a:ext cx="119268" cy="71267"/>
            </a:xfrm>
            <a:custGeom>
              <a:avLst/>
              <a:gdLst/>
              <a:ahLst/>
              <a:cxnLst/>
              <a:rect l="l" t="t" r="r" b="b"/>
              <a:pathLst>
                <a:path w="3414" h="2040" fill="none" extrusionOk="0">
                  <a:moveTo>
                    <a:pt x="3323" y="1139"/>
                  </a:moveTo>
                  <a:lnTo>
                    <a:pt x="1803" y="2006"/>
                  </a:lnTo>
                  <a:cubicBezTo>
                    <a:pt x="1724" y="2040"/>
                    <a:pt x="1634" y="2040"/>
                    <a:pt x="1555" y="1995"/>
                  </a:cubicBezTo>
                  <a:lnTo>
                    <a:pt x="68" y="1094"/>
                  </a:lnTo>
                  <a:cubicBezTo>
                    <a:pt x="0" y="1060"/>
                    <a:pt x="0" y="970"/>
                    <a:pt x="68" y="936"/>
                  </a:cubicBezTo>
                  <a:lnTo>
                    <a:pt x="1577" y="46"/>
                  </a:lnTo>
                  <a:cubicBezTo>
                    <a:pt x="1656" y="1"/>
                    <a:pt x="1758" y="1"/>
                    <a:pt x="1836" y="46"/>
                  </a:cubicBezTo>
                  <a:lnTo>
                    <a:pt x="3323" y="913"/>
                  </a:lnTo>
                  <a:cubicBezTo>
                    <a:pt x="3413" y="958"/>
                    <a:pt x="3402" y="1094"/>
                    <a:pt x="3312" y="113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" name="Google Shape;1160;p33"/>
            <p:cNvSpPr/>
            <p:nvPr/>
          </p:nvSpPr>
          <p:spPr>
            <a:xfrm>
              <a:off x="-1234379" y="2871626"/>
              <a:ext cx="61800" cy="36612"/>
            </a:xfrm>
            <a:custGeom>
              <a:avLst/>
              <a:gdLst/>
              <a:ahLst/>
              <a:cxnLst/>
              <a:rect l="l" t="t" r="r" b="b"/>
              <a:pathLst>
                <a:path w="1769" h="1048" fill="none" extrusionOk="0">
                  <a:moveTo>
                    <a:pt x="1769" y="1048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" name="Google Shape;1161;p33"/>
            <p:cNvSpPr/>
            <p:nvPr/>
          </p:nvSpPr>
          <p:spPr>
            <a:xfrm>
              <a:off x="-1266658" y="2889338"/>
              <a:ext cx="61835" cy="36612"/>
            </a:xfrm>
            <a:custGeom>
              <a:avLst/>
              <a:gdLst/>
              <a:ahLst/>
              <a:cxnLst/>
              <a:rect l="l" t="t" r="r" b="b"/>
              <a:pathLst>
                <a:path w="1770" h="1048" fill="none" extrusionOk="0">
                  <a:moveTo>
                    <a:pt x="1769" y="1048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" name="Google Shape;1162;p33"/>
            <p:cNvSpPr/>
            <p:nvPr/>
          </p:nvSpPr>
          <p:spPr>
            <a:xfrm>
              <a:off x="-1235148" y="2890106"/>
              <a:ext cx="62569" cy="37415"/>
            </a:xfrm>
            <a:custGeom>
              <a:avLst/>
              <a:gdLst/>
              <a:ahLst/>
              <a:cxnLst/>
              <a:rect l="l" t="t" r="r" b="b"/>
              <a:pathLst>
                <a:path w="1791" h="1071" fill="none" extrusionOk="0">
                  <a:moveTo>
                    <a:pt x="1791" y="1"/>
                  </a:moveTo>
                  <a:lnTo>
                    <a:pt x="0" y="107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" name="Google Shape;1163;p33"/>
            <p:cNvSpPr/>
            <p:nvPr/>
          </p:nvSpPr>
          <p:spPr>
            <a:xfrm>
              <a:off x="-1229663" y="2892482"/>
              <a:ext cx="30743" cy="18516"/>
            </a:xfrm>
            <a:custGeom>
              <a:avLst/>
              <a:gdLst/>
              <a:ahLst/>
              <a:cxnLst/>
              <a:rect l="l" t="t" r="r" b="b"/>
              <a:pathLst>
                <a:path w="880" h="530" fill="none" extrusionOk="0">
                  <a:moveTo>
                    <a:pt x="879" y="0"/>
                  </a:moveTo>
                  <a:lnTo>
                    <a:pt x="1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" name="Google Shape;1164;p33"/>
            <p:cNvSpPr/>
            <p:nvPr/>
          </p:nvSpPr>
          <p:spPr>
            <a:xfrm>
              <a:off x="-1243811" y="2883434"/>
              <a:ext cx="30708" cy="18516"/>
            </a:xfrm>
            <a:custGeom>
              <a:avLst/>
              <a:gdLst/>
              <a:ahLst/>
              <a:cxnLst/>
              <a:rect l="l" t="t" r="r" b="b"/>
              <a:pathLst>
                <a:path w="879" h="530" fill="none" extrusionOk="0">
                  <a:moveTo>
                    <a:pt x="879" y="0"/>
                  </a:moveTo>
                  <a:lnTo>
                    <a:pt x="0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5038985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ACD2349-3086-8B54-3DE8-C77FB855F6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431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CD2349-3086-8B54-3DE8-C77FB855F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91" name="Google Shape;1291;p39"/>
          <p:cNvSpPr txBox="1">
            <a:spLocks noGrp="1"/>
          </p:cNvSpPr>
          <p:nvPr>
            <p:ph type="subTitle" idx="1"/>
          </p:nvPr>
        </p:nvSpPr>
        <p:spPr>
          <a:xfrm>
            <a:off x="992850" y="2782908"/>
            <a:ext cx="4363676" cy="34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ld Successful Customers (80% conversion)</a:t>
            </a:r>
            <a:br>
              <a:rPr lang="en"/>
            </a:br>
            <a:r>
              <a:rPr lang="en"/>
              <a:t>Old Low Effort Customers (60% conversion)</a:t>
            </a:r>
            <a:endParaRPr/>
          </a:p>
        </p:txBody>
      </p:sp>
      <p:sp>
        <p:nvSpPr>
          <p:cNvPr id="1292" name="Google Shape;1292;p39"/>
          <p:cNvSpPr txBox="1">
            <a:spLocks noGrp="1"/>
          </p:cNvSpPr>
          <p:nvPr>
            <p:ph type="title"/>
          </p:nvPr>
        </p:nvSpPr>
        <p:spPr>
          <a:xfrm>
            <a:off x="992850" y="2019674"/>
            <a:ext cx="4455450" cy="761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/>
              <a:t>2 Target Groups</a:t>
            </a:r>
          </a:p>
        </p:txBody>
      </p:sp>
      <p:sp>
        <p:nvSpPr>
          <p:cNvPr id="1293" name="Google Shape;1293;p39"/>
          <p:cNvSpPr txBox="1">
            <a:spLocks noGrp="1"/>
          </p:cNvSpPr>
          <p:nvPr>
            <p:ph type="title" idx="2"/>
          </p:nvPr>
        </p:nvSpPr>
        <p:spPr>
          <a:xfrm>
            <a:off x="992850" y="539500"/>
            <a:ext cx="3843600" cy="761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/>
              <a:t>94%</a:t>
            </a:r>
          </a:p>
        </p:txBody>
      </p:sp>
      <p:sp>
        <p:nvSpPr>
          <p:cNvPr id="1294" name="Google Shape;1294;p39"/>
          <p:cNvSpPr txBox="1">
            <a:spLocks noGrp="1"/>
          </p:cNvSpPr>
          <p:nvPr>
            <p:ph type="subTitle" idx="3"/>
          </p:nvPr>
        </p:nvSpPr>
        <p:spPr>
          <a:xfrm>
            <a:off x="992850" y="1306904"/>
            <a:ext cx="3843600" cy="34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AUC-ROC (Gradient Boosting Model) in Predicting Term Deposit Subscription</a:t>
            </a:r>
          </a:p>
        </p:txBody>
      </p:sp>
      <p:sp>
        <p:nvSpPr>
          <p:cNvPr id="1295" name="Google Shape;1295;p39"/>
          <p:cNvSpPr txBox="1">
            <a:spLocks noGrp="1"/>
          </p:cNvSpPr>
          <p:nvPr>
            <p:ph type="title" idx="4"/>
          </p:nvPr>
        </p:nvSpPr>
        <p:spPr>
          <a:xfrm>
            <a:off x="992850" y="3499849"/>
            <a:ext cx="3843600" cy="761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/>
              <a:t>Key Factors</a:t>
            </a:r>
          </a:p>
        </p:txBody>
      </p:sp>
      <p:sp>
        <p:nvSpPr>
          <p:cNvPr id="1296" name="Google Shape;1296;p39"/>
          <p:cNvSpPr txBox="1">
            <a:spLocks noGrp="1"/>
          </p:cNvSpPr>
          <p:nvPr>
            <p:ph type="subTitle" idx="5"/>
          </p:nvPr>
        </p:nvSpPr>
        <p:spPr>
          <a:xfrm>
            <a:off x="992850" y="4258912"/>
            <a:ext cx="3843600" cy="34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nternal Factor – Duration of Interactio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External Factor - Euribor Rate (3 Months) </a:t>
            </a:r>
            <a:endParaRPr/>
          </a:p>
        </p:txBody>
      </p:sp>
      <p:sp>
        <p:nvSpPr>
          <p:cNvPr id="1297" name="Google Shape;1297;p39"/>
          <p:cNvSpPr/>
          <p:nvPr/>
        </p:nvSpPr>
        <p:spPr>
          <a:xfrm>
            <a:off x="6637828" y="184676"/>
            <a:ext cx="1226100" cy="1226100"/>
          </a:xfrm>
          <a:prstGeom prst="pie">
            <a:avLst>
              <a:gd name="adj1" fmla="val 0"/>
              <a:gd name="adj2" fmla="val 16200000"/>
            </a:avLst>
          </a:prstGeom>
          <a:solidFill>
            <a:srgbClr val="000000">
              <a:alpha val="12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8" name="Google Shape;1298;p39"/>
          <p:cNvSpPr/>
          <p:nvPr/>
        </p:nvSpPr>
        <p:spPr>
          <a:xfrm>
            <a:off x="6171823" y="3025471"/>
            <a:ext cx="140400" cy="140400"/>
          </a:xfrm>
          <a:prstGeom prst="ellipse">
            <a:avLst/>
          </a:prstGeom>
          <a:solidFill>
            <a:srgbClr val="000000">
              <a:alpha val="12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9" name="Google Shape;1299;p39"/>
          <p:cNvSpPr/>
          <p:nvPr/>
        </p:nvSpPr>
        <p:spPr>
          <a:xfrm>
            <a:off x="6756102" y="2782900"/>
            <a:ext cx="171900" cy="148500"/>
          </a:xfrm>
          <a:prstGeom prst="triangle">
            <a:avLst>
              <a:gd name="adj" fmla="val 5000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00" name="Google Shape;1300;p39"/>
          <p:cNvGrpSpPr/>
          <p:nvPr/>
        </p:nvGrpSpPr>
        <p:grpSpPr>
          <a:xfrm>
            <a:off x="6275433" y="3752891"/>
            <a:ext cx="1301097" cy="1072159"/>
            <a:chOff x="8077428" y="4048214"/>
            <a:chExt cx="933690" cy="788700"/>
          </a:xfrm>
        </p:grpSpPr>
        <p:sp>
          <p:nvSpPr>
            <p:cNvPr id="1301" name="Google Shape;1301;p39"/>
            <p:cNvSpPr/>
            <p:nvPr/>
          </p:nvSpPr>
          <p:spPr>
            <a:xfrm>
              <a:off x="8077428" y="4048214"/>
              <a:ext cx="235200" cy="7887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" name="Google Shape;1302;p39"/>
            <p:cNvSpPr/>
            <p:nvPr/>
          </p:nvSpPr>
          <p:spPr>
            <a:xfrm>
              <a:off x="8426673" y="4191843"/>
              <a:ext cx="235200" cy="6450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" name="Google Shape;1303;p39"/>
            <p:cNvSpPr/>
            <p:nvPr/>
          </p:nvSpPr>
          <p:spPr>
            <a:xfrm>
              <a:off x="8775917" y="4392244"/>
              <a:ext cx="235200" cy="4446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04" name="Google Shape;1304;p39"/>
          <p:cNvSpPr/>
          <p:nvPr/>
        </p:nvSpPr>
        <p:spPr>
          <a:xfrm>
            <a:off x="8735559" y="298986"/>
            <a:ext cx="140400" cy="1404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05" name="Google Shape;1305;p39"/>
          <p:cNvGrpSpPr/>
          <p:nvPr/>
        </p:nvGrpSpPr>
        <p:grpSpPr>
          <a:xfrm>
            <a:off x="6171828" y="1095885"/>
            <a:ext cx="1226139" cy="1052197"/>
            <a:chOff x="3337647" y="-19723"/>
            <a:chExt cx="543453" cy="466358"/>
          </a:xfrm>
        </p:grpSpPr>
        <p:grpSp>
          <p:nvGrpSpPr>
            <p:cNvPr id="1306" name="Google Shape;1306;p39"/>
            <p:cNvGrpSpPr/>
            <p:nvPr/>
          </p:nvGrpSpPr>
          <p:grpSpPr>
            <a:xfrm>
              <a:off x="3337647" y="-19723"/>
              <a:ext cx="543453" cy="466358"/>
              <a:chOff x="3670072" y="965127"/>
              <a:chExt cx="543453" cy="466358"/>
            </a:xfrm>
          </p:grpSpPr>
          <p:sp>
            <p:nvSpPr>
              <p:cNvPr id="1307" name="Google Shape;1307;p39"/>
              <p:cNvSpPr/>
              <p:nvPr/>
            </p:nvSpPr>
            <p:spPr>
              <a:xfrm>
                <a:off x="3670077" y="1171687"/>
                <a:ext cx="543449" cy="259798"/>
              </a:xfrm>
              <a:custGeom>
                <a:avLst/>
                <a:gdLst/>
                <a:ahLst/>
                <a:cxnLst/>
                <a:rect l="l" t="t" r="r" b="b"/>
                <a:pathLst>
                  <a:path w="15556" h="6748" extrusionOk="0">
                    <a:moveTo>
                      <a:pt x="23" y="1"/>
                    </a:moveTo>
                    <a:cubicBezTo>
                      <a:pt x="35" y="46"/>
                      <a:pt x="35" y="80"/>
                      <a:pt x="46" y="125"/>
                    </a:cubicBezTo>
                    <a:cubicBezTo>
                      <a:pt x="12" y="249"/>
                      <a:pt x="1" y="372"/>
                      <a:pt x="1" y="508"/>
                    </a:cubicBezTo>
                    <a:cubicBezTo>
                      <a:pt x="1" y="586"/>
                      <a:pt x="1" y="654"/>
                      <a:pt x="12" y="733"/>
                    </a:cubicBezTo>
                    <a:lnTo>
                      <a:pt x="1" y="1397"/>
                    </a:lnTo>
                    <a:cubicBezTo>
                      <a:pt x="1" y="1454"/>
                      <a:pt x="1" y="1499"/>
                      <a:pt x="1" y="1544"/>
                    </a:cubicBezTo>
                    <a:cubicBezTo>
                      <a:pt x="1" y="1916"/>
                      <a:pt x="125" y="2265"/>
                      <a:pt x="361" y="2569"/>
                    </a:cubicBezTo>
                    <a:cubicBezTo>
                      <a:pt x="372" y="2580"/>
                      <a:pt x="384" y="2591"/>
                      <a:pt x="395" y="2614"/>
                    </a:cubicBezTo>
                    <a:cubicBezTo>
                      <a:pt x="936" y="3290"/>
                      <a:pt x="1983" y="3740"/>
                      <a:pt x="3177" y="3740"/>
                    </a:cubicBezTo>
                    <a:cubicBezTo>
                      <a:pt x="3898" y="3740"/>
                      <a:pt x="4551" y="3582"/>
                      <a:pt x="5092" y="3301"/>
                    </a:cubicBezTo>
                    <a:lnTo>
                      <a:pt x="5092" y="3301"/>
                    </a:lnTo>
                    <a:cubicBezTo>
                      <a:pt x="5081" y="3368"/>
                      <a:pt x="5069" y="3436"/>
                      <a:pt x="5069" y="3504"/>
                    </a:cubicBezTo>
                    <a:cubicBezTo>
                      <a:pt x="5069" y="3582"/>
                      <a:pt x="5081" y="3661"/>
                      <a:pt x="5092" y="3740"/>
                    </a:cubicBezTo>
                    <a:lnTo>
                      <a:pt x="5081" y="4405"/>
                    </a:lnTo>
                    <a:cubicBezTo>
                      <a:pt x="5081" y="4450"/>
                      <a:pt x="5069" y="4506"/>
                      <a:pt x="5069" y="4551"/>
                    </a:cubicBezTo>
                    <a:cubicBezTo>
                      <a:pt x="5069" y="4698"/>
                      <a:pt x="5092" y="4844"/>
                      <a:pt x="5137" y="4990"/>
                    </a:cubicBezTo>
                    <a:cubicBezTo>
                      <a:pt x="5430" y="5993"/>
                      <a:pt x="6714" y="6747"/>
                      <a:pt x="8257" y="6747"/>
                    </a:cubicBezTo>
                    <a:cubicBezTo>
                      <a:pt x="9000" y="6747"/>
                      <a:pt x="9687" y="6567"/>
                      <a:pt x="10239" y="6274"/>
                    </a:cubicBezTo>
                    <a:cubicBezTo>
                      <a:pt x="10262" y="6252"/>
                      <a:pt x="10295" y="6241"/>
                      <a:pt x="10318" y="6218"/>
                    </a:cubicBezTo>
                    <a:cubicBezTo>
                      <a:pt x="10611" y="6049"/>
                      <a:pt x="10847" y="5846"/>
                      <a:pt x="11039" y="5610"/>
                    </a:cubicBezTo>
                    <a:cubicBezTo>
                      <a:pt x="11050" y="5599"/>
                      <a:pt x="11061" y="5587"/>
                      <a:pt x="11073" y="5576"/>
                    </a:cubicBezTo>
                    <a:cubicBezTo>
                      <a:pt x="11208" y="5396"/>
                      <a:pt x="11309" y="5193"/>
                      <a:pt x="11365" y="4990"/>
                    </a:cubicBezTo>
                    <a:cubicBezTo>
                      <a:pt x="11411" y="4844"/>
                      <a:pt x="11433" y="4698"/>
                      <a:pt x="11433" y="4551"/>
                    </a:cubicBezTo>
                    <a:lnTo>
                      <a:pt x="11433" y="4258"/>
                    </a:lnTo>
                    <a:cubicBezTo>
                      <a:pt x="11726" y="4326"/>
                      <a:pt x="12041" y="4360"/>
                      <a:pt x="12368" y="4360"/>
                    </a:cubicBezTo>
                    <a:cubicBezTo>
                      <a:pt x="13123" y="4360"/>
                      <a:pt x="13810" y="4179"/>
                      <a:pt x="14350" y="3875"/>
                    </a:cubicBezTo>
                    <a:cubicBezTo>
                      <a:pt x="14384" y="3864"/>
                      <a:pt x="14407" y="3842"/>
                      <a:pt x="14440" y="3830"/>
                    </a:cubicBezTo>
                    <a:cubicBezTo>
                      <a:pt x="14722" y="3661"/>
                      <a:pt x="14970" y="3447"/>
                      <a:pt x="15150" y="3222"/>
                    </a:cubicBezTo>
                    <a:cubicBezTo>
                      <a:pt x="15161" y="3211"/>
                      <a:pt x="15172" y="3188"/>
                      <a:pt x="15184" y="3177"/>
                    </a:cubicBezTo>
                    <a:cubicBezTo>
                      <a:pt x="15319" y="2997"/>
                      <a:pt x="15432" y="2805"/>
                      <a:pt x="15488" y="2603"/>
                    </a:cubicBezTo>
                    <a:cubicBezTo>
                      <a:pt x="15533" y="2456"/>
                      <a:pt x="15555" y="2310"/>
                      <a:pt x="15555" y="2152"/>
                    </a:cubicBezTo>
                    <a:lnTo>
                      <a:pt x="15555" y="1116"/>
                    </a:lnTo>
                    <a:cubicBezTo>
                      <a:pt x="15555" y="981"/>
                      <a:pt x="15533" y="857"/>
                      <a:pt x="15499" y="733"/>
                    </a:cubicBezTo>
                    <a:cubicBezTo>
                      <a:pt x="15533" y="609"/>
                      <a:pt x="15555" y="485"/>
                      <a:pt x="15555" y="350"/>
                    </a:cubicBezTo>
                    <a:lnTo>
                      <a:pt x="15555" y="1"/>
                    </a:lnTo>
                    <a:close/>
                  </a:path>
                </a:pathLst>
              </a:custGeom>
              <a:solidFill>
                <a:srgbClr val="000000">
                  <a:alpha val="126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8" name="Google Shape;1308;p39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lnTo>
                      <a:pt x="5981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9" name="Google Shape;1309;p39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0" name="Google Shape;1310;p39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fill="none" extrusionOk="0">
                    <a:moveTo>
                      <a:pt x="5981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1" name="Google Shape;1311;p39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2" name="Google Shape;1312;p39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64" y="3413"/>
                      <a:pt x="6364" y="2197"/>
                    </a:cubicBezTo>
                    <a:cubicBezTo>
                      <a:pt x="6364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3" name="Google Shape;1313;p39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4" name="Google Shape;1314;p39"/>
              <p:cNvSpPr/>
              <p:nvPr/>
            </p:nvSpPr>
            <p:spPr>
              <a:xfrm>
                <a:off x="4102903" y="127478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cubicBezTo>
                      <a:pt x="0" y="1003"/>
                      <a:pt x="0" y="981"/>
                      <a:pt x="0" y="947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5" name="Google Shape;1315;p39"/>
              <p:cNvSpPr/>
              <p:nvPr/>
            </p:nvSpPr>
            <p:spPr>
              <a:xfrm>
                <a:off x="4078100" y="127244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6" name="Google Shape;1316;p39"/>
              <p:cNvSpPr/>
              <p:nvPr/>
            </p:nvSpPr>
            <p:spPr>
              <a:xfrm>
                <a:off x="4055288" y="126730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7" name="Google Shape;1317;p39"/>
              <p:cNvSpPr/>
              <p:nvPr/>
            </p:nvSpPr>
            <p:spPr>
              <a:xfrm>
                <a:off x="4034048" y="125864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8" name="Google Shape;1318;p39"/>
              <p:cNvSpPr/>
              <p:nvPr/>
            </p:nvSpPr>
            <p:spPr>
              <a:xfrm>
                <a:off x="4016337" y="124645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9" name="Google Shape;1319;p39"/>
              <p:cNvSpPr/>
              <p:nvPr/>
            </p:nvSpPr>
            <p:spPr>
              <a:xfrm>
                <a:off x="3999813" y="122639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0" name="Google Shape;1320;p39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23" y="2647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1" name="Google Shape;1321;p39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2" name="Google Shape;1322;p39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37"/>
                    </a:lnTo>
                    <a:cubicBezTo>
                      <a:pt x="90" y="350"/>
                      <a:pt x="0" y="451"/>
                      <a:pt x="11" y="564"/>
                    </a:cubicBezTo>
                    <a:cubicBezTo>
                      <a:pt x="11" y="665"/>
                      <a:pt x="124" y="778"/>
                      <a:pt x="327" y="891"/>
                    </a:cubicBezTo>
                    <a:cubicBezTo>
                      <a:pt x="462" y="969"/>
                      <a:pt x="620" y="1026"/>
                      <a:pt x="777" y="1071"/>
                    </a:cubicBezTo>
                    <a:cubicBezTo>
                      <a:pt x="935" y="1105"/>
                      <a:pt x="1081" y="1138"/>
                      <a:pt x="1216" y="1138"/>
                    </a:cubicBezTo>
                    <a:cubicBezTo>
                      <a:pt x="1352" y="1138"/>
                      <a:pt x="1577" y="1138"/>
                      <a:pt x="1904" y="1127"/>
                    </a:cubicBezTo>
                    <a:cubicBezTo>
                      <a:pt x="2095" y="1127"/>
                      <a:pt x="2241" y="1138"/>
                      <a:pt x="2320" y="1161"/>
                    </a:cubicBezTo>
                    <a:cubicBezTo>
                      <a:pt x="2410" y="1195"/>
                      <a:pt x="2534" y="1251"/>
                      <a:pt x="2681" y="1330"/>
                    </a:cubicBezTo>
                    <a:cubicBezTo>
                      <a:pt x="2737" y="1364"/>
                      <a:pt x="2782" y="1397"/>
                      <a:pt x="2782" y="1420"/>
                    </a:cubicBezTo>
                    <a:cubicBezTo>
                      <a:pt x="2793" y="1454"/>
                      <a:pt x="2782" y="1476"/>
                      <a:pt x="2737" y="1487"/>
                    </a:cubicBezTo>
                    <a:cubicBezTo>
                      <a:pt x="2709" y="1499"/>
                      <a:pt x="2684" y="1504"/>
                      <a:pt x="2658" y="1504"/>
                    </a:cubicBezTo>
                    <a:cubicBezTo>
                      <a:pt x="2633" y="1504"/>
                      <a:pt x="2608" y="1499"/>
                      <a:pt x="2579" y="1487"/>
                    </a:cubicBezTo>
                    <a:cubicBezTo>
                      <a:pt x="2512" y="1476"/>
                      <a:pt x="2399" y="1409"/>
                      <a:pt x="2219" y="1307"/>
                    </a:cubicBezTo>
                    <a:lnTo>
                      <a:pt x="2050" y="1217"/>
                    </a:lnTo>
                    <a:lnTo>
                      <a:pt x="1408" y="1487"/>
                    </a:lnTo>
                    <a:lnTo>
                      <a:pt x="1543" y="1555"/>
                    </a:lnTo>
                    <a:cubicBezTo>
                      <a:pt x="1847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4" y="1834"/>
                      <a:pt x="2886" y="1809"/>
                      <a:pt x="3030" y="1758"/>
                    </a:cubicBezTo>
                    <a:lnTo>
                      <a:pt x="3289" y="1904"/>
                    </a:lnTo>
                    <a:lnTo>
                      <a:pt x="3582" y="1792"/>
                    </a:lnTo>
                    <a:lnTo>
                      <a:pt x="3334" y="1645"/>
                    </a:lnTo>
                    <a:cubicBezTo>
                      <a:pt x="3514" y="1533"/>
                      <a:pt x="3593" y="1420"/>
                      <a:pt x="3571" y="1296"/>
                    </a:cubicBezTo>
                    <a:cubicBezTo>
                      <a:pt x="3537" y="1172"/>
                      <a:pt x="3402" y="1048"/>
                      <a:pt x="3165" y="913"/>
                    </a:cubicBezTo>
                    <a:cubicBezTo>
                      <a:pt x="3007" y="834"/>
                      <a:pt x="2861" y="767"/>
                      <a:pt x="2726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3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5" y="671"/>
                      <a:pt x="1478" y="674"/>
                      <a:pt x="1380" y="674"/>
                    </a:cubicBezTo>
                    <a:cubicBezTo>
                      <a:pt x="1281" y="674"/>
                      <a:pt x="1211" y="671"/>
                      <a:pt x="1171" y="665"/>
                    </a:cubicBezTo>
                    <a:cubicBezTo>
                      <a:pt x="1081" y="665"/>
                      <a:pt x="991" y="631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7" y="404"/>
                      <a:pt x="868" y="399"/>
                      <a:pt x="897" y="399"/>
                    </a:cubicBezTo>
                    <a:cubicBezTo>
                      <a:pt x="918" y="399"/>
                      <a:pt x="939" y="402"/>
                      <a:pt x="957" y="406"/>
                    </a:cubicBezTo>
                    <a:cubicBezTo>
                      <a:pt x="1014" y="417"/>
                      <a:pt x="1093" y="463"/>
                      <a:pt x="1216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81" y="271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3" name="Google Shape;1323;p39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6" y="530"/>
                    </a:lnTo>
                    <a:cubicBezTo>
                      <a:pt x="1093" y="463"/>
                      <a:pt x="1014" y="417"/>
                      <a:pt x="957" y="406"/>
                    </a:cubicBezTo>
                    <a:cubicBezTo>
                      <a:pt x="912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31"/>
                      <a:pt x="1081" y="665"/>
                      <a:pt x="1171" y="665"/>
                    </a:cubicBezTo>
                    <a:cubicBezTo>
                      <a:pt x="1250" y="677"/>
                      <a:pt x="1453" y="677"/>
                      <a:pt x="1757" y="665"/>
                    </a:cubicBezTo>
                    <a:cubicBezTo>
                      <a:pt x="2027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26" y="733"/>
                    </a:cubicBezTo>
                    <a:cubicBezTo>
                      <a:pt x="2861" y="767"/>
                      <a:pt x="3007" y="834"/>
                      <a:pt x="3165" y="913"/>
                    </a:cubicBezTo>
                    <a:cubicBezTo>
                      <a:pt x="3402" y="1048"/>
                      <a:pt x="3537" y="1172"/>
                      <a:pt x="3571" y="1296"/>
                    </a:cubicBezTo>
                    <a:cubicBezTo>
                      <a:pt x="3593" y="1420"/>
                      <a:pt x="3514" y="1533"/>
                      <a:pt x="3334" y="1645"/>
                    </a:cubicBezTo>
                    <a:lnTo>
                      <a:pt x="3582" y="1792"/>
                    </a:lnTo>
                    <a:lnTo>
                      <a:pt x="3289" y="1904"/>
                    </a:lnTo>
                    <a:lnTo>
                      <a:pt x="3030" y="1758"/>
                    </a:lnTo>
                    <a:cubicBezTo>
                      <a:pt x="2838" y="1825"/>
                      <a:pt x="2613" y="1848"/>
                      <a:pt x="2365" y="1825"/>
                    </a:cubicBezTo>
                    <a:cubicBezTo>
                      <a:pt x="2118" y="1814"/>
                      <a:pt x="1847" y="1724"/>
                      <a:pt x="1543" y="1555"/>
                    </a:cubicBezTo>
                    <a:lnTo>
                      <a:pt x="1408" y="1487"/>
                    </a:lnTo>
                    <a:lnTo>
                      <a:pt x="2050" y="1217"/>
                    </a:lnTo>
                    <a:lnTo>
                      <a:pt x="2219" y="1307"/>
                    </a:lnTo>
                    <a:cubicBezTo>
                      <a:pt x="2399" y="1409"/>
                      <a:pt x="2512" y="1476"/>
                      <a:pt x="2579" y="1487"/>
                    </a:cubicBezTo>
                    <a:cubicBezTo>
                      <a:pt x="2636" y="1510"/>
                      <a:pt x="2681" y="1510"/>
                      <a:pt x="2737" y="1487"/>
                    </a:cubicBezTo>
                    <a:cubicBezTo>
                      <a:pt x="2782" y="1476"/>
                      <a:pt x="2793" y="1454"/>
                      <a:pt x="2782" y="1420"/>
                    </a:cubicBezTo>
                    <a:cubicBezTo>
                      <a:pt x="2782" y="1397"/>
                      <a:pt x="2737" y="1364"/>
                      <a:pt x="2681" y="1330"/>
                    </a:cubicBezTo>
                    <a:cubicBezTo>
                      <a:pt x="2534" y="1251"/>
                      <a:pt x="2410" y="1195"/>
                      <a:pt x="2320" y="1161"/>
                    </a:cubicBezTo>
                    <a:cubicBezTo>
                      <a:pt x="2241" y="1138"/>
                      <a:pt x="2095" y="1127"/>
                      <a:pt x="1904" y="1127"/>
                    </a:cubicBezTo>
                    <a:cubicBezTo>
                      <a:pt x="1577" y="1138"/>
                      <a:pt x="1352" y="1138"/>
                      <a:pt x="1216" y="1138"/>
                    </a:cubicBezTo>
                    <a:cubicBezTo>
                      <a:pt x="1081" y="1138"/>
                      <a:pt x="935" y="1105"/>
                      <a:pt x="777" y="1071"/>
                    </a:cubicBezTo>
                    <a:cubicBezTo>
                      <a:pt x="620" y="1026"/>
                      <a:pt x="462" y="969"/>
                      <a:pt x="327" y="891"/>
                    </a:cubicBezTo>
                    <a:cubicBezTo>
                      <a:pt x="124" y="778"/>
                      <a:pt x="11" y="665"/>
                      <a:pt x="11" y="564"/>
                    </a:cubicBezTo>
                    <a:cubicBezTo>
                      <a:pt x="0" y="451"/>
                      <a:pt x="90" y="350"/>
                      <a:pt x="282" y="237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4" name="Google Shape;1324;p39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5" name="Google Shape;1325;p39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6" name="Google Shape;1326;p39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7" name="Google Shape;1327;p39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8" name="Google Shape;1328;p39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7"/>
                    </a:cubicBezTo>
                    <a:cubicBezTo>
                      <a:pt x="6364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9" name="Google Shape;1329;p39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3"/>
                      <a:pt x="4934" y="4393"/>
                      <a:pt x="3177" y="4393"/>
                    </a:cubicBezTo>
                    <a:cubicBezTo>
                      <a:pt x="1420" y="4393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0" name="Google Shape;1330;p39"/>
              <p:cNvSpPr/>
              <p:nvPr/>
            </p:nvSpPr>
            <p:spPr>
              <a:xfrm>
                <a:off x="4102903" y="121144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0" y="958"/>
                    </a:cubicBez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1" name="Google Shape;1331;p39"/>
              <p:cNvSpPr/>
              <p:nvPr/>
            </p:nvSpPr>
            <p:spPr>
              <a:xfrm>
                <a:off x="4078100" y="1209490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2" name="Google Shape;1332;p39"/>
              <p:cNvSpPr/>
              <p:nvPr/>
            </p:nvSpPr>
            <p:spPr>
              <a:xfrm>
                <a:off x="4055288" y="1204354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3" name="Google Shape;1333;p39"/>
              <p:cNvSpPr/>
              <p:nvPr/>
            </p:nvSpPr>
            <p:spPr>
              <a:xfrm>
                <a:off x="4034048" y="119569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4" name="Google Shape;1334;p39"/>
              <p:cNvSpPr/>
              <p:nvPr/>
            </p:nvSpPr>
            <p:spPr>
              <a:xfrm>
                <a:off x="4016337" y="118349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5" name="Google Shape;1335;p39"/>
              <p:cNvSpPr/>
              <p:nvPr/>
            </p:nvSpPr>
            <p:spPr>
              <a:xfrm>
                <a:off x="3999813" y="116344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6" name="Google Shape;1336;p39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37"/>
                      <a:pt x="1104" y="3402"/>
                      <a:pt x="2456" y="3402"/>
                    </a:cubicBezTo>
                    <a:cubicBezTo>
                      <a:pt x="3819" y="3402"/>
                      <a:pt x="4923" y="2637"/>
                      <a:pt x="4923" y="1702"/>
                    </a:cubicBezTo>
                    <a:cubicBezTo>
                      <a:pt x="4923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7" name="Google Shape;1337;p39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fill="none" extrusionOk="0">
                    <a:moveTo>
                      <a:pt x="4923" y="1702"/>
                    </a:moveTo>
                    <a:cubicBezTo>
                      <a:pt x="4923" y="2637"/>
                      <a:pt x="3819" y="3402"/>
                      <a:pt x="2456" y="3402"/>
                    </a:cubicBezTo>
                    <a:cubicBezTo>
                      <a:pt x="1104" y="3402"/>
                      <a:pt x="1" y="2637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23" y="767"/>
                      <a:pt x="4923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8" name="Google Shape;1338;p39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90" y="350"/>
                      <a:pt x="0" y="462"/>
                      <a:pt x="11" y="564"/>
                    </a:cubicBezTo>
                    <a:cubicBezTo>
                      <a:pt x="11" y="676"/>
                      <a:pt x="124" y="789"/>
                      <a:pt x="327" y="901"/>
                    </a:cubicBezTo>
                    <a:cubicBezTo>
                      <a:pt x="462" y="980"/>
                      <a:pt x="620" y="1037"/>
                      <a:pt x="777" y="1082"/>
                    </a:cubicBezTo>
                    <a:cubicBezTo>
                      <a:pt x="935" y="1115"/>
                      <a:pt x="1081" y="1138"/>
                      <a:pt x="1216" y="1149"/>
                    </a:cubicBezTo>
                    <a:cubicBezTo>
                      <a:pt x="1352" y="1149"/>
                      <a:pt x="1577" y="1149"/>
                      <a:pt x="1904" y="1138"/>
                    </a:cubicBezTo>
                    <a:cubicBezTo>
                      <a:pt x="2095" y="1138"/>
                      <a:pt x="2241" y="1149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4"/>
                      <a:pt x="2782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10"/>
                      <a:pt x="2684" y="1515"/>
                      <a:pt x="2658" y="1515"/>
                    </a:cubicBezTo>
                    <a:cubicBezTo>
                      <a:pt x="2633" y="1515"/>
                      <a:pt x="2608" y="1510"/>
                      <a:pt x="2579" y="1498"/>
                    </a:cubicBezTo>
                    <a:cubicBezTo>
                      <a:pt x="2512" y="1487"/>
                      <a:pt x="2399" y="1420"/>
                      <a:pt x="2219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34" y="1656"/>
                    </a:lnTo>
                    <a:cubicBezTo>
                      <a:pt x="3514" y="1543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2"/>
                    </a:cubicBezTo>
                    <a:cubicBezTo>
                      <a:pt x="2579" y="699"/>
                      <a:pt x="2444" y="676"/>
                      <a:pt x="2332" y="665"/>
                    </a:cubicBezTo>
                    <a:cubicBezTo>
                      <a:pt x="2219" y="665"/>
                      <a:pt x="2027" y="665"/>
                      <a:pt x="1757" y="676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5"/>
                    </a:cubicBezTo>
                    <a:cubicBezTo>
                      <a:pt x="755" y="462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8"/>
                      <a:pt x="1093" y="473"/>
                      <a:pt x="1216" y="530"/>
                    </a:cubicBezTo>
                    <a:lnTo>
                      <a:pt x="1329" y="597"/>
                    </a:lnTo>
                    <a:lnTo>
                      <a:pt x="1971" y="338"/>
                    </a:lnTo>
                    <a:cubicBezTo>
                      <a:pt x="1915" y="304"/>
                      <a:pt x="1881" y="282"/>
                      <a:pt x="1847" y="259"/>
                    </a:cubicBezTo>
                    <a:cubicBezTo>
                      <a:pt x="1644" y="147"/>
                      <a:pt x="1442" y="79"/>
                      <a:pt x="1228" y="57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3" y="74"/>
                      <a:pt x="574" y="124"/>
                    </a:cubicBezTo>
                    <a:lnTo>
                      <a:pt x="3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9" name="Google Shape;1339;p39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8"/>
                    </a:moveTo>
                    <a:lnTo>
                      <a:pt x="1329" y="597"/>
                    </a:lnTo>
                    <a:lnTo>
                      <a:pt x="1216" y="530"/>
                    </a:lnTo>
                    <a:cubicBezTo>
                      <a:pt x="1093" y="473"/>
                      <a:pt x="1014" y="428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2"/>
                      <a:pt x="766" y="485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6"/>
                    </a:cubicBezTo>
                    <a:cubicBezTo>
                      <a:pt x="1250" y="687"/>
                      <a:pt x="1453" y="687"/>
                      <a:pt x="1757" y="676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6"/>
                      <a:pt x="2579" y="699"/>
                      <a:pt x="2726" y="732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3"/>
                      <a:pt x="3334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6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8"/>
                    </a:lnTo>
                    <a:cubicBezTo>
                      <a:pt x="2399" y="1420"/>
                      <a:pt x="2512" y="1487"/>
                      <a:pt x="2579" y="1498"/>
                    </a:cubicBezTo>
                    <a:cubicBezTo>
                      <a:pt x="2636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82" y="1408"/>
                      <a:pt x="2737" y="1374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49"/>
                      <a:pt x="2095" y="1138"/>
                      <a:pt x="1904" y="1138"/>
                    </a:cubicBezTo>
                    <a:cubicBezTo>
                      <a:pt x="1577" y="1149"/>
                      <a:pt x="1352" y="1149"/>
                      <a:pt x="1216" y="1149"/>
                    </a:cubicBezTo>
                    <a:cubicBezTo>
                      <a:pt x="1081" y="1138"/>
                      <a:pt x="935" y="1115"/>
                      <a:pt x="777" y="1082"/>
                    </a:cubicBezTo>
                    <a:cubicBezTo>
                      <a:pt x="620" y="1037"/>
                      <a:pt x="462" y="980"/>
                      <a:pt x="327" y="901"/>
                    </a:cubicBezTo>
                    <a:cubicBezTo>
                      <a:pt x="124" y="789"/>
                      <a:pt x="11" y="676"/>
                      <a:pt x="11" y="564"/>
                    </a:cubicBezTo>
                    <a:cubicBezTo>
                      <a:pt x="0" y="462"/>
                      <a:pt x="90" y="350"/>
                      <a:pt x="282" y="248"/>
                    </a:cubicBezTo>
                    <a:lnTo>
                      <a:pt x="68" y="124"/>
                    </a:lnTo>
                    <a:lnTo>
                      <a:pt x="360" y="0"/>
                    </a:lnTo>
                    <a:lnTo>
                      <a:pt x="574" y="124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4" y="147"/>
                      <a:pt x="1847" y="259"/>
                    </a:cubicBezTo>
                    <a:cubicBezTo>
                      <a:pt x="1881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0" name="Google Shape;1340;p39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1" name="Google Shape;1341;p39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2" name="Google Shape;1342;p39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3" name="Google Shape;1343;p39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9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4" name="Google Shape;1344;p39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1"/>
                    </a:moveTo>
                    <a:cubicBezTo>
                      <a:pt x="1420" y="1"/>
                      <a:pt x="1" y="981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64" y="3414"/>
                      <a:pt x="6364" y="2197"/>
                    </a:cubicBezTo>
                    <a:cubicBezTo>
                      <a:pt x="6364" y="981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5" name="Google Shape;1345;p39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4"/>
                      <a:pt x="4934" y="4393"/>
                      <a:pt x="3177" y="4393"/>
                    </a:cubicBezTo>
                    <a:cubicBezTo>
                      <a:pt x="1420" y="4393"/>
                      <a:pt x="1" y="3414"/>
                      <a:pt x="1" y="2197"/>
                    </a:cubicBezTo>
                    <a:cubicBezTo>
                      <a:pt x="1" y="981"/>
                      <a:pt x="1420" y="1"/>
                      <a:pt x="3177" y="1"/>
                    </a:cubicBezTo>
                    <a:cubicBezTo>
                      <a:pt x="4934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6" name="Google Shape;1346;p39"/>
              <p:cNvSpPr/>
              <p:nvPr/>
            </p:nvSpPr>
            <p:spPr>
              <a:xfrm>
                <a:off x="4102903" y="1147692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1"/>
                      <a:pt x="0" y="958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7" name="Google Shape;1347;p39"/>
              <p:cNvSpPr/>
              <p:nvPr/>
            </p:nvSpPr>
            <p:spPr>
              <a:xfrm>
                <a:off x="4078100" y="114573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8" name="Google Shape;1348;p39"/>
              <p:cNvSpPr/>
              <p:nvPr/>
            </p:nvSpPr>
            <p:spPr>
              <a:xfrm>
                <a:off x="4055288" y="1140600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9" name="Google Shape;1349;p39"/>
              <p:cNvSpPr/>
              <p:nvPr/>
            </p:nvSpPr>
            <p:spPr>
              <a:xfrm>
                <a:off x="4034048" y="113197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50" name="Google Shape;1350;p39"/>
              <p:cNvSpPr/>
              <p:nvPr/>
            </p:nvSpPr>
            <p:spPr>
              <a:xfrm>
                <a:off x="4016337" y="111974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51" name="Google Shape;1351;p39"/>
              <p:cNvSpPr/>
              <p:nvPr/>
            </p:nvSpPr>
            <p:spPr>
              <a:xfrm>
                <a:off x="3999813" y="109969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52" name="Google Shape;1352;p39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23" y="2636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53" name="Google Shape;1353;p39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54" name="Google Shape;1354;p39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49"/>
                    </a:lnTo>
                    <a:cubicBezTo>
                      <a:pt x="90" y="350"/>
                      <a:pt x="0" y="463"/>
                      <a:pt x="11" y="564"/>
                    </a:cubicBezTo>
                    <a:cubicBezTo>
                      <a:pt x="11" y="677"/>
                      <a:pt x="124" y="789"/>
                      <a:pt x="327" y="902"/>
                    </a:cubicBezTo>
                    <a:cubicBezTo>
                      <a:pt x="462" y="981"/>
                      <a:pt x="620" y="1037"/>
                      <a:pt x="777" y="1082"/>
                    </a:cubicBezTo>
                    <a:cubicBezTo>
                      <a:pt x="935" y="1116"/>
                      <a:pt x="1081" y="1138"/>
                      <a:pt x="1216" y="1150"/>
                    </a:cubicBezTo>
                    <a:cubicBezTo>
                      <a:pt x="1352" y="1150"/>
                      <a:pt x="1577" y="1150"/>
                      <a:pt x="1904" y="1138"/>
                    </a:cubicBezTo>
                    <a:cubicBezTo>
                      <a:pt x="2095" y="1138"/>
                      <a:pt x="2241" y="1150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5"/>
                      <a:pt x="2782" y="1409"/>
                      <a:pt x="2782" y="1431"/>
                    </a:cubicBezTo>
                    <a:cubicBezTo>
                      <a:pt x="2793" y="1454"/>
                      <a:pt x="2782" y="1476"/>
                      <a:pt x="2737" y="1499"/>
                    </a:cubicBezTo>
                    <a:cubicBezTo>
                      <a:pt x="2709" y="1510"/>
                      <a:pt x="2684" y="1516"/>
                      <a:pt x="2658" y="1516"/>
                    </a:cubicBezTo>
                    <a:cubicBezTo>
                      <a:pt x="2633" y="1516"/>
                      <a:pt x="2608" y="1510"/>
                      <a:pt x="2579" y="1499"/>
                    </a:cubicBezTo>
                    <a:cubicBezTo>
                      <a:pt x="2512" y="1487"/>
                      <a:pt x="2399" y="1420"/>
                      <a:pt x="2219" y="1319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7"/>
                    </a:cubicBezTo>
                    <a:cubicBezTo>
                      <a:pt x="2407" y="1839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2"/>
                    </a:lnTo>
                    <a:lnTo>
                      <a:pt x="3334" y="1656"/>
                    </a:lnTo>
                    <a:cubicBezTo>
                      <a:pt x="3514" y="1544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3"/>
                    </a:cubicBezTo>
                    <a:cubicBezTo>
                      <a:pt x="2579" y="699"/>
                      <a:pt x="2444" y="677"/>
                      <a:pt x="2332" y="665"/>
                    </a:cubicBezTo>
                    <a:cubicBezTo>
                      <a:pt x="2219" y="665"/>
                      <a:pt x="2027" y="665"/>
                      <a:pt x="1757" y="677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7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8"/>
                      <a:pt x="766" y="485"/>
                    </a:cubicBezTo>
                    <a:cubicBezTo>
                      <a:pt x="755" y="463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9"/>
                      <a:pt x="1093" y="474"/>
                      <a:pt x="1216" y="530"/>
                    </a:cubicBezTo>
                    <a:lnTo>
                      <a:pt x="1329" y="598"/>
                    </a:lnTo>
                    <a:lnTo>
                      <a:pt x="1971" y="339"/>
                    </a:lnTo>
                    <a:cubicBezTo>
                      <a:pt x="1915" y="305"/>
                      <a:pt x="1881" y="282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55" name="Google Shape;1355;p39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9"/>
                    </a:moveTo>
                    <a:lnTo>
                      <a:pt x="1329" y="598"/>
                    </a:lnTo>
                    <a:lnTo>
                      <a:pt x="1216" y="530"/>
                    </a:lnTo>
                    <a:cubicBezTo>
                      <a:pt x="1093" y="474"/>
                      <a:pt x="1014" y="429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3"/>
                      <a:pt x="766" y="485"/>
                    </a:cubicBezTo>
                    <a:cubicBezTo>
                      <a:pt x="777" y="508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7"/>
                    </a:cubicBezTo>
                    <a:cubicBezTo>
                      <a:pt x="1250" y="688"/>
                      <a:pt x="1453" y="688"/>
                      <a:pt x="1757" y="677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7"/>
                      <a:pt x="2579" y="699"/>
                      <a:pt x="2726" y="733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4"/>
                      <a:pt x="3334" y="1656"/>
                    </a:cubicBezTo>
                    <a:lnTo>
                      <a:pt x="3582" y="1792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7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9"/>
                    </a:lnTo>
                    <a:cubicBezTo>
                      <a:pt x="2399" y="1420"/>
                      <a:pt x="2512" y="1487"/>
                      <a:pt x="2579" y="1499"/>
                    </a:cubicBezTo>
                    <a:cubicBezTo>
                      <a:pt x="2636" y="1521"/>
                      <a:pt x="2681" y="1521"/>
                      <a:pt x="2737" y="1499"/>
                    </a:cubicBezTo>
                    <a:cubicBezTo>
                      <a:pt x="2782" y="1476"/>
                      <a:pt x="2793" y="1454"/>
                      <a:pt x="2782" y="1431"/>
                    </a:cubicBezTo>
                    <a:cubicBezTo>
                      <a:pt x="2782" y="1409"/>
                      <a:pt x="2737" y="1375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50"/>
                      <a:pt x="2095" y="1138"/>
                      <a:pt x="1904" y="1138"/>
                    </a:cubicBezTo>
                    <a:cubicBezTo>
                      <a:pt x="1577" y="1150"/>
                      <a:pt x="1352" y="1150"/>
                      <a:pt x="1216" y="1150"/>
                    </a:cubicBezTo>
                    <a:cubicBezTo>
                      <a:pt x="1081" y="1138"/>
                      <a:pt x="935" y="1116"/>
                      <a:pt x="777" y="1082"/>
                    </a:cubicBezTo>
                    <a:cubicBezTo>
                      <a:pt x="620" y="1037"/>
                      <a:pt x="462" y="981"/>
                      <a:pt x="327" y="902"/>
                    </a:cubicBezTo>
                    <a:cubicBezTo>
                      <a:pt x="124" y="789"/>
                      <a:pt x="11" y="677"/>
                      <a:pt x="11" y="564"/>
                    </a:cubicBezTo>
                    <a:cubicBezTo>
                      <a:pt x="0" y="463"/>
                      <a:pt x="90" y="350"/>
                      <a:pt x="282" y="249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82"/>
                      <a:pt x="1915" y="305"/>
                      <a:pt x="1971" y="33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56" name="Google Shape;1356;p39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extrusionOk="0">
                    <a:moveTo>
                      <a:pt x="3177" y="1"/>
                    </a:move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lnTo>
                      <a:pt x="5982" y="1150"/>
                    </a:lnTo>
                    <a:cubicBezTo>
                      <a:pt x="5441" y="463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57" name="Google Shape;1357;p39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4"/>
                      <a:pt x="3177" y="4404"/>
                    </a:cubicBezTo>
                    <a:cubicBezTo>
                      <a:pt x="4934" y="4404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58" name="Google Shape;1358;p39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fill="none" extrusionOk="0">
                    <a:moveTo>
                      <a:pt x="5982" y="1150"/>
                    </a:moveTo>
                    <a:cubicBezTo>
                      <a:pt x="5441" y="463"/>
                      <a:pt x="4393" y="1"/>
                      <a:pt x="3177" y="1"/>
                    </a:cubicBez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59" name="Google Shape;1359;p39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4"/>
                      <a:pt x="3177" y="4404"/>
                    </a:cubicBezTo>
                    <a:cubicBezTo>
                      <a:pt x="1420" y="4404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60" name="Google Shape;1360;p39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61" name="Google Shape;1361;p39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62" name="Google Shape;1362;p39"/>
              <p:cNvSpPr/>
              <p:nvPr/>
            </p:nvSpPr>
            <p:spPr>
              <a:xfrm>
                <a:off x="3781826" y="1253157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14"/>
                      <a:pt x="1" y="980"/>
                      <a:pt x="1" y="958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63" name="Google Shape;1363;p39"/>
              <p:cNvSpPr/>
              <p:nvPr/>
            </p:nvSpPr>
            <p:spPr>
              <a:xfrm>
                <a:off x="3805825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64" name="Google Shape;1364;p39"/>
              <p:cNvSpPr/>
              <p:nvPr/>
            </p:nvSpPr>
            <p:spPr>
              <a:xfrm>
                <a:off x="3828637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65" name="Google Shape;1365;p39"/>
              <p:cNvSpPr/>
              <p:nvPr/>
            </p:nvSpPr>
            <p:spPr>
              <a:xfrm>
                <a:off x="3849912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66" name="Google Shape;1366;p39"/>
              <p:cNvSpPr/>
              <p:nvPr/>
            </p:nvSpPr>
            <p:spPr>
              <a:xfrm>
                <a:off x="3868008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67" name="Google Shape;1367;p39"/>
              <p:cNvSpPr/>
              <p:nvPr/>
            </p:nvSpPr>
            <p:spPr>
              <a:xfrm>
                <a:off x="3884147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68" name="Google Shape;1368;p39"/>
              <p:cNvSpPr/>
              <p:nvPr/>
            </p:nvSpPr>
            <p:spPr>
              <a:xfrm>
                <a:off x="3757023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69" name="Google Shape;1369;p39"/>
              <p:cNvSpPr/>
              <p:nvPr/>
            </p:nvSpPr>
            <p:spPr>
              <a:xfrm>
                <a:off x="3734211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0" name="Google Shape;1370;p39"/>
              <p:cNvSpPr/>
              <p:nvPr/>
            </p:nvSpPr>
            <p:spPr>
              <a:xfrm>
                <a:off x="3712971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1" name="Google Shape;1371;p39"/>
              <p:cNvSpPr/>
              <p:nvPr/>
            </p:nvSpPr>
            <p:spPr>
              <a:xfrm>
                <a:off x="3694876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2" name="Google Shape;1372;p39"/>
              <p:cNvSpPr/>
              <p:nvPr/>
            </p:nvSpPr>
            <p:spPr>
              <a:xfrm>
                <a:off x="3678736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3" name="Google Shape;1373;p39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48"/>
                      <a:pt x="1104" y="3402"/>
                      <a:pt x="2456" y="3402"/>
                    </a:cubicBezTo>
                    <a:cubicBezTo>
                      <a:pt x="3819" y="3402"/>
                      <a:pt x="4911" y="2648"/>
                      <a:pt x="4911" y="1702"/>
                    </a:cubicBezTo>
                    <a:cubicBezTo>
                      <a:pt x="4911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" name="Google Shape;1374;p39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48"/>
                      <a:pt x="3819" y="3402"/>
                      <a:pt x="2456" y="3402"/>
                    </a:cubicBezTo>
                    <a:cubicBezTo>
                      <a:pt x="1104" y="3402"/>
                      <a:pt x="1" y="2648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11" y="767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" name="Google Shape;1375;p39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8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0"/>
                    </a:cubicBezTo>
                    <a:cubicBezTo>
                      <a:pt x="462" y="969"/>
                      <a:pt x="608" y="1025"/>
                      <a:pt x="777" y="1071"/>
                    </a:cubicBezTo>
                    <a:cubicBezTo>
                      <a:pt x="935" y="1104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4"/>
                      <a:pt x="2523" y="1251"/>
                      <a:pt x="2681" y="1330"/>
                    </a:cubicBezTo>
                    <a:cubicBezTo>
                      <a:pt x="2737" y="1363"/>
                      <a:pt x="2771" y="1397"/>
                      <a:pt x="2782" y="1420"/>
                    </a:cubicBezTo>
                    <a:cubicBezTo>
                      <a:pt x="2793" y="1453"/>
                      <a:pt x="2782" y="1465"/>
                      <a:pt x="2737" y="1487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7"/>
                    </a:cubicBezTo>
                    <a:cubicBezTo>
                      <a:pt x="2512" y="1476"/>
                      <a:pt x="2399" y="1408"/>
                      <a:pt x="2208" y="1307"/>
                    </a:cubicBezTo>
                    <a:lnTo>
                      <a:pt x="2050" y="1217"/>
                    </a:lnTo>
                    <a:lnTo>
                      <a:pt x="1408" y="1476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19" y="1828"/>
                      <a:pt x="2471" y="1829"/>
                      <a:pt x="2522" y="1829"/>
                    </a:cubicBezTo>
                    <a:cubicBezTo>
                      <a:pt x="2708" y="1829"/>
                      <a:pt x="2877" y="1811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2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6"/>
                      <a:pt x="2715" y="733"/>
                    </a:cubicBezTo>
                    <a:cubicBezTo>
                      <a:pt x="2579" y="688"/>
                      <a:pt x="2444" y="665"/>
                      <a:pt x="2332" y="654"/>
                    </a:cubicBezTo>
                    <a:cubicBezTo>
                      <a:pt x="2219" y="654"/>
                      <a:pt x="2028" y="654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20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1"/>
                      <a:pt x="958" y="406"/>
                    </a:cubicBezTo>
                    <a:cubicBezTo>
                      <a:pt x="1014" y="417"/>
                      <a:pt x="1093" y="462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3"/>
                      <a:pt x="1870" y="271"/>
                      <a:pt x="1847" y="248"/>
                    </a:cubicBezTo>
                    <a:cubicBezTo>
                      <a:pt x="1645" y="147"/>
                      <a:pt x="1442" y="79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1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" name="Google Shape;1376;p39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2"/>
                      <a:pt x="1014" y="417"/>
                      <a:pt x="958" y="406"/>
                    </a:cubicBezTo>
                    <a:cubicBezTo>
                      <a:pt x="901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20"/>
                      <a:pt x="1081" y="665"/>
                      <a:pt x="1160" y="665"/>
                    </a:cubicBezTo>
                    <a:cubicBezTo>
                      <a:pt x="1250" y="676"/>
                      <a:pt x="1442" y="676"/>
                      <a:pt x="1757" y="665"/>
                    </a:cubicBezTo>
                    <a:cubicBezTo>
                      <a:pt x="2028" y="654"/>
                      <a:pt x="2219" y="654"/>
                      <a:pt x="2332" y="654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6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2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36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76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8"/>
                      <a:pt x="2512" y="1476"/>
                      <a:pt x="2568" y="1487"/>
                    </a:cubicBezTo>
                    <a:cubicBezTo>
                      <a:pt x="2625" y="1510"/>
                      <a:pt x="2681" y="1510"/>
                      <a:pt x="2737" y="1487"/>
                    </a:cubicBezTo>
                    <a:cubicBezTo>
                      <a:pt x="2782" y="1465"/>
                      <a:pt x="2793" y="1453"/>
                      <a:pt x="2782" y="1420"/>
                    </a:cubicBezTo>
                    <a:cubicBezTo>
                      <a:pt x="2771" y="1397"/>
                      <a:pt x="2737" y="1363"/>
                      <a:pt x="2681" y="1330"/>
                    </a:cubicBezTo>
                    <a:cubicBezTo>
                      <a:pt x="2523" y="1251"/>
                      <a:pt x="2411" y="1194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4"/>
                      <a:pt x="777" y="1071"/>
                    </a:cubicBezTo>
                    <a:cubicBezTo>
                      <a:pt x="608" y="1025"/>
                      <a:pt x="462" y="969"/>
                      <a:pt x="316" y="890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8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5" y="147"/>
                      <a:pt x="1847" y="248"/>
                    </a:cubicBezTo>
                    <a:cubicBezTo>
                      <a:pt x="1870" y="271"/>
                      <a:pt x="1915" y="293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7" name="Google Shape;1377;p39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lnTo>
                      <a:pt x="5982" y="1161"/>
                    </a:lnTo>
                    <a:cubicBezTo>
                      <a:pt x="5441" y="473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8" name="Google Shape;1378;p39"/>
              <p:cNvSpPr/>
              <p:nvPr/>
            </p:nvSpPr>
            <p:spPr>
              <a:xfrm>
                <a:off x="3674793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92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92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9" name="Google Shape;1379;p39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5982" y="1161"/>
                    </a:moveTo>
                    <a:cubicBezTo>
                      <a:pt x="5441" y="473"/>
                      <a:pt x="4393" y="0"/>
                      <a:pt x="3177" y="0"/>
                    </a:cubicBez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80" name="Google Shape;1380;p39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92"/>
                      <a:pt x="1420" y="0"/>
                      <a:pt x="3177" y="0"/>
                    </a:cubicBezTo>
                    <a:cubicBezTo>
                      <a:pt x="4934" y="0"/>
                      <a:pt x="6353" y="992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81" name="Google Shape;1381;p39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9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82" name="Google Shape;1382;p39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9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83" name="Google Shape;1383;p39"/>
              <p:cNvSpPr/>
              <p:nvPr/>
            </p:nvSpPr>
            <p:spPr>
              <a:xfrm>
                <a:off x="3781826" y="119020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03"/>
                      <a:pt x="1" y="980"/>
                      <a:pt x="1" y="957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84" name="Google Shape;1384;p39"/>
              <p:cNvSpPr/>
              <p:nvPr/>
            </p:nvSpPr>
            <p:spPr>
              <a:xfrm>
                <a:off x="3805825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85" name="Google Shape;1385;p39"/>
              <p:cNvSpPr/>
              <p:nvPr/>
            </p:nvSpPr>
            <p:spPr>
              <a:xfrm>
                <a:off x="3828637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86" name="Google Shape;1386;p39"/>
              <p:cNvSpPr/>
              <p:nvPr/>
            </p:nvSpPr>
            <p:spPr>
              <a:xfrm>
                <a:off x="3849912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87" name="Google Shape;1387;p39"/>
              <p:cNvSpPr/>
              <p:nvPr/>
            </p:nvSpPr>
            <p:spPr>
              <a:xfrm>
                <a:off x="3868008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88" name="Google Shape;1388;p39"/>
              <p:cNvSpPr/>
              <p:nvPr/>
            </p:nvSpPr>
            <p:spPr>
              <a:xfrm>
                <a:off x="3884147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89" name="Google Shape;1389;p39"/>
              <p:cNvSpPr/>
              <p:nvPr/>
            </p:nvSpPr>
            <p:spPr>
              <a:xfrm>
                <a:off x="3757023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90" name="Google Shape;1390;p39"/>
              <p:cNvSpPr/>
              <p:nvPr/>
            </p:nvSpPr>
            <p:spPr>
              <a:xfrm>
                <a:off x="3734211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91" name="Google Shape;1391;p39"/>
              <p:cNvSpPr/>
              <p:nvPr/>
            </p:nvSpPr>
            <p:spPr>
              <a:xfrm>
                <a:off x="3712971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92" name="Google Shape;1392;p39"/>
              <p:cNvSpPr/>
              <p:nvPr/>
            </p:nvSpPr>
            <p:spPr>
              <a:xfrm>
                <a:off x="3694876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93" name="Google Shape;1393;p39"/>
              <p:cNvSpPr/>
              <p:nvPr/>
            </p:nvSpPr>
            <p:spPr>
              <a:xfrm>
                <a:off x="3678736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94" name="Google Shape;1394;p39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55"/>
                      <a:pt x="1" y="1702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11" y="2636"/>
                      <a:pt x="4911" y="1702"/>
                    </a:cubicBezTo>
                    <a:cubicBezTo>
                      <a:pt x="4911" y="755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95" name="Google Shape;1395;p39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2"/>
                    </a:cubicBezTo>
                    <a:cubicBezTo>
                      <a:pt x="1" y="755"/>
                      <a:pt x="1104" y="1"/>
                      <a:pt x="2456" y="1"/>
                    </a:cubicBezTo>
                    <a:cubicBezTo>
                      <a:pt x="3819" y="1"/>
                      <a:pt x="4911" y="755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96" name="Google Shape;1396;p39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extrusionOk="0">
                    <a:moveTo>
                      <a:pt x="361" y="0"/>
                    </a:moveTo>
                    <a:lnTo>
                      <a:pt x="57" y="124"/>
                    </a:lnTo>
                    <a:lnTo>
                      <a:pt x="282" y="248"/>
                    </a:lnTo>
                    <a:cubicBezTo>
                      <a:pt x="90" y="349"/>
                      <a:pt x="0" y="462"/>
                      <a:pt x="0" y="563"/>
                    </a:cubicBezTo>
                    <a:cubicBezTo>
                      <a:pt x="11" y="676"/>
                      <a:pt x="113" y="789"/>
                      <a:pt x="316" y="901"/>
                    </a:cubicBezTo>
                    <a:cubicBezTo>
                      <a:pt x="462" y="980"/>
                      <a:pt x="608" y="1036"/>
                      <a:pt x="777" y="1081"/>
                    </a:cubicBezTo>
                    <a:cubicBezTo>
                      <a:pt x="935" y="1115"/>
                      <a:pt x="1081" y="1138"/>
                      <a:pt x="1217" y="1149"/>
                    </a:cubicBezTo>
                    <a:cubicBezTo>
                      <a:pt x="1341" y="1149"/>
                      <a:pt x="1577" y="1149"/>
                      <a:pt x="1904" y="1138"/>
                    </a:cubicBezTo>
                    <a:cubicBezTo>
                      <a:pt x="2095" y="1138"/>
                      <a:pt x="2230" y="1149"/>
                      <a:pt x="2320" y="1172"/>
                    </a:cubicBezTo>
                    <a:cubicBezTo>
                      <a:pt x="2411" y="1205"/>
                      <a:pt x="2523" y="1262"/>
                      <a:pt x="2681" y="1340"/>
                    </a:cubicBezTo>
                    <a:cubicBezTo>
                      <a:pt x="2737" y="1374"/>
                      <a:pt x="2771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09"/>
                      <a:pt x="2681" y="1515"/>
                      <a:pt x="2653" y="1515"/>
                    </a:cubicBezTo>
                    <a:cubicBezTo>
                      <a:pt x="2625" y="1515"/>
                      <a:pt x="2596" y="1509"/>
                      <a:pt x="2568" y="1498"/>
                    </a:cubicBezTo>
                    <a:cubicBezTo>
                      <a:pt x="2512" y="1476"/>
                      <a:pt x="2399" y="1419"/>
                      <a:pt x="2208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32" y="1566"/>
                    </a:lnTo>
                    <a:cubicBezTo>
                      <a:pt x="1836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69" y="1815"/>
                      <a:pt x="3019" y="1768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23" y="1656"/>
                    </a:lnTo>
                    <a:cubicBezTo>
                      <a:pt x="3514" y="1543"/>
                      <a:pt x="3593" y="1431"/>
                      <a:pt x="3559" y="1307"/>
                    </a:cubicBezTo>
                    <a:cubicBezTo>
                      <a:pt x="3537" y="1183"/>
                      <a:pt x="3402" y="1059"/>
                      <a:pt x="3154" y="924"/>
                    </a:cubicBezTo>
                    <a:cubicBezTo>
                      <a:pt x="3007" y="834"/>
                      <a:pt x="2861" y="777"/>
                      <a:pt x="2715" y="732"/>
                    </a:cubicBezTo>
                    <a:cubicBezTo>
                      <a:pt x="2579" y="698"/>
                      <a:pt x="2444" y="676"/>
                      <a:pt x="2332" y="665"/>
                    </a:cubicBezTo>
                    <a:cubicBezTo>
                      <a:pt x="2219" y="665"/>
                      <a:pt x="2028" y="665"/>
                      <a:pt x="1757" y="676"/>
                    </a:cubicBezTo>
                    <a:cubicBezTo>
                      <a:pt x="1547" y="676"/>
                      <a:pt x="1392" y="681"/>
                      <a:pt x="1285" y="681"/>
                    </a:cubicBezTo>
                    <a:cubicBezTo>
                      <a:pt x="1232" y="681"/>
                      <a:pt x="1190" y="680"/>
                      <a:pt x="1160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4"/>
                    </a:cubicBezTo>
                    <a:cubicBezTo>
                      <a:pt x="755" y="462"/>
                      <a:pt x="766" y="439"/>
                      <a:pt x="811" y="417"/>
                    </a:cubicBezTo>
                    <a:cubicBezTo>
                      <a:pt x="837" y="410"/>
                      <a:pt x="863" y="404"/>
                      <a:pt x="891" y="404"/>
                    </a:cubicBezTo>
                    <a:cubicBezTo>
                      <a:pt x="912" y="404"/>
                      <a:pt x="934" y="407"/>
                      <a:pt x="958" y="417"/>
                    </a:cubicBezTo>
                    <a:cubicBezTo>
                      <a:pt x="1014" y="428"/>
                      <a:pt x="1093" y="462"/>
                      <a:pt x="1217" y="530"/>
                    </a:cubicBezTo>
                    <a:lnTo>
                      <a:pt x="1329" y="59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64" y="334"/>
                      <a:pt x="1968" y="336"/>
                      <a:pt x="1971" y="338"/>
                    </a:cubicBezTo>
                    <a:lnTo>
                      <a:pt x="1971" y="32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09" y="301"/>
                      <a:pt x="1868" y="280"/>
                      <a:pt x="1847" y="259"/>
                    </a:cubicBezTo>
                    <a:cubicBezTo>
                      <a:pt x="1645" y="147"/>
                      <a:pt x="1442" y="79"/>
                      <a:pt x="1228" y="56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4" y="73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97" name="Google Shape;1397;p39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fill="none" extrusionOk="0">
                    <a:moveTo>
                      <a:pt x="1971" y="327"/>
                    </a:moveTo>
                    <a:lnTo>
                      <a:pt x="1329" y="597"/>
                    </a:lnTo>
                    <a:lnTo>
                      <a:pt x="1217" y="530"/>
                    </a:lnTo>
                    <a:cubicBezTo>
                      <a:pt x="1093" y="462"/>
                      <a:pt x="1014" y="428"/>
                      <a:pt x="958" y="417"/>
                    </a:cubicBezTo>
                    <a:cubicBezTo>
                      <a:pt x="901" y="394"/>
                      <a:pt x="856" y="406"/>
                      <a:pt x="811" y="417"/>
                    </a:cubicBezTo>
                    <a:cubicBezTo>
                      <a:pt x="766" y="439"/>
                      <a:pt x="755" y="462"/>
                      <a:pt x="766" y="484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60" y="676"/>
                    </a:cubicBezTo>
                    <a:cubicBezTo>
                      <a:pt x="1250" y="687"/>
                      <a:pt x="1442" y="676"/>
                      <a:pt x="1757" y="676"/>
                    </a:cubicBezTo>
                    <a:cubicBezTo>
                      <a:pt x="2028" y="665"/>
                      <a:pt x="2219" y="665"/>
                      <a:pt x="2332" y="665"/>
                    </a:cubicBezTo>
                    <a:cubicBezTo>
                      <a:pt x="2444" y="676"/>
                      <a:pt x="2579" y="698"/>
                      <a:pt x="2715" y="732"/>
                    </a:cubicBezTo>
                    <a:cubicBezTo>
                      <a:pt x="2861" y="777"/>
                      <a:pt x="3007" y="834"/>
                      <a:pt x="3154" y="924"/>
                    </a:cubicBezTo>
                    <a:cubicBezTo>
                      <a:pt x="3402" y="1059"/>
                      <a:pt x="3537" y="1183"/>
                      <a:pt x="3559" y="1307"/>
                    </a:cubicBezTo>
                    <a:cubicBezTo>
                      <a:pt x="3593" y="1431"/>
                      <a:pt x="3514" y="1543"/>
                      <a:pt x="3323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19" y="1768"/>
                    </a:lnTo>
                    <a:cubicBezTo>
                      <a:pt x="2839" y="1825"/>
                      <a:pt x="2613" y="1847"/>
                      <a:pt x="2365" y="1836"/>
                    </a:cubicBezTo>
                    <a:cubicBezTo>
                      <a:pt x="2118" y="1825"/>
                      <a:pt x="1836" y="1735"/>
                      <a:pt x="1532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08" y="1318"/>
                    </a:lnTo>
                    <a:cubicBezTo>
                      <a:pt x="2399" y="1419"/>
                      <a:pt x="2512" y="1476"/>
                      <a:pt x="2568" y="1498"/>
                    </a:cubicBezTo>
                    <a:cubicBezTo>
                      <a:pt x="2625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71" y="1408"/>
                      <a:pt x="2737" y="1374"/>
                      <a:pt x="2681" y="1340"/>
                    </a:cubicBezTo>
                    <a:cubicBezTo>
                      <a:pt x="2523" y="1262"/>
                      <a:pt x="2411" y="1205"/>
                      <a:pt x="2320" y="1172"/>
                    </a:cubicBezTo>
                    <a:cubicBezTo>
                      <a:pt x="2230" y="1149"/>
                      <a:pt x="2095" y="1138"/>
                      <a:pt x="1904" y="1138"/>
                    </a:cubicBezTo>
                    <a:cubicBezTo>
                      <a:pt x="1577" y="1149"/>
                      <a:pt x="1341" y="1149"/>
                      <a:pt x="1217" y="1149"/>
                    </a:cubicBezTo>
                    <a:cubicBezTo>
                      <a:pt x="1081" y="1138"/>
                      <a:pt x="935" y="1115"/>
                      <a:pt x="777" y="1081"/>
                    </a:cubicBezTo>
                    <a:cubicBezTo>
                      <a:pt x="608" y="1036"/>
                      <a:pt x="462" y="980"/>
                      <a:pt x="316" y="901"/>
                    </a:cubicBezTo>
                    <a:cubicBezTo>
                      <a:pt x="113" y="789"/>
                      <a:pt x="11" y="676"/>
                      <a:pt x="0" y="563"/>
                    </a:cubicBezTo>
                    <a:cubicBezTo>
                      <a:pt x="0" y="462"/>
                      <a:pt x="90" y="349"/>
                      <a:pt x="282" y="248"/>
                    </a:cubicBezTo>
                    <a:lnTo>
                      <a:pt x="57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6"/>
                      <a:pt x="1014" y="34"/>
                      <a:pt x="1228" y="56"/>
                    </a:cubicBezTo>
                    <a:cubicBezTo>
                      <a:pt x="1442" y="79"/>
                      <a:pt x="1645" y="147"/>
                      <a:pt x="1847" y="259"/>
                    </a:cubicBezTo>
                    <a:cubicBezTo>
                      <a:pt x="1870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98" name="Google Shape;1398;p39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lnTo>
                      <a:pt x="5982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99" name="Google Shape;1399;p39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00" name="Google Shape;1400;p39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fill="none" extrusionOk="0">
                    <a:moveTo>
                      <a:pt x="5982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01" name="Google Shape;1401;p39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02" name="Google Shape;1402;p39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03" name="Google Shape;1403;p39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04" name="Google Shape;1404;p39"/>
              <p:cNvSpPr/>
              <p:nvPr/>
            </p:nvSpPr>
            <p:spPr>
              <a:xfrm>
                <a:off x="3781826" y="111936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cubicBezTo>
                      <a:pt x="1" y="1003"/>
                      <a:pt x="1" y="981"/>
                      <a:pt x="1" y="947"/>
                    </a:cubicBez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05" name="Google Shape;1405;p39"/>
              <p:cNvSpPr/>
              <p:nvPr/>
            </p:nvSpPr>
            <p:spPr>
              <a:xfrm>
                <a:off x="3805825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06" name="Google Shape;1406;p39"/>
              <p:cNvSpPr/>
              <p:nvPr/>
            </p:nvSpPr>
            <p:spPr>
              <a:xfrm>
                <a:off x="3828637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07" name="Google Shape;1407;p39"/>
              <p:cNvSpPr/>
              <p:nvPr/>
            </p:nvSpPr>
            <p:spPr>
              <a:xfrm>
                <a:off x="3849912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08" name="Google Shape;1408;p39"/>
              <p:cNvSpPr/>
              <p:nvPr/>
            </p:nvSpPr>
            <p:spPr>
              <a:xfrm>
                <a:off x="3868008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09" name="Google Shape;1409;p39"/>
              <p:cNvSpPr/>
              <p:nvPr/>
            </p:nvSpPr>
            <p:spPr>
              <a:xfrm>
                <a:off x="3884147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10" name="Google Shape;1410;p39"/>
              <p:cNvSpPr/>
              <p:nvPr/>
            </p:nvSpPr>
            <p:spPr>
              <a:xfrm>
                <a:off x="3757023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11" name="Google Shape;1411;p39"/>
              <p:cNvSpPr/>
              <p:nvPr/>
            </p:nvSpPr>
            <p:spPr>
              <a:xfrm>
                <a:off x="3734211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12" name="Google Shape;1412;p39"/>
              <p:cNvSpPr/>
              <p:nvPr/>
            </p:nvSpPr>
            <p:spPr>
              <a:xfrm>
                <a:off x="3712971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13" name="Google Shape;1413;p39"/>
              <p:cNvSpPr/>
              <p:nvPr/>
            </p:nvSpPr>
            <p:spPr>
              <a:xfrm>
                <a:off x="3694876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14" name="Google Shape;1414;p39"/>
              <p:cNvSpPr/>
              <p:nvPr/>
            </p:nvSpPr>
            <p:spPr>
              <a:xfrm>
                <a:off x="3678736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15" name="Google Shape;1415;p39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11" y="2647"/>
                      <a:pt x="4911" y="1701"/>
                    </a:cubicBezTo>
                    <a:cubicBezTo>
                      <a:pt x="4911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16" name="Google Shape;1416;p39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fill="none" extrusionOk="0">
                    <a:moveTo>
                      <a:pt x="4911" y="1701"/>
                    </a:moveTo>
                    <a:cubicBezTo>
                      <a:pt x="4911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11" y="766"/>
                      <a:pt x="4911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17" name="Google Shape;1417;p39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9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1"/>
                    </a:cubicBezTo>
                    <a:cubicBezTo>
                      <a:pt x="462" y="969"/>
                      <a:pt x="608" y="1026"/>
                      <a:pt x="777" y="1071"/>
                    </a:cubicBezTo>
                    <a:cubicBezTo>
                      <a:pt x="935" y="1105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5"/>
                      <a:pt x="2523" y="1251"/>
                      <a:pt x="2681" y="1330"/>
                    </a:cubicBezTo>
                    <a:cubicBezTo>
                      <a:pt x="2737" y="1364"/>
                      <a:pt x="2771" y="1397"/>
                      <a:pt x="2782" y="1420"/>
                    </a:cubicBezTo>
                    <a:cubicBezTo>
                      <a:pt x="2793" y="1454"/>
                      <a:pt x="2782" y="1465"/>
                      <a:pt x="2737" y="1488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8"/>
                    </a:cubicBezTo>
                    <a:cubicBezTo>
                      <a:pt x="2512" y="1476"/>
                      <a:pt x="2399" y="1409"/>
                      <a:pt x="2208" y="1307"/>
                    </a:cubicBezTo>
                    <a:lnTo>
                      <a:pt x="2050" y="1217"/>
                    </a:lnTo>
                    <a:lnTo>
                      <a:pt x="1408" y="1488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3" y="1834"/>
                      <a:pt x="2884" y="1809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3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7"/>
                      <a:pt x="2715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4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32"/>
                      <a:pt x="879" y="564"/>
                    </a:cubicBezTo>
                    <a:cubicBezTo>
                      <a:pt x="822" y="530"/>
                      <a:pt x="777" y="508"/>
                      <a:pt x="766" y="474"/>
                    </a:cubicBezTo>
                    <a:cubicBezTo>
                      <a:pt x="755" y="451"/>
                      <a:pt x="766" y="429"/>
                      <a:pt x="811" y="418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2"/>
                      <a:pt x="958" y="406"/>
                    </a:cubicBezTo>
                    <a:cubicBezTo>
                      <a:pt x="1014" y="418"/>
                      <a:pt x="1093" y="463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70" y="271"/>
                      <a:pt x="1847" y="249"/>
                    </a:cubicBezTo>
                    <a:cubicBezTo>
                      <a:pt x="1645" y="147"/>
                      <a:pt x="1442" y="80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2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18" name="Google Shape;1418;p39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3"/>
                      <a:pt x="1014" y="418"/>
                      <a:pt x="958" y="406"/>
                    </a:cubicBezTo>
                    <a:cubicBezTo>
                      <a:pt x="901" y="395"/>
                      <a:pt x="856" y="395"/>
                      <a:pt x="811" y="418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508"/>
                      <a:pt x="822" y="530"/>
                      <a:pt x="879" y="564"/>
                    </a:cubicBezTo>
                    <a:cubicBezTo>
                      <a:pt x="991" y="632"/>
                      <a:pt x="1081" y="665"/>
                      <a:pt x="1160" y="665"/>
                    </a:cubicBezTo>
                    <a:cubicBezTo>
                      <a:pt x="1250" y="677"/>
                      <a:pt x="1442" y="677"/>
                      <a:pt x="1757" y="665"/>
                    </a:cubicBezTo>
                    <a:cubicBezTo>
                      <a:pt x="2028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7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3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48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88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9"/>
                      <a:pt x="2512" y="1476"/>
                      <a:pt x="2568" y="1488"/>
                    </a:cubicBezTo>
                    <a:cubicBezTo>
                      <a:pt x="2625" y="1510"/>
                      <a:pt x="2681" y="1510"/>
                      <a:pt x="2737" y="1488"/>
                    </a:cubicBezTo>
                    <a:cubicBezTo>
                      <a:pt x="2782" y="1465"/>
                      <a:pt x="2793" y="1454"/>
                      <a:pt x="2782" y="1420"/>
                    </a:cubicBezTo>
                    <a:cubicBezTo>
                      <a:pt x="2771" y="1397"/>
                      <a:pt x="2737" y="1364"/>
                      <a:pt x="2681" y="1330"/>
                    </a:cubicBezTo>
                    <a:cubicBezTo>
                      <a:pt x="2523" y="1251"/>
                      <a:pt x="2411" y="1195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5"/>
                      <a:pt x="777" y="1071"/>
                    </a:cubicBezTo>
                    <a:cubicBezTo>
                      <a:pt x="608" y="1026"/>
                      <a:pt x="462" y="969"/>
                      <a:pt x="316" y="891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9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5" y="147"/>
                      <a:pt x="1847" y="249"/>
                    </a:cubicBezTo>
                    <a:cubicBezTo>
                      <a:pt x="1870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19" name="Google Shape;1419;p39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74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20" name="Google Shape;1420;p39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21" name="Google Shape;1421;p39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74"/>
                      <a:pt x="4393" y="1"/>
                      <a:pt x="3188" y="1"/>
                    </a:cubicBez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22" name="Google Shape;1422;p39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4"/>
                      <a:pt x="4945" y="4405"/>
                      <a:pt x="3188" y="4405"/>
                    </a:cubicBezTo>
                    <a:cubicBezTo>
                      <a:pt x="1431" y="4405"/>
                      <a:pt x="0" y="3414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23" name="Google Shape;1423;p39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2"/>
                      <a:pt x="0" y="2208"/>
                    </a:cubicBezTo>
                    <a:cubicBezTo>
                      <a:pt x="0" y="3424"/>
                      <a:pt x="1431" y="4404"/>
                      <a:pt x="3188" y="4404"/>
                    </a:cubicBezTo>
                    <a:cubicBezTo>
                      <a:pt x="4945" y="4404"/>
                      <a:pt x="6364" y="3424"/>
                      <a:pt x="6364" y="2208"/>
                    </a:cubicBezTo>
                    <a:cubicBezTo>
                      <a:pt x="6364" y="992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24" name="Google Shape;1424;p39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4"/>
                      <a:pt x="4945" y="4404"/>
                      <a:pt x="3188" y="4404"/>
                    </a:cubicBezTo>
                    <a:cubicBezTo>
                      <a:pt x="1431" y="4404"/>
                      <a:pt x="0" y="3424"/>
                      <a:pt x="0" y="2208"/>
                    </a:cubicBezTo>
                    <a:cubicBezTo>
                      <a:pt x="0" y="992"/>
                      <a:pt x="1431" y="0"/>
                      <a:pt x="3188" y="0"/>
                    </a:cubicBezTo>
                    <a:cubicBezTo>
                      <a:pt x="4945" y="0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25" name="Google Shape;1425;p39"/>
              <p:cNvSpPr/>
              <p:nvPr/>
            </p:nvSpPr>
            <p:spPr>
              <a:xfrm>
                <a:off x="3958905" y="1358203"/>
                <a:ext cx="419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11" y="958"/>
                    </a:cubicBezTo>
                    <a:lnTo>
                      <a:pt x="1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26" name="Google Shape;1426;p39"/>
              <p:cNvSpPr/>
              <p:nvPr/>
            </p:nvSpPr>
            <p:spPr>
              <a:xfrm>
                <a:off x="3983289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27" name="Google Shape;1427;p39"/>
              <p:cNvSpPr/>
              <p:nvPr/>
            </p:nvSpPr>
            <p:spPr>
              <a:xfrm>
                <a:off x="400610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28" name="Google Shape;1428;p39"/>
              <p:cNvSpPr/>
              <p:nvPr/>
            </p:nvSpPr>
            <p:spPr>
              <a:xfrm>
                <a:off x="4027341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29" name="Google Shape;1429;p39"/>
              <p:cNvSpPr/>
              <p:nvPr/>
            </p:nvSpPr>
            <p:spPr>
              <a:xfrm>
                <a:off x="4045052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30" name="Google Shape;1430;p39"/>
              <p:cNvSpPr/>
              <p:nvPr/>
            </p:nvSpPr>
            <p:spPr>
              <a:xfrm>
                <a:off x="406157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31" name="Google Shape;1431;p39"/>
              <p:cNvSpPr/>
              <p:nvPr/>
            </p:nvSpPr>
            <p:spPr>
              <a:xfrm>
                <a:off x="3934487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32" name="Google Shape;1432;p39"/>
              <p:cNvSpPr/>
              <p:nvPr/>
            </p:nvSpPr>
            <p:spPr>
              <a:xfrm>
                <a:off x="391129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33" name="Google Shape;1433;p39"/>
              <p:cNvSpPr/>
              <p:nvPr/>
            </p:nvSpPr>
            <p:spPr>
              <a:xfrm>
                <a:off x="3890435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34" name="Google Shape;1434;p39"/>
              <p:cNvSpPr/>
              <p:nvPr/>
            </p:nvSpPr>
            <p:spPr>
              <a:xfrm>
                <a:off x="3872339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35" name="Google Shape;1435;p39"/>
              <p:cNvSpPr/>
              <p:nvPr/>
            </p:nvSpPr>
            <p:spPr>
              <a:xfrm>
                <a:off x="385581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36" name="Google Shape;1436;p39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37" name="Google Shape;1437;p39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38" name="Google Shape;1438;p39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1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62"/>
                      <a:pt x="12" y="564"/>
                    </a:cubicBezTo>
                    <a:cubicBezTo>
                      <a:pt x="23" y="676"/>
                      <a:pt x="125" y="789"/>
                      <a:pt x="327" y="902"/>
                    </a:cubicBezTo>
                    <a:cubicBezTo>
                      <a:pt x="462" y="980"/>
                      <a:pt x="620" y="1037"/>
                      <a:pt x="778" y="1071"/>
                    </a:cubicBezTo>
                    <a:cubicBezTo>
                      <a:pt x="947" y="1116"/>
                      <a:pt x="1093" y="1138"/>
                      <a:pt x="1217" y="1138"/>
                    </a:cubicBezTo>
                    <a:cubicBezTo>
                      <a:pt x="1285" y="1144"/>
                      <a:pt x="1375" y="1147"/>
                      <a:pt x="1489" y="1147"/>
                    </a:cubicBezTo>
                    <a:cubicBezTo>
                      <a:pt x="1603" y="1147"/>
                      <a:pt x="1741" y="1144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7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408"/>
                      <a:pt x="2794" y="1431"/>
                    </a:cubicBezTo>
                    <a:cubicBezTo>
                      <a:pt x="2805" y="1454"/>
                      <a:pt x="2783" y="1476"/>
                      <a:pt x="2738" y="1499"/>
                    </a:cubicBezTo>
                    <a:cubicBezTo>
                      <a:pt x="2715" y="1510"/>
                      <a:pt x="2690" y="1515"/>
                      <a:pt x="2663" y="1515"/>
                    </a:cubicBezTo>
                    <a:cubicBezTo>
                      <a:pt x="2636" y="1515"/>
                      <a:pt x="2608" y="1510"/>
                      <a:pt x="2580" y="1499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28"/>
                    </a:lnTo>
                    <a:lnTo>
                      <a:pt x="1409" y="1487"/>
                    </a:lnTo>
                    <a:lnTo>
                      <a:pt x="1544" y="1566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31"/>
                      <a:pt x="3571" y="1307"/>
                    </a:cubicBezTo>
                    <a:cubicBezTo>
                      <a:pt x="3549" y="1183"/>
                      <a:pt x="3413" y="1048"/>
                      <a:pt x="3166" y="924"/>
                    </a:cubicBezTo>
                    <a:cubicBezTo>
                      <a:pt x="3019" y="834"/>
                      <a:pt x="2873" y="778"/>
                      <a:pt x="2726" y="733"/>
                    </a:cubicBezTo>
                    <a:cubicBezTo>
                      <a:pt x="2580" y="699"/>
                      <a:pt x="2456" y="676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454" y="676"/>
                      <a:pt x="1251" y="676"/>
                      <a:pt x="1172" y="676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41"/>
                      <a:pt x="789" y="507"/>
                      <a:pt x="778" y="485"/>
                    </a:cubicBezTo>
                    <a:cubicBezTo>
                      <a:pt x="767" y="451"/>
                      <a:pt x="778" y="440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29"/>
                      <a:pt x="1104" y="462"/>
                      <a:pt x="1217" y="530"/>
                    </a:cubicBezTo>
                    <a:lnTo>
                      <a:pt x="1330" y="598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60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39" name="Google Shape;1439;p39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98"/>
                    </a:lnTo>
                    <a:lnTo>
                      <a:pt x="1217" y="530"/>
                    </a:lnTo>
                    <a:cubicBezTo>
                      <a:pt x="1104" y="462"/>
                      <a:pt x="1014" y="429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40"/>
                      <a:pt x="767" y="451"/>
                      <a:pt x="778" y="485"/>
                    </a:cubicBezTo>
                    <a:cubicBezTo>
                      <a:pt x="789" y="507"/>
                      <a:pt x="823" y="541"/>
                      <a:pt x="890" y="575"/>
                    </a:cubicBezTo>
                    <a:cubicBezTo>
                      <a:pt x="992" y="631"/>
                      <a:pt x="1093" y="665"/>
                      <a:pt x="1172" y="676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76"/>
                      <a:pt x="2580" y="699"/>
                      <a:pt x="2726" y="733"/>
                    </a:cubicBezTo>
                    <a:cubicBezTo>
                      <a:pt x="2873" y="778"/>
                      <a:pt x="3019" y="834"/>
                      <a:pt x="3166" y="924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31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66"/>
                    </a:cubicBezTo>
                    <a:lnTo>
                      <a:pt x="1409" y="1487"/>
                    </a:lnTo>
                    <a:lnTo>
                      <a:pt x="2051" y="1228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9"/>
                    </a:cubicBezTo>
                    <a:cubicBezTo>
                      <a:pt x="2636" y="1521"/>
                      <a:pt x="2693" y="1521"/>
                      <a:pt x="2738" y="1499"/>
                    </a:cubicBezTo>
                    <a:cubicBezTo>
                      <a:pt x="2783" y="1476"/>
                      <a:pt x="2805" y="1454"/>
                      <a:pt x="2794" y="1431"/>
                    </a:cubicBezTo>
                    <a:cubicBezTo>
                      <a:pt x="2783" y="1408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49"/>
                      <a:pt x="1352" y="1149"/>
                      <a:pt x="1217" y="1138"/>
                    </a:cubicBezTo>
                    <a:cubicBezTo>
                      <a:pt x="1093" y="1138"/>
                      <a:pt x="947" y="1116"/>
                      <a:pt x="778" y="1071"/>
                    </a:cubicBezTo>
                    <a:cubicBezTo>
                      <a:pt x="620" y="1037"/>
                      <a:pt x="462" y="980"/>
                      <a:pt x="327" y="902"/>
                    </a:cubicBezTo>
                    <a:cubicBezTo>
                      <a:pt x="125" y="789"/>
                      <a:pt x="23" y="676"/>
                      <a:pt x="12" y="564"/>
                    </a:cubicBezTo>
                    <a:cubicBezTo>
                      <a:pt x="1" y="462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1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60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40" name="Google Shape;1440;p39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62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41" name="Google Shape;1441;p39"/>
              <p:cNvSpPr/>
              <p:nvPr/>
            </p:nvSpPr>
            <p:spPr>
              <a:xfrm>
                <a:off x="3849895" y="117821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42" name="Google Shape;1442;p39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62"/>
                      <a:pt x="4393" y="1"/>
                      <a:pt x="3188" y="1"/>
                    </a:cubicBez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43" name="Google Shape;1443;p39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45" y="4405"/>
                      <a:pt x="3188" y="4405"/>
                    </a:cubicBezTo>
                    <a:cubicBezTo>
                      <a:pt x="1431" y="4405"/>
                      <a:pt x="0" y="3413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44" name="Google Shape;1444;p39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1"/>
                      <a:pt x="0" y="2208"/>
                    </a:cubicBezTo>
                    <a:cubicBezTo>
                      <a:pt x="0" y="3413"/>
                      <a:pt x="1431" y="4404"/>
                      <a:pt x="3188" y="4404"/>
                    </a:cubicBezTo>
                    <a:cubicBezTo>
                      <a:pt x="4945" y="4404"/>
                      <a:pt x="6364" y="3413"/>
                      <a:pt x="6364" y="2208"/>
                    </a:cubicBezTo>
                    <a:cubicBezTo>
                      <a:pt x="6364" y="991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45" name="Google Shape;1445;p39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13"/>
                      <a:pt x="4945" y="4404"/>
                      <a:pt x="3188" y="4404"/>
                    </a:cubicBezTo>
                    <a:cubicBezTo>
                      <a:pt x="1431" y="4404"/>
                      <a:pt x="0" y="3413"/>
                      <a:pt x="0" y="2208"/>
                    </a:cubicBezTo>
                    <a:cubicBezTo>
                      <a:pt x="0" y="991"/>
                      <a:pt x="1431" y="0"/>
                      <a:pt x="3188" y="0"/>
                    </a:cubicBezTo>
                    <a:cubicBezTo>
                      <a:pt x="4945" y="0"/>
                      <a:pt x="6364" y="991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46" name="Google Shape;1446;p39"/>
              <p:cNvSpPr/>
              <p:nvPr/>
            </p:nvSpPr>
            <p:spPr>
              <a:xfrm>
                <a:off x="3958905" y="1295252"/>
                <a:ext cx="419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26" fill="none" extrusionOk="0">
                    <a:moveTo>
                      <a:pt x="0" y="1025"/>
                    </a:moveTo>
                    <a:cubicBezTo>
                      <a:pt x="0" y="1003"/>
                      <a:pt x="0" y="980"/>
                      <a:pt x="11" y="947"/>
                    </a:cubicBezTo>
                    <a:lnTo>
                      <a:pt x="1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47" name="Google Shape;1447;p39"/>
              <p:cNvSpPr/>
              <p:nvPr/>
            </p:nvSpPr>
            <p:spPr>
              <a:xfrm>
                <a:off x="3983289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48" name="Google Shape;1448;p39"/>
              <p:cNvSpPr/>
              <p:nvPr/>
            </p:nvSpPr>
            <p:spPr>
              <a:xfrm>
                <a:off x="400610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49" name="Google Shape;1449;p39"/>
              <p:cNvSpPr/>
              <p:nvPr/>
            </p:nvSpPr>
            <p:spPr>
              <a:xfrm>
                <a:off x="4027341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50" name="Google Shape;1450;p39"/>
              <p:cNvSpPr/>
              <p:nvPr/>
            </p:nvSpPr>
            <p:spPr>
              <a:xfrm>
                <a:off x="4045052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7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51" name="Google Shape;1451;p39"/>
              <p:cNvSpPr/>
              <p:nvPr/>
            </p:nvSpPr>
            <p:spPr>
              <a:xfrm>
                <a:off x="406157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52" name="Google Shape;1452;p39"/>
              <p:cNvSpPr/>
              <p:nvPr/>
            </p:nvSpPr>
            <p:spPr>
              <a:xfrm>
                <a:off x="3934487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53" name="Google Shape;1453;p39"/>
              <p:cNvSpPr/>
              <p:nvPr/>
            </p:nvSpPr>
            <p:spPr>
              <a:xfrm>
                <a:off x="391129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54" name="Google Shape;1454;p39"/>
              <p:cNvSpPr/>
              <p:nvPr/>
            </p:nvSpPr>
            <p:spPr>
              <a:xfrm>
                <a:off x="3890435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55" name="Google Shape;1455;p39"/>
              <p:cNvSpPr/>
              <p:nvPr/>
            </p:nvSpPr>
            <p:spPr>
              <a:xfrm>
                <a:off x="3872339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56" name="Google Shape;1456;p39"/>
              <p:cNvSpPr/>
              <p:nvPr/>
            </p:nvSpPr>
            <p:spPr>
              <a:xfrm>
                <a:off x="385581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57" name="Google Shape;1457;p39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58" name="Google Shape;1458;p39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59" name="Google Shape;1459;p39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51"/>
                      <a:pt x="12" y="564"/>
                    </a:cubicBezTo>
                    <a:cubicBezTo>
                      <a:pt x="23" y="676"/>
                      <a:pt x="125" y="778"/>
                      <a:pt x="327" y="890"/>
                    </a:cubicBezTo>
                    <a:cubicBezTo>
                      <a:pt x="462" y="969"/>
                      <a:pt x="620" y="1037"/>
                      <a:pt x="778" y="1070"/>
                    </a:cubicBezTo>
                    <a:cubicBezTo>
                      <a:pt x="947" y="1115"/>
                      <a:pt x="1093" y="1138"/>
                      <a:pt x="1217" y="1138"/>
                    </a:cubicBezTo>
                    <a:cubicBezTo>
                      <a:pt x="1262" y="1142"/>
                      <a:pt x="1317" y="1143"/>
                      <a:pt x="1383" y="1143"/>
                    </a:cubicBezTo>
                    <a:cubicBezTo>
                      <a:pt x="1514" y="1143"/>
                      <a:pt x="1686" y="1138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6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397"/>
                      <a:pt x="2794" y="1431"/>
                    </a:cubicBezTo>
                    <a:cubicBezTo>
                      <a:pt x="2805" y="1453"/>
                      <a:pt x="2783" y="1476"/>
                      <a:pt x="2738" y="1487"/>
                    </a:cubicBezTo>
                    <a:cubicBezTo>
                      <a:pt x="2711" y="1500"/>
                      <a:pt x="2681" y="1506"/>
                      <a:pt x="2649" y="1506"/>
                    </a:cubicBezTo>
                    <a:cubicBezTo>
                      <a:pt x="2627" y="1506"/>
                      <a:pt x="2603" y="1503"/>
                      <a:pt x="2580" y="1498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17"/>
                    </a:lnTo>
                    <a:lnTo>
                      <a:pt x="1409" y="1487"/>
                    </a:lnTo>
                    <a:lnTo>
                      <a:pt x="1544" y="1555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20"/>
                      <a:pt x="3571" y="1307"/>
                    </a:cubicBezTo>
                    <a:cubicBezTo>
                      <a:pt x="3549" y="1183"/>
                      <a:pt x="3413" y="1048"/>
                      <a:pt x="3166" y="913"/>
                    </a:cubicBezTo>
                    <a:cubicBezTo>
                      <a:pt x="3019" y="834"/>
                      <a:pt x="2873" y="766"/>
                      <a:pt x="2726" y="733"/>
                    </a:cubicBezTo>
                    <a:cubicBezTo>
                      <a:pt x="2580" y="687"/>
                      <a:pt x="2456" y="665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611" y="671"/>
                      <a:pt x="1482" y="673"/>
                      <a:pt x="1382" y="673"/>
                    </a:cubicBezTo>
                    <a:cubicBezTo>
                      <a:pt x="1282" y="673"/>
                      <a:pt x="1211" y="671"/>
                      <a:pt x="1172" y="665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30"/>
                      <a:pt x="789" y="507"/>
                      <a:pt x="778" y="473"/>
                    </a:cubicBezTo>
                    <a:cubicBezTo>
                      <a:pt x="767" y="451"/>
                      <a:pt x="778" y="428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17"/>
                      <a:pt x="1104" y="462"/>
                      <a:pt x="1217" y="530"/>
                    </a:cubicBezTo>
                    <a:lnTo>
                      <a:pt x="1330" y="586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59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60" name="Google Shape;1460;p39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86"/>
                    </a:lnTo>
                    <a:lnTo>
                      <a:pt x="1217" y="530"/>
                    </a:lnTo>
                    <a:cubicBezTo>
                      <a:pt x="1104" y="462"/>
                      <a:pt x="1014" y="417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28"/>
                      <a:pt x="767" y="451"/>
                      <a:pt x="778" y="473"/>
                    </a:cubicBezTo>
                    <a:cubicBezTo>
                      <a:pt x="789" y="507"/>
                      <a:pt x="823" y="530"/>
                      <a:pt x="890" y="575"/>
                    </a:cubicBezTo>
                    <a:cubicBezTo>
                      <a:pt x="992" y="631"/>
                      <a:pt x="1093" y="665"/>
                      <a:pt x="1172" y="665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65"/>
                      <a:pt x="2580" y="687"/>
                      <a:pt x="2726" y="733"/>
                    </a:cubicBezTo>
                    <a:cubicBezTo>
                      <a:pt x="2873" y="766"/>
                      <a:pt x="3019" y="834"/>
                      <a:pt x="3166" y="913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20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55"/>
                    </a:cubicBezTo>
                    <a:lnTo>
                      <a:pt x="1409" y="1487"/>
                    </a:lnTo>
                    <a:lnTo>
                      <a:pt x="2051" y="1217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8"/>
                    </a:cubicBezTo>
                    <a:cubicBezTo>
                      <a:pt x="2636" y="1510"/>
                      <a:pt x="2693" y="1510"/>
                      <a:pt x="2738" y="1487"/>
                    </a:cubicBezTo>
                    <a:cubicBezTo>
                      <a:pt x="2783" y="1476"/>
                      <a:pt x="2805" y="1453"/>
                      <a:pt x="2794" y="1431"/>
                    </a:cubicBezTo>
                    <a:cubicBezTo>
                      <a:pt x="2783" y="1397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38"/>
                      <a:pt x="1352" y="1149"/>
                      <a:pt x="1217" y="1138"/>
                    </a:cubicBezTo>
                    <a:cubicBezTo>
                      <a:pt x="1093" y="1138"/>
                      <a:pt x="947" y="1115"/>
                      <a:pt x="778" y="1070"/>
                    </a:cubicBezTo>
                    <a:cubicBezTo>
                      <a:pt x="620" y="1037"/>
                      <a:pt x="462" y="969"/>
                      <a:pt x="327" y="890"/>
                    </a:cubicBezTo>
                    <a:cubicBezTo>
                      <a:pt x="125" y="778"/>
                      <a:pt x="23" y="676"/>
                      <a:pt x="12" y="564"/>
                    </a:cubicBezTo>
                    <a:cubicBezTo>
                      <a:pt x="1" y="451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59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solidFill>
                <a:schemeClr val="dk2"/>
              </a:solidFill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461" name="Google Shape;1461;p39"/>
            <p:cNvSpPr/>
            <p:nvPr/>
          </p:nvSpPr>
          <p:spPr>
            <a:xfrm>
              <a:off x="3794477" y="28759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2" name="Google Shape;1462;p39"/>
            <p:cNvSpPr/>
            <p:nvPr/>
          </p:nvSpPr>
          <p:spPr>
            <a:xfrm>
              <a:off x="3817289" y="28245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3" name="Google Shape;1463;p39"/>
            <p:cNvSpPr/>
            <p:nvPr/>
          </p:nvSpPr>
          <p:spPr>
            <a:xfrm>
              <a:off x="3838529" y="27379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4" name="Google Shape;1464;p39"/>
            <p:cNvSpPr/>
            <p:nvPr/>
          </p:nvSpPr>
          <p:spPr>
            <a:xfrm>
              <a:off x="3856660" y="26160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5" name="Google Shape;1465;p39"/>
            <p:cNvSpPr/>
            <p:nvPr/>
          </p:nvSpPr>
          <p:spPr>
            <a:xfrm>
              <a:off x="3873183" y="241548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6" name="Google Shape;1466;p39"/>
            <p:cNvSpPr/>
            <p:nvPr/>
          </p:nvSpPr>
          <p:spPr>
            <a:xfrm>
              <a:off x="3794477" y="224640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7" name="Google Shape;1467;p39"/>
            <p:cNvSpPr/>
            <p:nvPr/>
          </p:nvSpPr>
          <p:spPr>
            <a:xfrm>
              <a:off x="3817289" y="219504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8" name="Google Shape;1468;p39"/>
            <p:cNvSpPr/>
            <p:nvPr/>
          </p:nvSpPr>
          <p:spPr>
            <a:xfrm>
              <a:off x="3838529" y="21084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9" name="Google Shape;1469;p39"/>
            <p:cNvSpPr/>
            <p:nvPr/>
          </p:nvSpPr>
          <p:spPr>
            <a:xfrm>
              <a:off x="3856660" y="19864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0" name="Google Shape;1470;p39"/>
            <p:cNvSpPr/>
            <p:nvPr/>
          </p:nvSpPr>
          <p:spPr>
            <a:xfrm>
              <a:off x="3873183" y="17859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1" name="Google Shape;1471;p39"/>
            <p:cNvSpPr/>
            <p:nvPr/>
          </p:nvSpPr>
          <p:spPr>
            <a:xfrm>
              <a:off x="3794477" y="160885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2" name="Google Shape;1472;p39"/>
            <p:cNvSpPr/>
            <p:nvPr/>
          </p:nvSpPr>
          <p:spPr>
            <a:xfrm>
              <a:off x="3817289" y="155750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5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3" name="Google Shape;1473;p39"/>
            <p:cNvSpPr/>
            <p:nvPr/>
          </p:nvSpPr>
          <p:spPr>
            <a:xfrm>
              <a:off x="3838529" y="14712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4" name="Google Shape;1474;p39"/>
            <p:cNvSpPr/>
            <p:nvPr/>
          </p:nvSpPr>
          <p:spPr>
            <a:xfrm>
              <a:off x="3856660" y="13489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5" name="Google Shape;1475;p39"/>
            <p:cNvSpPr/>
            <p:nvPr/>
          </p:nvSpPr>
          <p:spPr>
            <a:xfrm>
              <a:off x="3873183" y="11484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76" name="Google Shape;1476;p39"/>
          <p:cNvGrpSpPr/>
          <p:nvPr/>
        </p:nvGrpSpPr>
        <p:grpSpPr>
          <a:xfrm>
            <a:off x="7863914" y="1542591"/>
            <a:ext cx="1133720" cy="1133717"/>
            <a:chOff x="10173800" y="2018150"/>
            <a:chExt cx="1448103" cy="1448100"/>
          </a:xfrm>
        </p:grpSpPr>
        <p:sp>
          <p:nvSpPr>
            <p:cNvPr id="1477" name="Google Shape;1477;p39"/>
            <p:cNvSpPr/>
            <p:nvPr/>
          </p:nvSpPr>
          <p:spPr>
            <a:xfrm>
              <a:off x="10173800" y="2018150"/>
              <a:ext cx="1448100" cy="1448100"/>
            </a:xfrm>
            <a:prstGeom prst="donut">
              <a:avLst>
                <a:gd name="adj" fmla="val 20968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8" name="Google Shape;1478;p39"/>
            <p:cNvSpPr/>
            <p:nvPr/>
          </p:nvSpPr>
          <p:spPr>
            <a:xfrm flipH="1">
              <a:off x="10173803" y="2018150"/>
              <a:ext cx="1448100" cy="1448100"/>
            </a:xfrm>
            <a:prstGeom prst="blockArc">
              <a:avLst>
                <a:gd name="adj1" fmla="val 10800000"/>
                <a:gd name="adj2" fmla="val 16161326"/>
                <a:gd name="adj3" fmla="val 20401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79" name="Google Shape;1479;p39"/>
          <p:cNvGrpSpPr/>
          <p:nvPr/>
        </p:nvGrpSpPr>
        <p:grpSpPr>
          <a:xfrm>
            <a:off x="7742196" y="2516561"/>
            <a:ext cx="1133755" cy="1742342"/>
            <a:chOff x="10151996" y="778186"/>
            <a:chExt cx="1133755" cy="1742342"/>
          </a:xfrm>
        </p:grpSpPr>
        <p:sp>
          <p:nvSpPr>
            <p:cNvPr id="1480" name="Google Shape;1480;p39"/>
            <p:cNvSpPr/>
            <p:nvPr/>
          </p:nvSpPr>
          <p:spPr>
            <a:xfrm>
              <a:off x="10153099" y="866402"/>
              <a:ext cx="1132653" cy="1654125"/>
            </a:xfrm>
            <a:custGeom>
              <a:avLst/>
              <a:gdLst/>
              <a:ahLst/>
              <a:cxnLst/>
              <a:rect l="l" t="t" r="r" b="b"/>
              <a:pathLst>
                <a:path w="11298" h="16500" extrusionOk="0">
                  <a:moveTo>
                    <a:pt x="7107" y="1"/>
                  </a:moveTo>
                  <a:cubicBezTo>
                    <a:pt x="7069" y="1"/>
                    <a:pt x="7031" y="11"/>
                    <a:pt x="6995" y="32"/>
                  </a:cubicBezTo>
                  <a:lnTo>
                    <a:pt x="1938" y="3028"/>
                  </a:lnTo>
                  <a:cubicBezTo>
                    <a:pt x="1735" y="3152"/>
                    <a:pt x="1600" y="3366"/>
                    <a:pt x="1600" y="3603"/>
                  </a:cubicBezTo>
                  <a:lnTo>
                    <a:pt x="902" y="4020"/>
                  </a:lnTo>
                  <a:cubicBezTo>
                    <a:pt x="688" y="4143"/>
                    <a:pt x="564" y="4369"/>
                    <a:pt x="564" y="4605"/>
                  </a:cubicBezTo>
                  <a:lnTo>
                    <a:pt x="564" y="6700"/>
                  </a:lnTo>
                  <a:lnTo>
                    <a:pt x="417" y="6779"/>
                  </a:lnTo>
                  <a:cubicBezTo>
                    <a:pt x="271" y="6869"/>
                    <a:pt x="158" y="6993"/>
                    <a:pt x="91" y="7139"/>
                  </a:cubicBezTo>
                  <a:lnTo>
                    <a:pt x="79" y="7139"/>
                  </a:lnTo>
                  <a:cubicBezTo>
                    <a:pt x="23" y="7173"/>
                    <a:pt x="1" y="7432"/>
                    <a:pt x="1" y="7432"/>
                  </a:cubicBezTo>
                  <a:lnTo>
                    <a:pt x="1" y="13526"/>
                  </a:lnTo>
                  <a:cubicBezTo>
                    <a:pt x="1" y="13537"/>
                    <a:pt x="1" y="13548"/>
                    <a:pt x="1" y="13560"/>
                  </a:cubicBezTo>
                  <a:cubicBezTo>
                    <a:pt x="1" y="13661"/>
                    <a:pt x="34" y="13751"/>
                    <a:pt x="91" y="13819"/>
                  </a:cubicBezTo>
                  <a:cubicBezTo>
                    <a:pt x="136" y="13886"/>
                    <a:pt x="192" y="13909"/>
                    <a:pt x="226" y="13920"/>
                  </a:cubicBezTo>
                  <a:cubicBezTo>
                    <a:pt x="237" y="13931"/>
                    <a:pt x="260" y="13942"/>
                    <a:pt x="271" y="13942"/>
                  </a:cubicBezTo>
                  <a:lnTo>
                    <a:pt x="1037" y="14393"/>
                  </a:lnTo>
                  <a:cubicBezTo>
                    <a:pt x="1023" y="14379"/>
                    <a:pt x="1009" y="14365"/>
                    <a:pt x="995" y="14351"/>
                  </a:cubicBezTo>
                  <a:lnTo>
                    <a:pt x="995" y="14351"/>
                  </a:lnTo>
                  <a:cubicBezTo>
                    <a:pt x="1070" y="14420"/>
                    <a:pt x="1168" y="14459"/>
                    <a:pt x="1270" y="14459"/>
                  </a:cubicBezTo>
                  <a:cubicBezTo>
                    <a:pt x="1339" y="14459"/>
                    <a:pt x="1409" y="14442"/>
                    <a:pt x="1476" y="14404"/>
                  </a:cubicBezTo>
                  <a:lnTo>
                    <a:pt x="6218" y="11656"/>
                  </a:lnTo>
                  <a:lnTo>
                    <a:pt x="6218" y="11679"/>
                  </a:lnTo>
                  <a:cubicBezTo>
                    <a:pt x="6218" y="11701"/>
                    <a:pt x="6218" y="11724"/>
                    <a:pt x="6218" y="11757"/>
                  </a:cubicBezTo>
                  <a:cubicBezTo>
                    <a:pt x="6218" y="11870"/>
                    <a:pt x="6229" y="11971"/>
                    <a:pt x="6263" y="12084"/>
                  </a:cubicBezTo>
                  <a:cubicBezTo>
                    <a:pt x="6229" y="12185"/>
                    <a:pt x="6218" y="12298"/>
                    <a:pt x="6218" y="12411"/>
                  </a:cubicBezTo>
                  <a:cubicBezTo>
                    <a:pt x="6218" y="12478"/>
                    <a:pt x="6218" y="12535"/>
                    <a:pt x="6229" y="12591"/>
                  </a:cubicBezTo>
                  <a:lnTo>
                    <a:pt x="6218" y="13165"/>
                  </a:lnTo>
                  <a:cubicBezTo>
                    <a:pt x="6218" y="13199"/>
                    <a:pt x="6218" y="13222"/>
                    <a:pt x="6218" y="13244"/>
                  </a:cubicBezTo>
                  <a:cubicBezTo>
                    <a:pt x="6218" y="13357"/>
                    <a:pt x="6229" y="13469"/>
                    <a:pt x="6263" y="13571"/>
                  </a:cubicBezTo>
                  <a:cubicBezTo>
                    <a:pt x="6229" y="13683"/>
                    <a:pt x="6218" y="13796"/>
                    <a:pt x="6218" y="13909"/>
                  </a:cubicBezTo>
                  <a:cubicBezTo>
                    <a:pt x="6218" y="13965"/>
                    <a:pt x="6218" y="14033"/>
                    <a:pt x="6229" y="14089"/>
                  </a:cubicBezTo>
                  <a:lnTo>
                    <a:pt x="6218" y="14663"/>
                  </a:lnTo>
                  <a:cubicBezTo>
                    <a:pt x="6218" y="14686"/>
                    <a:pt x="6218" y="14708"/>
                    <a:pt x="6218" y="14731"/>
                  </a:cubicBezTo>
                  <a:cubicBezTo>
                    <a:pt x="6218" y="15711"/>
                    <a:pt x="7356" y="16499"/>
                    <a:pt x="8763" y="16499"/>
                  </a:cubicBezTo>
                  <a:cubicBezTo>
                    <a:pt x="10160" y="16499"/>
                    <a:pt x="11298" y="15711"/>
                    <a:pt x="11298" y="14731"/>
                  </a:cubicBezTo>
                  <a:lnTo>
                    <a:pt x="11298" y="13897"/>
                  </a:lnTo>
                  <a:cubicBezTo>
                    <a:pt x="11298" y="13785"/>
                    <a:pt x="11286" y="13683"/>
                    <a:pt x="11253" y="13571"/>
                  </a:cubicBezTo>
                  <a:cubicBezTo>
                    <a:pt x="11286" y="13469"/>
                    <a:pt x="11298" y="13357"/>
                    <a:pt x="11298" y="13244"/>
                  </a:cubicBezTo>
                  <a:lnTo>
                    <a:pt x="11298" y="12411"/>
                  </a:lnTo>
                  <a:cubicBezTo>
                    <a:pt x="11298" y="12298"/>
                    <a:pt x="11286" y="12185"/>
                    <a:pt x="11253" y="12084"/>
                  </a:cubicBezTo>
                  <a:cubicBezTo>
                    <a:pt x="11286" y="11971"/>
                    <a:pt x="11298" y="11859"/>
                    <a:pt x="11298" y="11746"/>
                  </a:cubicBezTo>
                  <a:lnTo>
                    <a:pt x="11298" y="10924"/>
                  </a:lnTo>
                  <a:cubicBezTo>
                    <a:pt x="11298" y="9944"/>
                    <a:pt x="10160" y="9167"/>
                    <a:pt x="8763" y="9167"/>
                  </a:cubicBezTo>
                  <a:cubicBezTo>
                    <a:pt x="8459" y="9167"/>
                    <a:pt x="8178" y="9201"/>
                    <a:pt x="7919" y="9257"/>
                  </a:cubicBezTo>
                  <a:lnTo>
                    <a:pt x="7919" y="7534"/>
                  </a:lnTo>
                  <a:lnTo>
                    <a:pt x="8347" y="7286"/>
                  </a:lnTo>
                  <a:lnTo>
                    <a:pt x="8347" y="5191"/>
                  </a:lnTo>
                  <a:lnTo>
                    <a:pt x="7919" y="5439"/>
                  </a:lnTo>
                  <a:lnTo>
                    <a:pt x="7919" y="3839"/>
                  </a:lnTo>
                  <a:cubicBezTo>
                    <a:pt x="7919" y="3670"/>
                    <a:pt x="7784" y="3551"/>
                    <a:pt x="7636" y="3551"/>
                  </a:cubicBezTo>
                  <a:cubicBezTo>
                    <a:pt x="7588" y="3551"/>
                    <a:pt x="7538" y="3564"/>
                    <a:pt x="7491" y="3592"/>
                  </a:cubicBezTo>
                  <a:lnTo>
                    <a:pt x="7344" y="3682"/>
                  </a:lnTo>
                  <a:lnTo>
                    <a:pt x="7344" y="235"/>
                  </a:lnTo>
                  <a:cubicBezTo>
                    <a:pt x="7344" y="98"/>
                    <a:pt x="7228" y="1"/>
                    <a:pt x="7107" y="1"/>
                  </a:cubicBezTo>
                  <a:close/>
                </a:path>
              </a:pathLst>
            </a:cu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1" name="Google Shape;1481;p39"/>
            <p:cNvSpPr/>
            <p:nvPr/>
          </p:nvSpPr>
          <p:spPr>
            <a:xfrm>
              <a:off x="10153099" y="1091355"/>
              <a:ext cx="706981" cy="1093627"/>
            </a:xfrm>
            <a:custGeom>
              <a:avLst/>
              <a:gdLst/>
              <a:ahLst/>
              <a:cxnLst/>
              <a:rect l="l" t="t" r="r" b="b"/>
              <a:pathLst>
                <a:path w="7052" h="10909" extrusionOk="0">
                  <a:moveTo>
                    <a:pt x="6770" y="0"/>
                  </a:moveTo>
                  <a:cubicBezTo>
                    <a:pt x="6721" y="0"/>
                    <a:pt x="6671" y="13"/>
                    <a:pt x="6623" y="41"/>
                  </a:cubicBezTo>
                  <a:lnTo>
                    <a:pt x="417" y="3724"/>
                  </a:lnTo>
                  <a:cubicBezTo>
                    <a:pt x="158" y="3870"/>
                    <a:pt x="1" y="4152"/>
                    <a:pt x="1" y="4445"/>
                  </a:cubicBezTo>
                  <a:lnTo>
                    <a:pt x="1" y="10505"/>
                  </a:lnTo>
                  <a:cubicBezTo>
                    <a:pt x="1" y="10736"/>
                    <a:pt x="196" y="10909"/>
                    <a:pt x="409" y="10909"/>
                  </a:cubicBezTo>
                  <a:cubicBezTo>
                    <a:pt x="476" y="10909"/>
                    <a:pt x="544" y="10891"/>
                    <a:pt x="609" y="10854"/>
                  </a:cubicBezTo>
                  <a:lnTo>
                    <a:pt x="6533" y="7418"/>
                  </a:lnTo>
                  <a:cubicBezTo>
                    <a:pt x="6849" y="7227"/>
                    <a:pt x="7051" y="6878"/>
                    <a:pt x="7051" y="6506"/>
                  </a:cubicBezTo>
                  <a:lnTo>
                    <a:pt x="7051" y="278"/>
                  </a:lnTo>
                  <a:cubicBezTo>
                    <a:pt x="7051" y="117"/>
                    <a:pt x="6918" y="0"/>
                    <a:pt x="67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2" name="Google Shape;1482;p39"/>
            <p:cNvSpPr/>
            <p:nvPr/>
          </p:nvSpPr>
          <p:spPr>
            <a:xfrm>
              <a:off x="10153099" y="1091355"/>
              <a:ext cx="706981" cy="1093627"/>
            </a:xfrm>
            <a:custGeom>
              <a:avLst/>
              <a:gdLst/>
              <a:ahLst/>
              <a:cxnLst/>
              <a:rect l="l" t="t" r="r" b="b"/>
              <a:pathLst>
                <a:path w="7052" h="10909" extrusionOk="0">
                  <a:moveTo>
                    <a:pt x="6770" y="0"/>
                  </a:moveTo>
                  <a:cubicBezTo>
                    <a:pt x="6721" y="0"/>
                    <a:pt x="6671" y="13"/>
                    <a:pt x="6623" y="41"/>
                  </a:cubicBezTo>
                  <a:lnTo>
                    <a:pt x="417" y="3724"/>
                  </a:lnTo>
                  <a:cubicBezTo>
                    <a:pt x="158" y="3870"/>
                    <a:pt x="1" y="4152"/>
                    <a:pt x="1" y="4445"/>
                  </a:cubicBezTo>
                  <a:lnTo>
                    <a:pt x="1" y="10505"/>
                  </a:lnTo>
                  <a:cubicBezTo>
                    <a:pt x="1" y="10736"/>
                    <a:pt x="196" y="10909"/>
                    <a:pt x="409" y="10909"/>
                  </a:cubicBezTo>
                  <a:cubicBezTo>
                    <a:pt x="476" y="10909"/>
                    <a:pt x="544" y="10891"/>
                    <a:pt x="609" y="10854"/>
                  </a:cubicBezTo>
                  <a:lnTo>
                    <a:pt x="6533" y="7418"/>
                  </a:lnTo>
                  <a:cubicBezTo>
                    <a:pt x="6849" y="7227"/>
                    <a:pt x="7051" y="6878"/>
                    <a:pt x="7051" y="6506"/>
                  </a:cubicBezTo>
                  <a:lnTo>
                    <a:pt x="7051" y="278"/>
                  </a:lnTo>
                  <a:cubicBezTo>
                    <a:pt x="7051" y="117"/>
                    <a:pt x="6918" y="0"/>
                    <a:pt x="67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3" name="Google Shape;1483;p39"/>
            <p:cNvSpPr/>
            <p:nvPr/>
          </p:nvSpPr>
          <p:spPr>
            <a:xfrm>
              <a:off x="10153099" y="1084137"/>
              <a:ext cx="706981" cy="1111171"/>
            </a:xfrm>
            <a:custGeom>
              <a:avLst/>
              <a:gdLst/>
              <a:ahLst/>
              <a:cxnLst/>
              <a:rect l="l" t="t" r="r" b="b"/>
              <a:pathLst>
                <a:path w="7052" h="11084" fill="none" extrusionOk="0">
                  <a:moveTo>
                    <a:pt x="1" y="10577"/>
                  </a:moveTo>
                  <a:lnTo>
                    <a:pt x="1" y="4517"/>
                  </a:lnTo>
                  <a:cubicBezTo>
                    <a:pt x="1" y="4224"/>
                    <a:pt x="158" y="3942"/>
                    <a:pt x="417" y="3796"/>
                  </a:cubicBezTo>
                  <a:lnTo>
                    <a:pt x="6623" y="113"/>
                  </a:lnTo>
                  <a:cubicBezTo>
                    <a:pt x="6815" y="0"/>
                    <a:pt x="7051" y="136"/>
                    <a:pt x="7051" y="350"/>
                  </a:cubicBezTo>
                  <a:lnTo>
                    <a:pt x="7051" y="6578"/>
                  </a:lnTo>
                  <a:cubicBezTo>
                    <a:pt x="7051" y="6950"/>
                    <a:pt x="6849" y="7299"/>
                    <a:pt x="6533" y="7490"/>
                  </a:cubicBezTo>
                  <a:lnTo>
                    <a:pt x="609" y="10926"/>
                  </a:lnTo>
                  <a:cubicBezTo>
                    <a:pt x="339" y="11083"/>
                    <a:pt x="1" y="10881"/>
                    <a:pt x="1" y="10577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4" name="Google Shape;1484;p39"/>
            <p:cNvSpPr/>
            <p:nvPr/>
          </p:nvSpPr>
          <p:spPr>
            <a:xfrm>
              <a:off x="10153099" y="1084137"/>
              <a:ext cx="706981" cy="1111171"/>
            </a:xfrm>
            <a:custGeom>
              <a:avLst/>
              <a:gdLst/>
              <a:ahLst/>
              <a:cxnLst/>
              <a:rect l="l" t="t" r="r" b="b"/>
              <a:pathLst>
                <a:path w="7052" h="11084" fill="none" extrusionOk="0">
                  <a:moveTo>
                    <a:pt x="1" y="10577"/>
                  </a:moveTo>
                  <a:lnTo>
                    <a:pt x="1" y="4517"/>
                  </a:lnTo>
                  <a:cubicBezTo>
                    <a:pt x="1" y="4224"/>
                    <a:pt x="158" y="3942"/>
                    <a:pt x="417" y="3796"/>
                  </a:cubicBezTo>
                  <a:lnTo>
                    <a:pt x="6623" y="113"/>
                  </a:lnTo>
                  <a:cubicBezTo>
                    <a:pt x="6815" y="0"/>
                    <a:pt x="7051" y="136"/>
                    <a:pt x="7051" y="350"/>
                  </a:cubicBezTo>
                  <a:lnTo>
                    <a:pt x="7051" y="6578"/>
                  </a:lnTo>
                  <a:cubicBezTo>
                    <a:pt x="7051" y="6950"/>
                    <a:pt x="6849" y="7299"/>
                    <a:pt x="6533" y="7490"/>
                  </a:cubicBezTo>
                  <a:lnTo>
                    <a:pt x="609" y="10926"/>
                  </a:lnTo>
                  <a:cubicBezTo>
                    <a:pt x="339" y="11083"/>
                    <a:pt x="1" y="10881"/>
                    <a:pt x="1" y="10577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5" name="Google Shape;1485;p39"/>
            <p:cNvSpPr/>
            <p:nvPr/>
          </p:nvSpPr>
          <p:spPr>
            <a:xfrm>
              <a:off x="10209539" y="883344"/>
              <a:ext cx="576051" cy="889518"/>
            </a:xfrm>
            <a:custGeom>
              <a:avLst/>
              <a:gdLst/>
              <a:ahLst/>
              <a:cxnLst/>
              <a:rect l="l" t="t" r="r" b="b"/>
              <a:pathLst>
                <a:path w="5746" h="8873" extrusionOk="0">
                  <a:moveTo>
                    <a:pt x="5513" y="1"/>
                  </a:moveTo>
                  <a:cubicBezTo>
                    <a:pt x="5474" y="1"/>
                    <a:pt x="5434" y="10"/>
                    <a:pt x="5396" y="32"/>
                  </a:cubicBezTo>
                  <a:lnTo>
                    <a:pt x="339" y="3028"/>
                  </a:lnTo>
                  <a:cubicBezTo>
                    <a:pt x="125" y="3152"/>
                    <a:pt x="1" y="3377"/>
                    <a:pt x="1" y="3625"/>
                  </a:cubicBezTo>
                  <a:lnTo>
                    <a:pt x="1" y="8547"/>
                  </a:lnTo>
                  <a:cubicBezTo>
                    <a:pt x="1" y="8736"/>
                    <a:pt x="157" y="8872"/>
                    <a:pt x="331" y="8872"/>
                  </a:cubicBezTo>
                  <a:cubicBezTo>
                    <a:pt x="386" y="8872"/>
                    <a:pt x="442" y="8859"/>
                    <a:pt x="496" y="8829"/>
                  </a:cubicBezTo>
                  <a:lnTo>
                    <a:pt x="5317" y="6036"/>
                  </a:lnTo>
                  <a:cubicBezTo>
                    <a:pt x="5576" y="5878"/>
                    <a:pt x="5745" y="5596"/>
                    <a:pt x="5745" y="5292"/>
                  </a:cubicBezTo>
                  <a:lnTo>
                    <a:pt x="5745" y="235"/>
                  </a:lnTo>
                  <a:cubicBezTo>
                    <a:pt x="5745" y="98"/>
                    <a:pt x="5635" y="1"/>
                    <a:pt x="551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6" name="Google Shape;1486;p39"/>
            <p:cNvSpPr/>
            <p:nvPr/>
          </p:nvSpPr>
          <p:spPr>
            <a:xfrm>
              <a:off x="10209539" y="883344"/>
              <a:ext cx="576051" cy="889518"/>
            </a:xfrm>
            <a:custGeom>
              <a:avLst/>
              <a:gdLst/>
              <a:ahLst/>
              <a:cxnLst/>
              <a:rect l="l" t="t" r="r" b="b"/>
              <a:pathLst>
                <a:path w="5746" h="8873" extrusionOk="0">
                  <a:moveTo>
                    <a:pt x="5513" y="1"/>
                  </a:moveTo>
                  <a:cubicBezTo>
                    <a:pt x="5474" y="1"/>
                    <a:pt x="5434" y="10"/>
                    <a:pt x="5396" y="32"/>
                  </a:cubicBezTo>
                  <a:lnTo>
                    <a:pt x="339" y="3028"/>
                  </a:lnTo>
                  <a:cubicBezTo>
                    <a:pt x="125" y="3152"/>
                    <a:pt x="1" y="3377"/>
                    <a:pt x="1" y="3625"/>
                  </a:cubicBezTo>
                  <a:lnTo>
                    <a:pt x="1" y="8547"/>
                  </a:lnTo>
                  <a:cubicBezTo>
                    <a:pt x="1" y="8736"/>
                    <a:pt x="157" y="8872"/>
                    <a:pt x="331" y="8872"/>
                  </a:cubicBezTo>
                  <a:cubicBezTo>
                    <a:pt x="386" y="8872"/>
                    <a:pt x="442" y="8859"/>
                    <a:pt x="496" y="8829"/>
                  </a:cubicBezTo>
                  <a:lnTo>
                    <a:pt x="5317" y="6036"/>
                  </a:lnTo>
                  <a:cubicBezTo>
                    <a:pt x="5576" y="5878"/>
                    <a:pt x="5745" y="5596"/>
                    <a:pt x="5745" y="5292"/>
                  </a:cubicBezTo>
                  <a:lnTo>
                    <a:pt x="5745" y="235"/>
                  </a:lnTo>
                  <a:cubicBezTo>
                    <a:pt x="5745" y="98"/>
                    <a:pt x="5635" y="1"/>
                    <a:pt x="551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7" name="Google Shape;1487;p39"/>
            <p:cNvSpPr/>
            <p:nvPr/>
          </p:nvSpPr>
          <p:spPr>
            <a:xfrm>
              <a:off x="10209539" y="877530"/>
              <a:ext cx="576051" cy="903353"/>
            </a:xfrm>
            <a:custGeom>
              <a:avLst/>
              <a:gdLst/>
              <a:ahLst/>
              <a:cxnLst/>
              <a:rect l="l" t="t" r="r" b="b"/>
              <a:pathLst>
                <a:path w="5746" h="9011" fill="none" extrusionOk="0">
                  <a:moveTo>
                    <a:pt x="1" y="8605"/>
                  </a:moveTo>
                  <a:lnTo>
                    <a:pt x="1" y="3683"/>
                  </a:lnTo>
                  <a:cubicBezTo>
                    <a:pt x="1" y="3435"/>
                    <a:pt x="125" y="3210"/>
                    <a:pt x="339" y="3086"/>
                  </a:cubicBezTo>
                  <a:lnTo>
                    <a:pt x="5396" y="90"/>
                  </a:lnTo>
                  <a:cubicBezTo>
                    <a:pt x="5554" y="0"/>
                    <a:pt x="5745" y="113"/>
                    <a:pt x="5745" y="293"/>
                  </a:cubicBezTo>
                  <a:lnTo>
                    <a:pt x="5745" y="5350"/>
                  </a:lnTo>
                  <a:cubicBezTo>
                    <a:pt x="5745" y="5654"/>
                    <a:pt x="5576" y="5936"/>
                    <a:pt x="5317" y="6094"/>
                  </a:cubicBezTo>
                  <a:lnTo>
                    <a:pt x="496" y="8887"/>
                  </a:lnTo>
                  <a:cubicBezTo>
                    <a:pt x="271" y="9011"/>
                    <a:pt x="1" y="8853"/>
                    <a:pt x="1" y="8605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8" name="Google Shape;1488;p39"/>
            <p:cNvSpPr/>
            <p:nvPr/>
          </p:nvSpPr>
          <p:spPr>
            <a:xfrm>
              <a:off x="10209539" y="877530"/>
              <a:ext cx="576051" cy="903353"/>
            </a:xfrm>
            <a:custGeom>
              <a:avLst/>
              <a:gdLst/>
              <a:ahLst/>
              <a:cxnLst/>
              <a:rect l="l" t="t" r="r" b="b"/>
              <a:pathLst>
                <a:path w="5746" h="9011" fill="none" extrusionOk="0">
                  <a:moveTo>
                    <a:pt x="1" y="8605"/>
                  </a:moveTo>
                  <a:lnTo>
                    <a:pt x="1" y="3683"/>
                  </a:lnTo>
                  <a:cubicBezTo>
                    <a:pt x="1" y="3435"/>
                    <a:pt x="125" y="3210"/>
                    <a:pt x="339" y="3086"/>
                  </a:cubicBezTo>
                  <a:lnTo>
                    <a:pt x="5396" y="90"/>
                  </a:lnTo>
                  <a:cubicBezTo>
                    <a:pt x="5554" y="0"/>
                    <a:pt x="5745" y="113"/>
                    <a:pt x="5745" y="293"/>
                  </a:cubicBezTo>
                  <a:lnTo>
                    <a:pt x="5745" y="5350"/>
                  </a:lnTo>
                  <a:cubicBezTo>
                    <a:pt x="5745" y="5654"/>
                    <a:pt x="5576" y="5936"/>
                    <a:pt x="5317" y="6094"/>
                  </a:cubicBezTo>
                  <a:lnTo>
                    <a:pt x="496" y="8887"/>
                  </a:lnTo>
                  <a:cubicBezTo>
                    <a:pt x="271" y="9011"/>
                    <a:pt x="1" y="8853"/>
                    <a:pt x="1" y="8605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9" name="Google Shape;1489;p39"/>
            <p:cNvSpPr/>
            <p:nvPr/>
          </p:nvSpPr>
          <p:spPr>
            <a:xfrm>
              <a:off x="10280716" y="976874"/>
              <a:ext cx="443818" cy="468669"/>
            </a:xfrm>
            <a:custGeom>
              <a:avLst/>
              <a:gdLst/>
              <a:ahLst/>
              <a:cxnLst/>
              <a:rect l="l" t="t" r="r" b="b"/>
              <a:pathLst>
                <a:path w="4427" h="4675" extrusionOk="0">
                  <a:moveTo>
                    <a:pt x="4427" y="0"/>
                  </a:moveTo>
                  <a:lnTo>
                    <a:pt x="0" y="2591"/>
                  </a:lnTo>
                  <a:lnTo>
                    <a:pt x="0" y="4675"/>
                  </a:lnTo>
                  <a:lnTo>
                    <a:pt x="4427" y="2084"/>
                  </a:lnTo>
                  <a:lnTo>
                    <a:pt x="442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0" name="Google Shape;1490;p39"/>
            <p:cNvSpPr/>
            <p:nvPr/>
          </p:nvSpPr>
          <p:spPr>
            <a:xfrm>
              <a:off x="10280716" y="976874"/>
              <a:ext cx="443818" cy="468669"/>
            </a:xfrm>
            <a:custGeom>
              <a:avLst/>
              <a:gdLst/>
              <a:ahLst/>
              <a:cxnLst/>
              <a:rect l="l" t="t" r="r" b="b"/>
              <a:pathLst>
                <a:path w="4427" h="4675" extrusionOk="0">
                  <a:moveTo>
                    <a:pt x="4427" y="0"/>
                  </a:moveTo>
                  <a:lnTo>
                    <a:pt x="0" y="2591"/>
                  </a:lnTo>
                  <a:lnTo>
                    <a:pt x="0" y="4675"/>
                  </a:lnTo>
                  <a:lnTo>
                    <a:pt x="4427" y="2084"/>
                  </a:lnTo>
                  <a:lnTo>
                    <a:pt x="4427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1" name="Google Shape;1491;p39"/>
            <p:cNvSpPr/>
            <p:nvPr/>
          </p:nvSpPr>
          <p:spPr>
            <a:xfrm>
              <a:off x="10280716" y="976874"/>
              <a:ext cx="443818" cy="468669"/>
            </a:xfrm>
            <a:custGeom>
              <a:avLst/>
              <a:gdLst/>
              <a:ahLst/>
              <a:cxnLst/>
              <a:rect l="l" t="t" r="r" b="b"/>
              <a:pathLst>
                <a:path w="4427" h="4675" fill="none" extrusionOk="0">
                  <a:moveTo>
                    <a:pt x="0" y="2591"/>
                  </a:moveTo>
                  <a:lnTo>
                    <a:pt x="0" y="4675"/>
                  </a:lnTo>
                  <a:lnTo>
                    <a:pt x="4427" y="2084"/>
                  </a:lnTo>
                  <a:lnTo>
                    <a:pt x="4427" y="0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2" name="Google Shape;1492;p39"/>
            <p:cNvSpPr/>
            <p:nvPr/>
          </p:nvSpPr>
          <p:spPr>
            <a:xfrm>
              <a:off x="10280716" y="976874"/>
              <a:ext cx="443818" cy="468669"/>
            </a:xfrm>
            <a:custGeom>
              <a:avLst/>
              <a:gdLst/>
              <a:ahLst/>
              <a:cxnLst/>
              <a:rect l="l" t="t" r="r" b="b"/>
              <a:pathLst>
                <a:path w="4427" h="4675" fill="none" extrusionOk="0">
                  <a:moveTo>
                    <a:pt x="0" y="2591"/>
                  </a:moveTo>
                  <a:lnTo>
                    <a:pt x="0" y="4675"/>
                  </a:lnTo>
                  <a:lnTo>
                    <a:pt x="4427" y="2084"/>
                  </a:lnTo>
                  <a:lnTo>
                    <a:pt x="4427" y="0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3" name="Google Shape;1493;p39"/>
            <p:cNvSpPr/>
            <p:nvPr/>
          </p:nvSpPr>
          <p:spPr>
            <a:xfrm>
              <a:off x="10270491" y="1356206"/>
              <a:ext cx="354693" cy="206716"/>
            </a:xfrm>
            <a:custGeom>
              <a:avLst/>
              <a:gdLst/>
              <a:ahLst/>
              <a:cxnLst/>
              <a:rect l="l" t="t" r="r" b="b"/>
              <a:pathLst>
                <a:path w="3538" h="2062" fill="none" extrusionOk="0">
                  <a:moveTo>
                    <a:pt x="1" y="2062"/>
                  </a:moveTo>
                  <a:lnTo>
                    <a:pt x="3538" y="1"/>
                  </a:lnTo>
                </a:path>
              </a:pathLst>
            </a:custGeom>
            <a:noFill/>
            <a:ln w="31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4" name="Google Shape;1494;p39"/>
            <p:cNvSpPr/>
            <p:nvPr/>
          </p:nvSpPr>
          <p:spPr>
            <a:xfrm>
              <a:off x="10270491" y="1402519"/>
              <a:ext cx="354693" cy="206715"/>
            </a:xfrm>
            <a:custGeom>
              <a:avLst/>
              <a:gdLst/>
              <a:ahLst/>
              <a:cxnLst/>
              <a:rect l="l" t="t" r="r" b="b"/>
              <a:pathLst>
                <a:path w="3538" h="2062" fill="none" extrusionOk="0">
                  <a:moveTo>
                    <a:pt x="1" y="2062"/>
                  </a:moveTo>
                  <a:lnTo>
                    <a:pt x="3538" y="1"/>
                  </a:lnTo>
                </a:path>
              </a:pathLst>
            </a:custGeom>
            <a:noFill/>
            <a:ln w="31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5" name="Google Shape;1495;p39"/>
            <p:cNvSpPr/>
            <p:nvPr/>
          </p:nvSpPr>
          <p:spPr>
            <a:xfrm>
              <a:off x="10270491" y="1447730"/>
              <a:ext cx="354693" cy="206715"/>
            </a:xfrm>
            <a:custGeom>
              <a:avLst/>
              <a:gdLst/>
              <a:ahLst/>
              <a:cxnLst/>
              <a:rect l="l" t="t" r="r" b="b"/>
              <a:pathLst>
                <a:path w="3538" h="2062" fill="none" extrusionOk="0">
                  <a:moveTo>
                    <a:pt x="1" y="2061"/>
                  </a:moveTo>
                  <a:lnTo>
                    <a:pt x="3538" y="0"/>
                  </a:lnTo>
                </a:path>
              </a:pathLst>
            </a:custGeom>
            <a:noFill/>
            <a:ln w="31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6" name="Google Shape;1496;p39"/>
            <p:cNvSpPr/>
            <p:nvPr/>
          </p:nvSpPr>
          <p:spPr>
            <a:xfrm>
              <a:off x="10649936" y="1271598"/>
              <a:ext cx="105065" cy="186365"/>
            </a:xfrm>
            <a:custGeom>
              <a:avLst/>
              <a:gdLst/>
              <a:ahLst/>
              <a:cxnLst/>
              <a:rect l="l" t="t" r="r" b="b"/>
              <a:pathLst>
                <a:path w="1048" h="1859" extrusionOk="0">
                  <a:moveTo>
                    <a:pt x="1048" y="0"/>
                  </a:moveTo>
                  <a:lnTo>
                    <a:pt x="0" y="586"/>
                  </a:lnTo>
                  <a:lnTo>
                    <a:pt x="0" y="1858"/>
                  </a:lnTo>
                  <a:lnTo>
                    <a:pt x="1048" y="1250"/>
                  </a:lnTo>
                  <a:lnTo>
                    <a:pt x="10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7" name="Google Shape;1497;p39"/>
            <p:cNvSpPr/>
            <p:nvPr/>
          </p:nvSpPr>
          <p:spPr>
            <a:xfrm>
              <a:off x="10649936" y="1271598"/>
              <a:ext cx="105065" cy="186365"/>
            </a:xfrm>
            <a:custGeom>
              <a:avLst/>
              <a:gdLst/>
              <a:ahLst/>
              <a:cxnLst/>
              <a:rect l="l" t="t" r="r" b="b"/>
              <a:pathLst>
                <a:path w="1048" h="1859" fill="none" extrusionOk="0">
                  <a:moveTo>
                    <a:pt x="0" y="586"/>
                  </a:moveTo>
                  <a:lnTo>
                    <a:pt x="0" y="1858"/>
                  </a:lnTo>
                  <a:lnTo>
                    <a:pt x="1048" y="1250"/>
                  </a:lnTo>
                  <a:lnTo>
                    <a:pt x="1048" y="0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8" name="Google Shape;1498;p39"/>
            <p:cNvSpPr/>
            <p:nvPr/>
          </p:nvSpPr>
          <p:spPr>
            <a:xfrm>
              <a:off x="10313398" y="784000"/>
              <a:ext cx="576051" cy="890120"/>
            </a:xfrm>
            <a:custGeom>
              <a:avLst/>
              <a:gdLst/>
              <a:ahLst/>
              <a:cxnLst/>
              <a:rect l="l" t="t" r="r" b="b"/>
              <a:pathLst>
                <a:path w="5746" h="8879" extrusionOk="0">
                  <a:moveTo>
                    <a:pt x="5508" y="0"/>
                  </a:moveTo>
                  <a:cubicBezTo>
                    <a:pt x="5470" y="0"/>
                    <a:pt x="5432" y="10"/>
                    <a:pt x="5396" y="32"/>
                  </a:cubicBezTo>
                  <a:lnTo>
                    <a:pt x="339" y="3028"/>
                  </a:lnTo>
                  <a:cubicBezTo>
                    <a:pt x="125" y="3152"/>
                    <a:pt x="1" y="3377"/>
                    <a:pt x="1" y="3625"/>
                  </a:cubicBezTo>
                  <a:lnTo>
                    <a:pt x="1" y="8547"/>
                  </a:lnTo>
                  <a:cubicBezTo>
                    <a:pt x="1" y="8741"/>
                    <a:pt x="152" y="8878"/>
                    <a:pt x="323" y="8878"/>
                  </a:cubicBezTo>
                  <a:cubicBezTo>
                    <a:pt x="380" y="8878"/>
                    <a:pt x="440" y="8863"/>
                    <a:pt x="497" y="8829"/>
                  </a:cubicBezTo>
                  <a:lnTo>
                    <a:pt x="5317" y="6035"/>
                  </a:lnTo>
                  <a:cubicBezTo>
                    <a:pt x="5576" y="5889"/>
                    <a:pt x="5745" y="5607"/>
                    <a:pt x="5745" y="5303"/>
                  </a:cubicBezTo>
                  <a:lnTo>
                    <a:pt x="5745" y="235"/>
                  </a:lnTo>
                  <a:cubicBezTo>
                    <a:pt x="5745" y="98"/>
                    <a:pt x="5629" y="0"/>
                    <a:pt x="550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9" name="Google Shape;1499;p39"/>
            <p:cNvSpPr/>
            <p:nvPr/>
          </p:nvSpPr>
          <p:spPr>
            <a:xfrm>
              <a:off x="10313398" y="784000"/>
              <a:ext cx="576051" cy="890120"/>
            </a:xfrm>
            <a:custGeom>
              <a:avLst/>
              <a:gdLst/>
              <a:ahLst/>
              <a:cxnLst/>
              <a:rect l="l" t="t" r="r" b="b"/>
              <a:pathLst>
                <a:path w="5746" h="8879" extrusionOk="0">
                  <a:moveTo>
                    <a:pt x="5508" y="0"/>
                  </a:moveTo>
                  <a:cubicBezTo>
                    <a:pt x="5470" y="0"/>
                    <a:pt x="5432" y="10"/>
                    <a:pt x="5396" y="32"/>
                  </a:cubicBezTo>
                  <a:lnTo>
                    <a:pt x="339" y="3028"/>
                  </a:lnTo>
                  <a:cubicBezTo>
                    <a:pt x="125" y="3152"/>
                    <a:pt x="1" y="3377"/>
                    <a:pt x="1" y="3625"/>
                  </a:cubicBezTo>
                  <a:lnTo>
                    <a:pt x="1" y="8547"/>
                  </a:lnTo>
                  <a:cubicBezTo>
                    <a:pt x="1" y="8741"/>
                    <a:pt x="152" y="8878"/>
                    <a:pt x="323" y="8878"/>
                  </a:cubicBezTo>
                  <a:cubicBezTo>
                    <a:pt x="380" y="8878"/>
                    <a:pt x="440" y="8863"/>
                    <a:pt x="497" y="8829"/>
                  </a:cubicBezTo>
                  <a:lnTo>
                    <a:pt x="5317" y="6035"/>
                  </a:lnTo>
                  <a:cubicBezTo>
                    <a:pt x="5576" y="5889"/>
                    <a:pt x="5745" y="5607"/>
                    <a:pt x="5745" y="5303"/>
                  </a:cubicBezTo>
                  <a:lnTo>
                    <a:pt x="5745" y="235"/>
                  </a:lnTo>
                  <a:cubicBezTo>
                    <a:pt x="5745" y="98"/>
                    <a:pt x="5629" y="0"/>
                    <a:pt x="550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0" name="Google Shape;1500;p39"/>
            <p:cNvSpPr/>
            <p:nvPr/>
          </p:nvSpPr>
          <p:spPr>
            <a:xfrm>
              <a:off x="10313398" y="778186"/>
              <a:ext cx="576051" cy="904456"/>
            </a:xfrm>
            <a:custGeom>
              <a:avLst/>
              <a:gdLst/>
              <a:ahLst/>
              <a:cxnLst/>
              <a:rect l="l" t="t" r="r" b="b"/>
              <a:pathLst>
                <a:path w="5746" h="9022" fill="none" extrusionOk="0">
                  <a:moveTo>
                    <a:pt x="1" y="8605"/>
                  </a:moveTo>
                  <a:lnTo>
                    <a:pt x="1" y="3683"/>
                  </a:lnTo>
                  <a:cubicBezTo>
                    <a:pt x="1" y="3435"/>
                    <a:pt x="125" y="3210"/>
                    <a:pt x="339" y="3086"/>
                  </a:cubicBezTo>
                  <a:lnTo>
                    <a:pt x="5396" y="90"/>
                  </a:lnTo>
                  <a:cubicBezTo>
                    <a:pt x="5543" y="0"/>
                    <a:pt x="5745" y="113"/>
                    <a:pt x="5745" y="293"/>
                  </a:cubicBezTo>
                  <a:lnTo>
                    <a:pt x="5745" y="5361"/>
                  </a:lnTo>
                  <a:cubicBezTo>
                    <a:pt x="5745" y="5665"/>
                    <a:pt x="5576" y="5947"/>
                    <a:pt x="5317" y="6093"/>
                  </a:cubicBezTo>
                  <a:lnTo>
                    <a:pt x="497" y="8887"/>
                  </a:lnTo>
                  <a:cubicBezTo>
                    <a:pt x="271" y="9022"/>
                    <a:pt x="1" y="8864"/>
                    <a:pt x="1" y="8605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1" name="Google Shape;1501;p39"/>
            <p:cNvSpPr/>
            <p:nvPr/>
          </p:nvSpPr>
          <p:spPr>
            <a:xfrm>
              <a:off x="10313398" y="778186"/>
              <a:ext cx="576051" cy="904456"/>
            </a:xfrm>
            <a:custGeom>
              <a:avLst/>
              <a:gdLst/>
              <a:ahLst/>
              <a:cxnLst/>
              <a:rect l="l" t="t" r="r" b="b"/>
              <a:pathLst>
                <a:path w="5746" h="9022" fill="none" extrusionOk="0">
                  <a:moveTo>
                    <a:pt x="1" y="8605"/>
                  </a:moveTo>
                  <a:lnTo>
                    <a:pt x="1" y="3683"/>
                  </a:lnTo>
                  <a:cubicBezTo>
                    <a:pt x="1" y="3435"/>
                    <a:pt x="125" y="3210"/>
                    <a:pt x="339" y="3086"/>
                  </a:cubicBezTo>
                  <a:lnTo>
                    <a:pt x="5396" y="90"/>
                  </a:lnTo>
                  <a:cubicBezTo>
                    <a:pt x="5543" y="0"/>
                    <a:pt x="5745" y="113"/>
                    <a:pt x="5745" y="293"/>
                  </a:cubicBezTo>
                  <a:lnTo>
                    <a:pt x="5745" y="5361"/>
                  </a:lnTo>
                  <a:cubicBezTo>
                    <a:pt x="5745" y="5665"/>
                    <a:pt x="5576" y="5947"/>
                    <a:pt x="5317" y="6093"/>
                  </a:cubicBezTo>
                  <a:lnTo>
                    <a:pt x="497" y="8887"/>
                  </a:lnTo>
                  <a:cubicBezTo>
                    <a:pt x="271" y="9022"/>
                    <a:pt x="1" y="8864"/>
                    <a:pt x="1" y="8605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2" name="Google Shape;1502;p39"/>
            <p:cNvSpPr/>
            <p:nvPr/>
          </p:nvSpPr>
          <p:spPr>
            <a:xfrm>
              <a:off x="10384575" y="878633"/>
              <a:ext cx="442715" cy="468669"/>
            </a:xfrm>
            <a:custGeom>
              <a:avLst/>
              <a:gdLst/>
              <a:ahLst/>
              <a:cxnLst/>
              <a:rect l="l" t="t" r="r" b="b"/>
              <a:pathLst>
                <a:path w="4416" h="4675" extrusionOk="0">
                  <a:moveTo>
                    <a:pt x="4416" y="0"/>
                  </a:moveTo>
                  <a:lnTo>
                    <a:pt x="1" y="2580"/>
                  </a:lnTo>
                  <a:lnTo>
                    <a:pt x="1" y="4675"/>
                  </a:lnTo>
                  <a:lnTo>
                    <a:pt x="4416" y="2073"/>
                  </a:lnTo>
                  <a:lnTo>
                    <a:pt x="44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3" name="Google Shape;1503;p39"/>
            <p:cNvSpPr/>
            <p:nvPr/>
          </p:nvSpPr>
          <p:spPr>
            <a:xfrm>
              <a:off x="10384575" y="878633"/>
              <a:ext cx="442715" cy="468669"/>
            </a:xfrm>
            <a:custGeom>
              <a:avLst/>
              <a:gdLst/>
              <a:ahLst/>
              <a:cxnLst/>
              <a:rect l="l" t="t" r="r" b="b"/>
              <a:pathLst>
                <a:path w="4416" h="4675" extrusionOk="0">
                  <a:moveTo>
                    <a:pt x="4416" y="0"/>
                  </a:moveTo>
                  <a:lnTo>
                    <a:pt x="1" y="2580"/>
                  </a:lnTo>
                  <a:lnTo>
                    <a:pt x="1" y="4675"/>
                  </a:lnTo>
                  <a:lnTo>
                    <a:pt x="4416" y="2073"/>
                  </a:lnTo>
                  <a:lnTo>
                    <a:pt x="4416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4" name="Google Shape;1504;p39"/>
            <p:cNvSpPr/>
            <p:nvPr/>
          </p:nvSpPr>
          <p:spPr>
            <a:xfrm>
              <a:off x="10384575" y="878633"/>
              <a:ext cx="442715" cy="468669"/>
            </a:xfrm>
            <a:custGeom>
              <a:avLst/>
              <a:gdLst/>
              <a:ahLst/>
              <a:cxnLst/>
              <a:rect l="l" t="t" r="r" b="b"/>
              <a:pathLst>
                <a:path w="4416" h="4675" fill="none" extrusionOk="0">
                  <a:moveTo>
                    <a:pt x="1" y="2580"/>
                  </a:moveTo>
                  <a:lnTo>
                    <a:pt x="1" y="4675"/>
                  </a:lnTo>
                  <a:lnTo>
                    <a:pt x="4416" y="2073"/>
                  </a:lnTo>
                  <a:lnTo>
                    <a:pt x="4416" y="0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5" name="Google Shape;1505;p39"/>
            <p:cNvSpPr/>
            <p:nvPr/>
          </p:nvSpPr>
          <p:spPr>
            <a:xfrm>
              <a:off x="10384575" y="878633"/>
              <a:ext cx="442715" cy="468669"/>
            </a:xfrm>
            <a:custGeom>
              <a:avLst/>
              <a:gdLst/>
              <a:ahLst/>
              <a:cxnLst/>
              <a:rect l="l" t="t" r="r" b="b"/>
              <a:pathLst>
                <a:path w="4416" h="4675" fill="none" extrusionOk="0">
                  <a:moveTo>
                    <a:pt x="1" y="2580"/>
                  </a:moveTo>
                  <a:lnTo>
                    <a:pt x="1" y="4675"/>
                  </a:lnTo>
                  <a:lnTo>
                    <a:pt x="4416" y="2073"/>
                  </a:lnTo>
                  <a:lnTo>
                    <a:pt x="4416" y="0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6" name="Google Shape;1506;p39"/>
            <p:cNvSpPr/>
            <p:nvPr/>
          </p:nvSpPr>
          <p:spPr>
            <a:xfrm>
              <a:off x="10374450" y="1256862"/>
              <a:ext cx="354593" cy="206715"/>
            </a:xfrm>
            <a:custGeom>
              <a:avLst/>
              <a:gdLst/>
              <a:ahLst/>
              <a:cxnLst/>
              <a:rect l="l" t="t" r="r" b="b"/>
              <a:pathLst>
                <a:path w="3537" h="2062" fill="none" extrusionOk="0">
                  <a:moveTo>
                    <a:pt x="0" y="2062"/>
                  </a:moveTo>
                  <a:lnTo>
                    <a:pt x="3537" y="1"/>
                  </a:lnTo>
                </a:path>
              </a:pathLst>
            </a:custGeom>
            <a:noFill/>
            <a:ln w="31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7" name="Google Shape;1507;p39"/>
            <p:cNvSpPr/>
            <p:nvPr/>
          </p:nvSpPr>
          <p:spPr>
            <a:xfrm>
              <a:off x="10374450" y="1303175"/>
              <a:ext cx="354593" cy="206716"/>
            </a:xfrm>
            <a:custGeom>
              <a:avLst/>
              <a:gdLst/>
              <a:ahLst/>
              <a:cxnLst/>
              <a:rect l="l" t="t" r="r" b="b"/>
              <a:pathLst>
                <a:path w="3537" h="2062" fill="none" extrusionOk="0">
                  <a:moveTo>
                    <a:pt x="0" y="2062"/>
                  </a:moveTo>
                  <a:lnTo>
                    <a:pt x="3537" y="0"/>
                  </a:lnTo>
                </a:path>
              </a:pathLst>
            </a:custGeom>
            <a:noFill/>
            <a:ln w="31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8" name="Google Shape;1508;p39"/>
            <p:cNvSpPr/>
            <p:nvPr/>
          </p:nvSpPr>
          <p:spPr>
            <a:xfrm>
              <a:off x="10374450" y="1348286"/>
              <a:ext cx="354593" cy="206816"/>
            </a:xfrm>
            <a:custGeom>
              <a:avLst/>
              <a:gdLst/>
              <a:ahLst/>
              <a:cxnLst/>
              <a:rect l="l" t="t" r="r" b="b"/>
              <a:pathLst>
                <a:path w="3537" h="2063" fill="none" extrusionOk="0">
                  <a:moveTo>
                    <a:pt x="0" y="2062"/>
                  </a:moveTo>
                  <a:lnTo>
                    <a:pt x="3537" y="1"/>
                  </a:lnTo>
                </a:path>
              </a:pathLst>
            </a:custGeom>
            <a:noFill/>
            <a:ln w="31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9" name="Google Shape;1509;p39"/>
            <p:cNvSpPr/>
            <p:nvPr/>
          </p:nvSpPr>
          <p:spPr>
            <a:xfrm>
              <a:off x="10752692" y="1172154"/>
              <a:ext cx="106268" cy="186465"/>
            </a:xfrm>
            <a:custGeom>
              <a:avLst/>
              <a:gdLst/>
              <a:ahLst/>
              <a:cxnLst/>
              <a:rect l="l" t="t" r="r" b="b"/>
              <a:pathLst>
                <a:path w="1060" h="1860" extrusionOk="0">
                  <a:moveTo>
                    <a:pt x="1059" y="1"/>
                  </a:moveTo>
                  <a:lnTo>
                    <a:pt x="0" y="598"/>
                  </a:lnTo>
                  <a:lnTo>
                    <a:pt x="0" y="1859"/>
                  </a:lnTo>
                  <a:lnTo>
                    <a:pt x="1059" y="1251"/>
                  </a:lnTo>
                  <a:lnTo>
                    <a:pt x="105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0" name="Google Shape;1510;p39"/>
            <p:cNvSpPr/>
            <p:nvPr/>
          </p:nvSpPr>
          <p:spPr>
            <a:xfrm>
              <a:off x="10752692" y="1172154"/>
              <a:ext cx="106268" cy="186465"/>
            </a:xfrm>
            <a:custGeom>
              <a:avLst/>
              <a:gdLst/>
              <a:ahLst/>
              <a:cxnLst/>
              <a:rect l="l" t="t" r="r" b="b"/>
              <a:pathLst>
                <a:path w="1060" h="1860" fill="none" extrusionOk="0">
                  <a:moveTo>
                    <a:pt x="0" y="598"/>
                  </a:moveTo>
                  <a:lnTo>
                    <a:pt x="0" y="1859"/>
                  </a:lnTo>
                  <a:lnTo>
                    <a:pt x="1059" y="1251"/>
                  </a:lnTo>
                  <a:lnTo>
                    <a:pt x="1059" y="1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1" name="Google Shape;1511;p39"/>
            <p:cNvSpPr/>
            <p:nvPr/>
          </p:nvSpPr>
          <p:spPr>
            <a:xfrm>
              <a:off x="10151996" y="1499658"/>
              <a:ext cx="105065" cy="728417"/>
            </a:xfrm>
            <a:custGeom>
              <a:avLst/>
              <a:gdLst/>
              <a:ahLst/>
              <a:cxnLst/>
              <a:rect l="l" t="t" r="r" b="b"/>
              <a:pathLst>
                <a:path w="1048" h="7266" extrusionOk="0">
                  <a:moveTo>
                    <a:pt x="90" y="0"/>
                  </a:moveTo>
                  <a:cubicBezTo>
                    <a:pt x="34" y="34"/>
                    <a:pt x="0" y="304"/>
                    <a:pt x="0" y="304"/>
                  </a:cubicBezTo>
                  <a:lnTo>
                    <a:pt x="0" y="6386"/>
                  </a:lnTo>
                  <a:cubicBezTo>
                    <a:pt x="45" y="6769"/>
                    <a:pt x="259" y="6792"/>
                    <a:pt x="259" y="6792"/>
                  </a:cubicBezTo>
                  <a:lnTo>
                    <a:pt x="1048" y="7265"/>
                  </a:lnTo>
                  <a:cubicBezTo>
                    <a:pt x="868" y="7130"/>
                    <a:pt x="879" y="6882"/>
                    <a:pt x="879" y="6882"/>
                  </a:cubicBezTo>
                  <a:lnTo>
                    <a:pt x="879" y="5362"/>
                  </a:lnTo>
                  <a:cubicBezTo>
                    <a:pt x="879" y="5362"/>
                    <a:pt x="879" y="935"/>
                    <a:pt x="879" y="777"/>
                  </a:cubicBezTo>
                  <a:cubicBezTo>
                    <a:pt x="879" y="620"/>
                    <a:pt x="958" y="496"/>
                    <a:pt x="958" y="496"/>
                  </a:cubicBezTo>
                  <a:lnTo>
                    <a:pt x="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2" name="Google Shape;1512;p39"/>
            <p:cNvSpPr/>
            <p:nvPr/>
          </p:nvSpPr>
          <p:spPr>
            <a:xfrm>
              <a:off x="10151996" y="1499658"/>
              <a:ext cx="105065" cy="728417"/>
            </a:xfrm>
            <a:custGeom>
              <a:avLst/>
              <a:gdLst/>
              <a:ahLst/>
              <a:cxnLst/>
              <a:rect l="l" t="t" r="r" b="b"/>
              <a:pathLst>
                <a:path w="1048" h="7266" fill="none" extrusionOk="0">
                  <a:moveTo>
                    <a:pt x="90" y="0"/>
                  </a:moveTo>
                  <a:lnTo>
                    <a:pt x="958" y="496"/>
                  </a:lnTo>
                  <a:cubicBezTo>
                    <a:pt x="958" y="496"/>
                    <a:pt x="879" y="620"/>
                    <a:pt x="879" y="777"/>
                  </a:cubicBezTo>
                  <a:cubicBezTo>
                    <a:pt x="879" y="935"/>
                    <a:pt x="879" y="5362"/>
                    <a:pt x="879" y="5362"/>
                  </a:cubicBezTo>
                  <a:lnTo>
                    <a:pt x="879" y="6882"/>
                  </a:lnTo>
                  <a:cubicBezTo>
                    <a:pt x="879" y="6882"/>
                    <a:pt x="868" y="7130"/>
                    <a:pt x="1048" y="7265"/>
                  </a:cubicBezTo>
                  <a:lnTo>
                    <a:pt x="259" y="6792"/>
                  </a:lnTo>
                  <a:cubicBezTo>
                    <a:pt x="259" y="6792"/>
                    <a:pt x="45" y="6769"/>
                    <a:pt x="0" y="6386"/>
                  </a:cubicBezTo>
                  <a:lnTo>
                    <a:pt x="0" y="304"/>
                  </a:lnTo>
                  <a:cubicBezTo>
                    <a:pt x="0" y="304"/>
                    <a:pt x="34" y="34"/>
                    <a:pt x="90" y="0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3" name="Google Shape;1513;p39"/>
            <p:cNvSpPr/>
            <p:nvPr/>
          </p:nvSpPr>
          <p:spPr>
            <a:xfrm>
              <a:off x="10240015" y="1140977"/>
              <a:ext cx="706981" cy="1093226"/>
            </a:xfrm>
            <a:custGeom>
              <a:avLst/>
              <a:gdLst/>
              <a:ahLst/>
              <a:cxnLst/>
              <a:rect l="l" t="t" r="r" b="b"/>
              <a:pathLst>
                <a:path w="7052" h="10905" extrusionOk="0">
                  <a:moveTo>
                    <a:pt x="6770" y="1"/>
                  </a:moveTo>
                  <a:cubicBezTo>
                    <a:pt x="6722" y="1"/>
                    <a:pt x="6671" y="14"/>
                    <a:pt x="6624" y="42"/>
                  </a:cubicBezTo>
                  <a:lnTo>
                    <a:pt x="418" y="3725"/>
                  </a:lnTo>
                  <a:cubicBezTo>
                    <a:pt x="159" y="3871"/>
                    <a:pt x="1" y="4153"/>
                    <a:pt x="1" y="4445"/>
                  </a:cubicBezTo>
                  <a:lnTo>
                    <a:pt x="1" y="10494"/>
                  </a:lnTo>
                  <a:cubicBezTo>
                    <a:pt x="1" y="10735"/>
                    <a:pt x="199" y="10904"/>
                    <a:pt x="408" y="10904"/>
                  </a:cubicBezTo>
                  <a:cubicBezTo>
                    <a:pt x="472" y="10904"/>
                    <a:pt x="537" y="10889"/>
                    <a:pt x="598" y="10854"/>
                  </a:cubicBezTo>
                  <a:lnTo>
                    <a:pt x="6534" y="7419"/>
                  </a:lnTo>
                  <a:cubicBezTo>
                    <a:pt x="6849" y="7228"/>
                    <a:pt x="7052" y="6878"/>
                    <a:pt x="7052" y="6507"/>
                  </a:cubicBezTo>
                  <a:lnTo>
                    <a:pt x="7052" y="278"/>
                  </a:lnTo>
                  <a:cubicBezTo>
                    <a:pt x="7052" y="117"/>
                    <a:pt x="6918" y="1"/>
                    <a:pt x="677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4" name="Google Shape;1514;p39"/>
            <p:cNvSpPr/>
            <p:nvPr/>
          </p:nvSpPr>
          <p:spPr>
            <a:xfrm>
              <a:off x="10240015" y="1140977"/>
              <a:ext cx="706981" cy="1093226"/>
            </a:xfrm>
            <a:custGeom>
              <a:avLst/>
              <a:gdLst/>
              <a:ahLst/>
              <a:cxnLst/>
              <a:rect l="l" t="t" r="r" b="b"/>
              <a:pathLst>
                <a:path w="7052" h="10905" extrusionOk="0">
                  <a:moveTo>
                    <a:pt x="6770" y="1"/>
                  </a:moveTo>
                  <a:cubicBezTo>
                    <a:pt x="6722" y="1"/>
                    <a:pt x="6671" y="14"/>
                    <a:pt x="6624" y="42"/>
                  </a:cubicBezTo>
                  <a:lnTo>
                    <a:pt x="418" y="3725"/>
                  </a:lnTo>
                  <a:cubicBezTo>
                    <a:pt x="159" y="3871"/>
                    <a:pt x="1" y="4153"/>
                    <a:pt x="1" y="4445"/>
                  </a:cubicBezTo>
                  <a:lnTo>
                    <a:pt x="1" y="10494"/>
                  </a:lnTo>
                  <a:cubicBezTo>
                    <a:pt x="1" y="10735"/>
                    <a:pt x="199" y="10904"/>
                    <a:pt x="408" y="10904"/>
                  </a:cubicBezTo>
                  <a:cubicBezTo>
                    <a:pt x="472" y="10904"/>
                    <a:pt x="537" y="10889"/>
                    <a:pt x="598" y="10854"/>
                  </a:cubicBezTo>
                  <a:lnTo>
                    <a:pt x="6534" y="7419"/>
                  </a:lnTo>
                  <a:cubicBezTo>
                    <a:pt x="6849" y="7228"/>
                    <a:pt x="7052" y="6878"/>
                    <a:pt x="7052" y="6507"/>
                  </a:cubicBezTo>
                  <a:lnTo>
                    <a:pt x="7052" y="278"/>
                  </a:lnTo>
                  <a:cubicBezTo>
                    <a:pt x="7052" y="117"/>
                    <a:pt x="6918" y="1"/>
                    <a:pt x="677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5" name="Google Shape;1515;p39"/>
            <p:cNvSpPr/>
            <p:nvPr/>
          </p:nvSpPr>
          <p:spPr>
            <a:xfrm>
              <a:off x="10240015" y="1133759"/>
              <a:ext cx="706981" cy="1110068"/>
            </a:xfrm>
            <a:custGeom>
              <a:avLst/>
              <a:gdLst/>
              <a:ahLst/>
              <a:cxnLst/>
              <a:rect l="l" t="t" r="r" b="b"/>
              <a:pathLst>
                <a:path w="7052" h="11073" fill="none" extrusionOk="0">
                  <a:moveTo>
                    <a:pt x="1" y="10577"/>
                  </a:moveTo>
                  <a:lnTo>
                    <a:pt x="1" y="4517"/>
                  </a:lnTo>
                  <a:cubicBezTo>
                    <a:pt x="1" y="4225"/>
                    <a:pt x="159" y="3943"/>
                    <a:pt x="418" y="3797"/>
                  </a:cubicBezTo>
                  <a:lnTo>
                    <a:pt x="6624" y="114"/>
                  </a:lnTo>
                  <a:cubicBezTo>
                    <a:pt x="6815" y="1"/>
                    <a:pt x="7052" y="136"/>
                    <a:pt x="7052" y="350"/>
                  </a:cubicBezTo>
                  <a:lnTo>
                    <a:pt x="7052" y="6579"/>
                  </a:lnTo>
                  <a:cubicBezTo>
                    <a:pt x="7052" y="6950"/>
                    <a:pt x="6849" y="7300"/>
                    <a:pt x="6534" y="7491"/>
                  </a:cubicBezTo>
                  <a:lnTo>
                    <a:pt x="598" y="10926"/>
                  </a:lnTo>
                  <a:cubicBezTo>
                    <a:pt x="339" y="11073"/>
                    <a:pt x="1" y="10881"/>
                    <a:pt x="1" y="10566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6" name="Google Shape;1516;p39"/>
            <p:cNvSpPr/>
            <p:nvPr/>
          </p:nvSpPr>
          <p:spPr>
            <a:xfrm>
              <a:off x="10240015" y="1133759"/>
              <a:ext cx="706981" cy="1110068"/>
            </a:xfrm>
            <a:custGeom>
              <a:avLst/>
              <a:gdLst/>
              <a:ahLst/>
              <a:cxnLst/>
              <a:rect l="l" t="t" r="r" b="b"/>
              <a:pathLst>
                <a:path w="7052" h="11073" fill="none" extrusionOk="0">
                  <a:moveTo>
                    <a:pt x="1" y="10577"/>
                  </a:moveTo>
                  <a:lnTo>
                    <a:pt x="1" y="4517"/>
                  </a:lnTo>
                  <a:cubicBezTo>
                    <a:pt x="1" y="4225"/>
                    <a:pt x="159" y="3943"/>
                    <a:pt x="418" y="3797"/>
                  </a:cubicBezTo>
                  <a:lnTo>
                    <a:pt x="6624" y="114"/>
                  </a:lnTo>
                  <a:cubicBezTo>
                    <a:pt x="6815" y="1"/>
                    <a:pt x="7052" y="136"/>
                    <a:pt x="7052" y="350"/>
                  </a:cubicBezTo>
                  <a:lnTo>
                    <a:pt x="7052" y="6579"/>
                  </a:lnTo>
                  <a:cubicBezTo>
                    <a:pt x="7052" y="6950"/>
                    <a:pt x="6849" y="7300"/>
                    <a:pt x="6534" y="7491"/>
                  </a:cubicBezTo>
                  <a:lnTo>
                    <a:pt x="598" y="10926"/>
                  </a:lnTo>
                  <a:cubicBezTo>
                    <a:pt x="339" y="11073"/>
                    <a:pt x="1" y="10881"/>
                    <a:pt x="1" y="10566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7" name="Google Shape;1517;p39"/>
            <p:cNvSpPr/>
            <p:nvPr/>
          </p:nvSpPr>
          <p:spPr>
            <a:xfrm>
              <a:off x="10724421" y="1304278"/>
              <a:ext cx="265469" cy="355386"/>
            </a:xfrm>
            <a:custGeom>
              <a:avLst/>
              <a:gdLst/>
              <a:ahLst/>
              <a:cxnLst/>
              <a:rect l="l" t="t" r="r" b="b"/>
              <a:pathLst>
                <a:path w="2648" h="3545" extrusionOk="0">
                  <a:moveTo>
                    <a:pt x="2648" y="1"/>
                  </a:moveTo>
                  <a:lnTo>
                    <a:pt x="271" y="1386"/>
                  </a:lnTo>
                  <a:cubicBezTo>
                    <a:pt x="102" y="1487"/>
                    <a:pt x="1" y="1668"/>
                    <a:pt x="1" y="1870"/>
                  </a:cubicBezTo>
                  <a:lnTo>
                    <a:pt x="1" y="3391"/>
                  </a:lnTo>
                  <a:cubicBezTo>
                    <a:pt x="1" y="3478"/>
                    <a:pt x="68" y="3545"/>
                    <a:pt x="145" y="3545"/>
                  </a:cubicBezTo>
                  <a:cubicBezTo>
                    <a:pt x="168" y="3545"/>
                    <a:pt x="192" y="3539"/>
                    <a:pt x="215" y="3526"/>
                  </a:cubicBezTo>
                  <a:lnTo>
                    <a:pt x="2648" y="2107"/>
                  </a:lnTo>
                  <a:lnTo>
                    <a:pt x="2648" y="1"/>
                  </a:ln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8" name="Google Shape;1518;p39"/>
            <p:cNvSpPr/>
            <p:nvPr/>
          </p:nvSpPr>
          <p:spPr>
            <a:xfrm>
              <a:off x="10724421" y="1304278"/>
              <a:ext cx="265469" cy="359196"/>
            </a:xfrm>
            <a:custGeom>
              <a:avLst/>
              <a:gdLst/>
              <a:ahLst/>
              <a:cxnLst/>
              <a:rect l="l" t="t" r="r" b="b"/>
              <a:pathLst>
                <a:path w="2648" h="3583" fill="none" extrusionOk="0">
                  <a:moveTo>
                    <a:pt x="1" y="3391"/>
                  </a:moveTo>
                  <a:lnTo>
                    <a:pt x="1" y="1870"/>
                  </a:lnTo>
                  <a:cubicBezTo>
                    <a:pt x="1" y="1668"/>
                    <a:pt x="102" y="1487"/>
                    <a:pt x="271" y="1386"/>
                  </a:cubicBezTo>
                  <a:lnTo>
                    <a:pt x="2648" y="1"/>
                  </a:lnTo>
                  <a:lnTo>
                    <a:pt x="2648" y="2107"/>
                  </a:lnTo>
                  <a:lnTo>
                    <a:pt x="215" y="3526"/>
                  </a:lnTo>
                  <a:cubicBezTo>
                    <a:pt x="113" y="3582"/>
                    <a:pt x="1" y="3504"/>
                    <a:pt x="1" y="3391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9" name="Google Shape;1519;p39"/>
            <p:cNvSpPr/>
            <p:nvPr/>
          </p:nvSpPr>
          <p:spPr>
            <a:xfrm>
              <a:off x="10776351" y="2085597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extrusionOk="0">
                  <a:moveTo>
                    <a:pt x="2546" y="1"/>
                  </a:moveTo>
                  <a:cubicBezTo>
                    <a:pt x="1578" y="1"/>
                    <a:pt x="733" y="373"/>
                    <a:pt x="305" y="924"/>
                  </a:cubicBezTo>
                  <a:lnTo>
                    <a:pt x="12" y="924"/>
                  </a:lnTo>
                  <a:lnTo>
                    <a:pt x="1" y="1679"/>
                  </a:lnTo>
                  <a:cubicBezTo>
                    <a:pt x="1" y="1702"/>
                    <a:pt x="1" y="1735"/>
                    <a:pt x="1" y="1758"/>
                  </a:cubicBezTo>
                  <a:cubicBezTo>
                    <a:pt x="1" y="2727"/>
                    <a:pt x="1139" y="3515"/>
                    <a:pt x="2546" y="3515"/>
                  </a:cubicBezTo>
                  <a:cubicBezTo>
                    <a:pt x="3943" y="3515"/>
                    <a:pt x="5081" y="2727"/>
                    <a:pt x="5081" y="1758"/>
                  </a:cubicBezTo>
                  <a:lnTo>
                    <a:pt x="5081" y="924"/>
                  </a:lnTo>
                  <a:lnTo>
                    <a:pt x="4777" y="924"/>
                  </a:lnTo>
                  <a:cubicBezTo>
                    <a:pt x="4349" y="373"/>
                    <a:pt x="3504" y="1"/>
                    <a:pt x="254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0" name="Google Shape;1520;p39"/>
            <p:cNvSpPr/>
            <p:nvPr/>
          </p:nvSpPr>
          <p:spPr>
            <a:xfrm>
              <a:off x="10776351" y="2085597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extrusionOk="0">
                  <a:moveTo>
                    <a:pt x="2535" y="1"/>
                  </a:moveTo>
                  <a:cubicBezTo>
                    <a:pt x="1139" y="1"/>
                    <a:pt x="1" y="789"/>
                    <a:pt x="1" y="1758"/>
                  </a:cubicBezTo>
                  <a:cubicBezTo>
                    <a:pt x="1" y="2727"/>
                    <a:pt x="1139" y="3515"/>
                    <a:pt x="2535" y="3515"/>
                  </a:cubicBezTo>
                  <a:cubicBezTo>
                    <a:pt x="3943" y="3515"/>
                    <a:pt x="5081" y="2727"/>
                    <a:pt x="5081" y="1758"/>
                  </a:cubicBezTo>
                  <a:cubicBezTo>
                    <a:pt x="5081" y="789"/>
                    <a:pt x="3943" y="1"/>
                    <a:pt x="2535" y="1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1" name="Google Shape;1521;p39"/>
            <p:cNvSpPr/>
            <p:nvPr/>
          </p:nvSpPr>
          <p:spPr>
            <a:xfrm>
              <a:off x="10776351" y="2085597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fill="none" extrusionOk="0">
                  <a:moveTo>
                    <a:pt x="4777" y="924"/>
                  </a:moveTo>
                  <a:cubicBezTo>
                    <a:pt x="4349" y="373"/>
                    <a:pt x="3504" y="1"/>
                    <a:pt x="2546" y="1"/>
                  </a:cubicBezTo>
                  <a:cubicBezTo>
                    <a:pt x="1578" y="1"/>
                    <a:pt x="733" y="373"/>
                    <a:pt x="305" y="924"/>
                  </a:cubicBezTo>
                  <a:lnTo>
                    <a:pt x="12" y="924"/>
                  </a:lnTo>
                  <a:lnTo>
                    <a:pt x="1" y="1679"/>
                  </a:lnTo>
                  <a:cubicBezTo>
                    <a:pt x="1" y="1702"/>
                    <a:pt x="1" y="1735"/>
                    <a:pt x="1" y="1758"/>
                  </a:cubicBezTo>
                  <a:cubicBezTo>
                    <a:pt x="1" y="2727"/>
                    <a:pt x="1139" y="3515"/>
                    <a:pt x="2546" y="3515"/>
                  </a:cubicBezTo>
                  <a:cubicBezTo>
                    <a:pt x="3943" y="3515"/>
                    <a:pt x="5081" y="2727"/>
                    <a:pt x="5081" y="1758"/>
                  </a:cubicBezTo>
                  <a:lnTo>
                    <a:pt x="5081" y="924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2" name="Google Shape;1522;p39"/>
            <p:cNvSpPr/>
            <p:nvPr/>
          </p:nvSpPr>
          <p:spPr>
            <a:xfrm>
              <a:off x="10776351" y="2085597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fill="none" extrusionOk="0">
                  <a:moveTo>
                    <a:pt x="5081" y="1758"/>
                  </a:moveTo>
                  <a:cubicBezTo>
                    <a:pt x="5081" y="2727"/>
                    <a:pt x="3943" y="3515"/>
                    <a:pt x="2535" y="3515"/>
                  </a:cubicBezTo>
                  <a:cubicBezTo>
                    <a:pt x="1139" y="3515"/>
                    <a:pt x="1" y="2727"/>
                    <a:pt x="1" y="1758"/>
                  </a:cubicBezTo>
                  <a:cubicBezTo>
                    <a:pt x="1" y="789"/>
                    <a:pt x="1139" y="1"/>
                    <a:pt x="2535" y="1"/>
                  </a:cubicBezTo>
                  <a:cubicBezTo>
                    <a:pt x="3943" y="1"/>
                    <a:pt x="5081" y="789"/>
                    <a:pt x="5081" y="1758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3" name="Google Shape;1523;p39"/>
            <p:cNvSpPr/>
            <p:nvPr/>
          </p:nvSpPr>
          <p:spPr>
            <a:xfrm>
              <a:off x="10776351" y="2002092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extrusionOk="0">
                  <a:moveTo>
                    <a:pt x="2535" y="0"/>
                  </a:moveTo>
                  <a:cubicBezTo>
                    <a:pt x="1139" y="0"/>
                    <a:pt x="1" y="789"/>
                    <a:pt x="1" y="1757"/>
                  </a:cubicBezTo>
                  <a:cubicBezTo>
                    <a:pt x="1" y="2726"/>
                    <a:pt x="1139" y="3515"/>
                    <a:pt x="2535" y="3515"/>
                  </a:cubicBezTo>
                  <a:cubicBezTo>
                    <a:pt x="3943" y="3515"/>
                    <a:pt x="5081" y="2726"/>
                    <a:pt x="5081" y="1757"/>
                  </a:cubicBezTo>
                  <a:cubicBezTo>
                    <a:pt x="5081" y="789"/>
                    <a:pt x="3943" y="0"/>
                    <a:pt x="253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4" name="Google Shape;1524;p39"/>
            <p:cNvSpPr/>
            <p:nvPr/>
          </p:nvSpPr>
          <p:spPr>
            <a:xfrm>
              <a:off x="10776351" y="2002092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fill="none" extrusionOk="0">
                  <a:moveTo>
                    <a:pt x="5081" y="1757"/>
                  </a:moveTo>
                  <a:cubicBezTo>
                    <a:pt x="5081" y="2726"/>
                    <a:pt x="3943" y="3515"/>
                    <a:pt x="2535" y="3515"/>
                  </a:cubicBezTo>
                  <a:cubicBezTo>
                    <a:pt x="1139" y="3515"/>
                    <a:pt x="1" y="2726"/>
                    <a:pt x="1" y="1757"/>
                  </a:cubicBezTo>
                  <a:cubicBezTo>
                    <a:pt x="1" y="789"/>
                    <a:pt x="1139" y="0"/>
                    <a:pt x="2535" y="0"/>
                  </a:cubicBezTo>
                  <a:cubicBezTo>
                    <a:pt x="3943" y="0"/>
                    <a:pt x="5081" y="789"/>
                    <a:pt x="5081" y="1757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5" name="Google Shape;1525;p39"/>
            <p:cNvSpPr/>
            <p:nvPr/>
          </p:nvSpPr>
          <p:spPr>
            <a:xfrm>
              <a:off x="11032689" y="2355460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1" y="823"/>
                  </a:moveTo>
                  <a:cubicBezTo>
                    <a:pt x="1" y="800"/>
                    <a:pt x="1" y="778"/>
                    <a:pt x="1" y="767"/>
                  </a:cubicBez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6" name="Google Shape;1526;p39"/>
            <p:cNvSpPr/>
            <p:nvPr/>
          </p:nvSpPr>
          <p:spPr>
            <a:xfrm>
              <a:off x="11088027" y="2350949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2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7" name="Google Shape;1527;p39"/>
            <p:cNvSpPr/>
            <p:nvPr/>
          </p:nvSpPr>
          <p:spPr>
            <a:xfrm>
              <a:off x="11139956" y="2338519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2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8" name="Google Shape;1528;p39"/>
            <p:cNvSpPr/>
            <p:nvPr/>
          </p:nvSpPr>
          <p:spPr>
            <a:xfrm>
              <a:off x="11188577" y="2319372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0" y="811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9" name="Google Shape;1529;p39"/>
            <p:cNvSpPr/>
            <p:nvPr/>
          </p:nvSpPr>
          <p:spPr>
            <a:xfrm>
              <a:off x="11230281" y="2291102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1" y="823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0" name="Google Shape;1530;p39"/>
            <p:cNvSpPr/>
            <p:nvPr/>
          </p:nvSpPr>
          <p:spPr>
            <a:xfrm>
              <a:off x="11267574" y="2244788"/>
              <a:ext cx="100" cy="82606"/>
            </a:xfrm>
            <a:custGeom>
              <a:avLst/>
              <a:gdLst/>
              <a:ahLst/>
              <a:cxnLst/>
              <a:rect l="l" t="t" r="r" b="b"/>
              <a:pathLst>
                <a:path w="1" h="824" fill="none" extrusionOk="0">
                  <a:moveTo>
                    <a:pt x="0" y="823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1" name="Google Shape;1531;p39"/>
            <p:cNvSpPr/>
            <p:nvPr/>
          </p:nvSpPr>
          <p:spPr>
            <a:xfrm>
              <a:off x="10976248" y="2350949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2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2" name="Google Shape;1532;p39"/>
            <p:cNvSpPr/>
            <p:nvPr/>
          </p:nvSpPr>
          <p:spPr>
            <a:xfrm>
              <a:off x="10923216" y="2338519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0" y="812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3" name="Google Shape;1533;p39"/>
            <p:cNvSpPr/>
            <p:nvPr/>
          </p:nvSpPr>
          <p:spPr>
            <a:xfrm>
              <a:off x="10874595" y="2319372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1"/>
                  </a:moveTo>
                  <a:lnTo>
                    <a:pt x="1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4" name="Google Shape;1534;p39"/>
            <p:cNvSpPr/>
            <p:nvPr/>
          </p:nvSpPr>
          <p:spPr>
            <a:xfrm>
              <a:off x="10833994" y="2291102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0" y="823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5" name="Google Shape;1535;p39"/>
            <p:cNvSpPr/>
            <p:nvPr/>
          </p:nvSpPr>
          <p:spPr>
            <a:xfrm>
              <a:off x="10795599" y="2244788"/>
              <a:ext cx="100" cy="82606"/>
            </a:xfrm>
            <a:custGeom>
              <a:avLst/>
              <a:gdLst/>
              <a:ahLst/>
              <a:cxnLst/>
              <a:rect l="l" t="t" r="r" b="b"/>
              <a:pathLst>
                <a:path w="1" h="824" fill="none" extrusionOk="0">
                  <a:moveTo>
                    <a:pt x="0" y="823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6" name="Google Shape;1536;p39"/>
            <p:cNvSpPr/>
            <p:nvPr/>
          </p:nvSpPr>
          <p:spPr>
            <a:xfrm>
              <a:off x="10833994" y="2041589"/>
              <a:ext cx="394193" cy="273382"/>
            </a:xfrm>
            <a:custGeom>
              <a:avLst/>
              <a:gdLst/>
              <a:ahLst/>
              <a:cxnLst/>
              <a:rect l="l" t="t" r="r" b="b"/>
              <a:pathLst>
                <a:path w="3932" h="2727" extrusionOk="0">
                  <a:moveTo>
                    <a:pt x="1960" y="1"/>
                  </a:moveTo>
                  <a:cubicBezTo>
                    <a:pt x="879" y="1"/>
                    <a:pt x="0" y="609"/>
                    <a:pt x="0" y="1363"/>
                  </a:cubicBezTo>
                  <a:cubicBezTo>
                    <a:pt x="0" y="2118"/>
                    <a:pt x="879" y="2726"/>
                    <a:pt x="1960" y="2726"/>
                  </a:cubicBezTo>
                  <a:cubicBezTo>
                    <a:pt x="3053" y="2726"/>
                    <a:pt x="3931" y="2118"/>
                    <a:pt x="3931" y="1363"/>
                  </a:cubicBezTo>
                  <a:cubicBezTo>
                    <a:pt x="3931" y="609"/>
                    <a:pt x="3053" y="1"/>
                    <a:pt x="19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7" name="Google Shape;1537;p39"/>
            <p:cNvSpPr/>
            <p:nvPr/>
          </p:nvSpPr>
          <p:spPr>
            <a:xfrm>
              <a:off x="10833994" y="2041589"/>
              <a:ext cx="394193" cy="273382"/>
            </a:xfrm>
            <a:custGeom>
              <a:avLst/>
              <a:gdLst/>
              <a:ahLst/>
              <a:cxnLst/>
              <a:rect l="l" t="t" r="r" b="b"/>
              <a:pathLst>
                <a:path w="3932" h="2727" fill="none" extrusionOk="0">
                  <a:moveTo>
                    <a:pt x="3931" y="1363"/>
                  </a:moveTo>
                  <a:cubicBezTo>
                    <a:pt x="3931" y="2118"/>
                    <a:pt x="3053" y="2726"/>
                    <a:pt x="1960" y="2726"/>
                  </a:cubicBezTo>
                  <a:cubicBezTo>
                    <a:pt x="879" y="2726"/>
                    <a:pt x="0" y="2118"/>
                    <a:pt x="0" y="1363"/>
                  </a:cubicBezTo>
                  <a:cubicBezTo>
                    <a:pt x="0" y="609"/>
                    <a:pt x="879" y="1"/>
                    <a:pt x="1960" y="1"/>
                  </a:cubicBezTo>
                  <a:cubicBezTo>
                    <a:pt x="3053" y="1"/>
                    <a:pt x="3931" y="609"/>
                    <a:pt x="3931" y="1363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8" name="Google Shape;1538;p39"/>
            <p:cNvSpPr/>
            <p:nvPr/>
          </p:nvSpPr>
          <p:spPr>
            <a:xfrm>
              <a:off x="10887026" y="2101436"/>
              <a:ext cx="288025" cy="153683"/>
            </a:xfrm>
            <a:custGeom>
              <a:avLst/>
              <a:gdLst/>
              <a:ahLst/>
              <a:cxnLst/>
              <a:rect l="l" t="t" r="r" b="b"/>
              <a:pathLst>
                <a:path w="2873" h="1533" extrusionOk="0">
                  <a:moveTo>
                    <a:pt x="282" y="1"/>
                  </a:moveTo>
                  <a:lnTo>
                    <a:pt x="57" y="102"/>
                  </a:lnTo>
                  <a:lnTo>
                    <a:pt x="226" y="192"/>
                  </a:lnTo>
                  <a:cubicBezTo>
                    <a:pt x="80" y="282"/>
                    <a:pt x="1" y="361"/>
                    <a:pt x="12" y="451"/>
                  </a:cubicBezTo>
                  <a:cubicBezTo>
                    <a:pt x="12" y="541"/>
                    <a:pt x="102" y="620"/>
                    <a:pt x="260" y="710"/>
                  </a:cubicBezTo>
                  <a:cubicBezTo>
                    <a:pt x="372" y="778"/>
                    <a:pt x="496" y="823"/>
                    <a:pt x="620" y="857"/>
                  </a:cubicBezTo>
                  <a:cubicBezTo>
                    <a:pt x="755" y="890"/>
                    <a:pt x="868" y="913"/>
                    <a:pt x="969" y="913"/>
                  </a:cubicBezTo>
                  <a:lnTo>
                    <a:pt x="1521" y="913"/>
                  </a:lnTo>
                  <a:cubicBezTo>
                    <a:pt x="1564" y="910"/>
                    <a:pt x="1603" y="908"/>
                    <a:pt x="1638" y="908"/>
                  </a:cubicBezTo>
                  <a:cubicBezTo>
                    <a:pt x="1736" y="908"/>
                    <a:pt x="1810" y="919"/>
                    <a:pt x="1859" y="935"/>
                  </a:cubicBezTo>
                  <a:cubicBezTo>
                    <a:pt x="1927" y="958"/>
                    <a:pt x="2017" y="1003"/>
                    <a:pt x="2141" y="1071"/>
                  </a:cubicBezTo>
                  <a:cubicBezTo>
                    <a:pt x="2197" y="1093"/>
                    <a:pt x="2220" y="1127"/>
                    <a:pt x="2231" y="1138"/>
                  </a:cubicBezTo>
                  <a:cubicBezTo>
                    <a:pt x="2231" y="1161"/>
                    <a:pt x="2220" y="1183"/>
                    <a:pt x="2186" y="1194"/>
                  </a:cubicBezTo>
                  <a:cubicBezTo>
                    <a:pt x="2166" y="1201"/>
                    <a:pt x="2143" y="1207"/>
                    <a:pt x="2118" y="1207"/>
                  </a:cubicBezTo>
                  <a:cubicBezTo>
                    <a:pt x="2100" y="1207"/>
                    <a:pt x="2081" y="1204"/>
                    <a:pt x="2062" y="1194"/>
                  </a:cubicBezTo>
                  <a:cubicBezTo>
                    <a:pt x="2017" y="1183"/>
                    <a:pt x="1916" y="1138"/>
                    <a:pt x="1769" y="1048"/>
                  </a:cubicBezTo>
                  <a:lnTo>
                    <a:pt x="1634" y="980"/>
                  </a:lnTo>
                  <a:lnTo>
                    <a:pt x="1127" y="1194"/>
                  </a:lnTo>
                  <a:lnTo>
                    <a:pt x="1228" y="1251"/>
                  </a:lnTo>
                  <a:cubicBezTo>
                    <a:pt x="1476" y="1386"/>
                    <a:pt x="1690" y="1454"/>
                    <a:pt x="1893" y="1465"/>
                  </a:cubicBezTo>
                  <a:cubicBezTo>
                    <a:pt x="1939" y="1467"/>
                    <a:pt x="1983" y="1469"/>
                    <a:pt x="2026" y="1469"/>
                  </a:cubicBezTo>
                  <a:cubicBezTo>
                    <a:pt x="2175" y="1469"/>
                    <a:pt x="2309" y="1452"/>
                    <a:pt x="2422" y="1408"/>
                  </a:cubicBezTo>
                  <a:lnTo>
                    <a:pt x="2636" y="1532"/>
                  </a:lnTo>
                  <a:lnTo>
                    <a:pt x="2873" y="1431"/>
                  </a:lnTo>
                  <a:lnTo>
                    <a:pt x="2659" y="1318"/>
                  </a:lnTo>
                  <a:cubicBezTo>
                    <a:pt x="2817" y="1228"/>
                    <a:pt x="2873" y="1138"/>
                    <a:pt x="2850" y="1048"/>
                  </a:cubicBezTo>
                  <a:cubicBezTo>
                    <a:pt x="2828" y="947"/>
                    <a:pt x="2726" y="845"/>
                    <a:pt x="2524" y="733"/>
                  </a:cubicBezTo>
                  <a:cubicBezTo>
                    <a:pt x="2411" y="665"/>
                    <a:pt x="2287" y="620"/>
                    <a:pt x="2175" y="586"/>
                  </a:cubicBezTo>
                  <a:cubicBezTo>
                    <a:pt x="2062" y="552"/>
                    <a:pt x="1961" y="541"/>
                    <a:pt x="1870" y="530"/>
                  </a:cubicBezTo>
                  <a:cubicBezTo>
                    <a:pt x="1780" y="530"/>
                    <a:pt x="1623" y="530"/>
                    <a:pt x="1409" y="541"/>
                  </a:cubicBezTo>
                  <a:lnTo>
                    <a:pt x="936" y="541"/>
                  </a:lnTo>
                  <a:cubicBezTo>
                    <a:pt x="868" y="530"/>
                    <a:pt x="789" y="507"/>
                    <a:pt x="710" y="462"/>
                  </a:cubicBezTo>
                  <a:cubicBezTo>
                    <a:pt x="654" y="429"/>
                    <a:pt x="620" y="406"/>
                    <a:pt x="620" y="383"/>
                  </a:cubicBezTo>
                  <a:cubicBezTo>
                    <a:pt x="609" y="361"/>
                    <a:pt x="620" y="350"/>
                    <a:pt x="643" y="338"/>
                  </a:cubicBezTo>
                  <a:cubicBezTo>
                    <a:pt x="669" y="325"/>
                    <a:pt x="696" y="320"/>
                    <a:pt x="720" y="320"/>
                  </a:cubicBezTo>
                  <a:cubicBezTo>
                    <a:pt x="737" y="320"/>
                    <a:pt x="753" y="323"/>
                    <a:pt x="767" y="327"/>
                  </a:cubicBezTo>
                  <a:cubicBezTo>
                    <a:pt x="812" y="338"/>
                    <a:pt x="879" y="372"/>
                    <a:pt x="969" y="429"/>
                  </a:cubicBezTo>
                  <a:lnTo>
                    <a:pt x="1060" y="474"/>
                  </a:lnTo>
                  <a:lnTo>
                    <a:pt x="1578" y="271"/>
                  </a:lnTo>
                  <a:cubicBezTo>
                    <a:pt x="1533" y="237"/>
                    <a:pt x="1499" y="215"/>
                    <a:pt x="1476" y="203"/>
                  </a:cubicBezTo>
                  <a:cubicBezTo>
                    <a:pt x="1319" y="113"/>
                    <a:pt x="1150" y="68"/>
                    <a:pt x="981" y="46"/>
                  </a:cubicBezTo>
                  <a:cubicBezTo>
                    <a:pt x="937" y="40"/>
                    <a:pt x="893" y="37"/>
                    <a:pt x="850" y="37"/>
                  </a:cubicBezTo>
                  <a:cubicBezTo>
                    <a:pt x="724" y="37"/>
                    <a:pt x="596" y="60"/>
                    <a:pt x="463" y="102"/>
                  </a:cubicBezTo>
                  <a:lnTo>
                    <a:pt x="2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9" name="Google Shape;1539;p39"/>
            <p:cNvSpPr/>
            <p:nvPr/>
          </p:nvSpPr>
          <p:spPr>
            <a:xfrm>
              <a:off x="10887026" y="2101436"/>
              <a:ext cx="288025" cy="153683"/>
            </a:xfrm>
            <a:custGeom>
              <a:avLst/>
              <a:gdLst/>
              <a:ahLst/>
              <a:cxnLst/>
              <a:rect l="l" t="t" r="r" b="b"/>
              <a:pathLst>
                <a:path w="2873" h="1533" fill="none" extrusionOk="0">
                  <a:moveTo>
                    <a:pt x="1578" y="271"/>
                  </a:moveTo>
                  <a:lnTo>
                    <a:pt x="1060" y="474"/>
                  </a:lnTo>
                  <a:lnTo>
                    <a:pt x="969" y="429"/>
                  </a:lnTo>
                  <a:cubicBezTo>
                    <a:pt x="879" y="372"/>
                    <a:pt x="812" y="338"/>
                    <a:pt x="767" y="327"/>
                  </a:cubicBezTo>
                  <a:cubicBezTo>
                    <a:pt x="733" y="316"/>
                    <a:pt x="688" y="316"/>
                    <a:pt x="643" y="338"/>
                  </a:cubicBezTo>
                  <a:cubicBezTo>
                    <a:pt x="620" y="350"/>
                    <a:pt x="609" y="361"/>
                    <a:pt x="620" y="383"/>
                  </a:cubicBezTo>
                  <a:cubicBezTo>
                    <a:pt x="620" y="406"/>
                    <a:pt x="654" y="429"/>
                    <a:pt x="710" y="462"/>
                  </a:cubicBezTo>
                  <a:cubicBezTo>
                    <a:pt x="789" y="507"/>
                    <a:pt x="868" y="530"/>
                    <a:pt x="936" y="541"/>
                  </a:cubicBezTo>
                  <a:cubicBezTo>
                    <a:pt x="1003" y="541"/>
                    <a:pt x="1161" y="541"/>
                    <a:pt x="1409" y="541"/>
                  </a:cubicBezTo>
                  <a:cubicBezTo>
                    <a:pt x="1623" y="530"/>
                    <a:pt x="1780" y="530"/>
                    <a:pt x="1870" y="530"/>
                  </a:cubicBezTo>
                  <a:cubicBezTo>
                    <a:pt x="1961" y="541"/>
                    <a:pt x="2062" y="552"/>
                    <a:pt x="2175" y="586"/>
                  </a:cubicBezTo>
                  <a:cubicBezTo>
                    <a:pt x="2287" y="620"/>
                    <a:pt x="2411" y="665"/>
                    <a:pt x="2524" y="733"/>
                  </a:cubicBezTo>
                  <a:cubicBezTo>
                    <a:pt x="2726" y="845"/>
                    <a:pt x="2828" y="947"/>
                    <a:pt x="2850" y="1048"/>
                  </a:cubicBezTo>
                  <a:cubicBezTo>
                    <a:pt x="2873" y="1138"/>
                    <a:pt x="2817" y="1228"/>
                    <a:pt x="2659" y="1318"/>
                  </a:cubicBezTo>
                  <a:lnTo>
                    <a:pt x="2873" y="1431"/>
                  </a:lnTo>
                  <a:lnTo>
                    <a:pt x="2636" y="1532"/>
                  </a:lnTo>
                  <a:lnTo>
                    <a:pt x="2422" y="1408"/>
                  </a:lnTo>
                  <a:cubicBezTo>
                    <a:pt x="2276" y="1465"/>
                    <a:pt x="2096" y="1476"/>
                    <a:pt x="1893" y="1465"/>
                  </a:cubicBezTo>
                  <a:cubicBezTo>
                    <a:pt x="1690" y="1454"/>
                    <a:pt x="1476" y="1386"/>
                    <a:pt x="1228" y="1251"/>
                  </a:cubicBezTo>
                  <a:lnTo>
                    <a:pt x="1127" y="1194"/>
                  </a:lnTo>
                  <a:lnTo>
                    <a:pt x="1634" y="980"/>
                  </a:lnTo>
                  <a:lnTo>
                    <a:pt x="1769" y="1048"/>
                  </a:lnTo>
                  <a:cubicBezTo>
                    <a:pt x="1916" y="1138"/>
                    <a:pt x="2017" y="1183"/>
                    <a:pt x="2062" y="1194"/>
                  </a:cubicBezTo>
                  <a:cubicBezTo>
                    <a:pt x="2107" y="1217"/>
                    <a:pt x="2152" y="1206"/>
                    <a:pt x="2186" y="1194"/>
                  </a:cubicBezTo>
                  <a:cubicBezTo>
                    <a:pt x="2220" y="1183"/>
                    <a:pt x="2231" y="1161"/>
                    <a:pt x="2231" y="1138"/>
                  </a:cubicBezTo>
                  <a:cubicBezTo>
                    <a:pt x="2220" y="1127"/>
                    <a:pt x="2197" y="1093"/>
                    <a:pt x="2141" y="1071"/>
                  </a:cubicBezTo>
                  <a:cubicBezTo>
                    <a:pt x="2017" y="1003"/>
                    <a:pt x="1927" y="958"/>
                    <a:pt x="1859" y="935"/>
                  </a:cubicBezTo>
                  <a:cubicBezTo>
                    <a:pt x="1792" y="913"/>
                    <a:pt x="1679" y="902"/>
                    <a:pt x="1521" y="913"/>
                  </a:cubicBezTo>
                  <a:cubicBezTo>
                    <a:pt x="1262" y="913"/>
                    <a:pt x="1082" y="913"/>
                    <a:pt x="969" y="913"/>
                  </a:cubicBezTo>
                  <a:cubicBezTo>
                    <a:pt x="868" y="913"/>
                    <a:pt x="755" y="890"/>
                    <a:pt x="620" y="857"/>
                  </a:cubicBezTo>
                  <a:cubicBezTo>
                    <a:pt x="496" y="823"/>
                    <a:pt x="372" y="778"/>
                    <a:pt x="260" y="710"/>
                  </a:cubicBezTo>
                  <a:cubicBezTo>
                    <a:pt x="102" y="620"/>
                    <a:pt x="12" y="541"/>
                    <a:pt x="12" y="451"/>
                  </a:cubicBezTo>
                  <a:cubicBezTo>
                    <a:pt x="1" y="361"/>
                    <a:pt x="80" y="282"/>
                    <a:pt x="226" y="192"/>
                  </a:cubicBezTo>
                  <a:lnTo>
                    <a:pt x="57" y="102"/>
                  </a:lnTo>
                  <a:lnTo>
                    <a:pt x="282" y="1"/>
                  </a:lnTo>
                  <a:lnTo>
                    <a:pt x="463" y="102"/>
                  </a:lnTo>
                  <a:cubicBezTo>
                    <a:pt x="643" y="46"/>
                    <a:pt x="812" y="23"/>
                    <a:pt x="981" y="46"/>
                  </a:cubicBezTo>
                  <a:cubicBezTo>
                    <a:pt x="1150" y="68"/>
                    <a:pt x="1319" y="113"/>
                    <a:pt x="1476" y="203"/>
                  </a:cubicBezTo>
                  <a:cubicBezTo>
                    <a:pt x="1499" y="215"/>
                    <a:pt x="1533" y="237"/>
                    <a:pt x="1578" y="271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0" name="Google Shape;1540;p39"/>
            <p:cNvSpPr/>
            <p:nvPr/>
          </p:nvSpPr>
          <p:spPr>
            <a:xfrm>
              <a:off x="10776351" y="1935428"/>
              <a:ext cx="509383" cy="353582"/>
            </a:xfrm>
            <a:custGeom>
              <a:avLst/>
              <a:gdLst/>
              <a:ahLst/>
              <a:cxnLst/>
              <a:rect l="l" t="t" r="r" b="b"/>
              <a:pathLst>
                <a:path w="5081" h="3527" extrusionOk="0">
                  <a:moveTo>
                    <a:pt x="2546" y="1"/>
                  </a:moveTo>
                  <a:cubicBezTo>
                    <a:pt x="1578" y="1"/>
                    <a:pt x="733" y="384"/>
                    <a:pt x="305" y="936"/>
                  </a:cubicBezTo>
                  <a:lnTo>
                    <a:pt x="12" y="936"/>
                  </a:lnTo>
                  <a:lnTo>
                    <a:pt x="1" y="1690"/>
                  </a:lnTo>
                  <a:cubicBezTo>
                    <a:pt x="1" y="1713"/>
                    <a:pt x="1" y="1735"/>
                    <a:pt x="1" y="1769"/>
                  </a:cubicBezTo>
                  <a:cubicBezTo>
                    <a:pt x="1" y="2738"/>
                    <a:pt x="1139" y="3526"/>
                    <a:pt x="2546" y="3526"/>
                  </a:cubicBezTo>
                  <a:cubicBezTo>
                    <a:pt x="3943" y="3526"/>
                    <a:pt x="5081" y="2738"/>
                    <a:pt x="5081" y="1769"/>
                  </a:cubicBezTo>
                  <a:lnTo>
                    <a:pt x="5081" y="936"/>
                  </a:lnTo>
                  <a:lnTo>
                    <a:pt x="4777" y="936"/>
                  </a:lnTo>
                  <a:cubicBezTo>
                    <a:pt x="4349" y="384"/>
                    <a:pt x="3504" y="1"/>
                    <a:pt x="254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1" name="Google Shape;1541;p39"/>
            <p:cNvSpPr/>
            <p:nvPr/>
          </p:nvSpPr>
          <p:spPr>
            <a:xfrm>
              <a:off x="10776351" y="1935428"/>
              <a:ext cx="509383" cy="353582"/>
            </a:xfrm>
            <a:custGeom>
              <a:avLst/>
              <a:gdLst/>
              <a:ahLst/>
              <a:cxnLst/>
              <a:rect l="l" t="t" r="r" b="b"/>
              <a:pathLst>
                <a:path w="5081" h="3527" extrusionOk="0">
                  <a:moveTo>
                    <a:pt x="2535" y="1"/>
                  </a:moveTo>
                  <a:cubicBezTo>
                    <a:pt x="1139" y="1"/>
                    <a:pt x="1" y="789"/>
                    <a:pt x="1" y="1758"/>
                  </a:cubicBezTo>
                  <a:cubicBezTo>
                    <a:pt x="1" y="2738"/>
                    <a:pt x="1139" y="3526"/>
                    <a:pt x="2535" y="3526"/>
                  </a:cubicBezTo>
                  <a:cubicBezTo>
                    <a:pt x="3943" y="3526"/>
                    <a:pt x="5081" y="2738"/>
                    <a:pt x="5081" y="1758"/>
                  </a:cubicBezTo>
                  <a:cubicBezTo>
                    <a:pt x="5081" y="789"/>
                    <a:pt x="3943" y="1"/>
                    <a:pt x="2535" y="1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2" name="Google Shape;1542;p39"/>
            <p:cNvSpPr/>
            <p:nvPr/>
          </p:nvSpPr>
          <p:spPr>
            <a:xfrm>
              <a:off x="10776351" y="1935428"/>
              <a:ext cx="509383" cy="353582"/>
            </a:xfrm>
            <a:custGeom>
              <a:avLst/>
              <a:gdLst/>
              <a:ahLst/>
              <a:cxnLst/>
              <a:rect l="l" t="t" r="r" b="b"/>
              <a:pathLst>
                <a:path w="5081" h="3527" fill="none" extrusionOk="0">
                  <a:moveTo>
                    <a:pt x="4777" y="936"/>
                  </a:moveTo>
                  <a:cubicBezTo>
                    <a:pt x="4349" y="384"/>
                    <a:pt x="3504" y="1"/>
                    <a:pt x="2546" y="1"/>
                  </a:cubicBezTo>
                  <a:cubicBezTo>
                    <a:pt x="1578" y="1"/>
                    <a:pt x="733" y="384"/>
                    <a:pt x="305" y="936"/>
                  </a:cubicBezTo>
                  <a:lnTo>
                    <a:pt x="12" y="936"/>
                  </a:lnTo>
                  <a:lnTo>
                    <a:pt x="1" y="1690"/>
                  </a:lnTo>
                  <a:cubicBezTo>
                    <a:pt x="1" y="1713"/>
                    <a:pt x="1" y="1735"/>
                    <a:pt x="1" y="1769"/>
                  </a:cubicBezTo>
                  <a:cubicBezTo>
                    <a:pt x="1" y="2738"/>
                    <a:pt x="1139" y="3526"/>
                    <a:pt x="2546" y="3526"/>
                  </a:cubicBezTo>
                  <a:cubicBezTo>
                    <a:pt x="3943" y="3526"/>
                    <a:pt x="5081" y="2738"/>
                    <a:pt x="5081" y="1769"/>
                  </a:cubicBezTo>
                  <a:lnTo>
                    <a:pt x="5081" y="936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3" name="Google Shape;1543;p39"/>
            <p:cNvSpPr/>
            <p:nvPr/>
          </p:nvSpPr>
          <p:spPr>
            <a:xfrm>
              <a:off x="10776351" y="1935428"/>
              <a:ext cx="509383" cy="353582"/>
            </a:xfrm>
            <a:custGeom>
              <a:avLst/>
              <a:gdLst/>
              <a:ahLst/>
              <a:cxnLst/>
              <a:rect l="l" t="t" r="r" b="b"/>
              <a:pathLst>
                <a:path w="5081" h="3527" fill="none" extrusionOk="0">
                  <a:moveTo>
                    <a:pt x="5081" y="1758"/>
                  </a:moveTo>
                  <a:cubicBezTo>
                    <a:pt x="5081" y="2738"/>
                    <a:pt x="3943" y="3526"/>
                    <a:pt x="2535" y="3526"/>
                  </a:cubicBezTo>
                  <a:cubicBezTo>
                    <a:pt x="1139" y="3526"/>
                    <a:pt x="1" y="2738"/>
                    <a:pt x="1" y="1758"/>
                  </a:cubicBezTo>
                  <a:cubicBezTo>
                    <a:pt x="1" y="789"/>
                    <a:pt x="1139" y="1"/>
                    <a:pt x="2535" y="1"/>
                  </a:cubicBezTo>
                  <a:cubicBezTo>
                    <a:pt x="3943" y="1"/>
                    <a:pt x="5081" y="789"/>
                    <a:pt x="5081" y="1758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4" name="Google Shape;1544;p39"/>
            <p:cNvSpPr/>
            <p:nvPr/>
          </p:nvSpPr>
          <p:spPr>
            <a:xfrm>
              <a:off x="10776351" y="1851923"/>
              <a:ext cx="509383" cy="353481"/>
            </a:xfrm>
            <a:custGeom>
              <a:avLst/>
              <a:gdLst/>
              <a:ahLst/>
              <a:cxnLst/>
              <a:rect l="l" t="t" r="r" b="b"/>
              <a:pathLst>
                <a:path w="5081" h="3526" extrusionOk="0">
                  <a:moveTo>
                    <a:pt x="2535" y="0"/>
                  </a:moveTo>
                  <a:cubicBezTo>
                    <a:pt x="1139" y="0"/>
                    <a:pt x="1" y="789"/>
                    <a:pt x="1" y="1757"/>
                  </a:cubicBezTo>
                  <a:cubicBezTo>
                    <a:pt x="1" y="2737"/>
                    <a:pt x="1139" y="3526"/>
                    <a:pt x="2535" y="3526"/>
                  </a:cubicBezTo>
                  <a:cubicBezTo>
                    <a:pt x="3943" y="3526"/>
                    <a:pt x="5081" y="2737"/>
                    <a:pt x="5081" y="1757"/>
                  </a:cubicBezTo>
                  <a:cubicBezTo>
                    <a:pt x="5081" y="789"/>
                    <a:pt x="3943" y="0"/>
                    <a:pt x="253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5" name="Google Shape;1545;p39"/>
            <p:cNvSpPr/>
            <p:nvPr/>
          </p:nvSpPr>
          <p:spPr>
            <a:xfrm>
              <a:off x="10776351" y="1851923"/>
              <a:ext cx="509383" cy="353481"/>
            </a:xfrm>
            <a:custGeom>
              <a:avLst/>
              <a:gdLst/>
              <a:ahLst/>
              <a:cxnLst/>
              <a:rect l="l" t="t" r="r" b="b"/>
              <a:pathLst>
                <a:path w="5081" h="3526" fill="none" extrusionOk="0">
                  <a:moveTo>
                    <a:pt x="5081" y="1757"/>
                  </a:moveTo>
                  <a:cubicBezTo>
                    <a:pt x="5081" y="2737"/>
                    <a:pt x="3943" y="3526"/>
                    <a:pt x="2535" y="3526"/>
                  </a:cubicBezTo>
                  <a:cubicBezTo>
                    <a:pt x="1139" y="3526"/>
                    <a:pt x="1" y="2737"/>
                    <a:pt x="1" y="1757"/>
                  </a:cubicBezTo>
                  <a:cubicBezTo>
                    <a:pt x="1" y="789"/>
                    <a:pt x="1139" y="0"/>
                    <a:pt x="2535" y="0"/>
                  </a:cubicBezTo>
                  <a:cubicBezTo>
                    <a:pt x="3943" y="0"/>
                    <a:pt x="5081" y="789"/>
                    <a:pt x="5081" y="1757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6" name="Google Shape;1546;p39"/>
            <p:cNvSpPr/>
            <p:nvPr/>
          </p:nvSpPr>
          <p:spPr>
            <a:xfrm>
              <a:off x="11032689" y="2205291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1" y="823"/>
                  </a:moveTo>
                  <a:cubicBezTo>
                    <a:pt x="1" y="812"/>
                    <a:pt x="1" y="789"/>
                    <a:pt x="1" y="767"/>
                  </a:cubicBez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7" name="Google Shape;1547;p39"/>
            <p:cNvSpPr/>
            <p:nvPr/>
          </p:nvSpPr>
          <p:spPr>
            <a:xfrm>
              <a:off x="11088027" y="2200780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2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8" name="Google Shape;1548;p39"/>
            <p:cNvSpPr/>
            <p:nvPr/>
          </p:nvSpPr>
          <p:spPr>
            <a:xfrm>
              <a:off x="11139956" y="2189553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1"/>
                  </a:moveTo>
                  <a:lnTo>
                    <a:pt x="1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9" name="Google Shape;1549;p39"/>
            <p:cNvSpPr/>
            <p:nvPr/>
          </p:nvSpPr>
          <p:spPr>
            <a:xfrm>
              <a:off x="11188577" y="2169203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0" y="823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0" name="Google Shape;1550;p39"/>
            <p:cNvSpPr/>
            <p:nvPr/>
          </p:nvSpPr>
          <p:spPr>
            <a:xfrm>
              <a:off x="11230281" y="2140933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1" y="823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1" name="Google Shape;1551;p39"/>
            <p:cNvSpPr/>
            <p:nvPr/>
          </p:nvSpPr>
          <p:spPr>
            <a:xfrm>
              <a:off x="11267574" y="2095822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0" y="811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2" name="Google Shape;1552;p39"/>
            <p:cNvSpPr/>
            <p:nvPr/>
          </p:nvSpPr>
          <p:spPr>
            <a:xfrm>
              <a:off x="10976248" y="2200780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2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3" name="Google Shape;1553;p39"/>
            <p:cNvSpPr/>
            <p:nvPr/>
          </p:nvSpPr>
          <p:spPr>
            <a:xfrm>
              <a:off x="10923216" y="2189553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0" y="811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4" name="Google Shape;1554;p39"/>
            <p:cNvSpPr/>
            <p:nvPr/>
          </p:nvSpPr>
          <p:spPr>
            <a:xfrm>
              <a:off x="10874595" y="2169203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1" y="823"/>
                  </a:moveTo>
                  <a:lnTo>
                    <a:pt x="1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5" name="Google Shape;1555;p39"/>
            <p:cNvSpPr/>
            <p:nvPr/>
          </p:nvSpPr>
          <p:spPr>
            <a:xfrm>
              <a:off x="10833994" y="2140933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0" y="823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6" name="Google Shape;1556;p39"/>
            <p:cNvSpPr/>
            <p:nvPr/>
          </p:nvSpPr>
          <p:spPr>
            <a:xfrm>
              <a:off x="10795599" y="2095822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0" y="811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7" name="Google Shape;1557;p39"/>
            <p:cNvSpPr/>
            <p:nvPr/>
          </p:nvSpPr>
          <p:spPr>
            <a:xfrm>
              <a:off x="10833994" y="1892523"/>
              <a:ext cx="394193" cy="272279"/>
            </a:xfrm>
            <a:custGeom>
              <a:avLst/>
              <a:gdLst/>
              <a:ahLst/>
              <a:cxnLst/>
              <a:rect l="l" t="t" r="r" b="b"/>
              <a:pathLst>
                <a:path w="3932" h="2716" extrusionOk="0">
                  <a:moveTo>
                    <a:pt x="1960" y="1"/>
                  </a:moveTo>
                  <a:cubicBezTo>
                    <a:pt x="879" y="1"/>
                    <a:pt x="0" y="609"/>
                    <a:pt x="0" y="1352"/>
                  </a:cubicBezTo>
                  <a:cubicBezTo>
                    <a:pt x="0" y="2107"/>
                    <a:pt x="879" y="2715"/>
                    <a:pt x="1960" y="2715"/>
                  </a:cubicBezTo>
                  <a:cubicBezTo>
                    <a:pt x="3053" y="2715"/>
                    <a:pt x="3931" y="2107"/>
                    <a:pt x="3931" y="1352"/>
                  </a:cubicBezTo>
                  <a:cubicBezTo>
                    <a:pt x="3931" y="609"/>
                    <a:pt x="3053" y="1"/>
                    <a:pt x="19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8" name="Google Shape;1558;p39"/>
            <p:cNvSpPr/>
            <p:nvPr/>
          </p:nvSpPr>
          <p:spPr>
            <a:xfrm>
              <a:off x="10833994" y="1892523"/>
              <a:ext cx="394193" cy="272279"/>
            </a:xfrm>
            <a:custGeom>
              <a:avLst/>
              <a:gdLst/>
              <a:ahLst/>
              <a:cxnLst/>
              <a:rect l="l" t="t" r="r" b="b"/>
              <a:pathLst>
                <a:path w="3932" h="2716" fill="none" extrusionOk="0">
                  <a:moveTo>
                    <a:pt x="3931" y="1352"/>
                  </a:moveTo>
                  <a:cubicBezTo>
                    <a:pt x="3931" y="2107"/>
                    <a:pt x="3053" y="2715"/>
                    <a:pt x="1960" y="2715"/>
                  </a:cubicBezTo>
                  <a:cubicBezTo>
                    <a:pt x="879" y="2715"/>
                    <a:pt x="0" y="2107"/>
                    <a:pt x="0" y="1352"/>
                  </a:cubicBezTo>
                  <a:cubicBezTo>
                    <a:pt x="0" y="609"/>
                    <a:pt x="879" y="1"/>
                    <a:pt x="1960" y="1"/>
                  </a:cubicBezTo>
                  <a:cubicBezTo>
                    <a:pt x="3053" y="1"/>
                    <a:pt x="3931" y="609"/>
                    <a:pt x="3931" y="1352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9" name="Google Shape;1559;p39"/>
            <p:cNvSpPr/>
            <p:nvPr/>
          </p:nvSpPr>
          <p:spPr>
            <a:xfrm>
              <a:off x="10887026" y="1952370"/>
              <a:ext cx="288025" cy="152581"/>
            </a:xfrm>
            <a:custGeom>
              <a:avLst/>
              <a:gdLst/>
              <a:ahLst/>
              <a:cxnLst/>
              <a:rect l="l" t="t" r="r" b="b"/>
              <a:pathLst>
                <a:path w="2873" h="1522" extrusionOk="0">
                  <a:moveTo>
                    <a:pt x="282" y="1"/>
                  </a:moveTo>
                  <a:lnTo>
                    <a:pt x="57" y="91"/>
                  </a:lnTo>
                  <a:lnTo>
                    <a:pt x="226" y="192"/>
                  </a:lnTo>
                  <a:cubicBezTo>
                    <a:pt x="80" y="271"/>
                    <a:pt x="1" y="361"/>
                    <a:pt x="12" y="440"/>
                  </a:cubicBezTo>
                  <a:cubicBezTo>
                    <a:pt x="12" y="530"/>
                    <a:pt x="102" y="620"/>
                    <a:pt x="260" y="710"/>
                  </a:cubicBezTo>
                  <a:cubicBezTo>
                    <a:pt x="372" y="778"/>
                    <a:pt x="496" y="823"/>
                    <a:pt x="620" y="857"/>
                  </a:cubicBezTo>
                  <a:cubicBezTo>
                    <a:pt x="755" y="891"/>
                    <a:pt x="868" y="902"/>
                    <a:pt x="969" y="913"/>
                  </a:cubicBezTo>
                  <a:cubicBezTo>
                    <a:pt x="1082" y="913"/>
                    <a:pt x="1262" y="913"/>
                    <a:pt x="1521" y="902"/>
                  </a:cubicBezTo>
                  <a:cubicBezTo>
                    <a:pt x="1679" y="902"/>
                    <a:pt x="1792" y="913"/>
                    <a:pt x="1859" y="936"/>
                  </a:cubicBezTo>
                  <a:cubicBezTo>
                    <a:pt x="1927" y="958"/>
                    <a:pt x="2017" y="1003"/>
                    <a:pt x="2141" y="1071"/>
                  </a:cubicBezTo>
                  <a:cubicBezTo>
                    <a:pt x="2197" y="1093"/>
                    <a:pt x="2220" y="1116"/>
                    <a:pt x="2231" y="1138"/>
                  </a:cubicBezTo>
                  <a:cubicBezTo>
                    <a:pt x="2231" y="1161"/>
                    <a:pt x="2220" y="1172"/>
                    <a:pt x="2186" y="1195"/>
                  </a:cubicBezTo>
                  <a:cubicBezTo>
                    <a:pt x="2169" y="1200"/>
                    <a:pt x="2149" y="1203"/>
                    <a:pt x="2128" y="1203"/>
                  </a:cubicBezTo>
                  <a:cubicBezTo>
                    <a:pt x="2107" y="1203"/>
                    <a:pt x="2084" y="1200"/>
                    <a:pt x="2062" y="1195"/>
                  </a:cubicBezTo>
                  <a:cubicBezTo>
                    <a:pt x="2017" y="1172"/>
                    <a:pt x="1916" y="1127"/>
                    <a:pt x="1769" y="1048"/>
                  </a:cubicBezTo>
                  <a:lnTo>
                    <a:pt x="1634" y="969"/>
                  </a:lnTo>
                  <a:lnTo>
                    <a:pt x="1127" y="1183"/>
                  </a:lnTo>
                  <a:lnTo>
                    <a:pt x="1228" y="1240"/>
                  </a:lnTo>
                  <a:cubicBezTo>
                    <a:pt x="1476" y="1375"/>
                    <a:pt x="1690" y="1454"/>
                    <a:pt x="1893" y="1465"/>
                  </a:cubicBezTo>
                  <a:cubicBezTo>
                    <a:pt x="1928" y="1467"/>
                    <a:pt x="1962" y="1468"/>
                    <a:pt x="1995" y="1468"/>
                  </a:cubicBezTo>
                  <a:cubicBezTo>
                    <a:pt x="2157" y="1468"/>
                    <a:pt x="2301" y="1446"/>
                    <a:pt x="2422" y="1409"/>
                  </a:cubicBezTo>
                  <a:lnTo>
                    <a:pt x="2636" y="1521"/>
                  </a:lnTo>
                  <a:lnTo>
                    <a:pt x="2873" y="1431"/>
                  </a:lnTo>
                  <a:lnTo>
                    <a:pt x="2659" y="1319"/>
                  </a:lnTo>
                  <a:cubicBezTo>
                    <a:pt x="2817" y="1228"/>
                    <a:pt x="2873" y="1138"/>
                    <a:pt x="2850" y="1037"/>
                  </a:cubicBezTo>
                  <a:cubicBezTo>
                    <a:pt x="2828" y="947"/>
                    <a:pt x="2726" y="834"/>
                    <a:pt x="2524" y="733"/>
                  </a:cubicBezTo>
                  <a:cubicBezTo>
                    <a:pt x="2411" y="665"/>
                    <a:pt x="2287" y="620"/>
                    <a:pt x="2175" y="586"/>
                  </a:cubicBezTo>
                  <a:cubicBezTo>
                    <a:pt x="2062" y="553"/>
                    <a:pt x="1961" y="530"/>
                    <a:pt x="1870" y="530"/>
                  </a:cubicBezTo>
                  <a:cubicBezTo>
                    <a:pt x="1840" y="526"/>
                    <a:pt x="1803" y="525"/>
                    <a:pt x="1758" y="525"/>
                  </a:cubicBezTo>
                  <a:cubicBezTo>
                    <a:pt x="1669" y="525"/>
                    <a:pt x="1551" y="530"/>
                    <a:pt x="1409" y="530"/>
                  </a:cubicBezTo>
                  <a:cubicBezTo>
                    <a:pt x="1285" y="536"/>
                    <a:pt x="1183" y="539"/>
                    <a:pt x="1105" y="539"/>
                  </a:cubicBezTo>
                  <a:cubicBezTo>
                    <a:pt x="1026" y="539"/>
                    <a:pt x="969" y="536"/>
                    <a:pt x="936" y="530"/>
                  </a:cubicBezTo>
                  <a:cubicBezTo>
                    <a:pt x="868" y="530"/>
                    <a:pt x="789" y="508"/>
                    <a:pt x="710" y="451"/>
                  </a:cubicBezTo>
                  <a:cubicBezTo>
                    <a:pt x="654" y="429"/>
                    <a:pt x="620" y="406"/>
                    <a:pt x="620" y="384"/>
                  </a:cubicBezTo>
                  <a:cubicBezTo>
                    <a:pt x="609" y="361"/>
                    <a:pt x="620" y="350"/>
                    <a:pt x="643" y="327"/>
                  </a:cubicBezTo>
                  <a:cubicBezTo>
                    <a:pt x="665" y="322"/>
                    <a:pt x="688" y="319"/>
                    <a:pt x="709" y="319"/>
                  </a:cubicBezTo>
                  <a:cubicBezTo>
                    <a:pt x="730" y="319"/>
                    <a:pt x="750" y="322"/>
                    <a:pt x="767" y="327"/>
                  </a:cubicBezTo>
                  <a:cubicBezTo>
                    <a:pt x="812" y="339"/>
                    <a:pt x="879" y="372"/>
                    <a:pt x="969" y="418"/>
                  </a:cubicBezTo>
                  <a:lnTo>
                    <a:pt x="1060" y="474"/>
                  </a:lnTo>
                  <a:lnTo>
                    <a:pt x="1578" y="260"/>
                  </a:lnTo>
                  <a:cubicBezTo>
                    <a:pt x="1533" y="237"/>
                    <a:pt x="1499" y="215"/>
                    <a:pt x="1476" y="204"/>
                  </a:cubicBezTo>
                  <a:cubicBezTo>
                    <a:pt x="1319" y="113"/>
                    <a:pt x="1150" y="57"/>
                    <a:pt x="981" y="46"/>
                  </a:cubicBezTo>
                  <a:cubicBezTo>
                    <a:pt x="927" y="39"/>
                    <a:pt x="874" y="35"/>
                    <a:pt x="820" y="35"/>
                  </a:cubicBezTo>
                  <a:cubicBezTo>
                    <a:pt x="704" y="35"/>
                    <a:pt x="586" y="52"/>
                    <a:pt x="463" y="91"/>
                  </a:cubicBezTo>
                  <a:lnTo>
                    <a:pt x="28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0" name="Google Shape;1560;p39"/>
            <p:cNvSpPr/>
            <p:nvPr/>
          </p:nvSpPr>
          <p:spPr>
            <a:xfrm>
              <a:off x="10887026" y="1952370"/>
              <a:ext cx="288025" cy="152581"/>
            </a:xfrm>
            <a:custGeom>
              <a:avLst/>
              <a:gdLst/>
              <a:ahLst/>
              <a:cxnLst/>
              <a:rect l="l" t="t" r="r" b="b"/>
              <a:pathLst>
                <a:path w="2873" h="1522" fill="none" extrusionOk="0">
                  <a:moveTo>
                    <a:pt x="1578" y="260"/>
                  </a:moveTo>
                  <a:lnTo>
                    <a:pt x="1060" y="474"/>
                  </a:lnTo>
                  <a:lnTo>
                    <a:pt x="969" y="418"/>
                  </a:lnTo>
                  <a:cubicBezTo>
                    <a:pt x="879" y="372"/>
                    <a:pt x="812" y="339"/>
                    <a:pt x="767" y="327"/>
                  </a:cubicBezTo>
                  <a:cubicBezTo>
                    <a:pt x="733" y="316"/>
                    <a:pt x="688" y="316"/>
                    <a:pt x="643" y="327"/>
                  </a:cubicBezTo>
                  <a:cubicBezTo>
                    <a:pt x="620" y="350"/>
                    <a:pt x="609" y="361"/>
                    <a:pt x="620" y="384"/>
                  </a:cubicBezTo>
                  <a:cubicBezTo>
                    <a:pt x="620" y="406"/>
                    <a:pt x="654" y="429"/>
                    <a:pt x="710" y="451"/>
                  </a:cubicBezTo>
                  <a:cubicBezTo>
                    <a:pt x="789" y="508"/>
                    <a:pt x="868" y="530"/>
                    <a:pt x="936" y="530"/>
                  </a:cubicBezTo>
                  <a:cubicBezTo>
                    <a:pt x="1003" y="541"/>
                    <a:pt x="1161" y="541"/>
                    <a:pt x="1409" y="530"/>
                  </a:cubicBezTo>
                  <a:cubicBezTo>
                    <a:pt x="1623" y="530"/>
                    <a:pt x="1780" y="519"/>
                    <a:pt x="1870" y="530"/>
                  </a:cubicBezTo>
                  <a:cubicBezTo>
                    <a:pt x="1961" y="530"/>
                    <a:pt x="2062" y="553"/>
                    <a:pt x="2175" y="586"/>
                  </a:cubicBezTo>
                  <a:cubicBezTo>
                    <a:pt x="2287" y="620"/>
                    <a:pt x="2411" y="665"/>
                    <a:pt x="2524" y="733"/>
                  </a:cubicBezTo>
                  <a:cubicBezTo>
                    <a:pt x="2726" y="834"/>
                    <a:pt x="2828" y="947"/>
                    <a:pt x="2850" y="1037"/>
                  </a:cubicBezTo>
                  <a:cubicBezTo>
                    <a:pt x="2873" y="1138"/>
                    <a:pt x="2817" y="1228"/>
                    <a:pt x="2659" y="1319"/>
                  </a:cubicBezTo>
                  <a:lnTo>
                    <a:pt x="2873" y="1431"/>
                  </a:lnTo>
                  <a:lnTo>
                    <a:pt x="2636" y="1521"/>
                  </a:lnTo>
                  <a:lnTo>
                    <a:pt x="2422" y="1409"/>
                  </a:lnTo>
                  <a:cubicBezTo>
                    <a:pt x="2276" y="1454"/>
                    <a:pt x="2096" y="1476"/>
                    <a:pt x="1893" y="1465"/>
                  </a:cubicBezTo>
                  <a:cubicBezTo>
                    <a:pt x="1690" y="1454"/>
                    <a:pt x="1476" y="1375"/>
                    <a:pt x="1228" y="1240"/>
                  </a:cubicBezTo>
                  <a:lnTo>
                    <a:pt x="1127" y="1183"/>
                  </a:lnTo>
                  <a:lnTo>
                    <a:pt x="1634" y="969"/>
                  </a:lnTo>
                  <a:lnTo>
                    <a:pt x="1769" y="1048"/>
                  </a:lnTo>
                  <a:cubicBezTo>
                    <a:pt x="1916" y="1127"/>
                    <a:pt x="2017" y="1172"/>
                    <a:pt x="2062" y="1195"/>
                  </a:cubicBezTo>
                  <a:cubicBezTo>
                    <a:pt x="2107" y="1206"/>
                    <a:pt x="2152" y="1206"/>
                    <a:pt x="2186" y="1195"/>
                  </a:cubicBezTo>
                  <a:cubicBezTo>
                    <a:pt x="2220" y="1172"/>
                    <a:pt x="2231" y="1161"/>
                    <a:pt x="2231" y="1138"/>
                  </a:cubicBezTo>
                  <a:cubicBezTo>
                    <a:pt x="2220" y="1116"/>
                    <a:pt x="2197" y="1093"/>
                    <a:pt x="2141" y="1071"/>
                  </a:cubicBezTo>
                  <a:cubicBezTo>
                    <a:pt x="2017" y="1003"/>
                    <a:pt x="1927" y="958"/>
                    <a:pt x="1859" y="936"/>
                  </a:cubicBezTo>
                  <a:cubicBezTo>
                    <a:pt x="1792" y="913"/>
                    <a:pt x="1679" y="902"/>
                    <a:pt x="1521" y="902"/>
                  </a:cubicBezTo>
                  <a:cubicBezTo>
                    <a:pt x="1262" y="913"/>
                    <a:pt x="1082" y="913"/>
                    <a:pt x="969" y="913"/>
                  </a:cubicBezTo>
                  <a:cubicBezTo>
                    <a:pt x="868" y="902"/>
                    <a:pt x="755" y="891"/>
                    <a:pt x="620" y="857"/>
                  </a:cubicBezTo>
                  <a:cubicBezTo>
                    <a:pt x="496" y="823"/>
                    <a:pt x="372" y="778"/>
                    <a:pt x="260" y="710"/>
                  </a:cubicBezTo>
                  <a:cubicBezTo>
                    <a:pt x="102" y="620"/>
                    <a:pt x="12" y="530"/>
                    <a:pt x="12" y="440"/>
                  </a:cubicBezTo>
                  <a:cubicBezTo>
                    <a:pt x="1" y="361"/>
                    <a:pt x="80" y="271"/>
                    <a:pt x="226" y="192"/>
                  </a:cubicBezTo>
                  <a:lnTo>
                    <a:pt x="57" y="91"/>
                  </a:lnTo>
                  <a:lnTo>
                    <a:pt x="282" y="1"/>
                  </a:lnTo>
                  <a:lnTo>
                    <a:pt x="463" y="91"/>
                  </a:lnTo>
                  <a:cubicBezTo>
                    <a:pt x="643" y="35"/>
                    <a:pt x="812" y="23"/>
                    <a:pt x="981" y="46"/>
                  </a:cubicBezTo>
                  <a:cubicBezTo>
                    <a:pt x="1150" y="57"/>
                    <a:pt x="1319" y="113"/>
                    <a:pt x="1476" y="204"/>
                  </a:cubicBezTo>
                  <a:cubicBezTo>
                    <a:pt x="1499" y="215"/>
                    <a:pt x="1533" y="237"/>
                    <a:pt x="1578" y="260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1" name="Google Shape;1561;p39"/>
            <p:cNvSpPr/>
            <p:nvPr/>
          </p:nvSpPr>
          <p:spPr>
            <a:xfrm>
              <a:off x="10776351" y="1786463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extrusionOk="0">
                  <a:moveTo>
                    <a:pt x="2546" y="0"/>
                  </a:moveTo>
                  <a:cubicBezTo>
                    <a:pt x="1578" y="0"/>
                    <a:pt x="733" y="372"/>
                    <a:pt x="305" y="924"/>
                  </a:cubicBezTo>
                  <a:lnTo>
                    <a:pt x="12" y="924"/>
                  </a:lnTo>
                  <a:lnTo>
                    <a:pt x="1" y="1678"/>
                  </a:lnTo>
                  <a:cubicBezTo>
                    <a:pt x="1" y="1712"/>
                    <a:pt x="1" y="1735"/>
                    <a:pt x="1" y="1757"/>
                  </a:cubicBezTo>
                  <a:cubicBezTo>
                    <a:pt x="1" y="2726"/>
                    <a:pt x="1139" y="3514"/>
                    <a:pt x="2546" y="3514"/>
                  </a:cubicBezTo>
                  <a:cubicBezTo>
                    <a:pt x="3943" y="3514"/>
                    <a:pt x="5081" y="2726"/>
                    <a:pt x="5081" y="1757"/>
                  </a:cubicBezTo>
                  <a:lnTo>
                    <a:pt x="5081" y="924"/>
                  </a:lnTo>
                  <a:lnTo>
                    <a:pt x="4777" y="924"/>
                  </a:lnTo>
                  <a:cubicBezTo>
                    <a:pt x="4349" y="372"/>
                    <a:pt x="3504" y="0"/>
                    <a:pt x="25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2" name="Google Shape;1562;p39"/>
            <p:cNvSpPr/>
            <p:nvPr/>
          </p:nvSpPr>
          <p:spPr>
            <a:xfrm>
              <a:off x="10776351" y="1786463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extrusionOk="0">
                  <a:moveTo>
                    <a:pt x="2535" y="0"/>
                  </a:moveTo>
                  <a:cubicBezTo>
                    <a:pt x="1139" y="0"/>
                    <a:pt x="1" y="789"/>
                    <a:pt x="1" y="1757"/>
                  </a:cubicBezTo>
                  <a:cubicBezTo>
                    <a:pt x="1" y="2726"/>
                    <a:pt x="1139" y="3514"/>
                    <a:pt x="2535" y="3514"/>
                  </a:cubicBezTo>
                  <a:cubicBezTo>
                    <a:pt x="3943" y="3514"/>
                    <a:pt x="5081" y="2726"/>
                    <a:pt x="5081" y="1757"/>
                  </a:cubicBezTo>
                  <a:cubicBezTo>
                    <a:pt x="5081" y="789"/>
                    <a:pt x="3943" y="0"/>
                    <a:pt x="2535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3" name="Google Shape;1563;p39"/>
            <p:cNvSpPr/>
            <p:nvPr/>
          </p:nvSpPr>
          <p:spPr>
            <a:xfrm>
              <a:off x="10776351" y="1786463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fill="none" extrusionOk="0">
                  <a:moveTo>
                    <a:pt x="4777" y="924"/>
                  </a:moveTo>
                  <a:cubicBezTo>
                    <a:pt x="4349" y="372"/>
                    <a:pt x="3504" y="0"/>
                    <a:pt x="2546" y="0"/>
                  </a:cubicBezTo>
                  <a:cubicBezTo>
                    <a:pt x="1578" y="0"/>
                    <a:pt x="733" y="372"/>
                    <a:pt x="305" y="924"/>
                  </a:cubicBezTo>
                  <a:lnTo>
                    <a:pt x="12" y="924"/>
                  </a:lnTo>
                  <a:lnTo>
                    <a:pt x="1" y="1678"/>
                  </a:lnTo>
                  <a:cubicBezTo>
                    <a:pt x="1" y="1712"/>
                    <a:pt x="1" y="1735"/>
                    <a:pt x="1" y="1757"/>
                  </a:cubicBezTo>
                  <a:cubicBezTo>
                    <a:pt x="1" y="2726"/>
                    <a:pt x="1139" y="3514"/>
                    <a:pt x="2546" y="3514"/>
                  </a:cubicBezTo>
                  <a:cubicBezTo>
                    <a:pt x="3943" y="3514"/>
                    <a:pt x="5081" y="2726"/>
                    <a:pt x="5081" y="1757"/>
                  </a:cubicBezTo>
                  <a:lnTo>
                    <a:pt x="5081" y="924"/>
                  </a:ln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4" name="Google Shape;1564;p39"/>
            <p:cNvSpPr/>
            <p:nvPr/>
          </p:nvSpPr>
          <p:spPr>
            <a:xfrm>
              <a:off x="10776351" y="1786463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fill="none" extrusionOk="0">
                  <a:moveTo>
                    <a:pt x="5081" y="1757"/>
                  </a:moveTo>
                  <a:cubicBezTo>
                    <a:pt x="5081" y="2726"/>
                    <a:pt x="3943" y="3514"/>
                    <a:pt x="2535" y="3514"/>
                  </a:cubicBezTo>
                  <a:cubicBezTo>
                    <a:pt x="1139" y="3514"/>
                    <a:pt x="1" y="2726"/>
                    <a:pt x="1" y="1757"/>
                  </a:cubicBezTo>
                  <a:cubicBezTo>
                    <a:pt x="1" y="789"/>
                    <a:pt x="1139" y="0"/>
                    <a:pt x="2535" y="0"/>
                  </a:cubicBezTo>
                  <a:cubicBezTo>
                    <a:pt x="3943" y="0"/>
                    <a:pt x="5081" y="789"/>
                    <a:pt x="5081" y="1757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5" name="Google Shape;1565;p39"/>
            <p:cNvSpPr/>
            <p:nvPr/>
          </p:nvSpPr>
          <p:spPr>
            <a:xfrm>
              <a:off x="10776351" y="1702857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extrusionOk="0">
                  <a:moveTo>
                    <a:pt x="2535" y="1"/>
                  </a:moveTo>
                  <a:cubicBezTo>
                    <a:pt x="1139" y="1"/>
                    <a:pt x="1" y="789"/>
                    <a:pt x="1" y="1758"/>
                  </a:cubicBezTo>
                  <a:cubicBezTo>
                    <a:pt x="1" y="2726"/>
                    <a:pt x="1139" y="3515"/>
                    <a:pt x="2535" y="3515"/>
                  </a:cubicBezTo>
                  <a:cubicBezTo>
                    <a:pt x="3943" y="3515"/>
                    <a:pt x="5081" y="2726"/>
                    <a:pt x="5081" y="1758"/>
                  </a:cubicBezTo>
                  <a:cubicBezTo>
                    <a:pt x="5081" y="789"/>
                    <a:pt x="3943" y="1"/>
                    <a:pt x="253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6" name="Google Shape;1566;p39"/>
            <p:cNvSpPr/>
            <p:nvPr/>
          </p:nvSpPr>
          <p:spPr>
            <a:xfrm>
              <a:off x="10776351" y="1702857"/>
              <a:ext cx="509383" cy="352379"/>
            </a:xfrm>
            <a:custGeom>
              <a:avLst/>
              <a:gdLst/>
              <a:ahLst/>
              <a:cxnLst/>
              <a:rect l="l" t="t" r="r" b="b"/>
              <a:pathLst>
                <a:path w="5081" h="3515" fill="none" extrusionOk="0">
                  <a:moveTo>
                    <a:pt x="5081" y="1758"/>
                  </a:moveTo>
                  <a:cubicBezTo>
                    <a:pt x="5081" y="2726"/>
                    <a:pt x="3943" y="3515"/>
                    <a:pt x="2535" y="3515"/>
                  </a:cubicBezTo>
                  <a:cubicBezTo>
                    <a:pt x="1139" y="3515"/>
                    <a:pt x="1" y="2726"/>
                    <a:pt x="1" y="1758"/>
                  </a:cubicBezTo>
                  <a:cubicBezTo>
                    <a:pt x="1" y="789"/>
                    <a:pt x="1139" y="1"/>
                    <a:pt x="2535" y="1"/>
                  </a:cubicBezTo>
                  <a:cubicBezTo>
                    <a:pt x="3943" y="1"/>
                    <a:pt x="5081" y="789"/>
                    <a:pt x="5081" y="1758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7" name="Google Shape;1567;p39"/>
            <p:cNvSpPr/>
            <p:nvPr/>
          </p:nvSpPr>
          <p:spPr>
            <a:xfrm>
              <a:off x="11032689" y="2056325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1" y="822"/>
                  </a:moveTo>
                  <a:cubicBezTo>
                    <a:pt x="1" y="800"/>
                    <a:pt x="1" y="777"/>
                    <a:pt x="1" y="766"/>
                  </a:cubicBezTo>
                  <a:lnTo>
                    <a:pt x="1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8" name="Google Shape;1568;p39"/>
            <p:cNvSpPr/>
            <p:nvPr/>
          </p:nvSpPr>
          <p:spPr>
            <a:xfrm>
              <a:off x="11088027" y="2051714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2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9" name="Google Shape;1569;p39"/>
            <p:cNvSpPr/>
            <p:nvPr/>
          </p:nvSpPr>
          <p:spPr>
            <a:xfrm>
              <a:off x="11139956" y="2039384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1" y="822"/>
                  </a:moveTo>
                  <a:lnTo>
                    <a:pt x="1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0" name="Google Shape;1570;p39"/>
            <p:cNvSpPr/>
            <p:nvPr/>
          </p:nvSpPr>
          <p:spPr>
            <a:xfrm>
              <a:off x="11188577" y="2020136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0" y="812"/>
                  </a:moveTo>
                  <a:lnTo>
                    <a:pt x="0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1" name="Google Shape;1571;p39"/>
            <p:cNvSpPr/>
            <p:nvPr/>
          </p:nvSpPr>
          <p:spPr>
            <a:xfrm>
              <a:off x="11230281" y="1991967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1" y="822"/>
                  </a:moveTo>
                  <a:lnTo>
                    <a:pt x="1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2" name="Google Shape;1572;p39"/>
            <p:cNvSpPr/>
            <p:nvPr/>
          </p:nvSpPr>
          <p:spPr>
            <a:xfrm>
              <a:off x="11267574" y="1945654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0" y="822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3" name="Google Shape;1573;p39"/>
            <p:cNvSpPr/>
            <p:nvPr/>
          </p:nvSpPr>
          <p:spPr>
            <a:xfrm>
              <a:off x="10976248" y="2051714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2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4" name="Google Shape;1574;p39"/>
            <p:cNvSpPr/>
            <p:nvPr/>
          </p:nvSpPr>
          <p:spPr>
            <a:xfrm>
              <a:off x="10923216" y="2039384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0" y="822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5" name="Google Shape;1575;p39"/>
            <p:cNvSpPr/>
            <p:nvPr/>
          </p:nvSpPr>
          <p:spPr>
            <a:xfrm>
              <a:off x="10874595" y="2020136"/>
              <a:ext cx="100" cy="81403"/>
            </a:xfrm>
            <a:custGeom>
              <a:avLst/>
              <a:gdLst/>
              <a:ahLst/>
              <a:cxnLst/>
              <a:rect l="l" t="t" r="r" b="b"/>
              <a:pathLst>
                <a:path w="1" h="812" fill="none" extrusionOk="0">
                  <a:moveTo>
                    <a:pt x="1" y="812"/>
                  </a:moveTo>
                  <a:lnTo>
                    <a:pt x="1" y="1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6" name="Google Shape;1576;p39"/>
            <p:cNvSpPr/>
            <p:nvPr/>
          </p:nvSpPr>
          <p:spPr>
            <a:xfrm>
              <a:off x="10833994" y="1991967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0" y="822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7" name="Google Shape;1577;p39"/>
            <p:cNvSpPr/>
            <p:nvPr/>
          </p:nvSpPr>
          <p:spPr>
            <a:xfrm>
              <a:off x="10795599" y="1945654"/>
              <a:ext cx="100" cy="82506"/>
            </a:xfrm>
            <a:custGeom>
              <a:avLst/>
              <a:gdLst/>
              <a:ahLst/>
              <a:cxnLst/>
              <a:rect l="l" t="t" r="r" b="b"/>
              <a:pathLst>
                <a:path w="1" h="823" fill="none" extrusionOk="0">
                  <a:moveTo>
                    <a:pt x="0" y="822"/>
                  </a:moveTo>
                  <a:lnTo>
                    <a:pt x="0" y="0"/>
                  </a:lnTo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8" name="Google Shape;1578;p39"/>
            <p:cNvSpPr/>
            <p:nvPr/>
          </p:nvSpPr>
          <p:spPr>
            <a:xfrm>
              <a:off x="10833994" y="1742354"/>
              <a:ext cx="394193" cy="273382"/>
            </a:xfrm>
            <a:custGeom>
              <a:avLst/>
              <a:gdLst/>
              <a:ahLst/>
              <a:cxnLst/>
              <a:rect l="l" t="t" r="r" b="b"/>
              <a:pathLst>
                <a:path w="3932" h="2727" extrusionOk="0">
                  <a:moveTo>
                    <a:pt x="1960" y="1"/>
                  </a:moveTo>
                  <a:cubicBezTo>
                    <a:pt x="879" y="1"/>
                    <a:pt x="0" y="609"/>
                    <a:pt x="0" y="1364"/>
                  </a:cubicBezTo>
                  <a:cubicBezTo>
                    <a:pt x="0" y="2118"/>
                    <a:pt x="879" y="2727"/>
                    <a:pt x="1960" y="2727"/>
                  </a:cubicBezTo>
                  <a:cubicBezTo>
                    <a:pt x="3053" y="2727"/>
                    <a:pt x="3931" y="2118"/>
                    <a:pt x="3931" y="1364"/>
                  </a:cubicBezTo>
                  <a:cubicBezTo>
                    <a:pt x="3931" y="609"/>
                    <a:pt x="3053" y="1"/>
                    <a:pt x="19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9" name="Google Shape;1579;p39"/>
            <p:cNvSpPr/>
            <p:nvPr/>
          </p:nvSpPr>
          <p:spPr>
            <a:xfrm>
              <a:off x="10833994" y="1742354"/>
              <a:ext cx="394193" cy="273382"/>
            </a:xfrm>
            <a:custGeom>
              <a:avLst/>
              <a:gdLst/>
              <a:ahLst/>
              <a:cxnLst/>
              <a:rect l="l" t="t" r="r" b="b"/>
              <a:pathLst>
                <a:path w="3932" h="2727" fill="none" extrusionOk="0">
                  <a:moveTo>
                    <a:pt x="3931" y="1364"/>
                  </a:moveTo>
                  <a:cubicBezTo>
                    <a:pt x="3931" y="2118"/>
                    <a:pt x="3053" y="2727"/>
                    <a:pt x="1960" y="2727"/>
                  </a:cubicBezTo>
                  <a:cubicBezTo>
                    <a:pt x="879" y="2727"/>
                    <a:pt x="0" y="2118"/>
                    <a:pt x="0" y="1364"/>
                  </a:cubicBezTo>
                  <a:cubicBezTo>
                    <a:pt x="0" y="609"/>
                    <a:pt x="879" y="1"/>
                    <a:pt x="1960" y="1"/>
                  </a:cubicBezTo>
                  <a:cubicBezTo>
                    <a:pt x="3053" y="1"/>
                    <a:pt x="3931" y="609"/>
                    <a:pt x="3931" y="1364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0" name="Google Shape;1580;p39"/>
            <p:cNvSpPr/>
            <p:nvPr/>
          </p:nvSpPr>
          <p:spPr>
            <a:xfrm>
              <a:off x="10887026" y="1802201"/>
              <a:ext cx="288025" cy="153683"/>
            </a:xfrm>
            <a:custGeom>
              <a:avLst/>
              <a:gdLst/>
              <a:ahLst/>
              <a:cxnLst/>
              <a:rect l="l" t="t" r="r" b="b"/>
              <a:pathLst>
                <a:path w="2873" h="1533" extrusionOk="0">
                  <a:moveTo>
                    <a:pt x="282" y="1"/>
                  </a:moveTo>
                  <a:lnTo>
                    <a:pt x="57" y="102"/>
                  </a:lnTo>
                  <a:lnTo>
                    <a:pt x="226" y="192"/>
                  </a:lnTo>
                  <a:cubicBezTo>
                    <a:pt x="80" y="282"/>
                    <a:pt x="1" y="361"/>
                    <a:pt x="12" y="451"/>
                  </a:cubicBezTo>
                  <a:cubicBezTo>
                    <a:pt x="12" y="541"/>
                    <a:pt x="102" y="632"/>
                    <a:pt x="260" y="722"/>
                  </a:cubicBezTo>
                  <a:cubicBezTo>
                    <a:pt x="372" y="778"/>
                    <a:pt x="496" y="823"/>
                    <a:pt x="620" y="857"/>
                  </a:cubicBezTo>
                  <a:cubicBezTo>
                    <a:pt x="755" y="891"/>
                    <a:pt x="868" y="913"/>
                    <a:pt x="969" y="913"/>
                  </a:cubicBezTo>
                  <a:cubicBezTo>
                    <a:pt x="1007" y="917"/>
                    <a:pt x="1052" y="918"/>
                    <a:pt x="1105" y="918"/>
                  </a:cubicBezTo>
                  <a:cubicBezTo>
                    <a:pt x="1211" y="918"/>
                    <a:pt x="1349" y="913"/>
                    <a:pt x="1521" y="913"/>
                  </a:cubicBezTo>
                  <a:cubicBezTo>
                    <a:pt x="1564" y="910"/>
                    <a:pt x="1603" y="909"/>
                    <a:pt x="1638" y="909"/>
                  </a:cubicBezTo>
                  <a:cubicBezTo>
                    <a:pt x="1736" y="909"/>
                    <a:pt x="1810" y="919"/>
                    <a:pt x="1859" y="936"/>
                  </a:cubicBezTo>
                  <a:cubicBezTo>
                    <a:pt x="1927" y="958"/>
                    <a:pt x="2017" y="1003"/>
                    <a:pt x="2141" y="1071"/>
                  </a:cubicBezTo>
                  <a:cubicBezTo>
                    <a:pt x="2197" y="1105"/>
                    <a:pt x="2220" y="1127"/>
                    <a:pt x="2231" y="1138"/>
                  </a:cubicBezTo>
                  <a:cubicBezTo>
                    <a:pt x="2231" y="1161"/>
                    <a:pt x="2220" y="1183"/>
                    <a:pt x="2186" y="1195"/>
                  </a:cubicBezTo>
                  <a:cubicBezTo>
                    <a:pt x="2169" y="1206"/>
                    <a:pt x="2149" y="1212"/>
                    <a:pt x="2128" y="1212"/>
                  </a:cubicBezTo>
                  <a:cubicBezTo>
                    <a:pt x="2107" y="1212"/>
                    <a:pt x="2084" y="1206"/>
                    <a:pt x="2062" y="1195"/>
                  </a:cubicBezTo>
                  <a:cubicBezTo>
                    <a:pt x="2017" y="1183"/>
                    <a:pt x="1916" y="1138"/>
                    <a:pt x="1769" y="1048"/>
                  </a:cubicBezTo>
                  <a:lnTo>
                    <a:pt x="1634" y="981"/>
                  </a:lnTo>
                  <a:lnTo>
                    <a:pt x="1127" y="1195"/>
                  </a:lnTo>
                  <a:lnTo>
                    <a:pt x="1228" y="1251"/>
                  </a:lnTo>
                  <a:cubicBezTo>
                    <a:pt x="1476" y="1386"/>
                    <a:pt x="1690" y="1454"/>
                    <a:pt x="1893" y="1465"/>
                  </a:cubicBezTo>
                  <a:cubicBezTo>
                    <a:pt x="1941" y="1468"/>
                    <a:pt x="1987" y="1469"/>
                    <a:pt x="2033" y="1469"/>
                  </a:cubicBezTo>
                  <a:cubicBezTo>
                    <a:pt x="2179" y="1469"/>
                    <a:pt x="2311" y="1454"/>
                    <a:pt x="2422" y="1420"/>
                  </a:cubicBezTo>
                  <a:lnTo>
                    <a:pt x="2636" y="1533"/>
                  </a:lnTo>
                  <a:lnTo>
                    <a:pt x="2873" y="1431"/>
                  </a:lnTo>
                  <a:lnTo>
                    <a:pt x="2659" y="1319"/>
                  </a:lnTo>
                  <a:cubicBezTo>
                    <a:pt x="2817" y="1240"/>
                    <a:pt x="2873" y="1138"/>
                    <a:pt x="2850" y="1048"/>
                  </a:cubicBezTo>
                  <a:cubicBezTo>
                    <a:pt x="2828" y="947"/>
                    <a:pt x="2726" y="846"/>
                    <a:pt x="2524" y="733"/>
                  </a:cubicBezTo>
                  <a:cubicBezTo>
                    <a:pt x="2411" y="677"/>
                    <a:pt x="2287" y="620"/>
                    <a:pt x="2175" y="586"/>
                  </a:cubicBezTo>
                  <a:cubicBezTo>
                    <a:pt x="2062" y="564"/>
                    <a:pt x="1961" y="541"/>
                    <a:pt x="1870" y="530"/>
                  </a:cubicBezTo>
                  <a:cubicBezTo>
                    <a:pt x="1780" y="530"/>
                    <a:pt x="1623" y="530"/>
                    <a:pt x="1409" y="541"/>
                  </a:cubicBezTo>
                  <a:lnTo>
                    <a:pt x="936" y="541"/>
                  </a:lnTo>
                  <a:cubicBezTo>
                    <a:pt x="868" y="530"/>
                    <a:pt x="789" y="508"/>
                    <a:pt x="710" y="463"/>
                  </a:cubicBezTo>
                  <a:cubicBezTo>
                    <a:pt x="654" y="429"/>
                    <a:pt x="620" y="406"/>
                    <a:pt x="620" y="384"/>
                  </a:cubicBezTo>
                  <a:cubicBezTo>
                    <a:pt x="609" y="372"/>
                    <a:pt x="620" y="350"/>
                    <a:pt x="643" y="339"/>
                  </a:cubicBezTo>
                  <a:cubicBezTo>
                    <a:pt x="669" y="325"/>
                    <a:pt x="696" y="320"/>
                    <a:pt x="720" y="320"/>
                  </a:cubicBezTo>
                  <a:cubicBezTo>
                    <a:pt x="737" y="320"/>
                    <a:pt x="753" y="323"/>
                    <a:pt x="767" y="327"/>
                  </a:cubicBezTo>
                  <a:cubicBezTo>
                    <a:pt x="812" y="339"/>
                    <a:pt x="879" y="372"/>
                    <a:pt x="969" y="429"/>
                  </a:cubicBezTo>
                  <a:lnTo>
                    <a:pt x="1060" y="474"/>
                  </a:lnTo>
                  <a:lnTo>
                    <a:pt x="1578" y="271"/>
                  </a:lnTo>
                  <a:cubicBezTo>
                    <a:pt x="1533" y="237"/>
                    <a:pt x="1499" y="215"/>
                    <a:pt x="1476" y="204"/>
                  </a:cubicBezTo>
                  <a:cubicBezTo>
                    <a:pt x="1319" y="113"/>
                    <a:pt x="1150" y="68"/>
                    <a:pt x="981" y="46"/>
                  </a:cubicBezTo>
                  <a:cubicBezTo>
                    <a:pt x="937" y="40"/>
                    <a:pt x="893" y="37"/>
                    <a:pt x="850" y="37"/>
                  </a:cubicBezTo>
                  <a:cubicBezTo>
                    <a:pt x="724" y="37"/>
                    <a:pt x="596" y="60"/>
                    <a:pt x="463" y="102"/>
                  </a:cubicBezTo>
                  <a:lnTo>
                    <a:pt x="282" y="1"/>
                  </a:ln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1" name="Google Shape;1581;p39"/>
            <p:cNvSpPr/>
            <p:nvPr/>
          </p:nvSpPr>
          <p:spPr>
            <a:xfrm>
              <a:off x="10887026" y="1802201"/>
              <a:ext cx="288025" cy="153683"/>
            </a:xfrm>
            <a:custGeom>
              <a:avLst/>
              <a:gdLst/>
              <a:ahLst/>
              <a:cxnLst/>
              <a:rect l="l" t="t" r="r" b="b"/>
              <a:pathLst>
                <a:path w="2873" h="1533" fill="none" extrusionOk="0">
                  <a:moveTo>
                    <a:pt x="1578" y="271"/>
                  </a:moveTo>
                  <a:lnTo>
                    <a:pt x="1060" y="474"/>
                  </a:lnTo>
                  <a:lnTo>
                    <a:pt x="969" y="429"/>
                  </a:lnTo>
                  <a:cubicBezTo>
                    <a:pt x="879" y="372"/>
                    <a:pt x="812" y="339"/>
                    <a:pt x="767" y="327"/>
                  </a:cubicBezTo>
                  <a:cubicBezTo>
                    <a:pt x="733" y="316"/>
                    <a:pt x="688" y="316"/>
                    <a:pt x="643" y="339"/>
                  </a:cubicBezTo>
                  <a:cubicBezTo>
                    <a:pt x="620" y="350"/>
                    <a:pt x="609" y="372"/>
                    <a:pt x="620" y="384"/>
                  </a:cubicBezTo>
                  <a:cubicBezTo>
                    <a:pt x="620" y="406"/>
                    <a:pt x="654" y="429"/>
                    <a:pt x="710" y="463"/>
                  </a:cubicBezTo>
                  <a:cubicBezTo>
                    <a:pt x="789" y="508"/>
                    <a:pt x="868" y="530"/>
                    <a:pt x="936" y="541"/>
                  </a:cubicBezTo>
                  <a:cubicBezTo>
                    <a:pt x="1003" y="541"/>
                    <a:pt x="1161" y="541"/>
                    <a:pt x="1409" y="541"/>
                  </a:cubicBezTo>
                  <a:cubicBezTo>
                    <a:pt x="1623" y="530"/>
                    <a:pt x="1780" y="530"/>
                    <a:pt x="1870" y="530"/>
                  </a:cubicBezTo>
                  <a:cubicBezTo>
                    <a:pt x="1961" y="541"/>
                    <a:pt x="2062" y="564"/>
                    <a:pt x="2175" y="586"/>
                  </a:cubicBezTo>
                  <a:cubicBezTo>
                    <a:pt x="2287" y="620"/>
                    <a:pt x="2411" y="677"/>
                    <a:pt x="2524" y="733"/>
                  </a:cubicBezTo>
                  <a:cubicBezTo>
                    <a:pt x="2726" y="846"/>
                    <a:pt x="2828" y="947"/>
                    <a:pt x="2850" y="1048"/>
                  </a:cubicBezTo>
                  <a:cubicBezTo>
                    <a:pt x="2873" y="1138"/>
                    <a:pt x="2817" y="1240"/>
                    <a:pt x="2659" y="1319"/>
                  </a:cubicBezTo>
                  <a:lnTo>
                    <a:pt x="2873" y="1431"/>
                  </a:lnTo>
                  <a:lnTo>
                    <a:pt x="2636" y="1533"/>
                  </a:lnTo>
                  <a:lnTo>
                    <a:pt x="2422" y="1420"/>
                  </a:lnTo>
                  <a:cubicBezTo>
                    <a:pt x="2276" y="1465"/>
                    <a:pt x="2096" y="1476"/>
                    <a:pt x="1893" y="1465"/>
                  </a:cubicBezTo>
                  <a:cubicBezTo>
                    <a:pt x="1690" y="1454"/>
                    <a:pt x="1476" y="1386"/>
                    <a:pt x="1228" y="1251"/>
                  </a:cubicBezTo>
                  <a:lnTo>
                    <a:pt x="1127" y="1195"/>
                  </a:lnTo>
                  <a:lnTo>
                    <a:pt x="1634" y="981"/>
                  </a:lnTo>
                  <a:lnTo>
                    <a:pt x="1769" y="1048"/>
                  </a:lnTo>
                  <a:cubicBezTo>
                    <a:pt x="1916" y="1138"/>
                    <a:pt x="2017" y="1183"/>
                    <a:pt x="2062" y="1195"/>
                  </a:cubicBezTo>
                  <a:cubicBezTo>
                    <a:pt x="2107" y="1217"/>
                    <a:pt x="2152" y="1217"/>
                    <a:pt x="2186" y="1195"/>
                  </a:cubicBezTo>
                  <a:cubicBezTo>
                    <a:pt x="2220" y="1183"/>
                    <a:pt x="2231" y="1161"/>
                    <a:pt x="2231" y="1138"/>
                  </a:cubicBezTo>
                  <a:cubicBezTo>
                    <a:pt x="2220" y="1127"/>
                    <a:pt x="2197" y="1105"/>
                    <a:pt x="2141" y="1071"/>
                  </a:cubicBezTo>
                  <a:cubicBezTo>
                    <a:pt x="2017" y="1003"/>
                    <a:pt x="1927" y="958"/>
                    <a:pt x="1859" y="936"/>
                  </a:cubicBezTo>
                  <a:cubicBezTo>
                    <a:pt x="1792" y="913"/>
                    <a:pt x="1679" y="902"/>
                    <a:pt x="1521" y="913"/>
                  </a:cubicBezTo>
                  <a:cubicBezTo>
                    <a:pt x="1262" y="913"/>
                    <a:pt x="1082" y="924"/>
                    <a:pt x="969" y="913"/>
                  </a:cubicBezTo>
                  <a:cubicBezTo>
                    <a:pt x="868" y="913"/>
                    <a:pt x="755" y="891"/>
                    <a:pt x="620" y="857"/>
                  </a:cubicBezTo>
                  <a:cubicBezTo>
                    <a:pt x="496" y="823"/>
                    <a:pt x="372" y="778"/>
                    <a:pt x="260" y="722"/>
                  </a:cubicBezTo>
                  <a:cubicBezTo>
                    <a:pt x="102" y="632"/>
                    <a:pt x="12" y="541"/>
                    <a:pt x="12" y="451"/>
                  </a:cubicBezTo>
                  <a:cubicBezTo>
                    <a:pt x="1" y="361"/>
                    <a:pt x="80" y="282"/>
                    <a:pt x="226" y="192"/>
                  </a:cubicBezTo>
                  <a:lnTo>
                    <a:pt x="57" y="102"/>
                  </a:lnTo>
                  <a:lnTo>
                    <a:pt x="282" y="1"/>
                  </a:lnTo>
                  <a:lnTo>
                    <a:pt x="463" y="102"/>
                  </a:lnTo>
                  <a:cubicBezTo>
                    <a:pt x="643" y="46"/>
                    <a:pt x="812" y="23"/>
                    <a:pt x="981" y="46"/>
                  </a:cubicBezTo>
                  <a:cubicBezTo>
                    <a:pt x="1150" y="68"/>
                    <a:pt x="1319" y="113"/>
                    <a:pt x="1476" y="204"/>
                  </a:cubicBezTo>
                  <a:cubicBezTo>
                    <a:pt x="1499" y="215"/>
                    <a:pt x="1533" y="237"/>
                    <a:pt x="1578" y="271"/>
                  </a:cubicBezTo>
                  <a:close/>
                </a:path>
              </a:pathLst>
            </a:custGeom>
            <a:noFill/>
            <a:ln w="31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CE92B82-86F3-9DAE-CCB0-A8B46E3F36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92B82-86F3-9DAE-CCB0-A8B46E3F36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2E3E6EA-111F-56AA-553A-86DC36436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9289" y="104006"/>
            <a:ext cx="7143900" cy="1241883"/>
          </a:xfrm>
        </p:spPr>
        <p:txBody>
          <a:bodyPr vert="horz"/>
          <a:lstStyle/>
          <a:p>
            <a:r>
              <a:rPr lang="en-US" sz="5400"/>
              <a:t>Thank You!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720BBE8-E596-B9A7-45B8-8DA2E0F1DD2F}"/>
              </a:ext>
            </a:extLst>
          </p:cNvPr>
          <p:cNvCxnSpPr>
            <a:cxnSpLocks/>
          </p:cNvCxnSpPr>
          <p:nvPr/>
        </p:nvCxnSpPr>
        <p:spPr>
          <a:xfrm>
            <a:off x="799548" y="1183736"/>
            <a:ext cx="7675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EDF34244-66A6-FC1C-C055-8D1D9893023C}"/>
              </a:ext>
            </a:extLst>
          </p:cNvPr>
          <p:cNvSpPr txBox="1"/>
          <p:nvPr/>
        </p:nvSpPr>
        <p:spPr>
          <a:xfrm>
            <a:off x="1540000" y="3725204"/>
            <a:ext cx="1532917" cy="523220"/>
          </a:xfrm>
          <a:prstGeom prst="rect">
            <a:avLst/>
          </a:prstGeom>
          <a:noFill/>
          <a:ln w="12700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Ritwik Roy Chowdhur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630DADF-AD80-4875-CD1F-93697289D4E6}"/>
              </a:ext>
            </a:extLst>
          </p:cNvPr>
          <p:cNvSpPr txBox="1"/>
          <p:nvPr/>
        </p:nvSpPr>
        <p:spPr>
          <a:xfrm>
            <a:off x="2344780" y="2014499"/>
            <a:ext cx="1532918" cy="523220"/>
          </a:xfrm>
          <a:prstGeom prst="rect">
            <a:avLst/>
          </a:prstGeom>
          <a:noFill/>
          <a:ln w="12700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Frankle Muchaha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F49E31-F050-39EB-4395-A658E348917C}"/>
              </a:ext>
            </a:extLst>
          </p:cNvPr>
          <p:cNvSpPr txBox="1"/>
          <p:nvPr/>
        </p:nvSpPr>
        <p:spPr>
          <a:xfrm>
            <a:off x="5021008" y="3725204"/>
            <a:ext cx="1547206" cy="523220"/>
          </a:xfrm>
          <a:prstGeom prst="rect">
            <a:avLst/>
          </a:prstGeom>
          <a:noFill/>
          <a:ln w="12700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Shreyan Datta Chakraborty</a:t>
            </a:r>
          </a:p>
        </p:txBody>
      </p:sp>
      <p:pic>
        <p:nvPicPr>
          <p:cNvPr id="1030" name="Picture 6" descr="Image preview">
            <a:extLst>
              <a:ext uri="{FF2B5EF4-FFF2-40B4-BE49-F238E27FC236}">
                <a16:creationId xmlns:a16="http://schemas.microsoft.com/office/drawing/2014/main" id="{323F26C5-6081-723A-34BC-3080FD9E10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42" t="11242" r="19132"/>
          <a:stretch/>
        </p:blipFill>
        <p:spPr bwMode="auto">
          <a:xfrm>
            <a:off x="2900847" y="3213214"/>
            <a:ext cx="1532917" cy="1547205"/>
          </a:xfrm>
          <a:prstGeom prst="ellipse">
            <a:avLst/>
          </a:prstGeom>
          <a:ln w="285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D64455E-0F21-D311-F794-CBE43BE2CA4B}"/>
              </a:ext>
            </a:extLst>
          </p:cNvPr>
          <p:cNvSpPr txBox="1"/>
          <p:nvPr/>
        </p:nvSpPr>
        <p:spPr>
          <a:xfrm>
            <a:off x="5982279" y="2001857"/>
            <a:ext cx="1532918" cy="523220"/>
          </a:xfrm>
          <a:prstGeom prst="rect">
            <a:avLst/>
          </a:prstGeom>
          <a:noFill/>
          <a:ln w="12700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Roe Djer </a:t>
            </a:r>
            <a:br>
              <a:rPr lang="en-US">
                <a:latin typeface="Montserrat" panose="00000500000000000000" pitchFamily="2" charset="0"/>
              </a:rPr>
            </a:br>
            <a:r>
              <a:rPr lang="en-US">
                <a:latin typeface="Montserrat" panose="00000500000000000000" pitchFamily="2" charset="0"/>
              </a:rPr>
              <a:t>Tan</a:t>
            </a:r>
          </a:p>
        </p:txBody>
      </p:sp>
      <p:pic>
        <p:nvPicPr>
          <p:cNvPr id="1032" name="Picture 8" descr="Image preview">
            <a:extLst>
              <a:ext uri="{FF2B5EF4-FFF2-40B4-BE49-F238E27FC236}">
                <a16:creationId xmlns:a16="http://schemas.microsoft.com/office/drawing/2014/main" id="{14361B67-38C9-BD8B-3901-D007EE81BC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47" t="10252" r="17218" b="4046"/>
          <a:stretch/>
        </p:blipFill>
        <p:spPr bwMode="auto">
          <a:xfrm>
            <a:off x="6535983" y="3213212"/>
            <a:ext cx="1547206" cy="1547206"/>
          </a:xfrm>
          <a:prstGeom prst="ellipse">
            <a:avLst/>
          </a:prstGeom>
          <a:ln w="285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Image preview">
            <a:extLst>
              <a:ext uri="{FF2B5EF4-FFF2-40B4-BE49-F238E27FC236}">
                <a16:creationId xmlns:a16="http://schemas.microsoft.com/office/drawing/2014/main" id="{6BA4887F-DF66-0876-48B8-25E0E8A011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0" t="-324" r="12274" b="324"/>
          <a:stretch/>
        </p:blipFill>
        <p:spPr bwMode="auto">
          <a:xfrm>
            <a:off x="1023858" y="1499122"/>
            <a:ext cx="1547205" cy="1547205"/>
          </a:xfrm>
          <a:prstGeom prst="ellipse">
            <a:avLst/>
          </a:prstGeom>
          <a:ln w="285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preview">
            <a:extLst>
              <a:ext uri="{FF2B5EF4-FFF2-40B4-BE49-F238E27FC236}">
                <a16:creationId xmlns:a16="http://schemas.microsoft.com/office/drawing/2014/main" id="{3A4CB70D-FD64-E792-5267-DA8ECB9FFA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17" r="11982"/>
          <a:stretch/>
        </p:blipFill>
        <p:spPr bwMode="auto">
          <a:xfrm>
            <a:off x="4723936" y="1495479"/>
            <a:ext cx="1547206" cy="1547206"/>
          </a:xfrm>
          <a:prstGeom prst="ellipse">
            <a:avLst/>
          </a:prstGeom>
          <a:ln w="2857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72606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40"/>
          <p:cNvSpPr txBox="1">
            <a:spLocks noGrp="1"/>
          </p:cNvSpPr>
          <p:nvPr>
            <p:ph type="title"/>
          </p:nvPr>
        </p:nvSpPr>
        <p:spPr>
          <a:xfrm>
            <a:off x="1284000" y="1523888"/>
            <a:ext cx="6576000" cy="15984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ppendix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9738441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7A90CED-A26D-EE3C-D1E0-6B7BEBBD1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A90CED-A26D-EE3C-D1E0-6B7BEBBD1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1630;p44">
            <a:extLst>
              <a:ext uri="{FF2B5EF4-FFF2-40B4-BE49-F238E27FC236}">
                <a16:creationId xmlns:a16="http://schemas.microsoft.com/office/drawing/2014/main" id="{645F1C5A-FA58-65D9-B990-D6ED010A50EA}"/>
              </a:ext>
            </a:extLst>
          </p:cNvPr>
          <p:cNvSpPr txBox="1">
            <a:spLocks/>
          </p:cNvSpPr>
          <p:nvPr/>
        </p:nvSpPr>
        <p:spPr>
          <a:xfrm>
            <a:off x="435077" y="-24241"/>
            <a:ext cx="8318091" cy="573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pPr algn="ctr"/>
            <a:r>
              <a:rPr lang="en-US" sz="1800" dirty="0">
                <a:solidFill>
                  <a:schemeClr val="accent2"/>
                </a:solidFill>
              </a:rPr>
              <a:t>Campaign is Log-Transformed due to Heavy Right-Skewness</a:t>
            </a:r>
            <a:endParaRPr lang="en-US" sz="1800">
              <a:solidFill>
                <a:schemeClr val="accent2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D8B920-A928-1582-3AB7-E0E7518DFC4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435077" y="1276974"/>
            <a:ext cx="3709170" cy="286531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B5FD0D2-9211-07F9-756A-9A3D4289962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4876253" y="1276974"/>
            <a:ext cx="3709170" cy="286531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E1979A01-01D9-1DDA-7110-29DD51BDD70D}"/>
              </a:ext>
            </a:extLst>
          </p:cNvPr>
          <p:cNvSpPr txBox="1"/>
          <p:nvPr/>
        </p:nvSpPr>
        <p:spPr>
          <a:xfrm>
            <a:off x="1033356" y="4242423"/>
            <a:ext cx="25126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Original Campaign is heavily right-skewed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6CC8854-20AC-27B3-DFE2-C96D12B04F9A}"/>
              </a:ext>
            </a:extLst>
          </p:cNvPr>
          <p:cNvSpPr txBox="1"/>
          <p:nvPr/>
        </p:nvSpPr>
        <p:spPr>
          <a:xfrm>
            <a:off x="5474532" y="4242423"/>
            <a:ext cx="25126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Log-transformation lowers the skewness.</a:t>
            </a:r>
          </a:p>
        </p:txBody>
      </p:sp>
    </p:spTree>
    <p:extLst>
      <p:ext uri="{BB962C8B-B14F-4D97-AF65-F5344CB8AC3E}">
        <p14:creationId xmlns:p14="http://schemas.microsoft.com/office/powerpoint/2010/main" val="19988981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7A90CED-A26D-EE3C-D1E0-6B7BEBBD1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A90CED-A26D-EE3C-D1E0-6B7BEBBD1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BD8B920-A928-1582-3AB7-E0E7518DFC4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435077" y="1281822"/>
            <a:ext cx="3709170" cy="285562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B5FD0D2-9211-07F9-756A-9A3D4289962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4876253" y="1254743"/>
            <a:ext cx="3709170" cy="290977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Google Shape;1630;p44">
            <a:extLst>
              <a:ext uri="{FF2B5EF4-FFF2-40B4-BE49-F238E27FC236}">
                <a16:creationId xmlns:a16="http://schemas.microsoft.com/office/drawing/2014/main" id="{AEEC85E5-5C73-469C-533E-06B29FC7F1AF}"/>
              </a:ext>
            </a:extLst>
          </p:cNvPr>
          <p:cNvSpPr txBox="1">
            <a:spLocks/>
          </p:cNvSpPr>
          <p:nvPr/>
        </p:nvSpPr>
        <p:spPr>
          <a:xfrm>
            <a:off x="435077" y="-24241"/>
            <a:ext cx="8318091" cy="573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pPr algn="ctr"/>
            <a:r>
              <a:rPr lang="en-US" sz="1800" dirty="0">
                <a:solidFill>
                  <a:schemeClr val="accent2"/>
                </a:solidFill>
              </a:rPr>
              <a:t>Duration is Log-Transformed due to Heavy Right-Skew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B0CC6FF-4762-3A51-6718-50E122F985D8}"/>
              </a:ext>
            </a:extLst>
          </p:cNvPr>
          <p:cNvSpPr txBox="1"/>
          <p:nvPr/>
        </p:nvSpPr>
        <p:spPr>
          <a:xfrm>
            <a:off x="1033356" y="4242423"/>
            <a:ext cx="25126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Original Duration is heavily right-skewed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BEAECCC-8E35-72AF-275D-071E391B6C6D}"/>
              </a:ext>
            </a:extLst>
          </p:cNvPr>
          <p:cNvSpPr txBox="1"/>
          <p:nvPr/>
        </p:nvSpPr>
        <p:spPr>
          <a:xfrm>
            <a:off x="5474532" y="4242423"/>
            <a:ext cx="25126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Log-transformation makes the distribution normal.</a:t>
            </a:r>
          </a:p>
        </p:txBody>
      </p:sp>
    </p:spTree>
    <p:extLst>
      <p:ext uri="{BB962C8B-B14F-4D97-AF65-F5344CB8AC3E}">
        <p14:creationId xmlns:p14="http://schemas.microsoft.com/office/powerpoint/2010/main" val="12017173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7A90CED-A26D-EE3C-D1E0-6B7BEBBD1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A90CED-A26D-EE3C-D1E0-6B7BEBBD1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BD8B920-A928-1582-3AB7-E0E7518DFC4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435077" y="1540902"/>
            <a:ext cx="3709170" cy="233746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B5FD0D2-9211-07F9-756A-9A3D4289962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4038"/>
          <a:stretch/>
        </p:blipFill>
        <p:spPr>
          <a:xfrm>
            <a:off x="4876253" y="1540902"/>
            <a:ext cx="3709170" cy="224307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Google Shape;1630;p44">
            <a:extLst>
              <a:ext uri="{FF2B5EF4-FFF2-40B4-BE49-F238E27FC236}">
                <a16:creationId xmlns:a16="http://schemas.microsoft.com/office/drawing/2014/main" id="{300A6651-14DD-7FC4-8C47-B56BB30361B1}"/>
              </a:ext>
            </a:extLst>
          </p:cNvPr>
          <p:cNvSpPr txBox="1">
            <a:spLocks/>
          </p:cNvSpPr>
          <p:nvPr/>
        </p:nvSpPr>
        <p:spPr>
          <a:xfrm>
            <a:off x="435077" y="-24241"/>
            <a:ext cx="8318091" cy="573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pPr algn="ctr"/>
            <a:r>
              <a:rPr lang="en-US" sz="1800" dirty="0" err="1">
                <a:solidFill>
                  <a:schemeClr val="accent2"/>
                </a:solidFill>
              </a:rPr>
              <a:t>Pdays</a:t>
            </a:r>
            <a:r>
              <a:rPr lang="en-US" sz="1800" dirty="0">
                <a:solidFill>
                  <a:schemeClr val="accent2"/>
                </a:solidFill>
              </a:rPr>
              <a:t> </a:t>
            </a:r>
            <a:r>
              <a:rPr lang="en-US" sz="1800">
                <a:solidFill>
                  <a:schemeClr val="accent2"/>
                </a:solidFill>
              </a:rPr>
              <a:t>is Indicated as 1 if It is 999 (Client is Not Previously Contacted) and Other Remains the Same.</a:t>
            </a:r>
            <a:endParaRPr lang="en-US" sz="1800" dirty="0">
              <a:solidFill>
                <a:schemeClr val="accent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F7768D-34BA-6526-FD40-9B9E58848150}"/>
              </a:ext>
            </a:extLst>
          </p:cNvPr>
          <p:cNvSpPr txBox="1"/>
          <p:nvPr/>
        </p:nvSpPr>
        <p:spPr>
          <a:xfrm>
            <a:off x="1033356" y="3959925"/>
            <a:ext cx="25126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High number of clients who are not previously contacted (Encoded as 998)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2B3A5BE-2A69-32EA-4B30-B18A01CD91B8}"/>
              </a:ext>
            </a:extLst>
          </p:cNvPr>
          <p:cNvSpPr txBox="1"/>
          <p:nvPr/>
        </p:nvSpPr>
        <p:spPr>
          <a:xfrm>
            <a:off x="5474532" y="3959925"/>
            <a:ext cx="25126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Zooming into number of clients who are previously contacted.</a:t>
            </a:r>
          </a:p>
        </p:txBody>
      </p:sp>
    </p:spTree>
    <p:extLst>
      <p:ext uri="{BB962C8B-B14F-4D97-AF65-F5344CB8AC3E}">
        <p14:creationId xmlns:p14="http://schemas.microsoft.com/office/powerpoint/2010/main" val="25800638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7A90CED-A26D-EE3C-D1E0-6B7BEBBD1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A90CED-A26D-EE3C-D1E0-6B7BEBBD1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1630;p44">
            <a:extLst>
              <a:ext uri="{FF2B5EF4-FFF2-40B4-BE49-F238E27FC236}">
                <a16:creationId xmlns:a16="http://schemas.microsoft.com/office/drawing/2014/main" id="{645F1C5A-FA58-65D9-B990-D6ED010A50EA}"/>
              </a:ext>
            </a:extLst>
          </p:cNvPr>
          <p:cNvSpPr txBox="1">
            <a:spLocks/>
          </p:cNvSpPr>
          <p:nvPr/>
        </p:nvSpPr>
        <p:spPr>
          <a:xfrm>
            <a:off x="435077" y="-24241"/>
            <a:ext cx="8318091" cy="573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pPr algn="ctr"/>
            <a:r>
              <a:rPr lang="en-US" sz="1800">
                <a:solidFill>
                  <a:schemeClr val="accent2"/>
                </a:solidFill>
              </a:rPr>
              <a:t>Logistic Regression Model – Confusion Matrix &amp; ROC Curv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D8B920-A928-1582-3AB7-E0E7518DFC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5077" y="1089764"/>
            <a:ext cx="3709170" cy="323973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B5FD0D2-9211-07F9-756A-9A3D428996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76253" y="1089764"/>
            <a:ext cx="3709170" cy="323973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221977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1" name="Google Shape;871;p33"/>
          <p:cNvSpPr txBox="1">
            <a:spLocks noGrp="1"/>
          </p:cNvSpPr>
          <p:nvPr>
            <p:ph type="title"/>
          </p:nvPr>
        </p:nvSpPr>
        <p:spPr>
          <a:xfrm>
            <a:off x="3697353" y="2456343"/>
            <a:ext cx="4355700" cy="1759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ntroduction</a:t>
            </a:r>
            <a:endParaRPr/>
          </a:p>
        </p:txBody>
      </p:sp>
      <p:sp>
        <p:nvSpPr>
          <p:cNvPr id="872" name="Google Shape;872;p33"/>
          <p:cNvSpPr txBox="1">
            <a:spLocks noGrp="1"/>
          </p:cNvSpPr>
          <p:nvPr>
            <p:ph type="title" idx="2"/>
          </p:nvPr>
        </p:nvSpPr>
        <p:spPr>
          <a:xfrm>
            <a:off x="5060553" y="940516"/>
            <a:ext cx="1629300" cy="147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1</a:t>
            </a:r>
            <a:endParaRPr/>
          </a:p>
        </p:txBody>
      </p:sp>
      <p:grpSp>
        <p:nvGrpSpPr>
          <p:cNvPr id="873" name="Google Shape;873;p33"/>
          <p:cNvGrpSpPr/>
          <p:nvPr/>
        </p:nvGrpSpPr>
        <p:grpSpPr>
          <a:xfrm>
            <a:off x="351435" y="412016"/>
            <a:ext cx="1301097" cy="1072159"/>
            <a:chOff x="8077428" y="4048214"/>
            <a:chExt cx="933690" cy="788700"/>
          </a:xfrm>
        </p:grpSpPr>
        <p:sp>
          <p:nvSpPr>
            <p:cNvPr id="874" name="Google Shape;874;p33"/>
            <p:cNvSpPr/>
            <p:nvPr/>
          </p:nvSpPr>
          <p:spPr>
            <a:xfrm>
              <a:off x="8077428" y="4048214"/>
              <a:ext cx="235200" cy="7887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3"/>
            <p:cNvSpPr/>
            <p:nvPr/>
          </p:nvSpPr>
          <p:spPr>
            <a:xfrm>
              <a:off x="8426673" y="4191843"/>
              <a:ext cx="235200" cy="6450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6" name="Google Shape;876;p33"/>
            <p:cNvSpPr/>
            <p:nvPr/>
          </p:nvSpPr>
          <p:spPr>
            <a:xfrm>
              <a:off x="8775917" y="4392244"/>
              <a:ext cx="235200" cy="4446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77" name="Google Shape;877;p33"/>
          <p:cNvSpPr/>
          <p:nvPr/>
        </p:nvSpPr>
        <p:spPr>
          <a:xfrm>
            <a:off x="2968436" y="184686"/>
            <a:ext cx="140400" cy="1404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8" name="Google Shape;878;p33"/>
          <p:cNvSpPr/>
          <p:nvPr/>
        </p:nvSpPr>
        <p:spPr>
          <a:xfrm>
            <a:off x="211023" y="3265896"/>
            <a:ext cx="140400" cy="140400"/>
          </a:xfrm>
          <a:prstGeom prst="ellipse">
            <a:avLst/>
          </a:prstGeom>
          <a:solidFill>
            <a:srgbClr val="000000">
              <a:alpha val="12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79" name="Google Shape;879;p33"/>
          <p:cNvGrpSpPr/>
          <p:nvPr/>
        </p:nvGrpSpPr>
        <p:grpSpPr>
          <a:xfrm>
            <a:off x="351416" y="3830928"/>
            <a:ext cx="1133720" cy="1133717"/>
            <a:chOff x="10173800" y="2018150"/>
            <a:chExt cx="1448103" cy="1448100"/>
          </a:xfrm>
        </p:grpSpPr>
        <p:sp>
          <p:nvSpPr>
            <p:cNvPr id="880" name="Google Shape;880;p33"/>
            <p:cNvSpPr/>
            <p:nvPr/>
          </p:nvSpPr>
          <p:spPr>
            <a:xfrm>
              <a:off x="10173800" y="2018150"/>
              <a:ext cx="1448100" cy="1448100"/>
            </a:xfrm>
            <a:prstGeom prst="donut">
              <a:avLst>
                <a:gd name="adj" fmla="val 20968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" name="Google Shape;881;p33"/>
            <p:cNvSpPr/>
            <p:nvPr/>
          </p:nvSpPr>
          <p:spPr>
            <a:xfrm flipH="1">
              <a:off x="10173803" y="2018150"/>
              <a:ext cx="1448100" cy="1448100"/>
            </a:xfrm>
            <a:prstGeom prst="blockArc">
              <a:avLst>
                <a:gd name="adj1" fmla="val 10800000"/>
                <a:gd name="adj2" fmla="val 16161326"/>
                <a:gd name="adj3" fmla="val 20401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82" name="Google Shape;882;p33"/>
          <p:cNvSpPr/>
          <p:nvPr/>
        </p:nvSpPr>
        <p:spPr>
          <a:xfrm>
            <a:off x="2796527" y="2380950"/>
            <a:ext cx="171900" cy="148500"/>
          </a:xfrm>
          <a:prstGeom prst="triangle">
            <a:avLst>
              <a:gd name="adj" fmla="val 5000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3" name="Google Shape;883;p33"/>
          <p:cNvGrpSpPr/>
          <p:nvPr/>
        </p:nvGrpSpPr>
        <p:grpSpPr>
          <a:xfrm>
            <a:off x="1652514" y="3242074"/>
            <a:ext cx="1226117" cy="958679"/>
            <a:chOff x="1477660" y="1834701"/>
            <a:chExt cx="546593" cy="427390"/>
          </a:xfrm>
        </p:grpSpPr>
        <p:sp>
          <p:nvSpPr>
            <p:cNvPr id="884" name="Google Shape;884;p33"/>
            <p:cNvSpPr/>
            <p:nvPr/>
          </p:nvSpPr>
          <p:spPr>
            <a:xfrm>
              <a:off x="1542984" y="2006268"/>
              <a:ext cx="399412" cy="255824"/>
            </a:xfrm>
            <a:custGeom>
              <a:avLst/>
              <a:gdLst/>
              <a:ahLst/>
              <a:cxnLst/>
              <a:rect l="l" t="t" r="r" b="b"/>
              <a:pathLst>
                <a:path w="11433" h="6590" extrusionOk="0">
                  <a:moveTo>
                    <a:pt x="34" y="0"/>
                  </a:moveTo>
                  <a:cubicBezTo>
                    <a:pt x="12" y="113"/>
                    <a:pt x="0" y="225"/>
                    <a:pt x="0" y="349"/>
                  </a:cubicBezTo>
                  <a:cubicBezTo>
                    <a:pt x="0" y="428"/>
                    <a:pt x="0" y="496"/>
                    <a:pt x="12" y="575"/>
                  </a:cubicBezTo>
                  <a:lnTo>
                    <a:pt x="0" y="1239"/>
                  </a:lnTo>
                  <a:cubicBezTo>
                    <a:pt x="0" y="1284"/>
                    <a:pt x="0" y="1340"/>
                    <a:pt x="0" y="1386"/>
                  </a:cubicBezTo>
                  <a:cubicBezTo>
                    <a:pt x="0" y="1543"/>
                    <a:pt x="23" y="1690"/>
                    <a:pt x="57" y="1825"/>
                  </a:cubicBezTo>
                  <a:cubicBezTo>
                    <a:pt x="124" y="2039"/>
                    <a:pt x="226" y="2230"/>
                    <a:pt x="361" y="2410"/>
                  </a:cubicBezTo>
                  <a:cubicBezTo>
                    <a:pt x="372" y="2422"/>
                    <a:pt x="383" y="2433"/>
                    <a:pt x="395" y="2456"/>
                  </a:cubicBezTo>
                  <a:cubicBezTo>
                    <a:pt x="575" y="2681"/>
                    <a:pt x="823" y="2884"/>
                    <a:pt x="1115" y="3052"/>
                  </a:cubicBezTo>
                  <a:cubicBezTo>
                    <a:pt x="1138" y="3075"/>
                    <a:pt x="1172" y="3086"/>
                    <a:pt x="1194" y="3109"/>
                  </a:cubicBezTo>
                  <a:cubicBezTo>
                    <a:pt x="1735" y="3402"/>
                    <a:pt x="2433" y="3582"/>
                    <a:pt x="3177" y="3582"/>
                  </a:cubicBezTo>
                  <a:cubicBezTo>
                    <a:pt x="3931" y="3582"/>
                    <a:pt x="4551" y="3424"/>
                    <a:pt x="5091" y="3143"/>
                  </a:cubicBezTo>
                  <a:lnTo>
                    <a:pt x="5091" y="3143"/>
                  </a:lnTo>
                  <a:cubicBezTo>
                    <a:pt x="5080" y="3210"/>
                    <a:pt x="5069" y="3278"/>
                    <a:pt x="5069" y="3345"/>
                  </a:cubicBezTo>
                  <a:cubicBezTo>
                    <a:pt x="5069" y="3424"/>
                    <a:pt x="5080" y="3503"/>
                    <a:pt x="5091" y="3582"/>
                  </a:cubicBezTo>
                  <a:lnTo>
                    <a:pt x="5080" y="4246"/>
                  </a:lnTo>
                  <a:cubicBezTo>
                    <a:pt x="5080" y="4291"/>
                    <a:pt x="5069" y="4336"/>
                    <a:pt x="5069" y="4393"/>
                  </a:cubicBezTo>
                  <a:cubicBezTo>
                    <a:pt x="5069" y="4652"/>
                    <a:pt x="5136" y="4911"/>
                    <a:pt x="5260" y="5147"/>
                  </a:cubicBezTo>
                  <a:cubicBezTo>
                    <a:pt x="5283" y="5181"/>
                    <a:pt x="5305" y="5215"/>
                    <a:pt x="5317" y="5249"/>
                  </a:cubicBezTo>
                  <a:cubicBezTo>
                    <a:pt x="5362" y="5305"/>
                    <a:pt x="5407" y="5373"/>
                    <a:pt x="5452" y="5440"/>
                  </a:cubicBezTo>
                  <a:cubicBezTo>
                    <a:pt x="5486" y="5463"/>
                    <a:pt x="5508" y="5497"/>
                    <a:pt x="5531" y="5530"/>
                  </a:cubicBezTo>
                  <a:cubicBezTo>
                    <a:pt x="5610" y="5620"/>
                    <a:pt x="5700" y="5711"/>
                    <a:pt x="5801" y="5789"/>
                  </a:cubicBezTo>
                  <a:cubicBezTo>
                    <a:pt x="5835" y="5812"/>
                    <a:pt x="5869" y="5846"/>
                    <a:pt x="5902" y="5868"/>
                  </a:cubicBezTo>
                  <a:cubicBezTo>
                    <a:pt x="6477" y="6308"/>
                    <a:pt x="7322" y="6589"/>
                    <a:pt x="8256" y="6589"/>
                  </a:cubicBezTo>
                  <a:cubicBezTo>
                    <a:pt x="9191" y="6589"/>
                    <a:pt x="9980" y="6319"/>
                    <a:pt x="10565" y="5902"/>
                  </a:cubicBezTo>
                  <a:cubicBezTo>
                    <a:pt x="10610" y="5868"/>
                    <a:pt x="10655" y="5823"/>
                    <a:pt x="10701" y="5789"/>
                  </a:cubicBezTo>
                  <a:cubicBezTo>
                    <a:pt x="10802" y="5711"/>
                    <a:pt x="10892" y="5620"/>
                    <a:pt x="10971" y="5530"/>
                  </a:cubicBezTo>
                  <a:cubicBezTo>
                    <a:pt x="11016" y="5485"/>
                    <a:pt x="11050" y="5429"/>
                    <a:pt x="11083" y="5384"/>
                  </a:cubicBezTo>
                  <a:cubicBezTo>
                    <a:pt x="11117" y="5339"/>
                    <a:pt x="11151" y="5294"/>
                    <a:pt x="11185" y="5249"/>
                  </a:cubicBezTo>
                  <a:cubicBezTo>
                    <a:pt x="11196" y="5215"/>
                    <a:pt x="11219" y="5181"/>
                    <a:pt x="11241" y="5147"/>
                  </a:cubicBezTo>
                  <a:cubicBezTo>
                    <a:pt x="11365" y="4911"/>
                    <a:pt x="11433" y="4652"/>
                    <a:pt x="11433" y="4393"/>
                  </a:cubicBezTo>
                  <a:lnTo>
                    <a:pt x="11433" y="4122"/>
                  </a:lnTo>
                  <a:cubicBezTo>
                    <a:pt x="11286" y="4077"/>
                    <a:pt x="11151" y="4021"/>
                    <a:pt x="11027" y="3965"/>
                  </a:cubicBezTo>
                  <a:cubicBezTo>
                    <a:pt x="10881" y="3897"/>
                    <a:pt x="10723" y="3830"/>
                    <a:pt x="10577" y="3762"/>
                  </a:cubicBezTo>
                  <a:cubicBezTo>
                    <a:pt x="10543" y="3740"/>
                    <a:pt x="10498" y="3728"/>
                    <a:pt x="10441" y="3706"/>
                  </a:cubicBezTo>
                  <a:cubicBezTo>
                    <a:pt x="10205" y="3604"/>
                    <a:pt x="9957" y="3514"/>
                    <a:pt x="9721" y="3413"/>
                  </a:cubicBezTo>
                  <a:cubicBezTo>
                    <a:pt x="9022" y="3131"/>
                    <a:pt x="8324" y="2838"/>
                    <a:pt x="7648" y="2512"/>
                  </a:cubicBezTo>
                  <a:cubicBezTo>
                    <a:pt x="6578" y="1994"/>
                    <a:pt x="5553" y="1374"/>
                    <a:pt x="4528" y="777"/>
                  </a:cubicBezTo>
                  <a:cubicBezTo>
                    <a:pt x="4100" y="529"/>
                    <a:pt x="3672" y="270"/>
                    <a:pt x="3267" y="0"/>
                  </a:cubicBezTo>
                  <a:close/>
                </a:path>
              </a:pathLst>
            </a:cu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3"/>
            <p:cNvSpPr/>
            <p:nvPr/>
          </p:nvSpPr>
          <p:spPr>
            <a:xfrm>
              <a:off x="1542986" y="1962978"/>
              <a:ext cx="222361" cy="153469"/>
            </a:xfrm>
            <a:custGeom>
              <a:avLst/>
              <a:gdLst/>
              <a:ahLst/>
              <a:cxnLst/>
              <a:rect l="l" t="t" r="r" b="b"/>
              <a:pathLst>
                <a:path w="6365" h="4393" extrusionOk="0">
                  <a:moveTo>
                    <a:pt x="3188" y="0"/>
                  </a:moveTo>
                  <a:cubicBezTo>
                    <a:pt x="1971" y="0"/>
                    <a:pt x="924" y="462"/>
                    <a:pt x="383" y="1149"/>
                  </a:cubicBezTo>
                  <a:lnTo>
                    <a:pt x="23" y="1149"/>
                  </a:lnTo>
                  <a:lnTo>
                    <a:pt x="12" y="2106"/>
                  </a:lnTo>
                  <a:cubicBezTo>
                    <a:pt x="12" y="2129"/>
                    <a:pt x="0" y="2163"/>
                    <a:pt x="0" y="2197"/>
                  </a:cubicBezTo>
                  <a:cubicBezTo>
                    <a:pt x="0" y="3413"/>
                    <a:pt x="1431" y="4393"/>
                    <a:pt x="3188" y="4393"/>
                  </a:cubicBezTo>
                  <a:cubicBezTo>
                    <a:pt x="4945" y="4393"/>
                    <a:pt x="6364" y="3413"/>
                    <a:pt x="6364" y="2197"/>
                  </a:cubicBezTo>
                  <a:lnTo>
                    <a:pt x="6364" y="1149"/>
                  </a:lnTo>
                  <a:lnTo>
                    <a:pt x="5981" y="1149"/>
                  </a:lnTo>
                  <a:cubicBezTo>
                    <a:pt x="5452" y="462"/>
                    <a:pt x="4393" y="0"/>
                    <a:pt x="3188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3"/>
            <p:cNvSpPr/>
            <p:nvPr/>
          </p:nvSpPr>
          <p:spPr>
            <a:xfrm>
              <a:off x="1542986" y="1962559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extrusionOk="0">
                  <a:moveTo>
                    <a:pt x="3177" y="1"/>
                  </a:moveTo>
                  <a:cubicBezTo>
                    <a:pt x="1431" y="1"/>
                    <a:pt x="0" y="992"/>
                    <a:pt x="0" y="2209"/>
                  </a:cubicBezTo>
                  <a:cubicBezTo>
                    <a:pt x="0" y="3425"/>
                    <a:pt x="1431" y="4405"/>
                    <a:pt x="3177" y="4405"/>
                  </a:cubicBezTo>
                  <a:cubicBezTo>
                    <a:pt x="4934" y="4405"/>
                    <a:pt x="6364" y="3425"/>
                    <a:pt x="6364" y="2209"/>
                  </a:cubicBezTo>
                  <a:cubicBezTo>
                    <a:pt x="6364" y="992"/>
                    <a:pt x="4934" y="1"/>
                    <a:pt x="31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3"/>
            <p:cNvSpPr/>
            <p:nvPr/>
          </p:nvSpPr>
          <p:spPr>
            <a:xfrm>
              <a:off x="1542986" y="1962978"/>
              <a:ext cx="222361" cy="153469"/>
            </a:xfrm>
            <a:custGeom>
              <a:avLst/>
              <a:gdLst/>
              <a:ahLst/>
              <a:cxnLst/>
              <a:rect l="l" t="t" r="r" b="b"/>
              <a:pathLst>
                <a:path w="6365" h="4393" fill="none" extrusionOk="0">
                  <a:moveTo>
                    <a:pt x="5981" y="1149"/>
                  </a:moveTo>
                  <a:cubicBezTo>
                    <a:pt x="5452" y="462"/>
                    <a:pt x="4393" y="0"/>
                    <a:pt x="3188" y="0"/>
                  </a:cubicBezTo>
                  <a:cubicBezTo>
                    <a:pt x="1971" y="0"/>
                    <a:pt x="924" y="462"/>
                    <a:pt x="383" y="1149"/>
                  </a:cubicBezTo>
                  <a:lnTo>
                    <a:pt x="23" y="1149"/>
                  </a:lnTo>
                  <a:lnTo>
                    <a:pt x="12" y="2106"/>
                  </a:lnTo>
                  <a:cubicBezTo>
                    <a:pt x="12" y="2129"/>
                    <a:pt x="0" y="2163"/>
                    <a:pt x="0" y="2197"/>
                  </a:cubicBezTo>
                  <a:cubicBezTo>
                    <a:pt x="0" y="3413"/>
                    <a:pt x="1431" y="4393"/>
                    <a:pt x="3188" y="4393"/>
                  </a:cubicBezTo>
                  <a:cubicBezTo>
                    <a:pt x="4945" y="4393"/>
                    <a:pt x="6364" y="3413"/>
                    <a:pt x="6364" y="2197"/>
                  </a:cubicBezTo>
                  <a:lnTo>
                    <a:pt x="6364" y="1149"/>
                  </a:ln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3"/>
            <p:cNvSpPr/>
            <p:nvPr/>
          </p:nvSpPr>
          <p:spPr>
            <a:xfrm>
              <a:off x="1542986" y="1962559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fill="none" extrusionOk="0">
                  <a:moveTo>
                    <a:pt x="6364" y="2209"/>
                  </a:moveTo>
                  <a:cubicBezTo>
                    <a:pt x="6364" y="3425"/>
                    <a:pt x="4934" y="4405"/>
                    <a:pt x="3177" y="4405"/>
                  </a:cubicBezTo>
                  <a:cubicBezTo>
                    <a:pt x="1431" y="4405"/>
                    <a:pt x="0" y="3425"/>
                    <a:pt x="0" y="2209"/>
                  </a:cubicBezTo>
                  <a:cubicBezTo>
                    <a:pt x="0" y="992"/>
                    <a:pt x="1431" y="1"/>
                    <a:pt x="3177" y="1"/>
                  </a:cubicBezTo>
                  <a:cubicBezTo>
                    <a:pt x="4934" y="1"/>
                    <a:pt x="6364" y="992"/>
                    <a:pt x="6364" y="220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9" name="Google Shape;889;p33"/>
            <p:cNvSpPr/>
            <p:nvPr/>
          </p:nvSpPr>
          <p:spPr>
            <a:xfrm>
              <a:off x="1542986" y="1926368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extrusionOk="0">
                  <a:moveTo>
                    <a:pt x="3177" y="1"/>
                  </a:moveTo>
                  <a:cubicBezTo>
                    <a:pt x="1431" y="1"/>
                    <a:pt x="0" y="981"/>
                    <a:pt x="0" y="2197"/>
                  </a:cubicBezTo>
                  <a:cubicBezTo>
                    <a:pt x="0" y="3413"/>
                    <a:pt x="1431" y="4405"/>
                    <a:pt x="3177" y="4405"/>
                  </a:cubicBezTo>
                  <a:cubicBezTo>
                    <a:pt x="4934" y="4405"/>
                    <a:pt x="6364" y="3413"/>
                    <a:pt x="6364" y="2197"/>
                  </a:cubicBezTo>
                  <a:cubicBezTo>
                    <a:pt x="6364" y="981"/>
                    <a:pt x="4934" y="1"/>
                    <a:pt x="31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0" name="Google Shape;890;p33"/>
            <p:cNvSpPr/>
            <p:nvPr/>
          </p:nvSpPr>
          <p:spPr>
            <a:xfrm>
              <a:off x="1542986" y="1926368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fill="none" extrusionOk="0">
                  <a:moveTo>
                    <a:pt x="6364" y="2197"/>
                  </a:moveTo>
                  <a:cubicBezTo>
                    <a:pt x="6364" y="3413"/>
                    <a:pt x="4934" y="4405"/>
                    <a:pt x="3177" y="4405"/>
                  </a:cubicBezTo>
                  <a:cubicBezTo>
                    <a:pt x="1431" y="4405"/>
                    <a:pt x="0" y="3413"/>
                    <a:pt x="0" y="2197"/>
                  </a:cubicBezTo>
                  <a:cubicBezTo>
                    <a:pt x="0" y="981"/>
                    <a:pt x="1431" y="1"/>
                    <a:pt x="3177" y="1"/>
                  </a:cubicBezTo>
                  <a:cubicBezTo>
                    <a:pt x="4934" y="1"/>
                    <a:pt x="6364" y="981"/>
                    <a:pt x="6364" y="219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1" name="Google Shape;891;p33"/>
            <p:cNvSpPr/>
            <p:nvPr/>
          </p:nvSpPr>
          <p:spPr>
            <a:xfrm>
              <a:off x="1654739" y="208060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cubicBezTo>
                    <a:pt x="0" y="1003"/>
                    <a:pt x="0" y="970"/>
                    <a:pt x="0" y="947"/>
                  </a:cubicBez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2" name="Google Shape;892;p33"/>
            <p:cNvSpPr/>
            <p:nvPr/>
          </p:nvSpPr>
          <p:spPr>
            <a:xfrm>
              <a:off x="1678739" y="207826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3" name="Google Shape;893;p33"/>
            <p:cNvSpPr/>
            <p:nvPr/>
          </p:nvSpPr>
          <p:spPr>
            <a:xfrm>
              <a:off x="1701935" y="207312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" name="Google Shape;894;p33"/>
            <p:cNvSpPr/>
            <p:nvPr/>
          </p:nvSpPr>
          <p:spPr>
            <a:xfrm>
              <a:off x="1722790" y="2064496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3"/>
            <p:cNvSpPr/>
            <p:nvPr/>
          </p:nvSpPr>
          <p:spPr>
            <a:xfrm>
              <a:off x="1740886" y="205226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3"/>
            <p:cNvSpPr/>
            <p:nvPr/>
          </p:nvSpPr>
          <p:spPr>
            <a:xfrm>
              <a:off x="1757410" y="203221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3"/>
            <p:cNvSpPr/>
            <p:nvPr/>
          </p:nvSpPr>
          <p:spPr>
            <a:xfrm>
              <a:off x="1630321" y="207826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3"/>
            <p:cNvSpPr/>
            <p:nvPr/>
          </p:nvSpPr>
          <p:spPr>
            <a:xfrm>
              <a:off x="1607124" y="207312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3"/>
            <p:cNvSpPr/>
            <p:nvPr/>
          </p:nvSpPr>
          <p:spPr>
            <a:xfrm>
              <a:off x="1586269" y="2064496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3"/>
            <p:cNvSpPr/>
            <p:nvPr/>
          </p:nvSpPr>
          <p:spPr>
            <a:xfrm>
              <a:off x="1568173" y="205226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3"/>
            <p:cNvSpPr/>
            <p:nvPr/>
          </p:nvSpPr>
          <p:spPr>
            <a:xfrm>
              <a:off x="1551650" y="203221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3"/>
            <p:cNvSpPr/>
            <p:nvPr/>
          </p:nvSpPr>
          <p:spPr>
            <a:xfrm>
              <a:off x="1568173" y="1943695"/>
              <a:ext cx="171985" cy="118849"/>
            </a:xfrm>
            <a:custGeom>
              <a:avLst/>
              <a:gdLst/>
              <a:ahLst/>
              <a:cxnLst/>
              <a:rect l="l" t="t" r="r" b="b"/>
              <a:pathLst>
                <a:path w="4923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47"/>
                    <a:pt x="1104" y="3402"/>
                    <a:pt x="2456" y="3402"/>
                  </a:cubicBezTo>
                  <a:cubicBezTo>
                    <a:pt x="3819" y="3402"/>
                    <a:pt x="4922" y="2647"/>
                    <a:pt x="4922" y="1701"/>
                  </a:cubicBezTo>
                  <a:cubicBezTo>
                    <a:pt x="4922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3"/>
            <p:cNvSpPr/>
            <p:nvPr/>
          </p:nvSpPr>
          <p:spPr>
            <a:xfrm>
              <a:off x="1568173" y="1943695"/>
              <a:ext cx="171985" cy="118849"/>
            </a:xfrm>
            <a:custGeom>
              <a:avLst/>
              <a:gdLst/>
              <a:ahLst/>
              <a:cxnLst/>
              <a:rect l="l" t="t" r="r" b="b"/>
              <a:pathLst>
                <a:path w="4923" h="3402" fill="none" extrusionOk="0">
                  <a:moveTo>
                    <a:pt x="4922" y="1701"/>
                  </a:moveTo>
                  <a:cubicBezTo>
                    <a:pt x="4922" y="2647"/>
                    <a:pt x="3819" y="3402"/>
                    <a:pt x="2456" y="3402"/>
                  </a:cubicBezTo>
                  <a:cubicBezTo>
                    <a:pt x="1104" y="3402"/>
                    <a:pt x="0" y="2647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22" y="766"/>
                    <a:pt x="4922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3"/>
            <p:cNvSpPr/>
            <p:nvPr/>
          </p:nvSpPr>
          <p:spPr>
            <a:xfrm>
              <a:off x="1591369" y="1970035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1" y="1"/>
                  </a:moveTo>
                  <a:lnTo>
                    <a:pt x="68" y="125"/>
                  </a:lnTo>
                  <a:lnTo>
                    <a:pt x="282" y="237"/>
                  </a:lnTo>
                  <a:cubicBezTo>
                    <a:pt x="91" y="350"/>
                    <a:pt x="1" y="451"/>
                    <a:pt x="12" y="564"/>
                  </a:cubicBezTo>
                  <a:cubicBezTo>
                    <a:pt x="12" y="665"/>
                    <a:pt x="125" y="778"/>
                    <a:pt x="327" y="891"/>
                  </a:cubicBezTo>
                  <a:cubicBezTo>
                    <a:pt x="463" y="970"/>
                    <a:pt x="620" y="1026"/>
                    <a:pt x="778" y="1071"/>
                  </a:cubicBezTo>
                  <a:cubicBezTo>
                    <a:pt x="936" y="1105"/>
                    <a:pt x="1082" y="1127"/>
                    <a:pt x="1217" y="1138"/>
                  </a:cubicBezTo>
                  <a:cubicBezTo>
                    <a:pt x="1352" y="1138"/>
                    <a:pt x="1578" y="1138"/>
                    <a:pt x="1904" y="1127"/>
                  </a:cubicBezTo>
                  <a:cubicBezTo>
                    <a:pt x="2096" y="1127"/>
                    <a:pt x="2242" y="1138"/>
                    <a:pt x="2321" y="1161"/>
                  </a:cubicBezTo>
                  <a:cubicBezTo>
                    <a:pt x="2411" y="1195"/>
                    <a:pt x="2535" y="1251"/>
                    <a:pt x="2681" y="1330"/>
                  </a:cubicBezTo>
                  <a:cubicBezTo>
                    <a:pt x="2738" y="1364"/>
                    <a:pt x="2783" y="1398"/>
                    <a:pt x="2783" y="1420"/>
                  </a:cubicBezTo>
                  <a:cubicBezTo>
                    <a:pt x="2794" y="1454"/>
                    <a:pt x="2783" y="1476"/>
                    <a:pt x="2738" y="1488"/>
                  </a:cubicBezTo>
                  <a:cubicBezTo>
                    <a:pt x="2710" y="1499"/>
                    <a:pt x="2684" y="1505"/>
                    <a:pt x="2659" y="1505"/>
                  </a:cubicBezTo>
                  <a:cubicBezTo>
                    <a:pt x="2634" y="1505"/>
                    <a:pt x="2608" y="1499"/>
                    <a:pt x="2580" y="1488"/>
                  </a:cubicBezTo>
                  <a:cubicBezTo>
                    <a:pt x="2524" y="1476"/>
                    <a:pt x="2400" y="1409"/>
                    <a:pt x="2220" y="1307"/>
                  </a:cubicBezTo>
                  <a:lnTo>
                    <a:pt x="2051" y="1217"/>
                  </a:lnTo>
                  <a:lnTo>
                    <a:pt x="1409" y="1488"/>
                  </a:lnTo>
                  <a:lnTo>
                    <a:pt x="1544" y="1555"/>
                  </a:lnTo>
                  <a:cubicBezTo>
                    <a:pt x="1848" y="1724"/>
                    <a:pt x="2118" y="1814"/>
                    <a:pt x="2366" y="1826"/>
                  </a:cubicBezTo>
                  <a:cubicBezTo>
                    <a:pt x="2431" y="1831"/>
                    <a:pt x="2493" y="1834"/>
                    <a:pt x="2552" y="1834"/>
                  </a:cubicBezTo>
                  <a:cubicBezTo>
                    <a:pt x="2731" y="1834"/>
                    <a:pt x="2887" y="1809"/>
                    <a:pt x="3031" y="1758"/>
                  </a:cubicBezTo>
                  <a:lnTo>
                    <a:pt x="3290" y="1904"/>
                  </a:lnTo>
                  <a:lnTo>
                    <a:pt x="3583" y="1792"/>
                  </a:lnTo>
                  <a:lnTo>
                    <a:pt x="3335" y="1645"/>
                  </a:lnTo>
                  <a:cubicBezTo>
                    <a:pt x="3515" y="1533"/>
                    <a:pt x="3594" y="1420"/>
                    <a:pt x="3571" y="1296"/>
                  </a:cubicBezTo>
                  <a:cubicBezTo>
                    <a:pt x="3537" y="1172"/>
                    <a:pt x="3402" y="1048"/>
                    <a:pt x="3166" y="913"/>
                  </a:cubicBezTo>
                  <a:cubicBezTo>
                    <a:pt x="3008" y="834"/>
                    <a:pt x="2862" y="767"/>
                    <a:pt x="2726" y="733"/>
                  </a:cubicBezTo>
                  <a:cubicBezTo>
                    <a:pt x="2580" y="688"/>
                    <a:pt x="2456" y="665"/>
                    <a:pt x="2332" y="665"/>
                  </a:cubicBezTo>
                  <a:cubicBezTo>
                    <a:pt x="2276" y="660"/>
                    <a:pt x="2200" y="657"/>
                    <a:pt x="2106" y="657"/>
                  </a:cubicBezTo>
                  <a:cubicBezTo>
                    <a:pt x="2011" y="657"/>
                    <a:pt x="1899" y="660"/>
                    <a:pt x="1769" y="665"/>
                  </a:cubicBezTo>
                  <a:cubicBezTo>
                    <a:pt x="1611" y="671"/>
                    <a:pt x="1482" y="674"/>
                    <a:pt x="1382" y="674"/>
                  </a:cubicBezTo>
                  <a:cubicBezTo>
                    <a:pt x="1282" y="674"/>
                    <a:pt x="1212" y="671"/>
                    <a:pt x="1172" y="665"/>
                  </a:cubicBezTo>
                  <a:cubicBezTo>
                    <a:pt x="1082" y="665"/>
                    <a:pt x="992" y="632"/>
                    <a:pt x="891" y="564"/>
                  </a:cubicBezTo>
                  <a:cubicBezTo>
                    <a:pt x="823" y="530"/>
                    <a:pt x="789" y="508"/>
                    <a:pt x="767" y="474"/>
                  </a:cubicBezTo>
                  <a:cubicBezTo>
                    <a:pt x="755" y="451"/>
                    <a:pt x="767" y="429"/>
                    <a:pt x="812" y="418"/>
                  </a:cubicBezTo>
                  <a:cubicBezTo>
                    <a:pt x="838" y="404"/>
                    <a:pt x="868" y="399"/>
                    <a:pt x="898" y="399"/>
                  </a:cubicBezTo>
                  <a:cubicBezTo>
                    <a:pt x="919" y="399"/>
                    <a:pt x="939" y="402"/>
                    <a:pt x="958" y="406"/>
                  </a:cubicBezTo>
                  <a:cubicBezTo>
                    <a:pt x="1014" y="418"/>
                    <a:pt x="1105" y="463"/>
                    <a:pt x="1217" y="530"/>
                  </a:cubicBezTo>
                  <a:lnTo>
                    <a:pt x="1330" y="587"/>
                  </a:lnTo>
                  <a:lnTo>
                    <a:pt x="1972" y="328"/>
                  </a:lnTo>
                  <a:cubicBezTo>
                    <a:pt x="1916" y="294"/>
                    <a:pt x="1882" y="271"/>
                    <a:pt x="1848" y="260"/>
                  </a:cubicBezTo>
                  <a:cubicBezTo>
                    <a:pt x="1645" y="147"/>
                    <a:pt x="1442" y="80"/>
                    <a:pt x="1228" y="57"/>
                  </a:cubicBezTo>
                  <a:cubicBezTo>
                    <a:pt x="1175" y="52"/>
                    <a:pt x="1121" y="49"/>
                    <a:pt x="1068" y="49"/>
                  </a:cubicBezTo>
                  <a:cubicBezTo>
                    <a:pt x="907" y="49"/>
                    <a:pt x="744" y="74"/>
                    <a:pt x="575" y="125"/>
                  </a:cubicBezTo>
                  <a:lnTo>
                    <a:pt x="36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3"/>
            <p:cNvSpPr/>
            <p:nvPr/>
          </p:nvSpPr>
          <p:spPr>
            <a:xfrm>
              <a:off x="1591369" y="1970035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2" y="328"/>
                  </a:moveTo>
                  <a:lnTo>
                    <a:pt x="1330" y="587"/>
                  </a:lnTo>
                  <a:lnTo>
                    <a:pt x="1217" y="530"/>
                  </a:lnTo>
                  <a:cubicBezTo>
                    <a:pt x="1105" y="463"/>
                    <a:pt x="1014" y="418"/>
                    <a:pt x="958" y="406"/>
                  </a:cubicBezTo>
                  <a:cubicBezTo>
                    <a:pt x="913" y="395"/>
                    <a:pt x="857" y="395"/>
                    <a:pt x="812" y="418"/>
                  </a:cubicBezTo>
                  <a:cubicBezTo>
                    <a:pt x="767" y="429"/>
                    <a:pt x="755" y="451"/>
                    <a:pt x="767" y="474"/>
                  </a:cubicBezTo>
                  <a:cubicBezTo>
                    <a:pt x="789" y="508"/>
                    <a:pt x="823" y="530"/>
                    <a:pt x="891" y="564"/>
                  </a:cubicBezTo>
                  <a:cubicBezTo>
                    <a:pt x="992" y="632"/>
                    <a:pt x="1082" y="665"/>
                    <a:pt x="1172" y="665"/>
                  </a:cubicBezTo>
                  <a:cubicBezTo>
                    <a:pt x="1251" y="677"/>
                    <a:pt x="1454" y="677"/>
                    <a:pt x="1769" y="665"/>
                  </a:cubicBezTo>
                  <a:cubicBezTo>
                    <a:pt x="2028" y="654"/>
                    <a:pt x="2220" y="654"/>
                    <a:pt x="2332" y="665"/>
                  </a:cubicBezTo>
                  <a:cubicBezTo>
                    <a:pt x="2456" y="665"/>
                    <a:pt x="2580" y="688"/>
                    <a:pt x="2726" y="733"/>
                  </a:cubicBezTo>
                  <a:cubicBezTo>
                    <a:pt x="2862" y="767"/>
                    <a:pt x="3008" y="834"/>
                    <a:pt x="3166" y="913"/>
                  </a:cubicBezTo>
                  <a:cubicBezTo>
                    <a:pt x="3402" y="1048"/>
                    <a:pt x="3537" y="1172"/>
                    <a:pt x="3571" y="1296"/>
                  </a:cubicBezTo>
                  <a:cubicBezTo>
                    <a:pt x="3594" y="1420"/>
                    <a:pt x="3515" y="1533"/>
                    <a:pt x="3335" y="1645"/>
                  </a:cubicBezTo>
                  <a:lnTo>
                    <a:pt x="3583" y="1792"/>
                  </a:lnTo>
                  <a:lnTo>
                    <a:pt x="3290" y="1904"/>
                  </a:lnTo>
                  <a:lnTo>
                    <a:pt x="3031" y="1758"/>
                  </a:lnTo>
                  <a:cubicBezTo>
                    <a:pt x="2839" y="1826"/>
                    <a:pt x="2625" y="1848"/>
                    <a:pt x="2366" y="1826"/>
                  </a:cubicBezTo>
                  <a:cubicBezTo>
                    <a:pt x="2118" y="1814"/>
                    <a:pt x="1848" y="1724"/>
                    <a:pt x="1544" y="1555"/>
                  </a:cubicBezTo>
                  <a:lnTo>
                    <a:pt x="1409" y="1488"/>
                  </a:lnTo>
                  <a:lnTo>
                    <a:pt x="2051" y="1217"/>
                  </a:lnTo>
                  <a:lnTo>
                    <a:pt x="2220" y="1307"/>
                  </a:lnTo>
                  <a:cubicBezTo>
                    <a:pt x="2400" y="1409"/>
                    <a:pt x="2524" y="1476"/>
                    <a:pt x="2580" y="1488"/>
                  </a:cubicBezTo>
                  <a:cubicBezTo>
                    <a:pt x="2636" y="1510"/>
                    <a:pt x="2681" y="1510"/>
                    <a:pt x="2738" y="1488"/>
                  </a:cubicBezTo>
                  <a:cubicBezTo>
                    <a:pt x="2783" y="1476"/>
                    <a:pt x="2794" y="1454"/>
                    <a:pt x="2783" y="1420"/>
                  </a:cubicBezTo>
                  <a:cubicBezTo>
                    <a:pt x="2783" y="1398"/>
                    <a:pt x="2738" y="1364"/>
                    <a:pt x="2681" y="1330"/>
                  </a:cubicBezTo>
                  <a:cubicBezTo>
                    <a:pt x="2535" y="1251"/>
                    <a:pt x="2411" y="1195"/>
                    <a:pt x="2321" y="1161"/>
                  </a:cubicBezTo>
                  <a:cubicBezTo>
                    <a:pt x="2242" y="1138"/>
                    <a:pt x="2096" y="1127"/>
                    <a:pt x="1904" y="1127"/>
                  </a:cubicBezTo>
                  <a:cubicBezTo>
                    <a:pt x="1578" y="1138"/>
                    <a:pt x="1352" y="1138"/>
                    <a:pt x="1217" y="1138"/>
                  </a:cubicBezTo>
                  <a:cubicBezTo>
                    <a:pt x="1082" y="1127"/>
                    <a:pt x="936" y="1105"/>
                    <a:pt x="778" y="1071"/>
                  </a:cubicBezTo>
                  <a:cubicBezTo>
                    <a:pt x="620" y="1026"/>
                    <a:pt x="463" y="970"/>
                    <a:pt x="327" y="891"/>
                  </a:cubicBezTo>
                  <a:cubicBezTo>
                    <a:pt x="125" y="778"/>
                    <a:pt x="12" y="665"/>
                    <a:pt x="12" y="564"/>
                  </a:cubicBezTo>
                  <a:cubicBezTo>
                    <a:pt x="1" y="451"/>
                    <a:pt x="91" y="350"/>
                    <a:pt x="282" y="237"/>
                  </a:cubicBezTo>
                  <a:lnTo>
                    <a:pt x="68" y="125"/>
                  </a:lnTo>
                  <a:lnTo>
                    <a:pt x="361" y="1"/>
                  </a:lnTo>
                  <a:lnTo>
                    <a:pt x="575" y="125"/>
                  </a:lnTo>
                  <a:cubicBezTo>
                    <a:pt x="800" y="57"/>
                    <a:pt x="1014" y="35"/>
                    <a:pt x="1228" y="57"/>
                  </a:cubicBezTo>
                  <a:cubicBezTo>
                    <a:pt x="1442" y="80"/>
                    <a:pt x="1645" y="147"/>
                    <a:pt x="1848" y="260"/>
                  </a:cubicBezTo>
                  <a:cubicBezTo>
                    <a:pt x="1882" y="271"/>
                    <a:pt x="1916" y="294"/>
                    <a:pt x="1972" y="32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extrusionOk="0">
                  <a:moveTo>
                    <a:pt x="3176" y="0"/>
                  </a:moveTo>
                  <a:cubicBezTo>
                    <a:pt x="1960" y="0"/>
                    <a:pt x="912" y="473"/>
                    <a:pt x="372" y="1160"/>
                  </a:cubicBezTo>
                  <a:lnTo>
                    <a:pt x="11" y="1160"/>
                  </a:lnTo>
                  <a:lnTo>
                    <a:pt x="0" y="2106"/>
                  </a:lnTo>
                  <a:cubicBezTo>
                    <a:pt x="0" y="2140"/>
                    <a:pt x="0" y="2174"/>
                    <a:pt x="0" y="2208"/>
                  </a:cubicBezTo>
                  <a:cubicBezTo>
                    <a:pt x="0" y="3424"/>
                    <a:pt x="1419" y="4404"/>
                    <a:pt x="3176" y="4404"/>
                  </a:cubicBezTo>
                  <a:cubicBezTo>
                    <a:pt x="4933" y="4404"/>
                    <a:pt x="6353" y="3424"/>
                    <a:pt x="6353" y="2208"/>
                  </a:cubicBezTo>
                  <a:lnTo>
                    <a:pt x="6353" y="1160"/>
                  </a:lnTo>
                  <a:lnTo>
                    <a:pt x="5981" y="1160"/>
                  </a:lnTo>
                  <a:cubicBezTo>
                    <a:pt x="5440" y="473"/>
                    <a:pt x="4393" y="0"/>
                    <a:pt x="3176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extrusionOk="0">
                  <a:moveTo>
                    <a:pt x="3176" y="0"/>
                  </a:moveTo>
                  <a:cubicBezTo>
                    <a:pt x="1419" y="0"/>
                    <a:pt x="0" y="991"/>
                    <a:pt x="0" y="2208"/>
                  </a:cubicBezTo>
                  <a:cubicBezTo>
                    <a:pt x="0" y="3413"/>
                    <a:pt x="1419" y="4404"/>
                    <a:pt x="3176" y="4404"/>
                  </a:cubicBezTo>
                  <a:cubicBezTo>
                    <a:pt x="4933" y="4404"/>
                    <a:pt x="6353" y="3413"/>
                    <a:pt x="6353" y="2208"/>
                  </a:cubicBezTo>
                  <a:cubicBezTo>
                    <a:pt x="6353" y="991"/>
                    <a:pt x="4933" y="0"/>
                    <a:pt x="317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fill="none" extrusionOk="0">
                  <a:moveTo>
                    <a:pt x="5981" y="1160"/>
                  </a:moveTo>
                  <a:cubicBezTo>
                    <a:pt x="5440" y="473"/>
                    <a:pt x="4393" y="0"/>
                    <a:pt x="3176" y="0"/>
                  </a:cubicBezTo>
                  <a:cubicBezTo>
                    <a:pt x="1960" y="0"/>
                    <a:pt x="912" y="473"/>
                    <a:pt x="372" y="1160"/>
                  </a:cubicBezTo>
                  <a:lnTo>
                    <a:pt x="11" y="1160"/>
                  </a:lnTo>
                  <a:lnTo>
                    <a:pt x="0" y="2106"/>
                  </a:lnTo>
                  <a:cubicBezTo>
                    <a:pt x="0" y="2140"/>
                    <a:pt x="0" y="2174"/>
                    <a:pt x="0" y="2208"/>
                  </a:cubicBezTo>
                  <a:cubicBezTo>
                    <a:pt x="0" y="3424"/>
                    <a:pt x="1419" y="4404"/>
                    <a:pt x="3176" y="4404"/>
                  </a:cubicBezTo>
                  <a:cubicBezTo>
                    <a:pt x="4933" y="4404"/>
                    <a:pt x="6353" y="3424"/>
                    <a:pt x="6353" y="2208"/>
                  </a:cubicBezTo>
                  <a:lnTo>
                    <a:pt x="6353" y="1160"/>
                  </a:ln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fill="none" extrusionOk="0">
                  <a:moveTo>
                    <a:pt x="6353" y="2208"/>
                  </a:moveTo>
                  <a:cubicBezTo>
                    <a:pt x="6353" y="3413"/>
                    <a:pt x="4933" y="4404"/>
                    <a:pt x="3176" y="4404"/>
                  </a:cubicBezTo>
                  <a:cubicBezTo>
                    <a:pt x="1419" y="4404"/>
                    <a:pt x="0" y="3413"/>
                    <a:pt x="0" y="2208"/>
                  </a:cubicBezTo>
                  <a:cubicBezTo>
                    <a:pt x="0" y="991"/>
                    <a:pt x="1419" y="0"/>
                    <a:pt x="3176" y="0"/>
                  </a:cubicBezTo>
                  <a:cubicBezTo>
                    <a:pt x="4933" y="0"/>
                    <a:pt x="6353" y="991"/>
                    <a:pt x="6353" y="220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3"/>
            <p:cNvSpPr/>
            <p:nvPr/>
          </p:nvSpPr>
          <p:spPr>
            <a:xfrm>
              <a:off x="1720450" y="2031414"/>
              <a:ext cx="221942" cy="153504"/>
            </a:xfrm>
            <a:custGeom>
              <a:avLst/>
              <a:gdLst/>
              <a:ahLst/>
              <a:cxnLst/>
              <a:rect l="l" t="t" r="r" b="b"/>
              <a:pathLst>
                <a:path w="6353" h="4394" extrusionOk="0">
                  <a:moveTo>
                    <a:pt x="3176" y="1"/>
                  </a:moveTo>
                  <a:cubicBezTo>
                    <a:pt x="1419" y="1"/>
                    <a:pt x="0" y="981"/>
                    <a:pt x="0" y="2197"/>
                  </a:cubicBezTo>
                  <a:cubicBezTo>
                    <a:pt x="0" y="3414"/>
                    <a:pt x="1419" y="4394"/>
                    <a:pt x="3176" y="4394"/>
                  </a:cubicBezTo>
                  <a:cubicBezTo>
                    <a:pt x="4933" y="4394"/>
                    <a:pt x="6353" y="3414"/>
                    <a:pt x="6353" y="2197"/>
                  </a:cubicBezTo>
                  <a:cubicBezTo>
                    <a:pt x="6353" y="981"/>
                    <a:pt x="4933" y="1"/>
                    <a:pt x="317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" name="Google Shape;911;p33"/>
            <p:cNvSpPr/>
            <p:nvPr/>
          </p:nvSpPr>
          <p:spPr>
            <a:xfrm>
              <a:off x="1720450" y="2031414"/>
              <a:ext cx="221942" cy="153504"/>
            </a:xfrm>
            <a:custGeom>
              <a:avLst/>
              <a:gdLst/>
              <a:ahLst/>
              <a:cxnLst/>
              <a:rect l="l" t="t" r="r" b="b"/>
              <a:pathLst>
                <a:path w="6353" h="4394" fill="none" extrusionOk="0">
                  <a:moveTo>
                    <a:pt x="6353" y="2197"/>
                  </a:moveTo>
                  <a:cubicBezTo>
                    <a:pt x="6353" y="3414"/>
                    <a:pt x="4933" y="4394"/>
                    <a:pt x="3176" y="4394"/>
                  </a:cubicBezTo>
                  <a:cubicBezTo>
                    <a:pt x="1419" y="4394"/>
                    <a:pt x="0" y="3414"/>
                    <a:pt x="0" y="2197"/>
                  </a:cubicBezTo>
                  <a:cubicBezTo>
                    <a:pt x="0" y="981"/>
                    <a:pt x="1419" y="1"/>
                    <a:pt x="3176" y="1"/>
                  </a:cubicBezTo>
                  <a:cubicBezTo>
                    <a:pt x="4933" y="1"/>
                    <a:pt x="6353" y="981"/>
                    <a:pt x="6353" y="219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3"/>
            <p:cNvSpPr/>
            <p:nvPr/>
          </p:nvSpPr>
          <p:spPr>
            <a:xfrm>
              <a:off x="1832168" y="2185263"/>
              <a:ext cx="35" cy="36263"/>
            </a:xfrm>
            <a:custGeom>
              <a:avLst/>
              <a:gdLst/>
              <a:ahLst/>
              <a:cxnLst/>
              <a:rect l="l" t="t" r="r" b="b"/>
              <a:pathLst>
                <a:path w="1" h="1038" fill="none" extrusionOk="0">
                  <a:moveTo>
                    <a:pt x="1" y="1037"/>
                  </a:moveTo>
                  <a:cubicBezTo>
                    <a:pt x="1" y="1003"/>
                    <a:pt x="1" y="981"/>
                    <a:pt x="1" y="958"/>
                  </a:cubicBez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3"/>
            <p:cNvSpPr/>
            <p:nvPr/>
          </p:nvSpPr>
          <p:spPr>
            <a:xfrm>
              <a:off x="1856168" y="2183306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3"/>
            <p:cNvSpPr/>
            <p:nvPr/>
          </p:nvSpPr>
          <p:spPr>
            <a:xfrm>
              <a:off x="1879015" y="2178206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0" y="1014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3"/>
            <p:cNvSpPr/>
            <p:nvPr/>
          </p:nvSpPr>
          <p:spPr>
            <a:xfrm>
              <a:off x="1900254" y="216954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3"/>
            <p:cNvSpPr/>
            <p:nvPr/>
          </p:nvSpPr>
          <p:spPr>
            <a:xfrm>
              <a:off x="1918350" y="215735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3"/>
            <p:cNvSpPr/>
            <p:nvPr/>
          </p:nvSpPr>
          <p:spPr>
            <a:xfrm>
              <a:off x="1934489" y="213726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3"/>
            <p:cNvSpPr/>
            <p:nvPr/>
          </p:nvSpPr>
          <p:spPr>
            <a:xfrm>
              <a:off x="1807400" y="2183306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0" y="1014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3"/>
            <p:cNvSpPr/>
            <p:nvPr/>
          </p:nvSpPr>
          <p:spPr>
            <a:xfrm>
              <a:off x="1784588" y="2178206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0" y="1014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3"/>
            <p:cNvSpPr/>
            <p:nvPr/>
          </p:nvSpPr>
          <p:spPr>
            <a:xfrm>
              <a:off x="1763314" y="216954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3"/>
            <p:cNvSpPr/>
            <p:nvPr/>
          </p:nvSpPr>
          <p:spPr>
            <a:xfrm>
              <a:off x="1745218" y="215735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3"/>
            <p:cNvSpPr/>
            <p:nvPr/>
          </p:nvSpPr>
          <p:spPr>
            <a:xfrm>
              <a:off x="1729078" y="213726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3" name="Google Shape;923;p33"/>
            <p:cNvSpPr/>
            <p:nvPr/>
          </p:nvSpPr>
          <p:spPr>
            <a:xfrm>
              <a:off x="1745602" y="2048741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extrusionOk="0">
                  <a:moveTo>
                    <a:pt x="2456" y="1"/>
                  </a:moveTo>
                  <a:cubicBezTo>
                    <a:pt x="1094" y="1"/>
                    <a:pt x="1" y="766"/>
                    <a:pt x="1" y="1701"/>
                  </a:cubicBezTo>
                  <a:cubicBezTo>
                    <a:pt x="1" y="2636"/>
                    <a:pt x="1094" y="3402"/>
                    <a:pt x="2456" y="3402"/>
                  </a:cubicBezTo>
                  <a:cubicBezTo>
                    <a:pt x="3819" y="3402"/>
                    <a:pt x="4912" y="2636"/>
                    <a:pt x="4912" y="1701"/>
                  </a:cubicBezTo>
                  <a:cubicBezTo>
                    <a:pt x="4912" y="766"/>
                    <a:pt x="3819" y="1"/>
                    <a:pt x="24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3"/>
            <p:cNvSpPr/>
            <p:nvPr/>
          </p:nvSpPr>
          <p:spPr>
            <a:xfrm>
              <a:off x="1745602" y="2048741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fill="none" extrusionOk="0">
                  <a:moveTo>
                    <a:pt x="4912" y="1701"/>
                  </a:moveTo>
                  <a:cubicBezTo>
                    <a:pt x="4912" y="2636"/>
                    <a:pt x="3819" y="3402"/>
                    <a:pt x="2456" y="3402"/>
                  </a:cubicBezTo>
                  <a:cubicBezTo>
                    <a:pt x="1094" y="3402"/>
                    <a:pt x="1" y="2636"/>
                    <a:pt x="1" y="1701"/>
                  </a:cubicBezTo>
                  <a:cubicBezTo>
                    <a:pt x="1" y="766"/>
                    <a:pt x="1094" y="1"/>
                    <a:pt x="2456" y="1"/>
                  </a:cubicBezTo>
                  <a:cubicBezTo>
                    <a:pt x="3819" y="1"/>
                    <a:pt x="4912" y="766"/>
                    <a:pt x="4912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3"/>
            <p:cNvSpPr/>
            <p:nvPr/>
          </p:nvSpPr>
          <p:spPr>
            <a:xfrm>
              <a:off x="1768833" y="2074697"/>
              <a:ext cx="125556" cy="66935"/>
            </a:xfrm>
            <a:custGeom>
              <a:avLst/>
              <a:gdLst/>
              <a:ahLst/>
              <a:cxnLst/>
              <a:rect l="l" t="t" r="r" b="b"/>
              <a:pathLst>
                <a:path w="3594" h="1916" extrusionOk="0">
                  <a:moveTo>
                    <a:pt x="361" y="1"/>
                  </a:moveTo>
                  <a:lnTo>
                    <a:pt x="57" y="125"/>
                  </a:lnTo>
                  <a:lnTo>
                    <a:pt x="282" y="249"/>
                  </a:lnTo>
                  <a:cubicBezTo>
                    <a:pt x="91" y="350"/>
                    <a:pt x="1" y="463"/>
                    <a:pt x="1" y="564"/>
                  </a:cubicBezTo>
                  <a:cubicBezTo>
                    <a:pt x="12" y="677"/>
                    <a:pt x="113" y="789"/>
                    <a:pt x="316" y="902"/>
                  </a:cubicBezTo>
                  <a:cubicBezTo>
                    <a:pt x="462" y="981"/>
                    <a:pt x="609" y="1037"/>
                    <a:pt x="778" y="1082"/>
                  </a:cubicBezTo>
                  <a:cubicBezTo>
                    <a:pt x="935" y="1116"/>
                    <a:pt x="1082" y="1139"/>
                    <a:pt x="1217" y="1150"/>
                  </a:cubicBezTo>
                  <a:cubicBezTo>
                    <a:pt x="1341" y="1150"/>
                    <a:pt x="1577" y="1150"/>
                    <a:pt x="1904" y="1139"/>
                  </a:cubicBezTo>
                  <a:cubicBezTo>
                    <a:pt x="2096" y="1139"/>
                    <a:pt x="2231" y="1150"/>
                    <a:pt x="2321" y="1172"/>
                  </a:cubicBezTo>
                  <a:cubicBezTo>
                    <a:pt x="2411" y="1206"/>
                    <a:pt x="2524" y="1262"/>
                    <a:pt x="2681" y="1341"/>
                  </a:cubicBezTo>
                  <a:cubicBezTo>
                    <a:pt x="2738" y="1375"/>
                    <a:pt x="2771" y="1409"/>
                    <a:pt x="2783" y="1431"/>
                  </a:cubicBezTo>
                  <a:cubicBezTo>
                    <a:pt x="2794" y="1454"/>
                    <a:pt x="2783" y="1476"/>
                    <a:pt x="2738" y="1499"/>
                  </a:cubicBezTo>
                  <a:cubicBezTo>
                    <a:pt x="2709" y="1510"/>
                    <a:pt x="2681" y="1516"/>
                    <a:pt x="2653" y="1516"/>
                  </a:cubicBezTo>
                  <a:cubicBezTo>
                    <a:pt x="2625" y="1516"/>
                    <a:pt x="2597" y="1510"/>
                    <a:pt x="2569" y="1499"/>
                  </a:cubicBezTo>
                  <a:cubicBezTo>
                    <a:pt x="2512" y="1476"/>
                    <a:pt x="2400" y="1420"/>
                    <a:pt x="2208" y="1319"/>
                  </a:cubicBezTo>
                  <a:lnTo>
                    <a:pt x="2050" y="1229"/>
                  </a:lnTo>
                  <a:lnTo>
                    <a:pt x="1408" y="1488"/>
                  </a:lnTo>
                  <a:lnTo>
                    <a:pt x="1532" y="1567"/>
                  </a:lnTo>
                  <a:cubicBezTo>
                    <a:pt x="1836" y="1735"/>
                    <a:pt x="2118" y="1826"/>
                    <a:pt x="2366" y="1837"/>
                  </a:cubicBezTo>
                  <a:cubicBezTo>
                    <a:pt x="2407" y="1839"/>
                    <a:pt x="2448" y="1840"/>
                    <a:pt x="2488" y="1840"/>
                  </a:cubicBezTo>
                  <a:cubicBezTo>
                    <a:pt x="2687" y="1840"/>
                    <a:pt x="2869" y="1816"/>
                    <a:pt x="3019" y="1769"/>
                  </a:cubicBezTo>
                  <a:lnTo>
                    <a:pt x="3289" y="1916"/>
                  </a:lnTo>
                  <a:lnTo>
                    <a:pt x="3582" y="1792"/>
                  </a:lnTo>
                  <a:lnTo>
                    <a:pt x="3323" y="1657"/>
                  </a:lnTo>
                  <a:cubicBezTo>
                    <a:pt x="3515" y="1544"/>
                    <a:pt x="3594" y="1431"/>
                    <a:pt x="3560" y="1307"/>
                  </a:cubicBezTo>
                  <a:cubicBezTo>
                    <a:pt x="3537" y="1184"/>
                    <a:pt x="3402" y="1060"/>
                    <a:pt x="3154" y="925"/>
                  </a:cubicBezTo>
                  <a:cubicBezTo>
                    <a:pt x="3008" y="834"/>
                    <a:pt x="2861" y="778"/>
                    <a:pt x="2715" y="733"/>
                  </a:cubicBezTo>
                  <a:cubicBezTo>
                    <a:pt x="2580" y="699"/>
                    <a:pt x="2445" y="677"/>
                    <a:pt x="2332" y="665"/>
                  </a:cubicBezTo>
                  <a:cubicBezTo>
                    <a:pt x="2219" y="665"/>
                    <a:pt x="2028" y="665"/>
                    <a:pt x="1758" y="677"/>
                  </a:cubicBezTo>
                  <a:lnTo>
                    <a:pt x="1161" y="677"/>
                  </a:lnTo>
                  <a:cubicBezTo>
                    <a:pt x="1082" y="665"/>
                    <a:pt x="992" y="632"/>
                    <a:pt x="879" y="575"/>
                  </a:cubicBezTo>
                  <a:cubicBezTo>
                    <a:pt x="823" y="542"/>
                    <a:pt x="778" y="508"/>
                    <a:pt x="766" y="485"/>
                  </a:cubicBezTo>
                  <a:cubicBezTo>
                    <a:pt x="755" y="463"/>
                    <a:pt x="766" y="440"/>
                    <a:pt x="811" y="418"/>
                  </a:cubicBezTo>
                  <a:cubicBezTo>
                    <a:pt x="837" y="411"/>
                    <a:pt x="864" y="405"/>
                    <a:pt x="892" y="405"/>
                  </a:cubicBezTo>
                  <a:cubicBezTo>
                    <a:pt x="912" y="405"/>
                    <a:pt x="934" y="408"/>
                    <a:pt x="958" y="418"/>
                  </a:cubicBezTo>
                  <a:cubicBezTo>
                    <a:pt x="1014" y="429"/>
                    <a:pt x="1093" y="463"/>
                    <a:pt x="1217" y="530"/>
                  </a:cubicBezTo>
                  <a:lnTo>
                    <a:pt x="1330" y="598"/>
                  </a:lnTo>
                  <a:lnTo>
                    <a:pt x="1961" y="332"/>
                  </a:lnTo>
                  <a:lnTo>
                    <a:pt x="1961" y="332"/>
                  </a:lnTo>
                  <a:cubicBezTo>
                    <a:pt x="1964" y="334"/>
                    <a:pt x="1968" y="337"/>
                    <a:pt x="1972" y="339"/>
                  </a:cubicBezTo>
                  <a:lnTo>
                    <a:pt x="1972" y="328"/>
                  </a:lnTo>
                  <a:lnTo>
                    <a:pt x="1961" y="332"/>
                  </a:lnTo>
                  <a:lnTo>
                    <a:pt x="1961" y="332"/>
                  </a:lnTo>
                  <a:cubicBezTo>
                    <a:pt x="1909" y="302"/>
                    <a:pt x="1869" y="281"/>
                    <a:pt x="1848" y="260"/>
                  </a:cubicBezTo>
                  <a:cubicBezTo>
                    <a:pt x="1645" y="147"/>
                    <a:pt x="1442" y="80"/>
                    <a:pt x="1228" y="57"/>
                  </a:cubicBezTo>
                  <a:cubicBezTo>
                    <a:pt x="1175" y="52"/>
                    <a:pt x="1121" y="49"/>
                    <a:pt x="1068" y="49"/>
                  </a:cubicBezTo>
                  <a:cubicBezTo>
                    <a:pt x="907" y="49"/>
                    <a:pt x="744" y="74"/>
                    <a:pt x="575" y="125"/>
                  </a:cubicBezTo>
                  <a:lnTo>
                    <a:pt x="36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3"/>
            <p:cNvSpPr/>
            <p:nvPr/>
          </p:nvSpPr>
          <p:spPr>
            <a:xfrm>
              <a:off x="1768833" y="2074697"/>
              <a:ext cx="125556" cy="66935"/>
            </a:xfrm>
            <a:custGeom>
              <a:avLst/>
              <a:gdLst/>
              <a:ahLst/>
              <a:cxnLst/>
              <a:rect l="l" t="t" r="r" b="b"/>
              <a:pathLst>
                <a:path w="3594" h="1916" fill="none" extrusionOk="0">
                  <a:moveTo>
                    <a:pt x="1972" y="328"/>
                  </a:moveTo>
                  <a:lnTo>
                    <a:pt x="1330" y="598"/>
                  </a:lnTo>
                  <a:lnTo>
                    <a:pt x="1217" y="530"/>
                  </a:lnTo>
                  <a:cubicBezTo>
                    <a:pt x="1093" y="463"/>
                    <a:pt x="1014" y="429"/>
                    <a:pt x="958" y="418"/>
                  </a:cubicBezTo>
                  <a:cubicBezTo>
                    <a:pt x="902" y="395"/>
                    <a:pt x="857" y="406"/>
                    <a:pt x="811" y="418"/>
                  </a:cubicBezTo>
                  <a:cubicBezTo>
                    <a:pt x="766" y="440"/>
                    <a:pt x="755" y="463"/>
                    <a:pt x="766" y="485"/>
                  </a:cubicBezTo>
                  <a:cubicBezTo>
                    <a:pt x="778" y="508"/>
                    <a:pt x="823" y="542"/>
                    <a:pt x="879" y="575"/>
                  </a:cubicBezTo>
                  <a:cubicBezTo>
                    <a:pt x="992" y="632"/>
                    <a:pt x="1082" y="665"/>
                    <a:pt x="1161" y="677"/>
                  </a:cubicBezTo>
                  <a:cubicBezTo>
                    <a:pt x="1251" y="677"/>
                    <a:pt x="1442" y="677"/>
                    <a:pt x="1758" y="677"/>
                  </a:cubicBezTo>
                  <a:cubicBezTo>
                    <a:pt x="2028" y="665"/>
                    <a:pt x="2219" y="665"/>
                    <a:pt x="2332" y="665"/>
                  </a:cubicBezTo>
                  <a:cubicBezTo>
                    <a:pt x="2445" y="677"/>
                    <a:pt x="2580" y="699"/>
                    <a:pt x="2715" y="733"/>
                  </a:cubicBezTo>
                  <a:cubicBezTo>
                    <a:pt x="2861" y="778"/>
                    <a:pt x="3008" y="834"/>
                    <a:pt x="3154" y="925"/>
                  </a:cubicBezTo>
                  <a:cubicBezTo>
                    <a:pt x="3402" y="1060"/>
                    <a:pt x="3537" y="1184"/>
                    <a:pt x="3560" y="1307"/>
                  </a:cubicBezTo>
                  <a:cubicBezTo>
                    <a:pt x="3594" y="1431"/>
                    <a:pt x="3515" y="1544"/>
                    <a:pt x="3323" y="1657"/>
                  </a:cubicBezTo>
                  <a:lnTo>
                    <a:pt x="3582" y="1792"/>
                  </a:lnTo>
                  <a:lnTo>
                    <a:pt x="3289" y="1916"/>
                  </a:lnTo>
                  <a:lnTo>
                    <a:pt x="3019" y="1769"/>
                  </a:lnTo>
                  <a:cubicBezTo>
                    <a:pt x="2839" y="1826"/>
                    <a:pt x="2614" y="1848"/>
                    <a:pt x="2366" y="1837"/>
                  </a:cubicBezTo>
                  <a:cubicBezTo>
                    <a:pt x="2118" y="1826"/>
                    <a:pt x="1836" y="1735"/>
                    <a:pt x="1532" y="1567"/>
                  </a:cubicBezTo>
                  <a:lnTo>
                    <a:pt x="1408" y="1488"/>
                  </a:lnTo>
                  <a:lnTo>
                    <a:pt x="2050" y="1229"/>
                  </a:lnTo>
                  <a:lnTo>
                    <a:pt x="2208" y="1319"/>
                  </a:lnTo>
                  <a:cubicBezTo>
                    <a:pt x="2400" y="1420"/>
                    <a:pt x="2512" y="1476"/>
                    <a:pt x="2569" y="1499"/>
                  </a:cubicBezTo>
                  <a:cubicBezTo>
                    <a:pt x="2625" y="1521"/>
                    <a:pt x="2681" y="1521"/>
                    <a:pt x="2738" y="1499"/>
                  </a:cubicBezTo>
                  <a:cubicBezTo>
                    <a:pt x="2783" y="1476"/>
                    <a:pt x="2794" y="1454"/>
                    <a:pt x="2783" y="1431"/>
                  </a:cubicBezTo>
                  <a:cubicBezTo>
                    <a:pt x="2771" y="1409"/>
                    <a:pt x="2738" y="1375"/>
                    <a:pt x="2681" y="1341"/>
                  </a:cubicBezTo>
                  <a:cubicBezTo>
                    <a:pt x="2524" y="1262"/>
                    <a:pt x="2411" y="1206"/>
                    <a:pt x="2321" y="1172"/>
                  </a:cubicBezTo>
                  <a:cubicBezTo>
                    <a:pt x="2231" y="1150"/>
                    <a:pt x="2096" y="1139"/>
                    <a:pt x="1904" y="1139"/>
                  </a:cubicBezTo>
                  <a:cubicBezTo>
                    <a:pt x="1577" y="1150"/>
                    <a:pt x="1341" y="1150"/>
                    <a:pt x="1217" y="1150"/>
                  </a:cubicBezTo>
                  <a:cubicBezTo>
                    <a:pt x="1082" y="1139"/>
                    <a:pt x="935" y="1116"/>
                    <a:pt x="778" y="1082"/>
                  </a:cubicBezTo>
                  <a:cubicBezTo>
                    <a:pt x="609" y="1037"/>
                    <a:pt x="462" y="981"/>
                    <a:pt x="316" y="902"/>
                  </a:cubicBezTo>
                  <a:cubicBezTo>
                    <a:pt x="113" y="789"/>
                    <a:pt x="12" y="677"/>
                    <a:pt x="1" y="564"/>
                  </a:cubicBezTo>
                  <a:cubicBezTo>
                    <a:pt x="1" y="463"/>
                    <a:pt x="91" y="350"/>
                    <a:pt x="282" y="249"/>
                  </a:cubicBezTo>
                  <a:lnTo>
                    <a:pt x="57" y="125"/>
                  </a:lnTo>
                  <a:lnTo>
                    <a:pt x="361" y="1"/>
                  </a:lnTo>
                  <a:lnTo>
                    <a:pt x="575" y="125"/>
                  </a:lnTo>
                  <a:cubicBezTo>
                    <a:pt x="800" y="57"/>
                    <a:pt x="1014" y="35"/>
                    <a:pt x="1228" y="57"/>
                  </a:cubicBezTo>
                  <a:cubicBezTo>
                    <a:pt x="1442" y="80"/>
                    <a:pt x="1645" y="147"/>
                    <a:pt x="1848" y="260"/>
                  </a:cubicBezTo>
                  <a:cubicBezTo>
                    <a:pt x="1870" y="283"/>
                    <a:pt x="1915" y="305"/>
                    <a:pt x="1972" y="33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3"/>
            <p:cNvSpPr/>
            <p:nvPr/>
          </p:nvSpPr>
          <p:spPr>
            <a:xfrm>
              <a:off x="1477660" y="1901111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0"/>
                  </a:moveTo>
                  <a:cubicBezTo>
                    <a:pt x="9507" y="0"/>
                    <a:pt x="9400" y="31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3"/>
                    <a:pt x="226" y="5927"/>
                  </a:cubicBezTo>
                  <a:lnTo>
                    <a:pt x="5576" y="9081"/>
                  </a:lnTo>
                  <a:cubicBezTo>
                    <a:pt x="5694" y="9149"/>
                    <a:pt x="5824" y="9182"/>
                    <a:pt x="5952" y="9182"/>
                  </a:cubicBezTo>
                  <a:cubicBezTo>
                    <a:pt x="6080" y="9182"/>
                    <a:pt x="6207" y="9149"/>
                    <a:pt x="6319" y="9081"/>
                  </a:cubicBezTo>
                  <a:lnTo>
                    <a:pt x="15488" y="3742"/>
                  </a:lnTo>
                  <a:cubicBezTo>
                    <a:pt x="15645" y="3652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1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3"/>
            <p:cNvSpPr/>
            <p:nvPr/>
          </p:nvSpPr>
          <p:spPr>
            <a:xfrm>
              <a:off x="1477660" y="1900028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8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0"/>
                    <a:pt x="9496" y="0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4"/>
                    <a:pt x="226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3"/>
            <p:cNvSpPr/>
            <p:nvPr/>
          </p:nvSpPr>
          <p:spPr>
            <a:xfrm>
              <a:off x="1477660" y="1894683"/>
              <a:ext cx="546593" cy="320948"/>
            </a:xfrm>
            <a:custGeom>
              <a:avLst/>
              <a:gdLst/>
              <a:ahLst/>
              <a:cxnLst/>
              <a:rect l="l" t="t" r="r" b="b"/>
              <a:pathLst>
                <a:path w="15646" h="9187" extrusionOk="0">
                  <a:moveTo>
                    <a:pt x="9615" y="1"/>
                  </a:moveTo>
                  <a:cubicBezTo>
                    <a:pt x="9507" y="1"/>
                    <a:pt x="9400" y="29"/>
                    <a:pt x="9304" y="85"/>
                  </a:cubicBezTo>
                  <a:lnTo>
                    <a:pt x="226" y="5345"/>
                  </a:lnTo>
                  <a:cubicBezTo>
                    <a:pt x="1" y="5481"/>
                    <a:pt x="1" y="5796"/>
                    <a:pt x="226" y="5931"/>
                  </a:cubicBezTo>
                  <a:lnTo>
                    <a:pt x="5576" y="9085"/>
                  </a:lnTo>
                  <a:cubicBezTo>
                    <a:pt x="5694" y="9152"/>
                    <a:pt x="5824" y="9186"/>
                    <a:pt x="5952" y="9186"/>
                  </a:cubicBezTo>
                  <a:cubicBezTo>
                    <a:pt x="6080" y="9186"/>
                    <a:pt x="6207" y="9152"/>
                    <a:pt x="6319" y="9085"/>
                  </a:cubicBezTo>
                  <a:lnTo>
                    <a:pt x="15488" y="3746"/>
                  </a:lnTo>
                  <a:cubicBezTo>
                    <a:pt x="15645" y="3656"/>
                    <a:pt x="15645" y="3431"/>
                    <a:pt x="15488" y="3341"/>
                  </a:cubicBezTo>
                  <a:lnTo>
                    <a:pt x="9935" y="85"/>
                  </a:lnTo>
                  <a:cubicBezTo>
                    <a:pt x="9834" y="29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3"/>
            <p:cNvSpPr/>
            <p:nvPr/>
          </p:nvSpPr>
          <p:spPr>
            <a:xfrm>
              <a:off x="1477660" y="1893705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3"/>
                  </a:lnTo>
                  <a:cubicBezTo>
                    <a:pt x="5813" y="9248"/>
                    <a:pt x="6094" y="9248"/>
                    <a:pt x="6319" y="9113"/>
                  </a:cubicBezTo>
                  <a:lnTo>
                    <a:pt x="15488" y="3774"/>
                  </a:lnTo>
                  <a:cubicBezTo>
                    <a:pt x="15645" y="3684"/>
                    <a:pt x="15645" y="3459"/>
                    <a:pt x="15488" y="3369"/>
                  </a:cubicBezTo>
                  <a:lnTo>
                    <a:pt x="9935" y="113"/>
                  </a:lnTo>
                  <a:cubicBezTo>
                    <a:pt x="9732" y="1"/>
                    <a:pt x="9496" y="1"/>
                    <a:pt x="9304" y="113"/>
                  </a:cubicBezTo>
                  <a:lnTo>
                    <a:pt x="226" y="5373"/>
                  </a:lnTo>
                  <a:cubicBezTo>
                    <a:pt x="1" y="5509"/>
                    <a:pt x="1" y="5824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3"/>
            <p:cNvSpPr/>
            <p:nvPr/>
          </p:nvSpPr>
          <p:spPr>
            <a:xfrm>
              <a:off x="1531178" y="1927555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extrusionOk="0">
                  <a:moveTo>
                    <a:pt x="8752" y="0"/>
                  </a:moveTo>
                  <a:cubicBezTo>
                    <a:pt x="8628" y="169"/>
                    <a:pt x="8380" y="282"/>
                    <a:pt x="8088" y="282"/>
                  </a:cubicBezTo>
                  <a:cubicBezTo>
                    <a:pt x="7806" y="282"/>
                    <a:pt x="7558" y="169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8"/>
                    <a:pt x="271" y="4686"/>
                  </a:cubicBezTo>
                  <a:cubicBezTo>
                    <a:pt x="271" y="4855"/>
                    <a:pt x="169" y="4990"/>
                    <a:pt x="12" y="5091"/>
                  </a:cubicBezTo>
                  <a:lnTo>
                    <a:pt x="3774" y="7310"/>
                  </a:lnTo>
                  <a:cubicBezTo>
                    <a:pt x="3909" y="7153"/>
                    <a:pt x="4145" y="7051"/>
                    <a:pt x="4427" y="7051"/>
                  </a:cubicBezTo>
                  <a:cubicBezTo>
                    <a:pt x="4709" y="7051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2"/>
                    <a:pt x="12311" y="2276"/>
                    <a:pt x="12469" y="2174"/>
                  </a:cubicBezTo>
                  <a:lnTo>
                    <a:pt x="8752" y="0"/>
                  </a:ln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3"/>
            <p:cNvSpPr/>
            <p:nvPr/>
          </p:nvSpPr>
          <p:spPr>
            <a:xfrm>
              <a:off x="1531178" y="1927555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fill="none" extrusionOk="0">
                  <a:moveTo>
                    <a:pt x="12199" y="2580"/>
                  </a:moveTo>
                  <a:cubicBezTo>
                    <a:pt x="12199" y="2422"/>
                    <a:pt x="12311" y="2276"/>
                    <a:pt x="12469" y="2174"/>
                  </a:cubicBezTo>
                  <a:lnTo>
                    <a:pt x="8752" y="0"/>
                  </a:lnTo>
                  <a:cubicBezTo>
                    <a:pt x="8628" y="169"/>
                    <a:pt x="8380" y="282"/>
                    <a:pt x="8088" y="282"/>
                  </a:cubicBezTo>
                  <a:cubicBezTo>
                    <a:pt x="7806" y="282"/>
                    <a:pt x="7558" y="169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8"/>
                    <a:pt x="271" y="4686"/>
                  </a:cubicBezTo>
                  <a:cubicBezTo>
                    <a:pt x="271" y="4855"/>
                    <a:pt x="169" y="4990"/>
                    <a:pt x="12" y="5091"/>
                  </a:cubicBezTo>
                  <a:lnTo>
                    <a:pt x="3774" y="7310"/>
                  </a:lnTo>
                  <a:cubicBezTo>
                    <a:pt x="3909" y="7153"/>
                    <a:pt x="4145" y="7051"/>
                    <a:pt x="4427" y="7051"/>
                  </a:cubicBezTo>
                  <a:cubicBezTo>
                    <a:pt x="4709" y="7051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3"/>
            <p:cNvSpPr/>
            <p:nvPr/>
          </p:nvSpPr>
          <p:spPr>
            <a:xfrm>
              <a:off x="1671647" y="1987747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extrusionOk="0">
                  <a:moveTo>
                    <a:pt x="2456" y="1"/>
                  </a:moveTo>
                  <a:cubicBezTo>
                    <a:pt x="1104" y="1"/>
                    <a:pt x="0" y="767"/>
                    <a:pt x="0" y="1702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2"/>
                  </a:cubicBezTo>
                  <a:cubicBezTo>
                    <a:pt x="4911" y="767"/>
                    <a:pt x="3819" y="1"/>
                    <a:pt x="24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3"/>
            <p:cNvSpPr/>
            <p:nvPr/>
          </p:nvSpPr>
          <p:spPr>
            <a:xfrm>
              <a:off x="1671647" y="1987747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fill="none" extrusionOk="0">
                  <a:moveTo>
                    <a:pt x="4911" y="1702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2"/>
                  </a:cubicBezTo>
                  <a:cubicBezTo>
                    <a:pt x="0" y="767"/>
                    <a:pt x="1104" y="1"/>
                    <a:pt x="2456" y="1"/>
                  </a:cubicBezTo>
                  <a:cubicBezTo>
                    <a:pt x="3819" y="1"/>
                    <a:pt x="4911" y="767"/>
                    <a:pt x="4911" y="1702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3"/>
            <p:cNvSpPr/>
            <p:nvPr/>
          </p:nvSpPr>
          <p:spPr>
            <a:xfrm>
              <a:off x="1694878" y="2014122"/>
              <a:ext cx="125556" cy="66516"/>
            </a:xfrm>
            <a:custGeom>
              <a:avLst/>
              <a:gdLst/>
              <a:ahLst/>
              <a:cxnLst/>
              <a:rect l="l" t="t" r="r" b="b"/>
              <a:pathLst>
                <a:path w="3594" h="1904" extrusionOk="0">
                  <a:moveTo>
                    <a:pt x="360" y="0"/>
                  </a:moveTo>
                  <a:lnTo>
                    <a:pt x="68" y="113"/>
                  </a:lnTo>
                  <a:lnTo>
                    <a:pt x="282" y="237"/>
                  </a:lnTo>
                  <a:cubicBezTo>
                    <a:pt x="90" y="338"/>
                    <a:pt x="0" y="451"/>
                    <a:pt x="11" y="552"/>
                  </a:cubicBezTo>
                  <a:cubicBezTo>
                    <a:pt x="11" y="665"/>
                    <a:pt x="124" y="778"/>
                    <a:pt x="327" y="890"/>
                  </a:cubicBezTo>
                  <a:cubicBezTo>
                    <a:pt x="462" y="969"/>
                    <a:pt x="608" y="1025"/>
                    <a:pt x="777" y="1070"/>
                  </a:cubicBezTo>
                  <a:cubicBezTo>
                    <a:pt x="935" y="1104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4"/>
                    <a:pt x="2523" y="1251"/>
                    <a:pt x="2681" y="1329"/>
                  </a:cubicBezTo>
                  <a:cubicBezTo>
                    <a:pt x="2737" y="1363"/>
                    <a:pt x="2771" y="1397"/>
                    <a:pt x="2782" y="1420"/>
                  </a:cubicBezTo>
                  <a:cubicBezTo>
                    <a:pt x="2793" y="1442"/>
                    <a:pt x="2782" y="1465"/>
                    <a:pt x="2737" y="1487"/>
                  </a:cubicBezTo>
                  <a:cubicBezTo>
                    <a:pt x="2709" y="1498"/>
                    <a:pt x="2684" y="1504"/>
                    <a:pt x="2657" y="1504"/>
                  </a:cubicBezTo>
                  <a:cubicBezTo>
                    <a:pt x="2630" y="1504"/>
                    <a:pt x="2602" y="1498"/>
                    <a:pt x="2568" y="1487"/>
                  </a:cubicBezTo>
                  <a:cubicBezTo>
                    <a:pt x="2512" y="1476"/>
                    <a:pt x="2399" y="1408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5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4"/>
                    <a:pt x="3030" y="1757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2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6"/>
                    <a:pt x="2714" y="721"/>
                  </a:cubicBezTo>
                  <a:cubicBezTo>
                    <a:pt x="2579" y="687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3"/>
                    <a:pt x="1376" y="673"/>
                  </a:cubicBezTo>
                  <a:cubicBezTo>
                    <a:pt x="1278" y="673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3"/>
                  </a:cubicBezTo>
                  <a:cubicBezTo>
                    <a:pt x="755" y="451"/>
                    <a:pt x="766" y="428"/>
                    <a:pt x="811" y="406"/>
                  </a:cubicBezTo>
                  <a:cubicBezTo>
                    <a:pt x="837" y="399"/>
                    <a:pt x="863" y="393"/>
                    <a:pt x="891" y="393"/>
                  </a:cubicBezTo>
                  <a:cubicBezTo>
                    <a:pt x="912" y="393"/>
                    <a:pt x="934" y="396"/>
                    <a:pt x="957" y="406"/>
                  </a:cubicBezTo>
                  <a:cubicBezTo>
                    <a:pt x="1014" y="417"/>
                    <a:pt x="1093" y="462"/>
                    <a:pt x="1216" y="518"/>
                  </a:cubicBezTo>
                  <a:lnTo>
                    <a:pt x="1329" y="586"/>
                  </a:lnTo>
                  <a:lnTo>
                    <a:pt x="1971" y="327"/>
                  </a:lnTo>
                  <a:cubicBezTo>
                    <a:pt x="1915" y="293"/>
                    <a:pt x="1881" y="271"/>
                    <a:pt x="1847" y="248"/>
                  </a:cubicBezTo>
                  <a:cubicBezTo>
                    <a:pt x="1644" y="136"/>
                    <a:pt x="1442" y="68"/>
                    <a:pt x="1228" y="45"/>
                  </a:cubicBezTo>
                  <a:cubicBezTo>
                    <a:pt x="1174" y="40"/>
                    <a:pt x="1121" y="37"/>
                    <a:pt x="1067" y="37"/>
                  </a:cubicBezTo>
                  <a:cubicBezTo>
                    <a:pt x="906" y="37"/>
                    <a:pt x="743" y="62"/>
                    <a:pt x="574" y="113"/>
                  </a:cubicBezTo>
                  <a:lnTo>
                    <a:pt x="36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6" name="Google Shape;936;p33"/>
            <p:cNvSpPr/>
            <p:nvPr/>
          </p:nvSpPr>
          <p:spPr>
            <a:xfrm>
              <a:off x="1694878" y="2014122"/>
              <a:ext cx="125556" cy="66516"/>
            </a:xfrm>
            <a:custGeom>
              <a:avLst/>
              <a:gdLst/>
              <a:ahLst/>
              <a:cxnLst/>
              <a:rect l="l" t="t" r="r" b="b"/>
              <a:pathLst>
                <a:path w="3594" h="1904" fill="none" extrusionOk="0">
                  <a:moveTo>
                    <a:pt x="1971" y="327"/>
                  </a:moveTo>
                  <a:lnTo>
                    <a:pt x="1329" y="586"/>
                  </a:lnTo>
                  <a:lnTo>
                    <a:pt x="1216" y="518"/>
                  </a:lnTo>
                  <a:cubicBezTo>
                    <a:pt x="1093" y="462"/>
                    <a:pt x="1014" y="417"/>
                    <a:pt x="957" y="406"/>
                  </a:cubicBezTo>
                  <a:cubicBezTo>
                    <a:pt x="901" y="383"/>
                    <a:pt x="856" y="395"/>
                    <a:pt x="811" y="406"/>
                  </a:cubicBezTo>
                  <a:cubicBezTo>
                    <a:pt x="766" y="428"/>
                    <a:pt x="755" y="451"/>
                    <a:pt x="766" y="473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6"/>
                    <a:pt x="1442" y="676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7"/>
                    <a:pt x="2714" y="721"/>
                  </a:cubicBezTo>
                  <a:cubicBezTo>
                    <a:pt x="2861" y="766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2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7"/>
                  </a:lnTo>
                  <a:cubicBezTo>
                    <a:pt x="2838" y="1814"/>
                    <a:pt x="2613" y="1836"/>
                    <a:pt x="2365" y="1825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8"/>
                    <a:pt x="2512" y="1476"/>
                    <a:pt x="2568" y="1487"/>
                  </a:cubicBezTo>
                  <a:cubicBezTo>
                    <a:pt x="2636" y="1510"/>
                    <a:pt x="2681" y="1510"/>
                    <a:pt x="2737" y="1487"/>
                  </a:cubicBezTo>
                  <a:cubicBezTo>
                    <a:pt x="2782" y="1465"/>
                    <a:pt x="2793" y="1442"/>
                    <a:pt x="2782" y="1420"/>
                  </a:cubicBezTo>
                  <a:cubicBezTo>
                    <a:pt x="2771" y="1397"/>
                    <a:pt x="2737" y="1363"/>
                    <a:pt x="2681" y="1329"/>
                  </a:cubicBezTo>
                  <a:cubicBezTo>
                    <a:pt x="2523" y="1251"/>
                    <a:pt x="2410" y="1194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4"/>
                    <a:pt x="777" y="1070"/>
                  </a:cubicBezTo>
                  <a:cubicBezTo>
                    <a:pt x="608" y="1025"/>
                    <a:pt x="462" y="969"/>
                    <a:pt x="327" y="890"/>
                  </a:cubicBezTo>
                  <a:cubicBezTo>
                    <a:pt x="124" y="778"/>
                    <a:pt x="11" y="665"/>
                    <a:pt x="11" y="552"/>
                  </a:cubicBezTo>
                  <a:cubicBezTo>
                    <a:pt x="0" y="451"/>
                    <a:pt x="90" y="338"/>
                    <a:pt x="282" y="237"/>
                  </a:cubicBezTo>
                  <a:lnTo>
                    <a:pt x="68" y="113"/>
                  </a:lnTo>
                  <a:lnTo>
                    <a:pt x="360" y="0"/>
                  </a:lnTo>
                  <a:lnTo>
                    <a:pt x="574" y="113"/>
                  </a:lnTo>
                  <a:cubicBezTo>
                    <a:pt x="800" y="45"/>
                    <a:pt x="1014" y="23"/>
                    <a:pt x="1228" y="45"/>
                  </a:cubicBezTo>
                  <a:cubicBezTo>
                    <a:pt x="1442" y="68"/>
                    <a:pt x="1644" y="136"/>
                    <a:pt x="1847" y="248"/>
                  </a:cubicBezTo>
                  <a:cubicBezTo>
                    <a:pt x="1881" y="271"/>
                    <a:pt x="1915" y="293"/>
                    <a:pt x="1971" y="32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7" name="Google Shape;937;p33"/>
            <p:cNvSpPr/>
            <p:nvPr/>
          </p:nvSpPr>
          <p:spPr>
            <a:xfrm>
              <a:off x="1628364" y="2101072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7" y="1"/>
                  </a:moveTo>
                  <a:cubicBezTo>
                    <a:pt x="271" y="1"/>
                    <a:pt x="1" y="181"/>
                    <a:pt x="1" y="406"/>
                  </a:cubicBezTo>
                  <a:cubicBezTo>
                    <a:pt x="1" y="631"/>
                    <a:pt x="271" y="823"/>
                    <a:pt x="597" y="823"/>
                  </a:cubicBezTo>
                  <a:cubicBezTo>
                    <a:pt x="924" y="823"/>
                    <a:pt x="1183" y="631"/>
                    <a:pt x="1183" y="406"/>
                  </a:cubicBezTo>
                  <a:cubicBezTo>
                    <a:pt x="1183" y="181"/>
                    <a:pt x="924" y="1"/>
                    <a:pt x="59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8" name="Google Shape;938;p33"/>
            <p:cNvSpPr/>
            <p:nvPr/>
          </p:nvSpPr>
          <p:spPr>
            <a:xfrm>
              <a:off x="1843592" y="1975555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8" y="1"/>
                  </a:moveTo>
                  <a:cubicBezTo>
                    <a:pt x="260" y="1"/>
                    <a:pt x="1" y="181"/>
                    <a:pt x="1" y="406"/>
                  </a:cubicBezTo>
                  <a:cubicBezTo>
                    <a:pt x="1" y="631"/>
                    <a:pt x="260" y="823"/>
                    <a:pt x="598" y="823"/>
                  </a:cubicBezTo>
                  <a:cubicBezTo>
                    <a:pt x="924" y="823"/>
                    <a:pt x="1183" y="631"/>
                    <a:pt x="1183" y="406"/>
                  </a:cubicBezTo>
                  <a:cubicBezTo>
                    <a:pt x="1183" y="181"/>
                    <a:pt x="924" y="1"/>
                    <a:pt x="59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9" name="Google Shape;939;p33"/>
            <p:cNvSpPr/>
            <p:nvPr/>
          </p:nvSpPr>
          <p:spPr>
            <a:xfrm>
              <a:off x="1477660" y="1871591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0"/>
                  </a:moveTo>
                  <a:cubicBezTo>
                    <a:pt x="9507" y="0"/>
                    <a:pt x="9400" y="31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4"/>
                    <a:pt x="226" y="5928"/>
                  </a:cubicBezTo>
                  <a:lnTo>
                    <a:pt x="5576" y="9081"/>
                  </a:lnTo>
                  <a:cubicBezTo>
                    <a:pt x="5694" y="9149"/>
                    <a:pt x="5824" y="9183"/>
                    <a:pt x="5952" y="9183"/>
                  </a:cubicBezTo>
                  <a:cubicBezTo>
                    <a:pt x="6080" y="9183"/>
                    <a:pt x="6207" y="9149"/>
                    <a:pt x="6319" y="9081"/>
                  </a:cubicBezTo>
                  <a:lnTo>
                    <a:pt x="15488" y="3742"/>
                  </a:lnTo>
                  <a:cubicBezTo>
                    <a:pt x="15645" y="3652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1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3"/>
            <p:cNvSpPr/>
            <p:nvPr/>
          </p:nvSpPr>
          <p:spPr>
            <a:xfrm>
              <a:off x="1477660" y="1870508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0"/>
                    <a:pt x="9496" y="0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5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3"/>
            <p:cNvSpPr/>
            <p:nvPr/>
          </p:nvSpPr>
          <p:spPr>
            <a:xfrm>
              <a:off x="1477660" y="1865198"/>
              <a:ext cx="546593" cy="320913"/>
            </a:xfrm>
            <a:custGeom>
              <a:avLst/>
              <a:gdLst/>
              <a:ahLst/>
              <a:cxnLst/>
              <a:rect l="l" t="t" r="r" b="b"/>
              <a:pathLst>
                <a:path w="15646" h="9186" extrusionOk="0">
                  <a:moveTo>
                    <a:pt x="9615" y="0"/>
                  </a:moveTo>
                  <a:cubicBezTo>
                    <a:pt x="9507" y="0"/>
                    <a:pt x="9400" y="28"/>
                    <a:pt x="9304" y="85"/>
                  </a:cubicBezTo>
                  <a:lnTo>
                    <a:pt x="226" y="5345"/>
                  </a:lnTo>
                  <a:cubicBezTo>
                    <a:pt x="1" y="5480"/>
                    <a:pt x="1" y="5795"/>
                    <a:pt x="226" y="5930"/>
                  </a:cubicBezTo>
                  <a:lnTo>
                    <a:pt x="5576" y="9084"/>
                  </a:lnTo>
                  <a:cubicBezTo>
                    <a:pt x="5694" y="9152"/>
                    <a:pt x="5824" y="9185"/>
                    <a:pt x="5952" y="9185"/>
                  </a:cubicBezTo>
                  <a:cubicBezTo>
                    <a:pt x="6080" y="9185"/>
                    <a:pt x="6207" y="9152"/>
                    <a:pt x="6319" y="9084"/>
                  </a:cubicBezTo>
                  <a:lnTo>
                    <a:pt x="15488" y="3745"/>
                  </a:lnTo>
                  <a:cubicBezTo>
                    <a:pt x="15645" y="3655"/>
                    <a:pt x="15645" y="3430"/>
                    <a:pt x="15488" y="3340"/>
                  </a:cubicBezTo>
                  <a:lnTo>
                    <a:pt x="9935" y="85"/>
                  </a:lnTo>
                  <a:cubicBezTo>
                    <a:pt x="9834" y="28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3"/>
            <p:cNvSpPr/>
            <p:nvPr/>
          </p:nvSpPr>
          <p:spPr>
            <a:xfrm>
              <a:off x="1477660" y="1864220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8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13"/>
                  </a:lnTo>
                  <a:cubicBezTo>
                    <a:pt x="9732" y="0"/>
                    <a:pt x="9496" y="0"/>
                    <a:pt x="9304" y="113"/>
                  </a:cubicBezTo>
                  <a:lnTo>
                    <a:pt x="226" y="5373"/>
                  </a:lnTo>
                  <a:cubicBezTo>
                    <a:pt x="1" y="5508"/>
                    <a:pt x="1" y="5823"/>
                    <a:pt x="226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3"/>
            <p:cNvSpPr/>
            <p:nvPr/>
          </p:nvSpPr>
          <p:spPr>
            <a:xfrm>
              <a:off x="1531178" y="1898036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extrusionOk="0">
                  <a:moveTo>
                    <a:pt x="8752" y="1"/>
                  </a:moveTo>
                  <a:cubicBezTo>
                    <a:pt x="8628" y="170"/>
                    <a:pt x="8380" y="282"/>
                    <a:pt x="8088" y="282"/>
                  </a:cubicBezTo>
                  <a:cubicBezTo>
                    <a:pt x="7806" y="282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0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2"/>
                    <a:pt x="12311" y="2276"/>
                    <a:pt x="12469" y="2175"/>
                  </a:cubicBezTo>
                  <a:lnTo>
                    <a:pt x="8752" y="1"/>
                  </a:ln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3"/>
            <p:cNvSpPr/>
            <p:nvPr/>
          </p:nvSpPr>
          <p:spPr>
            <a:xfrm>
              <a:off x="1531178" y="1898036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fill="none" extrusionOk="0">
                  <a:moveTo>
                    <a:pt x="12199" y="2580"/>
                  </a:moveTo>
                  <a:cubicBezTo>
                    <a:pt x="12199" y="2422"/>
                    <a:pt x="12311" y="2276"/>
                    <a:pt x="12469" y="2175"/>
                  </a:cubicBezTo>
                  <a:lnTo>
                    <a:pt x="8752" y="1"/>
                  </a:lnTo>
                  <a:cubicBezTo>
                    <a:pt x="8628" y="170"/>
                    <a:pt x="8380" y="282"/>
                    <a:pt x="8088" y="282"/>
                  </a:cubicBezTo>
                  <a:cubicBezTo>
                    <a:pt x="7806" y="282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0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3"/>
            <p:cNvSpPr/>
            <p:nvPr/>
          </p:nvSpPr>
          <p:spPr>
            <a:xfrm>
              <a:off x="1671647" y="1958262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1"/>
                  </a:cubicBezTo>
                  <a:cubicBezTo>
                    <a:pt x="4911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3"/>
            <p:cNvSpPr/>
            <p:nvPr/>
          </p:nvSpPr>
          <p:spPr>
            <a:xfrm>
              <a:off x="1671647" y="1958262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fill="none" extrusionOk="0">
                  <a:moveTo>
                    <a:pt x="4911" y="1701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11" y="766"/>
                    <a:pt x="4911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3"/>
            <p:cNvSpPr/>
            <p:nvPr/>
          </p:nvSpPr>
          <p:spPr>
            <a:xfrm>
              <a:off x="1694878" y="1984602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0" y="1"/>
                  </a:moveTo>
                  <a:lnTo>
                    <a:pt x="68" y="113"/>
                  </a:lnTo>
                  <a:lnTo>
                    <a:pt x="282" y="237"/>
                  </a:lnTo>
                  <a:cubicBezTo>
                    <a:pt x="90" y="339"/>
                    <a:pt x="0" y="451"/>
                    <a:pt x="11" y="553"/>
                  </a:cubicBezTo>
                  <a:cubicBezTo>
                    <a:pt x="11" y="665"/>
                    <a:pt x="124" y="778"/>
                    <a:pt x="327" y="890"/>
                  </a:cubicBezTo>
                  <a:cubicBezTo>
                    <a:pt x="462" y="969"/>
                    <a:pt x="608" y="1026"/>
                    <a:pt x="777" y="1071"/>
                  </a:cubicBezTo>
                  <a:cubicBezTo>
                    <a:pt x="935" y="1104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5"/>
                    <a:pt x="2523" y="1251"/>
                    <a:pt x="2681" y="1330"/>
                  </a:cubicBezTo>
                  <a:cubicBezTo>
                    <a:pt x="2737" y="1363"/>
                    <a:pt x="2771" y="1397"/>
                    <a:pt x="2782" y="1420"/>
                  </a:cubicBezTo>
                  <a:cubicBezTo>
                    <a:pt x="2793" y="1442"/>
                    <a:pt x="2782" y="1465"/>
                    <a:pt x="2737" y="1487"/>
                  </a:cubicBezTo>
                  <a:cubicBezTo>
                    <a:pt x="2709" y="1499"/>
                    <a:pt x="2684" y="1504"/>
                    <a:pt x="2657" y="1504"/>
                  </a:cubicBezTo>
                  <a:cubicBezTo>
                    <a:pt x="2630" y="1504"/>
                    <a:pt x="2602" y="1499"/>
                    <a:pt x="2568" y="1487"/>
                  </a:cubicBezTo>
                  <a:cubicBezTo>
                    <a:pt x="2512" y="1476"/>
                    <a:pt x="2399" y="1409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5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5"/>
                    <a:pt x="3030" y="1758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2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7"/>
                    <a:pt x="2714" y="721"/>
                  </a:cubicBezTo>
                  <a:cubicBezTo>
                    <a:pt x="2579" y="688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4"/>
                    <a:pt x="1376" y="674"/>
                  </a:cubicBezTo>
                  <a:cubicBezTo>
                    <a:pt x="1278" y="674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4"/>
                  </a:cubicBezTo>
                  <a:cubicBezTo>
                    <a:pt x="755" y="451"/>
                    <a:pt x="766" y="429"/>
                    <a:pt x="811" y="406"/>
                  </a:cubicBezTo>
                  <a:cubicBezTo>
                    <a:pt x="837" y="400"/>
                    <a:pt x="863" y="393"/>
                    <a:pt x="891" y="393"/>
                  </a:cubicBezTo>
                  <a:cubicBezTo>
                    <a:pt x="912" y="393"/>
                    <a:pt x="934" y="397"/>
                    <a:pt x="957" y="406"/>
                  </a:cubicBezTo>
                  <a:cubicBezTo>
                    <a:pt x="1014" y="417"/>
                    <a:pt x="1093" y="462"/>
                    <a:pt x="1216" y="519"/>
                  </a:cubicBezTo>
                  <a:lnTo>
                    <a:pt x="1329" y="586"/>
                  </a:lnTo>
                  <a:lnTo>
                    <a:pt x="1971" y="327"/>
                  </a:lnTo>
                  <a:cubicBezTo>
                    <a:pt x="1915" y="293"/>
                    <a:pt x="1881" y="271"/>
                    <a:pt x="1847" y="248"/>
                  </a:cubicBezTo>
                  <a:cubicBezTo>
                    <a:pt x="1644" y="136"/>
                    <a:pt x="1442" y="68"/>
                    <a:pt x="1228" y="46"/>
                  </a:cubicBezTo>
                  <a:cubicBezTo>
                    <a:pt x="1174" y="40"/>
                    <a:pt x="1121" y="37"/>
                    <a:pt x="1067" y="37"/>
                  </a:cubicBezTo>
                  <a:cubicBezTo>
                    <a:pt x="906" y="37"/>
                    <a:pt x="743" y="63"/>
                    <a:pt x="574" y="113"/>
                  </a:cubicBezTo>
                  <a:lnTo>
                    <a:pt x="36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8" name="Google Shape;948;p33"/>
            <p:cNvSpPr/>
            <p:nvPr/>
          </p:nvSpPr>
          <p:spPr>
            <a:xfrm>
              <a:off x="1694878" y="1984602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1" y="327"/>
                  </a:moveTo>
                  <a:lnTo>
                    <a:pt x="1329" y="586"/>
                  </a:lnTo>
                  <a:lnTo>
                    <a:pt x="1216" y="519"/>
                  </a:lnTo>
                  <a:cubicBezTo>
                    <a:pt x="1093" y="462"/>
                    <a:pt x="1014" y="417"/>
                    <a:pt x="957" y="406"/>
                  </a:cubicBezTo>
                  <a:cubicBezTo>
                    <a:pt x="901" y="384"/>
                    <a:pt x="856" y="395"/>
                    <a:pt x="811" y="406"/>
                  </a:cubicBezTo>
                  <a:cubicBezTo>
                    <a:pt x="766" y="429"/>
                    <a:pt x="755" y="451"/>
                    <a:pt x="766" y="474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6"/>
                    <a:pt x="1442" y="676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8"/>
                    <a:pt x="2714" y="721"/>
                  </a:cubicBezTo>
                  <a:cubicBezTo>
                    <a:pt x="2861" y="767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2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8"/>
                  </a:lnTo>
                  <a:cubicBezTo>
                    <a:pt x="2838" y="1814"/>
                    <a:pt x="2613" y="1837"/>
                    <a:pt x="2365" y="1825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9"/>
                    <a:pt x="2512" y="1476"/>
                    <a:pt x="2568" y="1487"/>
                  </a:cubicBezTo>
                  <a:cubicBezTo>
                    <a:pt x="2636" y="1510"/>
                    <a:pt x="2681" y="1510"/>
                    <a:pt x="2737" y="1487"/>
                  </a:cubicBezTo>
                  <a:cubicBezTo>
                    <a:pt x="2782" y="1465"/>
                    <a:pt x="2793" y="1442"/>
                    <a:pt x="2782" y="1420"/>
                  </a:cubicBezTo>
                  <a:cubicBezTo>
                    <a:pt x="2771" y="1397"/>
                    <a:pt x="2737" y="1363"/>
                    <a:pt x="2681" y="1330"/>
                  </a:cubicBezTo>
                  <a:cubicBezTo>
                    <a:pt x="2523" y="1251"/>
                    <a:pt x="2410" y="1195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4"/>
                    <a:pt x="777" y="1071"/>
                  </a:cubicBezTo>
                  <a:cubicBezTo>
                    <a:pt x="608" y="1026"/>
                    <a:pt x="462" y="969"/>
                    <a:pt x="327" y="890"/>
                  </a:cubicBezTo>
                  <a:cubicBezTo>
                    <a:pt x="124" y="778"/>
                    <a:pt x="11" y="665"/>
                    <a:pt x="11" y="553"/>
                  </a:cubicBezTo>
                  <a:cubicBezTo>
                    <a:pt x="0" y="451"/>
                    <a:pt x="90" y="339"/>
                    <a:pt x="282" y="237"/>
                  </a:cubicBezTo>
                  <a:lnTo>
                    <a:pt x="68" y="113"/>
                  </a:lnTo>
                  <a:lnTo>
                    <a:pt x="360" y="1"/>
                  </a:lnTo>
                  <a:lnTo>
                    <a:pt x="574" y="113"/>
                  </a:lnTo>
                  <a:cubicBezTo>
                    <a:pt x="800" y="46"/>
                    <a:pt x="1014" y="23"/>
                    <a:pt x="1228" y="46"/>
                  </a:cubicBezTo>
                  <a:cubicBezTo>
                    <a:pt x="1442" y="68"/>
                    <a:pt x="1644" y="136"/>
                    <a:pt x="1847" y="248"/>
                  </a:cubicBezTo>
                  <a:cubicBezTo>
                    <a:pt x="1881" y="271"/>
                    <a:pt x="1915" y="293"/>
                    <a:pt x="1971" y="32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3"/>
            <p:cNvSpPr/>
            <p:nvPr/>
          </p:nvSpPr>
          <p:spPr>
            <a:xfrm>
              <a:off x="1628364" y="2071553"/>
              <a:ext cx="41363" cy="28786"/>
            </a:xfrm>
            <a:custGeom>
              <a:avLst/>
              <a:gdLst/>
              <a:ahLst/>
              <a:cxnLst/>
              <a:rect l="l" t="t" r="r" b="b"/>
              <a:pathLst>
                <a:path w="1184" h="824" extrusionOk="0">
                  <a:moveTo>
                    <a:pt x="597" y="1"/>
                  </a:moveTo>
                  <a:cubicBezTo>
                    <a:pt x="271" y="1"/>
                    <a:pt x="1" y="181"/>
                    <a:pt x="1" y="406"/>
                  </a:cubicBezTo>
                  <a:cubicBezTo>
                    <a:pt x="1" y="632"/>
                    <a:pt x="271" y="823"/>
                    <a:pt x="597" y="823"/>
                  </a:cubicBezTo>
                  <a:cubicBezTo>
                    <a:pt x="924" y="823"/>
                    <a:pt x="1183" y="632"/>
                    <a:pt x="1183" y="406"/>
                  </a:cubicBezTo>
                  <a:cubicBezTo>
                    <a:pt x="1183" y="181"/>
                    <a:pt x="924" y="1"/>
                    <a:pt x="59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3"/>
            <p:cNvSpPr/>
            <p:nvPr/>
          </p:nvSpPr>
          <p:spPr>
            <a:xfrm>
              <a:off x="1843592" y="1946035"/>
              <a:ext cx="41363" cy="28786"/>
            </a:xfrm>
            <a:custGeom>
              <a:avLst/>
              <a:gdLst/>
              <a:ahLst/>
              <a:cxnLst/>
              <a:rect l="l" t="t" r="r" b="b"/>
              <a:pathLst>
                <a:path w="1184" h="824" extrusionOk="0">
                  <a:moveTo>
                    <a:pt x="598" y="1"/>
                  </a:moveTo>
                  <a:cubicBezTo>
                    <a:pt x="260" y="1"/>
                    <a:pt x="1" y="181"/>
                    <a:pt x="1" y="406"/>
                  </a:cubicBezTo>
                  <a:cubicBezTo>
                    <a:pt x="1" y="632"/>
                    <a:pt x="260" y="823"/>
                    <a:pt x="598" y="823"/>
                  </a:cubicBezTo>
                  <a:cubicBezTo>
                    <a:pt x="924" y="823"/>
                    <a:pt x="1183" y="632"/>
                    <a:pt x="1183" y="406"/>
                  </a:cubicBezTo>
                  <a:cubicBezTo>
                    <a:pt x="1183" y="181"/>
                    <a:pt x="924" y="1"/>
                    <a:pt x="59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3"/>
            <p:cNvSpPr/>
            <p:nvPr/>
          </p:nvSpPr>
          <p:spPr>
            <a:xfrm>
              <a:off x="1477660" y="1842072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1"/>
                  </a:moveTo>
                  <a:cubicBezTo>
                    <a:pt x="9507" y="1"/>
                    <a:pt x="9400" y="32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4"/>
                    <a:pt x="226" y="5928"/>
                  </a:cubicBezTo>
                  <a:lnTo>
                    <a:pt x="5576" y="9082"/>
                  </a:lnTo>
                  <a:cubicBezTo>
                    <a:pt x="5694" y="9149"/>
                    <a:pt x="5824" y="9183"/>
                    <a:pt x="5952" y="9183"/>
                  </a:cubicBezTo>
                  <a:cubicBezTo>
                    <a:pt x="6080" y="9183"/>
                    <a:pt x="6207" y="9149"/>
                    <a:pt x="6319" y="9082"/>
                  </a:cubicBezTo>
                  <a:lnTo>
                    <a:pt x="15488" y="3743"/>
                  </a:lnTo>
                  <a:cubicBezTo>
                    <a:pt x="15645" y="3653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2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3"/>
            <p:cNvSpPr/>
            <p:nvPr/>
          </p:nvSpPr>
          <p:spPr>
            <a:xfrm>
              <a:off x="1477660" y="1840989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3"/>
                  </a:lnTo>
                  <a:cubicBezTo>
                    <a:pt x="5813" y="9248"/>
                    <a:pt x="6094" y="9248"/>
                    <a:pt x="6319" y="9113"/>
                  </a:cubicBezTo>
                  <a:lnTo>
                    <a:pt x="15488" y="3774"/>
                  </a:lnTo>
                  <a:cubicBezTo>
                    <a:pt x="15645" y="3684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1"/>
                    <a:pt x="9496" y="1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5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3"/>
            <p:cNvSpPr/>
            <p:nvPr/>
          </p:nvSpPr>
          <p:spPr>
            <a:xfrm>
              <a:off x="1477660" y="1835679"/>
              <a:ext cx="546593" cy="320913"/>
            </a:xfrm>
            <a:custGeom>
              <a:avLst/>
              <a:gdLst/>
              <a:ahLst/>
              <a:cxnLst/>
              <a:rect l="l" t="t" r="r" b="b"/>
              <a:pathLst>
                <a:path w="15646" h="9186" extrusionOk="0">
                  <a:moveTo>
                    <a:pt x="9615" y="1"/>
                  </a:moveTo>
                  <a:cubicBezTo>
                    <a:pt x="9507" y="1"/>
                    <a:pt x="9400" y="29"/>
                    <a:pt x="9304" y="85"/>
                  </a:cubicBezTo>
                  <a:lnTo>
                    <a:pt x="226" y="5345"/>
                  </a:lnTo>
                  <a:cubicBezTo>
                    <a:pt x="1" y="5480"/>
                    <a:pt x="1" y="5795"/>
                    <a:pt x="226" y="5931"/>
                  </a:cubicBezTo>
                  <a:lnTo>
                    <a:pt x="5576" y="9084"/>
                  </a:lnTo>
                  <a:cubicBezTo>
                    <a:pt x="5694" y="9152"/>
                    <a:pt x="5824" y="9186"/>
                    <a:pt x="5952" y="9186"/>
                  </a:cubicBezTo>
                  <a:cubicBezTo>
                    <a:pt x="6080" y="9186"/>
                    <a:pt x="6207" y="9152"/>
                    <a:pt x="6319" y="9084"/>
                  </a:cubicBezTo>
                  <a:lnTo>
                    <a:pt x="15488" y="3746"/>
                  </a:lnTo>
                  <a:cubicBezTo>
                    <a:pt x="15645" y="3655"/>
                    <a:pt x="15645" y="3430"/>
                    <a:pt x="15488" y="3340"/>
                  </a:cubicBezTo>
                  <a:lnTo>
                    <a:pt x="9935" y="85"/>
                  </a:lnTo>
                  <a:cubicBezTo>
                    <a:pt x="9834" y="29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3"/>
            <p:cNvSpPr/>
            <p:nvPr/>
          </p:nvSpPr>
          <p:spPr>
            <a:xfrm>
              <a:off x="1477660" y="1834701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4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13"/>
                  </a:lnTo>
                  <a:cubicBezTo>
                    <a:pt x="9732" y="0"/>
                    <a:pt x="9496" y="0"/>
                    <a:pt x="9304" y="113"/>
                  </a:cubicBezTo>
                  <a:lnTo>
                    <a:pt x="226" y="5373"/>
                  </a:lnTo>
                  <a:cubicBezTo>
                    <a:pt x="1" y="5508"/>
                    <a:pt x="1" y="5823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3"/>
            <p:cNvSpPr/>
            <p:nvPr/>
          </p:nvSpPr>
          <p:spPr>
            <a:xfrm>
              <a:off x="1531178" y="1868517"/>
              <a:ext cx="437980" cy="255829"/>
            </a:xfrm>
            <a:custGeom>
              <a:avLst/>
              <a:gdLst/>
              <a:ahLst/>
              <a:cxnLst/>
              <a:rect l="l" t="t" r="r" b="b"/>
              <a:pathLst>
                <a:path w="12537" h="7323" extrusionOk="0">
                  <a:moveTo>
                    <a:pt x="8752" y="1"/>
                  </a:moveTo>
                  <a:cubicBezTo>
                    <a:pt x="8628" y="170"/>
                    <a:pt x="8380" y="283"/>
                    <a:pt x="8088" y="283"/>
                  </a:cubicBezTo>
                  <a:cubicBezTo>
                    <a:pt x="7806" y="283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1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20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3"/>
                    <a:pt x="12311" y="2276"/>
                    <a:pt x="12469" y="2175"/>
                  </a:cubicBezTo>
                  <a:lnTo>
                    <a:pt x="8752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3"/>
            <p:cNvSpPr/>
            <p:nvPr/>
          </p:nvSpPr>
          <p:spPr>
            <a:xfrm>
              <a:off x="1531178" y="1868517"/>
              <a:ext cx="437980" cy="255829"/>
            </a:xfrm>
            <a:custGeom>
              <a:avLst/>
              <a:gdLst/>
              <a:ahLst/>
              <a:cxnLst/>
              <a:rect l="l" t="t" r="r" b="b"/>
              <a:pathLst>
                <a:path w="12537" h="7323" fill="none" extrusionOk="0">
                  <a:moveTo>
                    <a:pt x="12199" y="2580"/>
                  </a:moveTo>
                  <a:cubicBezTo>
                    <a:pt x="12199" y="2423"/>
                    <a:pt x="12311" y="2276"/>
                    <a:pt x="12469" y="2175"/>
                  </a:cubicBezTo>
                  <a:lnTo>
                    <a:pt x="8752" y="1"/>
                  </a:lnTo>
                  <a:cubicBezTo>
                    <a:pt x="8628" y="170"/>
                    <a:pt x="8380" y="283"/>
                    <a:pt x="8088" y="283"/>
                  </a:cubicBezTo>
                  <a:cubicBezTo>
                    <a:pt x="7806" y="283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1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20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3"/>
            <p:cNvSpPr/>
            <p:nvPr/>
          </p:nvSpPr>
          <p:spPr>
            <a:xfrm>
              <a:off x="1671647" y="1928743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1"/>
                  </a:cubicBezTo>
                  <a:cubicBezTo>
                    <a:pt x="4911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" name="Google Shape;958;p33"/>
            <p:cNvSpPr/>
            <p:nvPr/>
          </p:nvSpPr>
          <p:spPr>
            <a:xfrm>
              <a:off x="1671647" y="1928743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fill="none" extrusionOk="0">
                  <a:moveTo>
                    <a:pt x="4911" y="1701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11" y="766"/>
                    <a:pt x="4911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3"/>
            <p:cNvSpPr/>
            <p:nvPr/>
          </p:nvSpPr>
          <p:spPr>
            <a:xfrm>
              <a:off x="1694878" y="1955083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0" y="1"/>
                  </a:moveTo>
                  <a:lnTo>
                    <a:pt x="68" y="114"/>
                  </a:lnTo>
                  <a:lnTo>
                    <a:pt x="282" y="237"/>
                  </a:lnTo>
                  <a:cubicBezTo>
                    <a:pt x="90" y="339"/>
                    <a:pt x="0" y="451"/>
                    <a:pt x="11" y="553"/>
                  </a:cubicBezTo>
                  <a:cubicBezTo>
                    <a:pt x="11" y="665"/>
                    <a:pt x="124" y="778"/>
                    <a:pt x="327" y="891"/>
                  </a:cubicBezTo>
                  <a:cubicBezTo>
                    <a:pt x="462" y="970"/>
                    <a:pt x="608" y="1026"/>
                    <a:pt x="777" y="1071"/>
                  </a:cubicBezTo>
                  <a:cubicBezTo>
                    <a:pt x="935" y="1105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5"/>
                    <a:pt x="2523" y="1251"/>
                    <a:pt x="2681" y="1330"/>
                  </a:cubicBezTo>
                  <a:cubicBezTo>
                    <a:pt x="2737" y="1364"/>
                    <a:pt x="2771" y="1398"/>
                    <a:pt x="2782" y="1420"/>
                  </a:cubicBezTo>
                  <a:cubicBezTo>
                    <a:pt x="2793" y="1443"/>
                    <a:pt x="2782" y="1465"/>
                    <a:pt x="2737" y="1488"/>
                  </a:cubicBezTo>
                  <a:cubicBezTo>
                    <a:pt x="2709" y="1499"/>
                    <a:pt x="2684" y="1505"/>
                    <a:pt x="2657" y="1505"/>
                  </a:cubicBezTo>
                  <a:cubicBezTo>
                    <a:pt x="2630" y="1505"/>
                    <a:pt x="2602" y="1499"/>
                    <a:pt x="2568" y="1488"/>
                  </a:cubicBezTo>
                  <a:cubicBezTo>
                    <a:pt x="2512" y="1476"/>
                    <a:pt x="2399" y="1409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6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5"/>
                    <a:pt x="3030" y="1758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3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7"/>
                    <a:pt x="2714" y="722"/>
                  </a:cubicBezTo>
                  <a:cubicBezTo>
                    <a:pt x="2579" y="688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4"/>
                    <a:pt x="1376" y="674"/>
                  </a:cubicBezTo>
                  <a:cubicBezTo>
                    <a:pt x="1278" y="674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4"/>
                  </a:cubicBezTo>
                  <a:cubicBezTo>
                    <a:pt x="755" y="451"/>
                    <a:pt x="766" y="429"/>
                    <a:pt x="811" y="406"/>
                  </a:cubicBezTo>
                  <a:cubicBezTo>
                    <a:pt x="837" y="400"/>
                    <a:pt x="863" y="393"/>
                    <a:pt x="891" y="393"/>
                  </a:cubicBezTo>
                  <a:cubicBezTo>
                    <a:pt x="912" y="393"/>
                    <a:pt x="934" y="397"/>
                    <a:pt x="957" y="406"/>
                  </a:cubicBezTo>
                  <a:cubicBezTo>
                    <a:pt x="1014" y="418"/>
                    <a:pt x="1093" y="463"/>
                    <a:pt x="1216" y="519"/>
                  </a:cubicBezTo>
                  <a:lnTo>
                    <a:pt x="1329" y="587"/>
                  </a:lnTo>
                  <a:lnTo>
                    <a:pt x="1971" y="328"/>
                  </a:lnTo>
                  <a:cubicBezTo>
                    <a:pt x="1915" y="294"/>
                    <a:pt x="1881" y="271"/>
                    <a:pt x="1847" y="249"/>
                  </a:cubicBezTo>
                  <a:cubicBezTo>
                    <a:pt x="1644" y="136"/>
                    <a:pt x="1442" y="68"/>
                    <a:pt x="1228" y="46"/>
                  </a:cubicBezTo>
                  <a:cubicBezTo>
                    <a:pt x="1174" y="40"/>
                    <a:pt x="1121" y="38"/>
                    <a:pt x="1067" y="38"/>
                  </a:cubicBezTo>
                  <a:cubicBezTo>
                    <a:pt x="906" y="38"/>
                    <a:pt x="743" y="63"/>
                    <a:pt x="574" y="114"/>
                  </a:cubicBezTo>
                  <a:lnTo>
                    <a:pt x="360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3"/>
            <p:cNvSpPr/>
            <p:nvPr/>
          </p:nvSpPr>
          <p:spPr>
            <a:xfrm>
              <a:off x="1694878" y="1955083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1" y="328"/>
                  </a:moveTo>
                  <a:lnTo>
                    <a:pt x="1329" y="587"/>
                  </a:lnTo>
                  <a:lnTo>
                    <a:pt x="1216" y="519"/>
                  </a:lnTo>
                  <a:cubicBezTo>
                    <a:pt x="1093" y="463"/>
                    <a:pt x="1014" y="418"/>
                    <a:pt x="957" y="406"/>
                  </a:cubicBezTo>
                  <a:cubicBezTo>
                    <a:pt x="901" y="384"/>
                    <a:pt x="856" y="395"/>
                    <a:pt x="811" y="406"/>
                  </a:cubicBezTo>
                  <a:cubicBezTo>
                    <a:pt x="766" y="429"/>
                    <a:pt x="755" y="451"/>
                    <a:pt x="766" y="474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7"/>
                    <a:pt x="1442" y="677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8"/>
                    <a:pt x="2714" y="722"/>
                  </a:cubicBezTo>
                  <a:cubicBezTo>
                    <a:pt x="2861" y="767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3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8"/>
                  </a:lnTo>
                  <a:cubicBezTo>
                    <a:pt x="2838" y="1814"/>
                    <a:pt x="2613" y="1837"/>
                    <a:pt x="2365" y="1826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9"/>
                    <a:pt x="2512" y="1476"/>
                    <a:pt x="2568" y="1488"/>
                  </a:cubicBezTo>
                  <a:cubicBezTo>
                    <a:pt x="2636" y="1510"/>
                    <a:pt x="2681" y="1510"/>
                    <a:pt x="2737" y="1488"/>
                  </a:cubicBezTo>
                  <a:cubicBezTo>
                    <a:pt x="2782" y="1465"/>
                    <a:pt x="2793" y="1443"/>
                    <a:pt x="2782" y="1420"/>
                  </a:cubicBezTo>
                  <a:cubicBezTo>
                    <a:pt x="2771" y="1398"/>
                    <a:pt x="2737" y="1364"/>
                    <a:pt x="2681" y="1330"/>
                  </a:cubicBezTo>
                  <a:cubicBezTo>
                    <a:pt x="2523" y="1251"/>
                    <a:pt x="2410" y="1195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5"/>
                    <a:pt x="777" y="1071"/>
                  </a:cubicBezTo>
                  <a:cubicBezTo>
                    <a:pt x="608" y="1026"/>
                    <a:pt x="462" y="970"/>
                    <a:pt x="327" y="891"/>
                  </a:cubicBezTo>
                  <a:cubicBezTo>
                    <a:pt x="124" y="778"/>
                    <a:pt x="11" y="665"/>
                    <a:pt x="11" y="553"/>
                  </a:cubicBezTo>
                  <a:cubicBezTo>
                    <a:pt x="0" y="451"/>
                    <a:pt x="90" y="339"/>
                    <a:pt x="282" y="237"/>
                  </a:cubicBezTo>
                  <a:lnTo>
                    <a:pt x="68" y="114"/>
                  </a:lnTo>
                  <a:lnTo>
                    <a:pt x="360" y="1"/>
                  </a:lnTo>
                  <a:lnTo>
                    <a:pt x="574" y="114"/>
                  </a:lnTo>
                  <a:cubicBezTo>
                    <a:pt x="800" y="46"/>
                    <a:pt x="1014" y="23"/>
                    <a:pt x="1228" y="46"/>
                  </a:cubicBezTo>
                  <a:cubicBezTo>
                    <a:pt x="1442" y="68"/>
                    <a:pt x="1644" y="136"/>
                    <a:pt x="1847" y="249"/>
                  </a:cubicBezTo>
                  <a:cubicBezTo>
                    <a:pt x="1881" y="271"/>
                    <a:pt x="1915" y="294"/>
                    <a:pt x="1971" y="32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3"/>
            <p:cNvSpPr/>
            <p:nvPr/>
          </p:nvSpPr>
          <p:spPr>
            <a:xfrm>
              <a:off x="1628364" y="2042069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7" y="0"/>
                  </a:moveTo>
                  <a:cubicBezTo>
                    <a:pt x="271" y="0"/>
                    <a:pt x="1" y="180"/>
                    <a:pt x="1" y="406"/>
                  </a:cubicBezTo>
                  <a:cubicBezTo>
                    <a:pt x="1" y="631"/>
                    <a:pt x="271" y="822"/>
                    <a:pt x="597" y="822"/>
                  </a:cubicBezTo>
                  <a:cubicBezTo>
                    <a:pt x="924" y="822"/>
                    <a:pt x="1183" y="631"/>
                    <a:pt x="1183" y="406"/>
                  </a:cubicBezTo>
                  <a:cubicBezTo>
                    <a:pt x="1183" y="180"/>
                    <a:pt x="924" y="0"/>
                    <a:pt x="5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3"/>
            <p:cNvSpPr/>
            <p:nvPr/>
          </p:nvSpPr>
          <p:spPr>
            <a:xfrm>
              <a:off x="1843592" y="1916551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8" y="0"/>
                  </a:moveTo>
                  <a:cubicBezTo>
                    <a:pt x="260" y="0"/>
                    <a:pt x="1" y="180"/>
                    <a:pt x="1" y="406"/>
                  </a:cubicBezTo>
                  <a:cubicBezTo>
                    <a:pt x="1" y="631"/>
                    <a:pt x="260" y="822"/>
                    <a:pt x="598" y="822"/>
                  </a:cubicBezTo>
                  <a:cubicBezTo>
                    <a:pt x="924" y="822"/>
                    <a:pt x="1183" y="631"/>
                    <a:pt x="1183" y="406"/>
                  </a:cubicBezTo>
                  <a:cubicBezTo>
                    <a:pt x="1183" y="180"/>
                    <a:pt x="924" y="0"/>
                    <a:pt x="59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3" name="Google Shape;963;p33"/>
          <p:cNvGrpSpPr/>
          <p:nvPr/>
        </p:nvGrpSpPr>
        <p:grpSpPr>
          <a:xfrm>
            <a:off x="1051028" y="1240410"/>
            <a:ext cx="1226139" cy="1052197"/>
            <a:chOff x="3337647" y="-19723"/>
            <a:chExt cx="543453" cy="466358"/>
          </a:xfrm>
        </p:grpSpPr>
        <p:grpSp>
          <p:nvGrpSpPr>
            <p:cNvPr id="964" name="Google Shape;964;p33"/>
            <p:cNvGrpSpPr/>
            <p:nvPr/>
          </p:nvGrpSpPr>
          <p:grpSpPr>
            <a:xfrm>
              <a:off x="3337647" y="-19723"/>
              <a:ext cx="543453" cy="466358"/>
              <a:chOff x="3670072" y="965127"/>
              <a:chExt cx="543453" cy="466358"/>
            </a:xfrm>
          </p:grpSpPr>
          <p:sp>
            <p:nvSpPr>
              <p:cNvPr id="965" name="Google Shape;965;p33"/>
              <p:cNvSpPr/>
              <p:nvPr/>
            </p:nvSpPr>
            <p:spPr>
              <a:xfrm>
                <a:off x="3670077" y="1171687"/>
                <a:ext cx="543449" cy="259798"/>
              </a:xfrm>
              <a:custGeom>
                <a:avLst/>
                <a:gdLst/>
                <a:ahLst/>
                <a:cxnLst/>
                <a:rect l="l" t="t" r="r" b="b"/>
                <a:pathLst>
                  <a:path w="15556" h="6748" extrusionOk="0">
                    <a:moveTo>
                      <a:pt x="23" y="1"/>
                    </a:moveTo>
                    <a:cubicBezTo>
                      <a:pt x="35" y="46"/>
                      <a:pt x="35" y="80"/>
                      <a:pt x="46" y="125"/>
                    </a:cubicBezTo>
                    <a:cubicBezTo>
                      <a:pt x="12" y="249"/>
                      <a:pt x="1" y="372"/>
                      <a:pt x="1" y="508"/>
                    </a:cubicBezTo>
                    <a:cubicBezTo>
                      <a:pt x="1" y="586"/>
                      <a:pt x="1" y="654"/>
                      <a:pt x="12" y="733"/>
                    </a:cubicBezTo>
                    <a:lnTo>
                      <a:pt x="1" y="1397"/>
                    </a:lnTo>
                    <a:cubicBezTo>
                      <a:pt x="1" y="1454"/>
                      <a:pt x="1" y="1499"/>
                      <a:pt x="1" y="1544"/>
                    </a:cubicBezTo>
                    <a:cubicBezTo>
                      <a:pt x="1" y="1916"/>
                      <a:pt x="125" y="2265"/>
                      <a:pt x="361" y="2569"/>
                    </a:cubicBezTo>
                    <a:cubicBezTo>
                      <a:pt x="372" y="2580"/>
                      <a:pt x="384" y="2591"/>
                      <a:pt x="395" y="2614"/>
                    </a:cubicBezTo>
                    <a:cubicBezTo>
                      <a:pt x="936" y="3290"/>
                      <a:pt x="1983" y="3740"/>
                      <a:pt x="3177" y="3740"/>
                    </a:cubicBezTo>
                    <a:cubicBezTo>
                      <a:pt x="3898" y="3740"/>
                      <a:pt x="4551" y="3582"/>
                      <a:pt x="5092" y="3301"/>
                    </a:cubicBezTo>
                    <a:lnTo>
                      <a:pt x="5092" y="3301"/>
                    </a:lnTo>
                    <a:cubicBezTo>
                      <a:pt x="5081" y="3368"/>
                      <a:pt x="5069" y="3436"/>
                      <a:pt x="5069" y="3504"/>
                    </a:cubicBezTo>
                    <a:cubicBezTo>
                      <a:pt x="5069" y="3582"/>
                      <a:pt x="5081" y="3661"/>
                      <a:pt x="5092" y="3740"/>
                    </a:cubicBezTo>
                    <a:lnTo>
                      <a:pt x="5081" y="4405"/>
                    </a:lnTo>
                    <a:cubicBezTo>
                      <a:pt x="5081" y="4450"/>
                      <a:pt x="5069" y="4506"/>
                      <a:pt x="5069" y="4551"/>
                    </a:cubicBezTo>
                    <a:cubicBezTo>
                      <a:pt x="5069" y="4698"/>
                      <a:pt x="5092" y="4844"/>
                      <a:pt x="5137" y="4990"/>
                    </a:cubicBezTo>
                    <a:cubicBezTo>
                      <a:pt x="5430" y="5993"/>
                      <a:pt x="6714" y="6747"/>
                      <a:pt x="8257" y="6747"/>
                    </a:cubicBezTo>
                    <a:cubicBezTo>
                      <a:pt x="9000" y="6747"/>
                      <a:pt x="9687" y="6567"/>
                      <a:pt x="10239" y="6274"/>
                    </a:cubicBezTo>
                    <a:cubicBezTo>
                      <a:pt x="10262" y="6252"/>
                      <a:pt x="10295" y="6241"/>
                      <a:pt x="10318" y="6218"/>
                    </a:cubicBezTo>
                    <a:cubicBezTo>
                      <a:pt x="10611" y="6049"/>
                      <a:pt x="10847" y="5846"/>
                      <a:pt x="11039" y="5610"/>
                    </a:cubicBezTo>
                    <a:cubicBezTo>
                      <a:pt x="11050" y="5599"/>
                      <a:pt x="11061" y="5587"/>
                      <a:pt x="11073" y="5576"/>
                    </a:cubicBezTo>
                    <a:cubicBezTo>
                      <a:pt x="11208" y="5396"/>
                      <a:pt x="11309" y="5193"/>
                      <a:pt x="11365" y="4990"/>
                    </a:cubicBezTo>
                    <a:cubicBezTo>
                      <a:pt x="11411" y="4844"/>
                      <a:pt x="11433" y="4698"/>
                      <a:pt x="11433" y="4551"/>
                    </a:cubicBezTo>
                    <a:lnTo>
                      <a:pt x="11433" y="4258"/>
                    </a:lnTo>
                    <a:cubicBezTo>
                      <a:pt x="11726" y="4326"/>
                      <a:pt x="12041" y="4360"/>
                      <a:pt x="12368" y="4360"/>
                    </a:cubicBezTo>
                    <a:cubicBezTo>
                      <a:pt x="13123" y="4360"/>
                      <a:pt x="13810" y="4179"/>
                      <a:pt x="14350" y="3875"/>
                    </a:cubicBezTo>
                    <a:cubicBezTo>
                      <a:pt x="14384" y="3864"/>
                      <a:pt x="14407" y="3842"/>
                      <a:pt x="14440" y="3830"/>
                    </a:cubicBezTo>
                    <a:cubicBezTo>
                      <a:pt x="14722" y="3661"/>
                      <a:pt x="14970" y="3447"/>
                      <a:pt x="15150" y="3222"/>
                    </a:cubicBezTo>
                    <a:cubicBezTo>
                      <a:pt x="15161" y="3211"/>
                      <a:pt x="15172" y="3188"/>
                      <a:pt x="15184" y="3177"/>
                    </a:cubicBezTo>
                    <a:cubicBezTo>
                      <a:pt x="15319" y="2997"/>
                      <a:pt x="15432" y="2805"/>
                      <a:pt x="15488" y="2603"/>
                    </a:cubicBezTo>
                    <a:cubicBezTo>
                      <a:pt x="15533" y="2456"/>
                      <a:pt x="15555" y="2310"/>
                      <a:pt x="15555" y="2152"/>
                    </a:cubicBezTo>
                    <a:lnTo>
                      <a:pt x="15555" y="1116"/>
                    </a:lnTo>
                    <a:cubicBezTo>
                      <a:pt x="15555" y="981"/>
                      <a:pt x="15533" y="857"/>
                      <a:pt x="15499" y="733"/>
                    </a:cubicBezTo>
                    <a:cubicBezTo>
                      <a:pt x="15533" y="609"/>
                      <a:pt x="15555" y="485"/>
                      <a:pt x="15555" y="350"/>
                    </a:cubicBezTo>
                    <a:lnTo>
                      <a:pt x="15555" y="1"/>
                    </a:lnTo>
                    <a:close/>
                  </a:path>
                </a:pathLst>
              </a:custGeom>
              <a:solidFill>
                <a:srgbClr val="000000">
                  <a:alpha val="126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6" name="Google Shape;966;p33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lnTo>
                      <a:pt x="5981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7" name="Google Shape;967;p33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" name="Google Shape;968;p33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fill="none" extrusionOk="0">
                    <a:moveTo>
                      <a:pt x="5981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" name="Google Shape;969;p33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" name="Google Shape;970;p33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64" y="3413"/>
                      <a:pt x="6364" y="2197"/>
                    </a:cubicBezTo>
                    <a:cubicBezTo>
                      <a:pt x="6364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" name="Google Shape;971;p33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" name="Google Shape;972;p33"/>
              <p:cNvSpPr/>
              <p:nvPr/>
            </p:nvSpPr>
            <p:spPr>
              <a:xfrm>
                <a:off x="4102903" y="127478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cubicBezTo>
                      <a:pt x="0" y="1003"/>
                      <a:pt x="0" y="981"/>
                      <a:pt x="0" y="947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" name="Google Shape;973;p33"/>
              <p:cNvSpPr/>
              <p:nvPr/>
            </p:nvSpPr>
            <p:spPr>
              <a:xfrm>
                <a:off x="4078100" y="127244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" name="Google Shape;974;p33"/>
              <p:cNvSpPr/>
              <p:nvPr/>
            </p:nvSpPr>
            <p:spPr>
              <a:xfrm>
                <a:off x="4055288" y="126730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5" name="Google Shape;975;p33"/>
              <p:cNvSpPr/>
              <p:nvPr/>
            </p:nvSpPr>
            <p:spPr>
              <a:xfrm>
                <a:off x="4034048" y="125864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6" name="Google Shape;976;p33"/>
              <p:cNvSpPr/>
              <p:nvPr/>
            </p:nvSpPr>
            <p:spPr>
              <a:xfrm>
                <a:off x="4016337" y="124645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7" name="Google Shape;977;p33"/>
              <p:cNvSpPr/>
              <p:nvPr/>
            </p:nvSpPr>
            <p:spPr>
              <a:xfrm>
                <a:off x="3999813" y="122639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8" name="Google Shape;978;p33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23" y="2647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9" name="Google Shape;979;p33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0" name="Google Shape;980;p33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37"/>
                    </a:lnTo>
                    <a:cubicBezTo>
                      <a:pt x="90" y="350"/>
                      <a:pt x="0" y="451"/>
                      <a:pt x="11" y="564"/>
                    </a:cubicBezTo>
                    <a:cubicBezTo>
                      <a:pt x="11" y="665"/>
                      <a:pt x="124" y="778"/>
                      <a:pt x="327" y="891"/>
                    </a:cubicBezTo>
                    <a:cubicBezTo>
                      <a:pt x="462" y="969"/>
                      <a:pt x="620" y="1026"/>
                      <a:pt x="777" y="1071"/>
                    </a:cubicBezTo>
                    <a:cubicBezTo>
                      <a:pt x="935" y="1105"/>
                      <a:pt x="1081" y="1138"/>
                      <a:pt x="1216" y="1138"/>
                    </a:cubicBezTo>
                    <a:cubicBezTo>
                      <a:pt x="1352" y="1138"/>
                      <a:pt x="1577" y="1138"/>
                      <a:pt x="1904" y="1127"/>
                    </a:cubicBezTo>
                    <a:cubicBezTo>
                      <a:pt x="2095" y="1127"/>
                      <a:pt x="2241" y="1138"/>
                      <a:pt x="2320" y="1161"/>
                    </a:cubicBezTo>
                    <a:cubicBezTo>
                      <a:pt x="2410" y="1195"/>
                      <a:pt x="2534" y="1251"/>
                      <a:pt x="2681" y="1330"/>
                    </a:cubicBezTo>
                    <a:cubicBezTo>
                      <a:pt x="2737" y="1364"/>
                      <a:pt x="2782" y="1397"/>
                      <a:pt x="2782" y="1420"/>
                    </a:cubicBezTo>
                    <a:cubicBezTo>
                      <a:pt x="2793" y="1454"/>
                      <a:pt x="2782" y="1476"/>
                      <a:pt x="2737" y="1487"/>
                    </a:cubicBezTo>
                    <a:cubicBezTo>
                      <a:pt x="2709" y="1499"/>
                      <a:pt x="2684" y="1504"/>
                      <a:pt x="2658" y="1504"/>
                    </a:cubicBezTo>
                    <a:cubicBezTo>
                      <a:pt x="2633" y="1504"/>
                      <a:pt x="2608" y="1499"/>
                      <a:pt x="2579" y="1487"/>
                    </a:cubicBezTo>
                    <a:cubicBezTo>
                      <a:pt x="2512" y="1476"/>
                      <a:pt x="2399" y="1409"/>
                      <a:pt x="2219" y="1307"/>
                    </a:cubicBezTo>
                    <a:lnTo>
                      <a:pt x="2050" y="1217"/>
                    </a:lnTo>
                    <a:lnTo>
                      <a:pt x="1408" y="1487"/>
                    </a:lnTo>
                    <a:lnTo>
                      <a:pt x="1543" y="1555"/>
                    </a:lnTo>
                    <a:cubicBezTo>
                      <a:pt x="1847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4" y="1834"/>
                      <a:pt x="2886" y="1809"/>
                      <a:pt x="3030" y="1758"/>
                    </a:cubicBezTo>
                    <a:lnTo>
                      <a:pt x="3289" y="1904"/>
                    </a:lnTo>
                    <a:lnTo>
                      <a:pt x="3582" y="1792"/>
                    </a:lnTo>
                    <a:lnTo>
                      <a:pt x="3334" y="1645"/>
                    </a:lnTo>
                    <a:cubicBezTo>
                      <a:pt x="3514" y="1533"/>
                      <a:pt x="3593" y="1420"/>
                      <a:pt x="3571" y="1296"/>
                    </a:cubicBezTo>
                    <a:cubicBezTo>
                      <a:pt x="3537" y="1172"/>
                      <a:pt x="3402" y="1048"/>
                      <a:pt x="3165" y="913"/>
                    </a:cubicBezTo>
                    <a:cubicBezTo>
                      <a:pt x="3007" y="834"/>
                      <a:pt x="2861" y="767"/>
                      <a:pt x="2726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3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5" y="671"/>
                      <a:pt x="1478" y="674"/>
                      <a:pt x="1380" y="674"/>
                    </a:cubicBezTo>
                    <a:cubicBezTo>
                      <a:pt x="1281" y="674"/>
                      <a:pt x="1211" y="671"/>
                      <a:pt x="1171" y="665"/>
                    </a:cubicBezTo>
                    <a:cubicBezTo>
                      <a:pt x="1081" y="665"/>
                      <a:pt x="991" y="631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7" y="404"/>
                      <a:pt x="868" y="399"/>
                      <a:pt x="897" y="399"/>
                    </a:cubicBezTo>
                    <a:cubicBezTo>
                      <a:pt x="918" y="399"/>
                      <a:pt x="939" y="402"/>
                      <a:pt x="957" y="406"/>
                    </a:cubicBezTo>
                    <a:cubicBezTo>
                      <a:pt x="1014" y="417"/>
                      <a:pt x="1093" y="463"/>
                      <a:pt x="1216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81" y="271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1" name="Google Shape;981;p33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6" y="530"/>
                    </a:lnTo>
                    <a:cubicBezTo>
                      <a:pt x="1093" y="463"/>
                      <a:pt x="1014" y="417"/>
                      <a:pt x="957" y="406"/>
                    </a:cubicBezTo>
                    <a:cubicBezTo>
                      <a:pt x="912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31"/>
                      <a:pt x="1081" y="665"/>
                      <a:pt x="1171" y="665"/>
                    </a:cubicBezTo>
                    <a:cubicBezTo>
                      <a:pt x="1250" y="677"/>
                      <a:pt x="1453" y="677"/>
                      <a:pt x="1757" y="665"/>
                    </a:cubicBezTo>
                    <a:cubicBezTo>
                      <a:pt x="2027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26" y="733"/>
                    </a:cubicBezTo>
                    <a:cubicBezTo>
                      <a:pt x="2861" y="767"/>
                      <a:pt x="3007" y="834"/>
                      <a:pt x="3165" y="913"/>
                    </a:cubicBezTo>
                    <a:cubicBezTo>
                      <a:pt x="3402" y="1048"/>
                      <a:pt x="3537" y="1172"/>
                      <a:pt x="3571" y="1296"/>
                    </a:cubicBezTo>
                    <a:cubicBezTo>
                      <a:pt x="3593" y="1420"/>
                      <a:pt x="3514" y="1533"/>
                      <a:pt x="3334" y="1645"/>
                    </a:cubicBezTo>
                    <a:lnTo>
                      <a:pt x="3582" y="1792"/>
                    </a:lnTo>
                    <a:lnTo>
                      <a:pt x="3289" y="1904"/>
                    </a:lnTo>
                    <a:lnTo>
                      <a:pt x="3030" y="1758"/>
                    </a:lnTo>
                    <a:cubicBezTo>
                      <a:pt x="2838" y="1825"/>
                      <a:pt x="2613" y="1848"/>
                      <a:pt x="2365" y="1825"/>
                    </a:cubicBezTo>
                    <a:cubicBezTo>
                      <a:pt x="2118" y="1814"/>
                      <a:pt x="1847" y="1724"/>
                      <a:pt x="1543" y="1555"/>
                    </a:cubicBezTo>
                    <a:lnTo>
                      <a:pt x="1408" y="1487"/>
                    </a:lnTo>
                    <a:lnTo>
                      <a:pt x="2050" y="1217"/>
                    </a:lnTo>
                    <a:lnTo>
                      <a:pt x="2219" y="1307"/>
                    </a:lnTo>
                    <a:cubicBezTo>
                      <a:pt x="2399" y="1409"/>
                      <a:pt x="2512" y="1476"/>
                      <a:pt x="2579" y="1487"/>
                    </a:cubicBezTo>
                    <a:cubicBezTo>
                      <a:pt x="2636" y="1510"/>
                      <a:pt x="2681" y="1510"/>
                      <a:pt x="2737" y="1487"/>
                    </a:cubicBezTo>
                    <a:cubicBezTo>
                      <a:pt x="2782" y="1476"/>
                      <a:pt x="2793" y="1454"/>
                      <a:pt x="2782" y="1420"/>
                    </a:cubicBezTo>
                    <a:cubicBezTo>
                      <a:pt x="2782" y="1397"/>
                      <a:pt x="2737" y="1364"/>
                      <a:pt x="2681" y="1330"/>
                    </a:cubicBezTo>
                    <a:cubicBezTo>
                      <a:pt x="2534" y="1251"/>
                      <a:pt x="2410" y="1195"/>
                      <a:pt x="2320" y="1161"/>
                    </a:cubicBezTo>
                    <a:cubicBezTo>
                      <a:pt x="2241" y="1138"/>
                      <a:pt x="2095" y="1127"/>
                      <a:pt x="1904" y="1127"/>
                    </a:cubicBezTo>
                    <a:cubicBezTo>
                      <a:pt x="1577" y="1138"/>
                      <a:pt x="1352" y="1138"/>
                      <a:pt x="1216" y="1138"/>
                    </a:cubicBezTo>
                    <a:cubicBezTo>
                      <a:pt x="1081" y="1138"/>
                      <a:pt x="935" y="1105"/>
                      <a:pt x="777" y="1071"/>
                    </a:cubicBezTo>
                    <a:cubicBezTo>
                      <a:pt x="620" y="1026"/>
                      <a:pt x="462" y="969"/>
                      <a:pt x="327" y="891"/>
                    </a:cubicBezTo>
                    <a:cubicBezTo>
                      <a:pt x="124" y="778"/>
                      <a:pt x="11" y="665"/>
                      <a:pt x="11" y="564"/>
                    </a:cubicBezTo>
                    <a:cubicBezTo>
                      <a:pt x="0" y="451"/>
                      <a:pt x="90" y="350"/>
                      <a:pt x="282" y="237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2" name="Google Shape;982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3" name="Google Shape;983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4" name="Google Shape;984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5" name="Google Shape;985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6" name="Google Shape;986;p33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7"/>
                    </a:cubicBezTo>
                    <a:cubicBezTo>
                      <a:pt x="6364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7" name="Google Shape;987;p33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3"/>
                      <a:pt x="4934" y="4393"/>
                      <a:pt x="3177" y="4393"/>
                    </a:cubicBezTo>
                    <a:cubicBezTo>
                      <a:pt x="1420" y="4393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8" name="Google Shape;988;p33"/>
              <p:cNvSpPr/>
              <p:nvPr/>
            </p:nvSpPr>
            <p:spPr>
              <a:xfrm>
                <a:off x="4102903" y="121144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0" y="958"/>
                    </a:cubicBez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9" name="Google Shape;989;p33"/>
              <p:cNvSpPr/>
              <p:nvPr/>
            </p:nvSpPr>
            <p:spPr>
              <a:xfrm>
                <a:off x="4078100" y="1209490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0" name="Google Shape;990;p33"/>
              <p:cNvSpPr/>
              <p:nvPr/>
            </p:nvSpPr>
            <p:spPr>
              <a:xfrm>
                <a:off x="4055288" y="1204354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1" name="Google Shape;991;p33"/>
              <p:cNvSpPr/>
              <p:nvPr/>
            </p:nvSpPr>
            <p:spPr>
              <a:xfrm>
                <a:off x="4034048" y="119569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2" name="Google Shape;992;p33"/>
              <p:cNvSpPr/>
              <p:nvPr/>
            </p:nvSpPr>
            <p:spPr>
              <a:xfrm>
                <a:off x="4016337" y="118349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3" name="Google Shape;993;p33"/>
              <p:cNvSpPr/>
              <p:nvPr/>
            </p:nvSpPr>
            <p:spPr>
              <a:xfrm>
                <a:off x="3999813" y="116344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4" name="Google Shape;994;p33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37"/>
                      <a:pt x="1104" y="3402"/>
                      <a:pt x="2456" y="3402"/>
                    </a:cubicBezTo>
                    <a:cubicBezTo>
                      <a:pt x="3819" y="3402"/>
                      <a:pt x="4923" y="2637"/>
                      <a:pt x="4923" y="1702"/>
                    </a:cubicBezTo>
                    <a:cubicBezTo>
                      <a:pt x="4923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5" name="Google Shape;995;p33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fill="none" extrusionOk="0">
                    <a:moveTo>
                      <a:pt x="4923" y="1702"/>
                    </a:moveTo>
                    <a:cubicBezTo>
                      <a:pt x="4923" y="2637"/>
                      <a:pt x="3819" y="3402"/>
                      <a:pt x="2456" y="3402"/>
                    </a:cubicBezTo>
                    <a:cubicBezTo>
                      <a:pt x="1104" y="3402"/>
                      <a:pt x="1" y="2637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23" y="767"/>
                      <a:pt x="4923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6" name="Google Shape;996;p33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90" y="350"/>
                      <a:pt x="0" y="462"/>
                      <a:pt x="11" y="564"/>
                    </a:cubicBezTo>
                    <a:cubicBezTo>
                      <a:pt x="11" y="676"/>
                      <a:pt x="124" y="789"/>
                      <a:pt x="327" y="901"/>
                    </a:cubicBezTo>
                    <a:cubicBezTo>
                      <a:pt x="462" y="980"/>
                      <a:pt x="620" y="1037"/>
                      <a:pt x="777" y="1082"/>
                    </a:cubicBezTo>
                    <a:cubicBezTo>
                      <a:pt x="935" y="1115"/>
                      <a:pt x="1081" y="1138"/>
                      <a:pt x="1216" y="1149"/>
                    </a:cubicBezTo>
                    <a:cubicBezTo>
                      <a:pt x="1352" y="1149"/>
                      <a:pt x="1577" y="1149"/>
                      <a:pt x="1904" y="1138"/>
                    </a:cubicBezTo>
                    <a:cubicBezTo>
                      <a:pt x="2095" y="1138"/>
                      <a:pt x="2241" y="1149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4"/>
                      <a:pt x="2782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10"/>
                      <a:pt x="2684" y="1515"/>
                      <a:pt x="2658" y="1515"/>
                    </a:cubicBezTo>
                    <a:cubicBezTo>
                      <a:pt x="2633" y="1515"/>
                      <a:pt x="2608" y="1510"/>
                      <a:pt x="2579" y="1498"/>
                    </a:cubicBezTo>
                    <a:cubicBezTo>
                      <a:pt x="2512" y="1487"/>
                      <a:pt x="2399" y="1420"/>
                      <a:pt x="2219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34" y="1656"/>
                    </a:lnTo>
                    <a:cubicBezTo>
                      <a:pt x="3514" y="1543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2"/>
                    </a:cubicBezTo>
                    <a:cubicBezTo>
                      <a:pt x="2579" y="699"/>
                      <a:pt x="2444" y="676"/>
                      <a:pt x="2332" y="665"/>
                    </a:cubicBezTo>
                    <a:cubicBezTo>
                      <a:pt x="2219" y="665"/>
                      <a:pt x="2027" y="665"/>
                      <a:pt x="1757" y="676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5"/>
                    </a:cubicBezTo>
                    <a:cubicBezTo>
                      <a:pt x="755" y="462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8"/>
                      <a:pt x="1093" y="473"/>
                      <a:pt x="1216" y="530"/>
                    </a:cubicBezTo>
                    <a:lnTo>
                      <a:pt x="1329" y="597"/>
                    </a:lnTo>
                    <a:lnTo>
                      <a:pt x="1971" y="338"/>
                    </a:lnTo>
                    <a:cubicBezTo>
                      <a:pt x="1915" y="304"/>
                      <a:pt x="1881" y="282"/>
                      <a:pt x="1847" y="259"/>
                    </a:cubicBezTo>
                    <a:cubicBezTo>
                      <a:pt x="1644" y="147"/>
                      <a:pt x="1442" y="79"/>
                      <a:pt x="1228" y="57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3" y="74"/>
                      <a:pt x="574" y="124"/>
                    </a:cubicBezTo>
                    <a:lnTo>
                      <a:pt x="3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7" name="Google Shape;997;p33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8"/>
                    </a:moveTo>
                    <a:lnTo>
                      <a:pt x="1329" y="597"/>
                    </a:lnTo>
                    <a:lnTo>
                      <a:pt x="1216" y="530"/>
                    </a:lnTo>
                    <a:cubicBezTo>
                      <a:pt x="1093" y="473"/>
                      <a:pt x="1014" y="428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2"/>
                      <a:pt x="766" y="485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6"/>
                    </a:cubicBezTo>
                    <a:cubicBezTo>
                      <a:pt x="1250" y="687"/>
                      <a:pt x="1453" y="687"/>
                      <a:pt x="1757" y="676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6"/>
                      <a:pt x="2579" y="699"/>
                      <a:pt x="2726" y="732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3"/>
                      <a:pt x="3334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6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8"/>
                    </a:lnTo>
                    <a:cubicBezTo>
                      <a:pt x="2399" y="1420"/>
                      <a:pt x="2512" y="1487"/>
                      <a:pt x="2579" y="1498"/>
                    </a:cubicBezTo>
                    <a:cubicBezTo>
                      <a:pt x="2636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82" y="1408"/>
                      <a:pt x="2737" y="1374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49"/>
                      <a:pt x="2095" y="1138"/>
                      <a:pt x="1904" y="1138"/>
                    </a:cubicBezTo>
                    <a:cubicBezTo>
                      <a:pt x="1577" y="1149"/>
                      <a:pt x="1352" y="1149"/>
                      <a:pt x="1216" y="1149"/>
                    </a:cubicBezTo>
                    <a:cubicBezTo>
                      <a:pt x="1081" y="1138"/>
                      <a:pt x="935" y="1115"/>
                      <a:pt x="777" y="1082"/>
                    </a:cubicBezTo>
                    <a:cubicBezTo>
                      <a:pt x="620" y="1037"/>
                      <a:pt x="462" y="980"/>
                      <a:pt x="327" y="901"/>
                    </a:cubicBezTo>
                    <a:cubicBezTo>
                      <a:pt x="124" y="789"/>
                      <a:pt x="11" y="676"/>
                      <a:pt x="11" y="564"/>
                    </a:cubicBezTo>
                    <a:cubicBezTo>
                      <a:pt x="0" y="462"/>
                      <a:pt x="90" y="350"/>
                      <a:pt x="282" y="248"/>
                    </a:cubicBezTo>
                    <a:lnTo>
                      <a:pt x="68" y="124"/>
                    </a:lnTo>
                    <a:lnTo>
                      <a:pt x="360" y="0"/>
                    </a:lnTo>
                    <a:lnTo>
                      <a:pt x="574" y="124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4" y="147"/>
                      <a:pt x="1847" y="259"/>
                    </a:cubicBezTo>
                    <a:cubicBezTo>
                      <a:pt x="1881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8" name="Google Shape;998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9" name="Google Shape;999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0" name="Google Shape;1000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1" name="Google Shape;1001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9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2" name="Google Shape;1002;p33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1"/>
                    </a:moveTo>
                    <a:cubicBezTo>
                      <a:pt x="1420" y="1"/>
                      <a:pt x="1" y="981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64" y="3414"/>
                      <a:pt x="6364" y="2197"/>
                    </a:cubicBezTo>
                    <a:cubicBezTo>
                      <a:pt x="6364" y="981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3" name="Google Shape;1003;p33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4"/>
                      <a:pt x="4934" y="4393"/>
                      <a:pt x="3177" y="4393"/>
                    </a:cubicBezTo>
                    <a:cubicBezTo>
                      <a:pt x="1420" y="4393"/>
                      <a:pt x="1" y="3414"/>
                      <a:pt x="1" y="2197"/>
                    </a:cubicBezTo>
                    <a:cubicBezTo>
                      <a:pt x="1" y="981"/>
                      <a:pt x="1420" y="1"/>
                      <a:pt x="3177" y="1"/>
                    </a:cubicBezTo>
                    <a:cubicBezTo>
                      <a:pt x="4934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4" name="Google Shape;1004;p33"/>
              <p:cNvSpPr/>
              <p:nvPr/>
            </p:nvSpPr>
            <p:spPr>
              <a:xfrm>
                <a:off x="4102903" y="1147692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1"/>
                      <a:pt x="0" y="958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5" name="Google Shape;1005;p33"/>
              <p:cNvSpPr/>
              <p:nvPr/>
            </p:nvSpPr>
            <p:spPr>
              <a:xfrm>
                <a:off x="4078100" y="114573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6" name="Google Shape;1006;p33"/>
              <p:cNvSpPr/>
              <p:nvPr/>
            </p:nvSpPr>
            <p:spPr>
              <a:xfrm>
                <a:off x="4055288" y="1140600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7" name="Google Shape;1007;p33"/>
              <p:cNvSpPr/>
              <p:nvPr/>
            </p:nvSpPr>
            <p:spPr>
              <a:xfrm>
                <a:off x="4034048" y="113197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8" name="Google Shape;1008;p33"/>
              <p:cNvSpPr/>
              <p:nvPr/>
            </p:nvSpPr>
            <p:spPr>
              <a:xfrm>
                <a:off x="4016337" y="111974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9" name="Google Shape;1009;p33"/>
              <p:cNvSpPr/>
              <p:nvPr/>
            </p:nvSpPr>
            <p:spPr>
              <a:xfrm>
                <a:off x="3999813" y="109969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0" name="Google Shape;1010;p33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23" y="2636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1" name="Google Shape;1011;p33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2" name="Google Shape;1012;p33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49"/>
                    </a:lnTo>
                    <a:cubicBezTo>
                      <a:pt x="90" y="350"/>
                      <a:pt x="0" y="463"/>
                      <a:pt x="11" y="564"/>
                    </a:cubicBezTo>
                    <a:cubicBezTo>
                      <a:pt x="11" y="677"/>
                      <a:pt x="124" y="789"/>
                      <a:pt x="327" y="902"/>
                    </a:cubicBezTo>
                    <a:cubicBezTo>
                      <a:pt x="462" y="981"/>
                      <a:pt x="620" y="1037"/>
                      <a:pt x="777" y="1082"/>
                    </a:cubicBezTo>
                    <a:cubicBezTo>
                      <a:pt x="935" y="1116"/>
                      <a:pt x="1081" y="1138"/>
                      <a:pt x="1216" y="1150"/>
                    </a:cubicBezTo>
                    <a:cubicBezTo>
                      <a:pt x="1352" y="1150"/>
                      <a:pt x="1577" y="1150"/>
                      <a:pt x="1904" y="1138"/>
                    </a:cubicBezTo>
                    <a:cubicBezTo>
                      <a:pt x="2095" y="1138"/>
                      <a:pt x="2241" y="1150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5"/>
                      <a:pt x="2782" y="1409"/>
                      <a:pt x="2782" y="1431"/>
                    </a:cubicBezTo>
                    <a:cubicBezTo>
                      <a:pt x="2793" y="1454"/>
                      <a:pt x="2782" y="1476"/>
                      <a:pt x="2737" y="1499"/>
                    </a:cubicBezTo>
                    <a:cubicBezTo>
                      <a:pt x="2709" y="1510"/>
                      <a:pt x="2684" y="1516"/>
                      <a:pt x="2658" y="1516"/>
                    </a:cubicBezTo>
                    <a:cubicBezTo>
                      <a:pt x="2633" y="1516"/>
                      <a:pt x="2608" y="1510"/>
                      <a:pt x="2579" y="1499"/>
                    </a:cubicBezTo>
                    <a:cubicBezTo>
                      <a:pt x="2512" y="1487"/>
                      <a:pt x="2399" y="1420"/>
                      <a:pt x="2219" y="1319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7"/>
                    </a:cubicBezTo>
                    <a:cubicBezTo>
                      <a:pt x="2407" y="1839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2"/>
                    </a:lnTo>
                    <a:lnTo>
                      <a:pt x="3334" y="1656"/>
                    </a:lnTo>
                    <a:cubicBezTo>
                      <a:pt x="3514" y="1544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3"/>
                    </a:cubicBezTo>
                    <a:cubicBezTo>
                      <a:pt x="2579" y="699"/>
                      <a:pt x="2444" y="677"/>
                      <a:pt x="2332" y="665"/>
                    </a:cubicBezTo>
                    <a:cubicBezTo>
                      <a:pt x="2219" y="665"/>
                      <a:pt x="2027" y="665"/>
                      <a:pt x="1757" y="677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7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8"/>
                      <a:pt x="766" y="485"/>
                    </a:cubicBezTo>
                    <a:cubicBezTo>
                      <a:pt x="755" y="463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9"/>
                      <a:pt x="1093" y="474"/>
                      <a:pt x="1216" y="530"/>
                    </a:cubicBezTo>
                    <a:lnTo>
                      <a:pt x="1329" y="598"/>
                    </a:lnTo>
                    <a:lnTo>
                      <a:pt x="1971" y="339"/>
                    </a:lnTo>
                    <a:cubicBezTo>
                      <a:pt x="1915" y="305"/>
                      <a:pt x="1881" y="282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3" name="Google Shape;1013;p33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9"/>
                    </a:moveTo>
                    <a:lnTo>
                      <a:pt x="1329" y="598"/>
                    </a:lnTo>
                    <a:lnTo>
                      <a:pt x="1216" y="530"/>
                    </a:lnTo>
                    <a:cubicBezTo>
                      <a:pt x="1093" y="474"/>
                      <a:pt x="1014" y="429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3"/>
                      <a:pt x="766" y="485"/>
                    </a:cubicBezTo>
                    <a:cubicBezTo>
                      <a:pt x="777" y="508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7"/>
                    </a:cubicBezTo>
                    <a:cubicBezTo>
                      <a:pt x="1250" y="688"/>
                      <a:pt x="1453" y="688"/>
                      <a:pt x="1757" y="677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7"/>
                      <a:pt x="2579" y="699"/>
                      <a:pt x="2726" y="733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4"/>
                      <a:pt x="3334" y="1656"/>
                    </a:cubicBezTo>
                    <a:lnTo>
                      <a:pt x="3582" y="1792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7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9"/>
                    </a:lnTo>
                    <a:cubicBezTo>
                      <a:pt x="2399" y="1420"/>
                      <a:pt x="2512" y="1487"/>
                      <a:pt x="2579" y="1499"/>
                    </a:cubicBezTo>
                    <a:cubicBezTo>
                      <a:pt x="2636" y="1521"/>
                      <a:pt x="2681" y="1521"/>
                      <a:pt x="2737" y="1499"/>
                    </a:cubicBezTo>
                    <a:cubicBezTo>
                      <a:pt x="2782" y="1476"/>
                      <a:pt x="2793" y="1454"/>
                      <a:pt x="2782" y="1431"/>
                    </a:cubicBezTo>
                    <a:cubicBezTo>
                      <a:pt x="2782" y="1409"/>
                      <a:pt x="2737" y="1375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50"/>
                      <a:pt x="2095" y="1138"/>
                      <a:pt x="1904" y="1138"/>
                    </a:cubicBezTo>
                    <a:cubicBezTo>
                      <a:pt x="1577" y="1150"/>
                      <a:pt x="1352" y="1150"/>
                      <a:pt x="1216" y="1150"/>
                    </a:cubicBezTo>
                    <a:cubicBezTo>
                      <a:pt x="1081" y="1138"/>
                      <a:pt x="935" y="1116"/>
                      <a:pt x="777" y="1082"/>
                    </a:cubicBezTo>
                    <a:cubicBezTo>
                      <a:pt x="620" y="1037"/>
                      <a:pt x="462" y="981"/>
                      <a:pt x="327" y="902"/>
                    </a:cubicBezTo>
                    <a:cubicBezTo>
                      <a:pt x="124" y="789"/>
                      <a:pt x="11" y="677"/>
                      <a:pt x="11" y="564"/>
                    </a:cubicBezTo>
                    <a:cubicBezTo>
                      <a:pt x="0" y="463"/>
                      <a:pt x="90" y="350"/>
                      <a:pt x="282" y="249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82"/>
                      <a:pt x="1915" y="305"/>
                      <a:pt x="1971" y="33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4" name="Google Shape;1014;p33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extrusionOk="0">
                    <a:moveTo>
                      <a:pt x="3177" y="1"/>
                    </a:move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lnTo>
                      <a:pt x="5982" y="1150"/>
                    </a:lnTo>
                    <a:cubicBezTo>
                      <a:pt x="5441" y="463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5" name="Google Shape;1015;p33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4"/>
                      <a:pt x="3177" y="4404"/>
                    </a:cubicBezTo>
                    <a:cubicBezTo>
                      <a:pt x="4934" y="4404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6" name="Google Shape;1016;p33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fill="none" extrusionOk="0">
                    <a:moveTo>
                      <a:pt x="5982" y="1150"/>
                    </a:moveTo>
                    <a:cubicBezTo>
                      <a:pt x="5441" y="463"/>
                      <a:pt x="4393" y="1"/>
                      <a:pt x="3177" y="1"/>
                    </a:cubicBez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7" name="Google Shape;1017;p33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4"/>
                      <a:pt x="3177" y="4404"/>
                    </a:cubicBezTo>
                    <a:cubicBezTo>
                      <a:pt x="1420" y="4404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8" name="Google Shape;1018;p33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9" name="Google Shape;1019;p33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0" name="Google Shape;1020;p33"/>
              <p:cNvSpPr/>
              <p:nvPr/>
            </p:nvSpPr>
            <p:spPr>
              <a:xfrm>
                <a:off x="3781826" y="1253157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14"/>
                      <a:pt x="1" y="980"/>
                      <a:pt x="1" y="958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1" name="Google Shape;1021;p33"/>
              <p:cNvSpPr/>
              <p:nvPr/>
            </p:nvSpPr>
            <p:spPr>
              <a:xfrm>
                <a:off x="3805825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2" name="Google Shape;1022;p33"/>
              <p:cNvSpPr/>
              <p:nvPr/>
            </p:nvSpPr>
            <p:spPr>
              <a:xfrm>
                <a:off x="3828637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3" name="Google Shape;1023;p33"/>
              <p:cNvSpPr/>
              <p:nvPr/>
            </p:nvSpPr>
            <p:spPr>
              <a:xfrm>
                <a:off x="3849912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4" name="Google Shape;1024;p33"/>
              <p:cNvSpPr/>
              <p:nvPr/>
            </p:nvSpPr>
            <p:spPr>
              <a:xfrm>
                <a:off x="3868008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5" name="Google Shape;1025;p33"/>
              <p:cNvSpPr/>
              <p:nvPr/>
            </p:nvSpPr>
            <p:spPr>
              <a:xfrm>
                <a:off x="3884147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6" name="Google Shape;1026;p33"/>
              <p:cNvSpPr/>
              <p:nvPr/>
            </p:nvSpPr>
            <p:spPr>
              <a:xfrm>
                <a:off x="3757023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7" name="Google Shape;1027;p33"/>
              <p:cNvSpPr/>
              <p:nvPr/>
            </p:nvSpPr>
            <p:spPr>
              <a:xfrm>
                <a:off x="3734211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8" name="Google Shape;1028;p33"/>
              <p:cNvSpPr/>
              <p:nvPr/>
            </p:nvSpPr>
            <p:spPr>
              <a:xfrm>
                <a:off x="3712971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9" name="Google Shape;1029;p33"/>
              <p:cNvSpPr/>
              <p:nvPr/>
            </p:nvSpPr>
            <p:spPr>
              <a:xfrm>
                <a:off x="3694876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0" name="Google Shape;1030;p33"/>
              <p:cNvSpPr/>
              <p:nvPr/>
            </p:nvSpPr>
            <p:spPr>
              <a:xfrm>
                <a:off x="3678736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1" name="Google Shape;1031;p33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48"/>
                      <a:pt x="1104" y="3402"/>
                      <a:pt x="2456" y="3402"/>
                    </a:cubicBezTo>
                    <a:cubicBezTo>
                      <a:pt x="3819" y="3402"/>
                      <a:pt x="4911" y="2648"/>
                      <a:pt x="4911" y="1702"/>
                    </a:cubicBezTo>
                    <a:cubicBezTo>
                      <a:pt x="4911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2" name="Google Shape;1032;p33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48"/>
                      <a:pt x="3819" y="3402"/>
                      <a:pt x="2456" y="3402"/>
                    </a:cubicBezTo>
                    <a:cubicBezTo>
                      <a:pt x="1104" y="3402"/>
                      <a:pt x="1" y="2648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11" y="767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3" name="Google Shape;1033;p33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8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0"/>
                    </a:cubicBezTo>
                    <a:cubicBezTo>
                      <a:pt x="462" y="969"/>
                      <a:pt x="608" y="1025"/>
                      <a:pt x="777" y="1071"/>
                    </a:cubicBezTo>
                    <a:cubicBezTo>
                      <a:pt x="935" y="1104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4"/>
                      <a:pt x="2523" y="1251"/>
                      <a:pt x="2681" y="1330"/>
                    </a:cubicBezTo>
                    <a:cubicBezTo>
                      <a:pt x="2737" y="1363"/>
                      <a:pt x="2771" y="1397"/>
                      <a:pt x="2782" y="1420"/>
                    </a:cubicBezTo>
                    <a:cubicBezTo>
                      <a:pt x="2793" y="1453"/>
                      <a:pt x="2782" y="1465"/>
                      <a:pt x="2737" y="1487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7"/>
                    </a:cubicBezTo>
                    <a:cubicBezTo>
                      <a:pt x="2512" y="1476"/>
                      <a:pt x="2399" y="1408"/>
                      <a:pt x="2208" y="1307"/>
                    </a:cubicBezTo>
                    <a:lnTo>
                      <a:pt x="2050" y="1217"/>
                    </a:lnTo>
                    <a:lnTo>
                      <a:pt x="1408" y="1476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19" y="1828"/>
                      <a:pt x="2471" y="1829"/>
                      <a:pt x="2522" y="1829"/>
                    </a:cubicBezTo>
                    <a:cubicBezTo>
                      <a:pt x="2708" y="1829"/>
                      <a:pt x="2877" y="1811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2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6"/>
                      <a:pt x="2715" y="733"/>
                    </a:cubicBezTo>
                    <a:cubicBezTo>
                      <a:pt x="2579" y="688"/>
                      <a:pt x="2444" y="665"/>
                      <a:pt x="2332" y="654"/>
                    </a:cubicBezTo>
                    <a:cubicBezTo>
                      <a:pt x="2219" y="654"/>
                      <a:pt x="2028" y="654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20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1"/>
                      <a:pt x="958" y="406"/>
                    </a:cubicBezTo>
                    <a:cubicBezTo>
                      <a:pt x="1014" y="417"/>
                      <a:pt x="1093" y="462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3"/>
                      <a:pt x="1870" y="271"/>
                      <a:pt x="1847" y="248"/>
                    </a:cubicBezTo>
                    <a:cubicBezTo>
                      <a:pt x="1645" y="147"/>
                      <a:pt x="1442" y="79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1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4" name="Google Shape;1034;p33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2"/>
                      <a:pt x="1014" y="417"/>
                      <a:pt x="958" y="406"/>
                    </a:cubicBezTo>
                    <a:cubicBezTo>
                      <a:pt x="901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20"/>
                      <a:pt x="1081" y="665"/>
                      <a:pt x="1160" y="665"/>
                    </a:cubicBezTo>
                    <a:cubicBezTo>
                      <a:pt x="1250" y="676"/>
                      <a:pt x="1442" y="676"/>
                      <a:pt x="1757" y="665"/>
                    </a:cubicBezTo>
                    <a:cubicBezTo>
                      <a:pt x="2028" y="654"/>
                      <a:pt x="2219" y="654"/>
                      <a:pt x="2332" y="654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6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2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36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76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8"/>
                      <a:pt x="2512" y="1476"/>
                      <a:pt x="2568" y="1487"/>
                    </a:cubicBezTo>
                    <a:cubicBezTo>
                      <a:pt x="2625" y="1510"/>
                      <a:pt x="2681" y="1510"/>
                      <a:pt x="2737" y="1487"/>
                    </a:cubicBezTo>
                    <a:cubicBezTo>
                      <a:pt x="2782" y="1465"/>
                      <a:pt x="2793" y="1453"/>
                      <a:pt x="2782" y="1420"/>
                    </a:cubicBezTo>
                    <a:cubicBezTo>
                      <a:pt x="2771" y="1397"/>
                      <a:pt x="2737" y="1363"/>
                      <a:pt x="2681" y="1330"/>
                    </a:cubicBezTo>
                    <a:cubicBezTo>
                      <a:pt x="2523" y="1251"/>
                      <a:pt x="2411" y="1194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4"/>
                      <a:pt x="777" y="1071"/>
                    </a:cubicBezTo>
                    <a:cubicBezTo>
                      <a:pt x="608" y="1025"/>
                      <a:pt x="462" y="969"/>
                      <a:pt x="316" y="890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8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5" y="147"/>
                      <a:pt x="1847" y="248"/>
                    </a:cubicBezTo>
                    <a:cubicBezTo>
                      <a:pt x="1870" y="271"/>
                      <a:pt x="1915" y="293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5" name="Google Shape;1035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lnTo>
                      <a:pt x="5982" y="1161"/>
                    </a:lnTo>
                    <a:cubicBezTo>
                      <a:pt x="5441" y="473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6" name="Google Shape;1036;p33"/>
              <p:cNvSpPr/>
              <p:nvPr/>
            </p:nvSpPr>
            <p:spPr>
              <a:xfrm>
                <a:off x="3674793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92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92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7" name="Google Shape;1037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5982" y="1161"/>
                    </a:moveTo>
                    <a:cubicBezTo>
                      <a:pt x="5441" y="473"/>
                      <a:pt x="4393" y="0"/>
                      <a:pt x="3177" y="0"/>
                    </a:cubicBez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8" name="Google Shape;1038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92"/>
                      <a:pt x="1420" y="0"/>
                      <a:pt x="3177" y="0"/>
                    </a:cubicBezTo>
                    <a:cubicBezTo>
                      <a:pt x="4934" y="0"/>
                      <a:pt x="6353" y="992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9" name="Google Shape;1039;p33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9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0" name="Google Shape;1040;p33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9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1" name="Google Shape;1041;p33"/>
              <p:cNvSpPr/>
              <p:nvPr/>
            </p:nvSpPr>
            <p:spPr>
              <a:xfrm>
                <a:off x="3781826" y="119020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03"/>
                      <a:pt x="1" y="980"/>
                      <a:pt x="1" y="957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2" name="Google Shape;1042;p33"/>
              <p:cNvSpPr/>
              <p:nvPr/>
            </p:nvSpPr>
            <p:spPr>
              <a:xfrm>
                <a:off x="3805825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3" name="Google Shape;1043;p33"/>
              <p:cNvSpPr/>
              <p:nvPr/>
            </p:nvSpPr>
            <p:spPr>
              <a:xfrm>
                <a:off x="3828637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4" name="Google Shape;1044;p33"/>
              <p:cNvSpPr/>
              <p:nvPr/>
            </p:nvSpPr>
            <p:spPr>
              <a:xfrm>
                <a:off x="3849912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5" name="Google Shape;1045;p33"/>
              <p:cNvSpPr/>
              <p:nvPr/>
            </p:nvSpPr>
            <p:spPr>
              <a:xfrm>
                <a:off x="3868008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6" name="Google Shape;1046;p33"/>
              <p:cNvSpPr/>
              <p:nvPr/>
            </p:nvSpPr>
            <p:spPr>
              <a:xfrm>
                <a:off x="3884147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7" name="Google Shape;1047;p33"/>
              <p:cNvSpPr/>
              <p:nvPr/>
            </p:nvSpPr>
            <p:spPr>
              <a:xfrm>
                <a:off x="3757023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8" name="Google Shape;1048;p33"/>
              <p:cNvSpPr/>
              <p:nvPr/>
            </p:nvSpPr>
            <p:spPr>
              <a:xfrm>
                <a:off x="3734211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9" name="Google Shape;1049;p33"/>
              <p:cNvSpPr/>
              <p:nvPr/>
            </p:nvSpPr>
            <p:spPr>
              <a:xfrm>
                <a:off x="3712971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0" name="Google Shape;1050;p33"/>
              <p:cNvSpPr/>
              <p:nvPr/>
            </p:nvSpPr>
            <p:spPr>
              <a:xfrm>
                <a:off x="3694876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1" name="Google Shape;1051;p33"/>
              <p:cNvSpPr/>
              <p:nvPr/>
            </p:nvSpPr>
            <p:spPr>
              <a:xfrm>
                <a:off x="3678736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2" name="Google Shape;1052;p33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55"/>
                      <a:pt x="1" y="1702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11" y="2636"/>
                      <a:pt x="4911" y="1702"/>
                    </a:cubicBezTo>
                    <a:cubicBezTo>
                      <a:pt x="4911" y="755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3" name="Google Shape;1053;p33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2"/>
                    </a:cubicBezTo>
                    <a:cubicBezTo>
                      <a:pt x="1" y="755"/>
                      <a:pt x="1104" y="1"/>
                      <a:pt x="2456" y="1"/>
                    </a:cubicBezTo>
                    <a:cubicBezTo>
                      <a:pt x="3819" y="1"/>
                      <a:pt x="4911" y="755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4" name="Google Shape;1054;p33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extrusionOk="0">
                    <a:moveTo>
                      <a:pt x="361" y="0"/>
                    </a:moveTo>
                    <a:lnTo>
                      <a:pt x="57" y="124"/>
                    </a:lnTo>
                    <a:lnTo>
                      <a:pt x="282" y="248"/>
                    </a:lnTo>
                    <a:cubicBezTo>
                      <a:pt x="90" y="349"/>
                      <a:pt x="0" y="462"/>
                      <a:pt x="0" y="563"/>
                    </a:cubicBezTo>
                    <a:cubicBezTo>
                      <a:pt x="11" y="676"/>
                      <a:pt x="113" y="789"/>
                      <a:pt x="316" y="901"/>
                    </a:cubicBezTo>
                    <a:cubicBezTo>
                      <a:pt x="462" y="980"/>
                      <a:pt x="608" y="1036"/>
                      <a:pt x="777" y="1081"/>
                    </a:cubicBezTo>
                    <a:cubicBezTo>
                      <a:pt x="935" y="1115"/>
                      <a:pt x="1081" y="1138"/>
                      <a:pt x="1217" y="1149"/>
                    </a:cubicBezTo>
                    <a:cubicBezTo>
                      <a:pt x="1341" y="1149"/>
                      <a:pt x="1577" y="1149"/>
                      <a:pt x="1904" y="1138"/>
                    </a:cubicBezTo>
                    <a:cubicBezTo>
                      <a:pt x="2095" y="1138"/>
                      <a:pt x="2230" y="1149"/>
                      <a:pt x="2320" y="1172"/>
                    </a:cubicBezTo>
                    <a:cubicBezTo>
                      <a:pt x="2411" y="1205"/>
                      <a:pt x="2523" y="1262"/>
                      <a:pt x="2681" y="1340"/>
                    </a:cubicBezTo>
                    <a:cubicBezTo>
                      <a:pt x="2737" y="1374"/>
                      <a:pt x="2771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09"/>
                      <a:pt x="2681" y="1515"/>
                      <a:pt x="2653" y="1515"/>
                    </a:cubicBezTo>
                    <a:cubicBezTo>
                      <a:pt x="2625" y="1515"/>
                      <a:pt x="2596" y="1509"/>
                      <a:pt x="2568" y="1498"/>
                    </a:cubicBezTo>
                    <a:cubicBezTo>
                      <a:pt x="2512" y="1476"/>
                      <a:pt x="2399" y="1419"/>
                      <a:pt x="2208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32" y="1566"/>
                    </a:lnTo>
                    <a:cubicBezTo>
                      <a:pt x="1836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69" y="1815"/>
                      <a:pt x="3019" y="1768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23" y="1656"/>
                    </a:lnTo>
                    <a:cubicBezTo>
                      <a:pt x="3514" y="1543"/>
                      <a:pt x="3593" y="1431"/>
                      <a:pt x="3559" y="1307"/>
                    </a:cubicBezTo>
                    <a:cubicBezTo>
                      <a:pt x="3537" y="1183"/>
                      <a:pt x="3402" y="1059"/>
                      <a:pt x="3154" y="924"/>
                    </a:cubicBezTo>
                    <a:cubicBezTo>
                      <a:pt x="3007" y="834"/>
                      <a:pt x="2861" y="777"/>
                      <a:pt x="2715" y="732"/>
                    </a:cubicBezTo>
                    <a:cubicBezTo>
                      <a:pt x="2579" y="698"/>
                      <a:pt x="2444" y="676"/>
                      <a:pt x="2332" y="665"/>
                    </a:cubicBezTo>
                    <a:cubicBezTo>
                      <a:pt x="2219" y="665"/>
                      <a:pt x="2028" y="665"/>
                      <a:pt x="1757" y="676"/>
                    </a:cubicBezTo>
                    <a:cubicBezTo>
                      <a:pt x="1547" y="676"/>
                      <a:pt x="1392" y="681"/>
                      <a:pt x="1285" y="681"/>
                    </a:cubicBezTo>
                    <a:cubicBezTo>
                      <a:pt x="1232" y="681"/>
                      <a:pt x="1190" y="680"/>
                      <a:pt x="1160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4"/>
                    </a:cubicBezTo>
                    <a:cubicBezTo>
                      <a:pt x="755" y="462"/>
                      <a:pt x="766" y="439"/>
                      <a:pt x="811" y="417"/>
                    </a:cubicBezTo>
                    <a:cubicBezTo>
                      <a:pt x="837" y="410"/>
                      <a:pt x="863" y="404"/>
                      <a:pt x="891" y="404"/>
                    </a:cubicBezTo>
                    <a:cubicBezTo>
                      <a:pt x="912" y="404"/>
                      <a:pt x="934" y="407"/>
                      <a:pt x="958" y="417"/>
                    </a:cubicBezTo>
                    <a:cubicBezTo>
                      <a:pt x="1014" y="428"/>
                      <a:pt x="1093" y="462"/>
                      <a:pt x="1217" y="530"/>
                    </a:cubicBezTo>
                    <a:lnTo>
                      <a:pt x="1329" y="59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64" y="334"/>
                      <a:pt x="1968" y="336"/>
                      <a:pt x="1971" y="338"/>
                    </a:cubicBezTo>
                    <a:lnTo>
                      <a:pt x="1971" y="32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09" y="301"/>
                      <a:pt x="1868" y="280"/>
                      <a:pt x="1847" y="259"/>
                    </a:cubicBezTo>
                    <a:cubicBezTo>
                      <a:pt x="1645" y="147"/>
                      <a:pt x="1442" y="79"/>
                      <a:pt x="1228" y="56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4" y="73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5" name="Google Shape;1055;p33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fill="none" extrusionOk="0">
                    <a:moveTo>
                      <a:pt x="1971" y="327"/>
                    </a:moveTo>
                    <a:lnTo>
                      <a:pt x="1329" y="597"/>
                    </a:lnTo>
                    <a:lnTo>
                      <a:pt x="1217" y="530"/>
                    </a:lnTo>
                    <a:cubicBezTo>
                      <a:pt x="1093" y="462"/>
                      <a:pt x="1014" y="428"/>
                      <a:pt x="958" y="417"/>
                    </a:cubicBezTo>
                    <a:cubicBezTo>
                      <a:pt x="901" y="394"/>
                      <a:pt x="856" y="406"/>
                      <a:pt x="811" y="417"/>
                    </a:cubicBezTo>
                    <a:cubicBezTo>
                      <a:pt x="766" y="439"/>
                      <a:pt x="755" y="462"/>
                      <a:pt x="766" y="484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60" y="676"/>
                    </a:cubicBezTo>
                    <a:cubicBezTo>
                      <a:pt x="1250" y="687"/>
                      <a:pt x="1442" y="676"/>
                      <a:pt x="1757" y="676"/>
                    </a:cubicBezTo>
                    <a:cubicBezTo>
                      <a:pt x="2028" y="665"/>
                      <a:pt x="2219" y="665"/>
                      <a:pt x="2332" y="665"/>
                    </a:cubicBezTo>
                    <a:cubicBezTo>
                      <a:pt x="2444" y="676"/>
                      <a:pt x="2579" y="698"/>
                      <a:pt x="2715" y="732"/>
                    </a:cubicBezTo>
                    <a:cubicBezTo>
                      <a:pt x="2861" y="777"/>
                      <a:pt x="3007" y="834"/>
                      <a:pt x="3154" y="924"/>
                    </a:cubicBezTo>
                    <a:cubicBezTo>
                      <a:pt x="3402" y="1059"/>
                      <a:pt x="3537" y="1183"/>
                      <a:pt x="3559" y="1307"/>
                    </a:cubicBezTo>
                    <a:cubicBezTo>
                      <a:pt x="3593" y="1431"/>
                      <a:pt x="3514" y="1543"/>
                      <a:pt x="3323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19" y="1768"/>
                    </a:lnTo>
                    <a:cubicBezTo>
                      <a:pt x="2839" y="1825"/>
                      <a:pt x="2613" y="1847"/>
                      <a:pt x="2365" y="1836"/>
                    </a:cubicBezTo>
                    <a:cubicBezTo>
                      <a:pt x="2118" y="1825"/>
                      <a:pt x="1836" y="1735"/>
                      <a:pt x="1532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08" y="1318"/>
                    </a:lnTo>
                    <a:cubicBezTo>
                      <a:pt x="2399" y="1419"/>
                      <a:pt x="2512" y="1476"/>
                      <a:pt x="2568" y="1498"/>
                    </a:cubicBezTo>
                    <a:cubicBezTo>
                      <a:pt x="2625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71" y="1408"/>
                      <a:pt x="2737" y="1374"/>
                      <a:pt x="2681" y="1340"/>
                    </a:cubicBezTo>
                    <a:cubicBezTo>
                      <a:pt x="2523" y="1262"/>
                      <a:pt x="2411" y="1205"/>
                      <a:pt x="2320" y="1172"/>
                    </a:cubicBezTo>
                    <a:cubicBezTo>
                      <a:pt x="2230" y="1149"/>
                      <a:pt x="2095" y="1138"/>
                      <a:pt x="1904" y="1138"/>
                    </a:cubicBezTo>
                    <a:cubicBezTo>
                      <a:pt x="1577" y="1149"/>
                      <a:pt x="1341" y="1149"/>
                      <a:pt x="1217" y="1149"/>
                    </a:cubicBezTo>
                    <a:cubicBezTo>
                      <a:pt x="1081" y="1138"/>
                      <a:pt x="935" y="1115"/>
                      <a:pt x="777" y="1081"/>
                    </a:cubicBezTo>
                    <a:cubicBezTo>
                      <a:pt x="608" y="1036"/>
                      <a:pt x="462" y="980"/>
                      <a:pt x="316" y="901"/>
                    </a:cubicBezTo>
                    <a:cubicBezTo>
                      <a:pt x="113" y="789"/>
                      <a:pt x="11" y="676"/>
                      <a:pt x="0" y="563"/>
                    </a:cubicBezTo>
                    <a:cubicBezTo>
                      <a:pt x="0" y="462"/>
                      <a:pt x="90" y="349"/>
                      <a:pt x="282" y="248"/>
                    </a:cubicBezTo>
                    <a:lnTo>
                      <a:pt x="57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6"/>
                      <a:pt x="1014" y="34"/>
                      <a:pt x="1228" y="56"/>
                    </a:cubicBezTo>
                    <a:cubicBezTo>
                      <a:pt x="1442" y="79"/>
                      <a:pt x="1645" y="147"/>
                      <a:pt x="1847" y="259"/>
                    </a:cubicBezTo>
                    <a:cubicBezTo>
                      <a:pt x="1870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6" name="Google Shape;1056;p33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lnTo>
                      <a:pt x="5982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7" name="Google Shape;1057;p33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8" name="Google Shape;1058;p33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fill="none" extrusionOk="0">
                    <a:moveTo>
                      <a:pt x="5982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9" name="Google Shape;1059;p33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0" name="Google Shape;1060;p33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1" name="Google Shape;1061;p33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2" name="Google Shape;1062;p33"/>
              <p:cNvSpPr/>
              <p:nvPr/>
            </p:nvSpPr>
            <p:spPr>
              <a:xfrm>
                <a:off x="3781826" y="111936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cubicBezTo>
                      <a:pt x="1" y="1003"/>
                      <a:pt x="1" y="981"/>
                      <a:pt x="1" y="947"/>
                    </a:cubicBez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3" name="Google Shape;1063;p33"/>
              <p:cNvSpPr/>
              <p:nvPr/>
            </p:nvSpPr>
            <p:spPr>
              <a:xfrm>
                <a:off x="3805825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4" name="Google Shape;1064;p33"/>
              <p:cNvSpPr/>
              <p:nvPr/>
            </p:nvSpPr>
            <p:spPr>
              <a:xfrm>
                <a:off x="3828637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5" name="Google Shape;1065;p33"/>
              <p:cNvSpPr/>
              <p:nvPr/>
            </p:nvSpPr>
            <p:spPr>
              <a:xfrm>
                <a:off x="3849912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6" name="Google Shape;1066;p33"/>
              <p:cNvSpPr/>
              <p:nvPr/>
            </p:nvSpPr>
            <p:spPr>
              <a:xfrm>
                <a:off x="3868008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7" name="Google Shape;1067;p33"/>
              <p:cNvSpPr/>
              <p:nvPr/>
            </p:nvSpPr>
            <p:spPr>
              <a:xfrm>
                <a:off x="3884147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8" name="Google Shape;1068;p33"/>
              <p:cNvSpPr/>
              <p:nvPr/>
            </p:nvSpPr>
            <p:spPr>
              <a:xfrm>
                <a:off x="3757023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9" name="Google Shape;1069;p33"/>
              <p:cNvSpPr/>
              <p:nvPr/>
            </p:nvSpPr>
            <p:spPr>
              <a:xfrm>
                <a:off x="3734211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0" name="Google Shape;1070;p33"/>
              <p:cNvSpPr/>
              <p:nvPr/>
            </p:nvSpPr>
            <p:spPr>
              <a:xfrm>
                <a:off x="3712971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1" name="Google Shape;1071;p33"/>
              <p:cNvSpPr/>
              <p:nvPr/>
            </p:nvSpPr>
            <p:spPr>
              <a:xfrm>
                <a:off x="3694876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2" name="Google Shape;1072;p33"/>
              <p:cNvSpPr/>
              <p:nvPr/>
            </p:nvSpPr>
            <p:spPr>
              <a:xfrm>
                <a:off x="3678736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3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11" y="2647"/>
                      <a:pt x="4911" y="1701"/>
                    </a:cubicBezTo>
                    <a:cubicBezTo>
                      <a:pt x="4911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4" name="Google Shape;1074;p33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fill="none" extrusionOk="0">
                    <a:moveTo>
                      <a:pt x="4911" y="1701"/>
                    </a:moveTo>
                    <a:cubicBezTo>
                      <a:pt x="4911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11" y="766"/>
                      <a:pt x="4911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5" name="Google Shape;1075;p33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9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1"/>
                    </a:cubicBezTo>
                    <a:cubicBezTo>
                      <a:pt x="462" y="969"/>
                      <a:pt x="608" y="1026"/>
                      <a:pt x="777" y="1071"/>
                    </a:cubicBezTo>
                    <a:cubicBezTo>
                      <a:pt x="935" y="1105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5"/>
                      <a:pt x="2523" y="1251"/>
                      <a:pt x="2681" y="1330"/>
                    </a:cubicBezTo>
                    <a:cubicBezTo>
                      <a:pt x="2737" y="1364"/>
                      <a:pt x="2771" y="1397"/>
                      <a:pt x="2782" y="1420"/>
                    </a:cubicBezTo>
                    <a:cubicBezTo>
                      <a:pt x="2793" y="1454"/>
                      <a:pt x="2782" y="1465"/>
                      <a:pt x="2737" y="1488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8"/>
                    </a:cubicBezTo>
                    <a:cubicBezTo>
                      <a:pt x="2512" y="1476"/>
                      <a:pt x="2399" y="1409"/>
                      <a:pt x="2208" y="1307"/>
                    </a:cubicBezTo>
                    <a:lnTo>
                      <a:pt x="2050" y="1217"/>
                    </a:lnTo>
                    <a:lnTo>
                      <a:pt x="1408" y="1488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3" y="1834"/>
                      <a:pt x="2884" y="1809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3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7"/>
                      <a:pt x="2715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4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32"/>
                      <a:pt x="879" y="564"/>
                    </a:cubicBezTo>
                    <a:cubicBezTo>
                      <a:pt x="822" y="530"/>
                      <a:pt x="777" y="508"/>
                      <a:pt x="766" y="474"/>
                    </a:cubicBezTo>
                    <a:cubicBezTo>
                      <a:pt x="755" y="451"/>
                      <a:pt x="766" y="429"/>
                      <a:pt x="811" y="418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2"/>
                      <a:pt x="958" y="406"/>
                    </a:cubicBezTo>
                    <a:cubicBezTo>
                      <a:pt x="1014" y="418"/>
                      <a:pt x="1093" y="463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70" y="271"/>
                      <a:pt x="1847" y="249"/>
                    </a:cubicBezTo>
                    <a:cubicBezTo>
                      <a:pt x="1645" y="147"/>
                      <a:pt x="1442" y="80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2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6" name="Google Shape;1076;p33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3"/>
                      <a:pt x="1014" y="418"/>
                      <a:pt x="958" y="406"/>
                    </a:cubicBezTo>
                    <a:cubicBezTo>
                      <a:pt x="901" y="395"/>
                      <a:pt x="856" y="395"/>
                      <a:pt x="811" y="418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508"/>
                      <a:pt x="822" y="530"/>
                      <a:pt x="879" y="564"/>
                    </a:cubicBezTo>
                    <a:cubicBezTo>
                      <a:pt x="991" y="632"/>
                      <a:pt x="1081" y="665"/>
                      <a:pt x="1160" y="665"/>
                    </a:cubicBezTo>
                    <a:cubicBezTo>
                      <a:pt x="1250" y="677"/>
                      <a:pt x="1442" y="677"/>
                      <a:pt x="1757" y="665"/>
                    </a:cubicBezTo>
                    <a:cubicBezTo>
                      <a:pt x="2028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7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3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48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88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9"/>
                      <a:pt x="2512" y="1476"/>
                      <a:pt x="2568" y="1488"/>
                    </a:cubicBezTo>
                    <a:cubicBezTo>
                      <a:pt x="2625" y="1510"/>
                      <a:pt x="2681" y="1510"/>
                      <a:pt x="2737" y="1488"/>
                    </a:cubicBezTo>
                    <a:cubicBezTo>
                      <a:pt x="2782" y="1465"/>
                      <a:pt x="2793" y="1454"/>
                      <a:pt x="2782" y="1420"/>
                    </a:cubicBezTo>
                    <a:cubicBezTo>
                      <a:pt x="2771" y="1397"/>
                      <a:pt x="2737" y="1364"/>
                      <a:pt x="2681" y="1330"/>
                    </a:cubicBezTo>
                    <a:cubicBezTo>
                      <a:pt x="2523" y="1251"/>
                      <a:pt x="2411" y="1195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5"/>
                      <a:pt x="777" y="1071"/>
                    </a:cubicBezTo>
                    <a:cubicBezTo>
                      <a:pt x="608" y="1026"/>
                      <a:pt x="462" y="969"/>
                      <a:pt x="316" y="891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9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5" y="147"/>
                      <a:pt x="1847" y="249"/>
                    </a:cubicBezTo>
                    <a:cubicBezTo>
                      <a:pt x="1870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7" name="Google Shape;1077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74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8" name="Google Shape;1078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9" name="Google Shape;1079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74"/>
                      <a:pt x="4393" y="1"/>
                      <a:pt x="3188" y="1"/>
                    </a:cubicBez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0" name="Google Shape;1080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4"/>
                      <a:pt x="4945" y="4405"/>
                      <a:pt x="3188" y="4405"/>
                    </a:cubicBezTo>
                    <a:cubicBezTo>
                      <a:pt x="1431" y="4405"/>
                      <a:pt x="0" y="3414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1" name="Google Shape;1081;p33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2"/>
                      <a:pt x="0" y="2208"/>
                    </a:cubicBezTo>
                    <a:cubicBezTo>
                      <a:pt x="0" y="3424"/>
                      <a:pt x="1431" y="4404"/>
                      <a:pt x="3188" y="4404"/>
                    </a:cubicBezTo>
                    <a:cubicBezTo>
                      <a:pt x="4945" y="4404"/>
                      <a:pt x="6364" y="3424"/>
                      <a:pt x="6364" y="2208"/>
                    </a:cubicBezTo>
                    <a:cubicBezTo>
                      <a:pt x="6364" y="992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2" name="Google Shape;1082;p33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4"/>
                      <a:pt x="4945" y="4404"/>
                      <a:pt x="3188" y="4404"/>
                    </a:cubicBezTo>
                    <a:cubicBezTo>
                      <a:pt x="1431" y="4404"/>
                      <a:pt x="0" y="3424"/>
                      <a:pt x="0" y="2208"/>
                    </a:cubicBezTo>
                    <a:cubicBezTo>
                      <a:pt x="0" y="992"/>
                      <a:pt x="1431" y="0"/>
                      <a:pt x="3188" y="0"/>
                    </a:cubicBezTo>
                    <a:cubicBezTo>
                      <a:pt x="4945" y="0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3" name="Google Shape;1083;p33"/>
              <p:cNvSpPr/>
              <p:nvPr/>
            </p:nvSpPr>
            <p:spPr>
              <a:xfrm>
                <a:off x="3958905" y="1358203"/>
                <a:ext cx="419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11" y="958"/>
                    </a:cubicBezTo>
                    <a:lnTo>
                      <a:pt x="1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4" name="Google Shape;1084;p33"/>
              <p:cNvSpPr/>
              <p:nvPr/>
            </p:nvSpPr>
            <p:spPr>
              <a:xfrm>
                <a:off x="3983289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5" name="Google Shape;1085;p33"/>
              <p:cNvSpPr/>
              <p:nvPr/>
            </p:nvSpPr>
            <p:spPr>
              <a:xfrm>
                <a:off x="400610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6" name="Google Shape;1086;p33"/>
              <p:cNvSpPr/>
              <p:nvPr/>
            </p:nvSpPr>
            <p:spPr>
              <a:xfrm>
                <a:off x="4027341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7" name="Google Shape;1087;p33"/>
              <p:cNvSpPr/>
              <p:nvPr/>
            </p:nvSpPr>
            <p:spPr>
              <a:xfrm>
                <a:off x="4045052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8" name="Google Shape;1088;p33"/>
              <p:cNvSpPr/>
              <p:nvPr/>
            </p:nvSpPr>
            <p:spPr>
              <a:xfrm>
                <a:off x="406157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9" name="Google Shape;1089;p33"/>
              <p:cNvSpPr/>
              <p:nvPr/>
            </p:nvSpPr>
            <p:spPr>
              <a:xfrm>
                <a:off x="3934487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0" name="Google Shape;1090;p33"/>
              <p:cNvSpPr/>
              <p:nvPr/>
            </p:nvSpPr>
            <p:spPr>
              <a:xfrm>
                <a:off x="391129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1" name="Google Shape;1091;p33"/>
              <p:cNvSpPr/>
              <p:nvPr/>
            </p:nvSpPr>
            <p:spPr>
              <a:xfrm>
                <a:off x="3890435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2" name="Google Shape;1092;p33"/>
              <p:cNvSpPr/>
              <p:nvPr/>
            </p:nvSpPr>
            <p:spPr>
              <a:xfrm>
                <a:off x="3872339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3" name="Google Shape;1093;p33"/>
              <p:cNvSpPr/>
              <p:nvPr/>
            </p:nvSpPr>
            <p:spPr>
              <a:xfrm>
                <a:off x="385581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4" name="Google Shape;1094;p33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5" name="Google Shape;1095;p33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6" name="Google Shape;1096;p33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1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62"/>
                      <a:pt x="12" y="564"/>
                    </a:cubicBezTo>
                    <a:cubicBezTo>
                      <a:pt x="23" y="676"/>
                      <a:pt x="125" y="789"/>
                      <a:pt x="327" y="902"/>
                    </a:cubicBezTo>
                    <a:cubicBezTo>
                      <a:pt x="462" y="980"/>
                      <a:pt x="620" y="1037"/>
                      <a:pt x="778" y="1071"/>
                    </a:cubicBezTo>
                    <a:cubicBezTo>
                      <a:pt x="947" y="1116"/>
                      <a:pt x="1093" y="1138"/>
                      <a:pt x="1217" y="1138"/>
                    </a:cubicBezTo>
                    <a:cubicBezTo>
                      <a:pt x="1285" y="1144"/>
                      <a:pt x="1375" y="1147"/>
                      <a:pt x="1489" y="1147"/>
                    </a:cubicBezTo>
                    <a:cubicBezTo>
                      <a:pt x="1603" y="1147"/>
                      <a:pt x="1741" y="1144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7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408"/>
                      <a:pt x="2794" y="1431"/>
                    </a:cubicBezTo>
                    <a:cubicBezTo>
                      <a:pt x="2805" y="1454"/>
                      <a:pt x="2783" y="1476"/>
                      <a:pt x="2738" y="1499"/>
                    </a:cubicBezTo>
                    <a:cubicBezTo>
                      <a:pt x="2715" y="1510"/>
                      <a:pt x="2690" y="1515"/>
                      <a:pt x="2663" y="1515"/>
                    </a:cubicBezTo>
                    <a:cubicBezTo>
                      <a:pt x="2636" y="1515"/>
                      <a:pt x="2608" y="1510"/>
                      <a:pt x="2580" y="1499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28"/>
                    </a:lnTo>
                    <a:lnTo>
                      <a:pt x="1409" y="1487"/>
                    </a:lnTo>
                    <a:lnTo>
                      <a:pt x="1544" y="1566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31"/>
                      <a:pt x="3571" y="1307"/>
                    </a:cubicBezTo>
                    <a:cubicBezTo>
                      <a:pt x="3549" y="1183"/>
                      <a:pt x="3413" y="1048"/>
                      <a:pt x="3166" y="924"/>
                    </a:cubicBezTo>
                    <a:cubicBezTo>
                      <a:pt x="3019" y="834"/>
                      <a:pt x="2873" y="778"/>
                      <a:pt x="2726" y="733"/>
                    </a:cubicBezTo>
                    <a:cubicBezTo>
                      <a:pt x="2580" y="699"/>
                      <a:pt x="2456" y="676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454" y="676"/>
                      <a:pt x="1251" y="676"/>
                      <a:pt x="1172" y="676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41"/>
                      <a:pt x="789" y="507"/>
                      <a:pt x="778" y="485"/>
                    </a:cubicBezTo>
                    <a:cubicBezTo>
                      <a:pt x="767" y="451"/>
                      <a:pt x="778" y="440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29"/>
                      <a:pt x="1104" y="462"/>
                      <a:pt x="1217" y="530"/>
                    </a:cubicBezTo>
                    <a:lnTo>
                      <a:pt x="1330" y="598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60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7" name="Google Shape;1097;p33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98"/>
                    </a:lnTo>
                    <a:lnTo>
                      <a:pt x="1217" y="530"/>
                    </a:lnTo>
                    <a:cubicBezTo>
                      <a:pt x="1104" y="462"/>
                      <a:pt x="1014" y="429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40"/>
                      <a:pt x="767" y="451"/>
                      <a:pt x="778" y="485"/>
                    </a:cubicBezTo>
                    <a:cubicBezTo>
                      <a:pt x="789" y="507"/>
                      <a:pt x="823" y="541"/>
                      <a:pt x="890" y="575"/>
                    </a:cubicBezTo>
                    <a:cubicBezTo>
                      <a:pt x="992" y="631"/>
                      <a:pt x="1093" y="665"/>
                      <a:pt x="1172" y="676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76"/>
                      <a:pt x="2580" y="699"/>
                      <a:pt x="2726" y="733"/>
                    </a:cubicBezTo>
                    <a:cubicBezTo>
                      <a:pt x="2873" y="778"/>
                      <a:pt x="3019" y="834"/>
                      <a:pt x="3166" y="924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31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66"/>
                    </a:cubicBezTo>
                    <a:lnTo>
                      <a:pt x="1409" y="1487"/>
                    </a:lnTo>
                    <a:lnTo>
                      <a:pt x="2051" y="1228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9"/>
                    </a:cubicBezTo>
                    <a:cubicBezTo>
                      <a:pt x="2636" y="1521"/>
                      <a:pt x="2693" y="1521"/>
                      <a:pt x="2738" y="1499"/>
                    </a:cubicBezTo>
                    <a:cubicBezTo>
                      <a:pt x="2783" y="1476"/>
                      <a:pt x="2805" y="1454"/>
                      <a:pt x="2794" y="1431"/>
                    </a:cubicBezTo>
                    <a:cubicBezTo>
                      <a:pt x="2783" y="1408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49"/>
                      <a:pt x="1352" y="1149"/>
                      <a:pt x="1217" y="1138"/>
                    </a:cubicBezTo>
                    <a:cubicBezTo>
                      <a:pt x="1093" y="1138"/>
                      <a:pt x="947" y="1116"/>
                      <a:pt x="778" y="1071"/>
                    </a:cubicBezTo>
                    <a:cubicBezTo>
                      <a:pt x="620" y="1037"/>
                      <a:pt x="462" y="980"/>
                      <a:pt x="327" y="902"/>
                    </a:cubicBezTo>
                    <a:cubicBezTo>
                      <a:pt x="125" y="789"/>
                      <a:pt x="23" y="676"/>
                      <a:pt x="12" y="564"/>
                    </a:cubicBezTo>
                    <a:cubicBezTo>
                      <a:pt x="1" y="462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1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60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8" name="Google Shape;1098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62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9" name="Google Shape;1099;p33"/>
              <p:cNvSpPr/>
              <p:nvPr/>
            </p:nvSpPr>
            <p:spPr>
              <a:xfrm>
                <a:off x="3849895" y="117821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0" name="Google Shape;1100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62"/>
                      <a:pt x="4393" y="1"/>
                      <a:pt x="3188" y="1"/>
                    </a:cubicBez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1" name="Google Shape;1101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45" y="4405"/>
                      <a:pt x="3188" y="4405"/>
                    </a:cubicBezTo>
                    <a:cubicBezTo>
                      <a:pt x="1431" y="4405"/>
                      <a:pt x="0" y="3413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2" name="Google Shape;1102;p33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1"/>
                      <a:pt x="0" y="2208"/>
                    </a:cubicBezTo>
                    <a:cubicBezTo>
                      <a:pt x="0" y="3413"/>
                      <a:pt x="1431" y="4404"/>
                      <a:pt x="3188" y="4404"/>
                    </a:cubicBezTo>
                    <a:cubicBezTo>
                      <a:pt x="4945" y="4404"/>
                      <a:pt x="6364" y="3413"/>
                      <a:pt x="6364" y="2208"/>
                    </a:cubicBezTo>
                    <a:cubicBezTo>
                      <a:pt x="6364" y="991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3" name="Google Shape;1103;p33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13"/>
                      <a:pt x="4945" y="4404"/>
                      <a:pt x="3188" y="4404"/>
                    </a:cubicBezTo>
                    <a:cubicBezTo>
                      <a:pt x="1431" y="4404"/>
                      <a:pt x="0" y="3413"/>
                      <a:pt x="0" y="2208"/>
                    </a:cubicBezTo>
                    <a:cubicBezTo>
                      <a:pt x="0" y="991"/>
                      <a:pt x="1431" y="0"/>
                      <a:pt x="3188" y="0"/>
                    </a:cubicBezTo>
                    <a:cubicBezTo>
                      <a:pt x="4945" y="0"/>
                      <a:pt x="6364" y="991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4" name="Google Shape;1104;p33"/>
              <p:cNvSpPr/>
              <p:nvPr/>
            </p:nvSpPr>
            <p:spPr>
              <a:xfrm>
                <a:off x="3958905" y="1295252"/>
                <a:ext cx="419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26" fill="none" extrusionOk="0">
                    <a:moveTo>
                      <a:pt x="0" y="1025"/>
                    </a:moveTo>
                    <a:cubicBezTo>
                      <a:pt x="0" y="1003"/>
                      <a:pt x="0" y="980"/>
                      <a:pt x="11" y="947"/>
                    </a:cubicBezTo>
                    <a:lnTo>
                      <a:pt x="1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5" name="Google Shape;1105;p33"/>
              <p:cNvSpPr/>
              <p:nvPr/>
            </p:nvSpPr>
            <p:spPr>
              <a:xfrm>
                <a:off x="3983289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6" name="Google Shape;1106;p33"/>
              <p:cNvSpPr/>
              <p:nvPr/>
            </p:nvSpPr>
            <p:spPr>
              <a:xfrm>
                <a:off x="400610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7" name="Google Shape;1107;p33"/>
              <p:cNvSpPr/>
              <p:nvPr/>
            </p:nvSpPr>
            <p:spPr>
              <a:xfrm>
                <a:off x="4027341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8" name="Google Shape;1108;p33"/>
              <p:cNvSpPr/>
              <p:nvPr/>
            </p:nvSpPr>
            <p:spPr>
              <a:xfrm>
                <a:off x="4045052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7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9" name="Google Shape;1109;p33"/>
              <p:cNvSpPr/>
              <p:nvPr/>
            </p:nvSpPr>
            <p:spPr>
              <a:xfrm>
                <a:off x="406157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0" name="Google Shape;1110;p33"/>
              <p:cNvSpPr/>
              <p:nvPr/>
            </p:nvSpPr>
            <p:spPr>
              <a:xfrm>
                <a:off x="3934487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1" name="Google Shape;1111;p33"/>
              <p:cNvSpPr/>
              <p:nvPr/>
            </p:nvSpPr>
            <p:spPr>
              <a:xfrm>
                <a:off x="391129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2" name="Google Shape;1112;p33"/>
              <p:cNvSpPr/>
              <p:nvPr/>
            </p:nvSpPr>
            <p:spPr>
              <a:xfrm>
                <a:off x="3890435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" name="Google Shape;1113;p33"/>
              <p:cNvSpPr/>
              <p:nvPr/>
            </p:nvSpPr>
            <p:spPr>
              <a:xfrm>
                <a:off x="3872339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4" name="Google Shape;1114;p33"/>
              <p:cNvSpPr/>
              <p:nvPr/>
            </p:nvSpPr>
            <p:spPr>
              <a:xfrm>
                <a:off x="385581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5" name="Google Shape;1115;p33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6" name="Google Shape;1116;p33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7" name="Google Shape;1117;p33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51"/>
                      <a:pt x="12" y="564"/>
                    </a:cubicBezTo>
                    <a:cubicBezTo>
                      <a:pt x="23" y="676"/>
                      <a:pt x="125" y="778"/>
                      <a:pt x="327" y="890"/>
                    </a:cubicBezTo>
                    <a:cubicBezTo>
                      <a:pt x="462" y="969"/>
                      <a:pt x="620" y="1037"/>
                      <a:pt x="778" y="1070"/>
                    </a:cubicBezTo>
                    <a:cubicBezTo>
                      <a:pt x="947" y="1115"/>
                      <a:pt x="1093" y="1138"/>
                      <a:pt x="1217" y="1138"/>
                    </a:cubicBezTo>
                    <a:cubicBezTo>
                      <a:pt x="1262" y="1142"/>
                      <a:pt x="1317" y="1143"/>
                      <a:pt x="1383" y="1143"/>
                    </a:cubicBezTo>
                    <a:cubicBezTo>
                      <a:pt x="1514" y="1143"/>
                      <a:pt x="1686" y="1138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6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397"/>
                      <a:pt x="2794" y="1431"/>
                    </a:cubicBezTo>
                    <a:cubicBezTo>
                      <a:pt x="2805" y="1453"/>
                      <a:pt x="2783" y="1476"/>
                      <a:pt x="2738" y="1487"/>
                    </a:cubicBezTo>
                    <a:cubicBezTo>
                      <a:pt x="2711" y="1500"/>
                      <a:pt x="2681" y="1506"/>
                      <a:pt x="2649" y="1506"/>
                    </a:cubicBezTo>
                    <a:cubicBezTo>
                      <a:pt x="2627" y="1506"/>
                      <a:pt x="2603" y="1503"/>
                      <a:pt x="2580" y="1498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17"/>
                    </a:lnTo>
                    <a:lnTo>
                      <a:pt x="1409" y="1487"/>
                    </a:lnTo>
                    <a:lnTo>
                      <a:pt x="1544" y="1555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20"/>
                      <a:pt x="3571" y="1307"/>
                    </a:cubicBezTo>
                    <a:cubicBezTo>
                      <a:pt x="3549" y="1183"/>
                      <a:pt x="3413" y="1048"/>
                      <a:pt x="3166" y="913"/>
                    </a:cubicBezTo>
                    <a:cubicBezTo>
                      <a:pt x="3019" y="834"/>
                      <a:pt x="2873" y="766"/>
                      <a:pt x="2726" y="733"/>
                    </a:cubicBezTo>
                    <a:cubicBezTo>
                      <a:pt x="2580" y="687"/>
                      <a:pt x="2456" y="665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611" y="671"/>
                      <a:pt x="1482" y="673"/>
                      <a:pt x="1382" y="673"/>
                    </a:cubicBezTo>
                    <a:cubicBezTo>
                      <a:pt x="1282" y="673"/>
                      <a:pt x="1211" y="671"/>
                      <a:pt x="1172" y="665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30"/>
                      <a:pt x="789" y="507"/>
                      <a:pt x="778" y="473"/>
                    </a:cubicBezTo>
                    <a:cubicBezTo>
                      <a:pt x="767" y="451"/>
                      <a:pt x="778" y="428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17"/>
                      <a:pt x="1104" y="462"/>
                      <a:pt x="1217" y="530"/>
                    </a:cubicBezTo>
                    <a:lnTo>
                      <a:pt x="1330" y="586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59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8" name="Google Shape;1118;p33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86"/>
                    </a:lnTo>
                    <a:lnTo>
                      <a:pt x="1217" y="530"/>
                    </a:lnTo>
                    <a:cubicBezTo>
                      <a:pt x="1104" y="462"/>
                      <a:pt x="1014" y="417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28"/>
                      <a:pt x="767" y="451"/>
                      <a:pt x="778" y="473"/>
                    </a:cubicBezTo>
                    <a:cubicBezTo>
                      <a:pt x="789" y="507"/>
                      <a:pt x="823" y="530"/>
                      <a:pt x="890" y="575"/>
                    </a:cubicBezTo>
                    <a:cubicBezTo>
                      <a:pt x="992" y="631"/>
                      <a:pt x="1093" y="665"/>
                      <a:pt x="1172" y="665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65"/>
                      <a:pt x="2580" y="687"/>
                      <a:pt x="2726" y="733"/>
                    </a:cubicBezTo>
                    <a:cubicBezTo>
                      <a:pt x="2873" y="766"/>
                      <a:pt x="3019" y="834"/>
                      <a:pt x="3166" y="913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20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55"/>
                    </a:cubicBezTo>
                    <a:lnTo>
                      <a:pt x="1409" y="1487"/>
                    </a:lnTo>
                    <a:lnTo>
                      <a:pt x="2051" y="1217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8"/>
                    </a:cubicBezTo>
                    <a:cubicBezTo>
                      <a:pt x="2636" y="1510"/>
                      <a:pt x="2693" y="1510"/>
                      <a:pt x="2738" y="1487"/>
                    </a:cubicBezTo>
                    <a:cubicBezTo>
                      <a:pt x="2783" y="1476"/>
                      <a:pt x="2805" y="1453"/>
                      <a:pt x="2794" y="1431"/>
                    </a:cubicBezTo>
                    <a:cubicBezTo>
                      <a:pt x="2783" y="1397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38"/>
                      <a:pt x="1352" y="1149"/>
                      <a:pt x="1217" y="1138"/>
                    </a:cubicBezTo>
                    <a:cubicBezTo>
                      <a:pt x="1093" y="1138"/>
                      <a:pt x="947" y="1115"/>
                      <a:pt x="778" y="1070"/>
                    </a:cubicBezTo>
                    <a:cubicBezTo>
                      <a:pt x="620" y="1037"/>
                      <a:pt x="462" y="969"/>
                      <a:pt x="327" y="890"/>
                    </a:cubicBezTo>
                    <a:cubicBezTo>
                      <a:pt x="125" y="778"/>
                      <a:pt x="23" y="676"/>
                      <a:pt x="12" y="564"/>
                    </a:cubicBezTo>
                    <a:cubicBezTo>
                      <a:pt x="1" y="451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59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solidFill>
                <a:schemeClr val="dk2"/>
              </a:solidFill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19" name="Google Shape;1119;p33"/>
            <p:cNvSpPr/>
            <p:nvPr/>
          </p:nvSpPr>
          <p:spPr>
            <a:xfrm>
              <a:off x="3794477" y="28759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" name="Google Shape;1120;p33"/>
            <p:cNvSpPr/>
            <p:nvPr/>
          </p:nvSpPr>
          <p:spPr>
            <a:xfrm>
              <a:off x="3817289" y="28245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" name="Google Shape;1121;p33"/>
            <p:cNvSpPr/>
            <p:nvPr/>
          </p:nvSpPr>
          <p:spPr>
            <a:xfrm>
              <a:off x="3838529" y="27379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" name="Google Shape;1122;p33"/>
            <p:cNvSpPr/>
            <p:nvPr/>
          </p:nvSpPr>
          <p:spPr>
            <a:xfrm>
              <a:off x="3856660" y="26160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" name="Google Shape;1123;p33"/>
            <p:cNvSpPr/>
            <p:nvPr/>
          </p:nvSpPr>
          <p:spPr>
            <a:xfrm>
              <a:off x="3873183" y="241548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" name="Google Shape;1124;p33"/>
            <p:cNvSpPr/>
            <p:nvPr/>
          </p:nvSpPr>
          <p:spPr>
            <a:xfrm>
              <a:off x="3794477" y="224640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" name="Google Shape;1125;p33"/>
            <p:cNvSpPr/>
            <p:nvPr/>
          </p:nvSpPr>
          <p:spPr>
            <a:xfrm>
              <a:off x="3817289" y="219504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" name="Google Shape;1126;p33"/>
            <p:cNvSpPr/>
            <p:nvPr/>
          </p:nvSpPr>
          <p:spPr>
            <a:xfrm>
              <a:off x="3838529" y="21084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" name="Google Shape;1127;p33"/>
            <p:cNvSpPr/>
            <p:nvPr/>
          </p:nvSpPr>
          <p:spPr>
            <a:xfrm>
              <a:off x="3856660" y="19864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" name="Google Shape;1128;p33"/>
            <p:cNvSpPr/>
            <p:nvPr/>
          </p:nvSpPr>
          <p:spPr>
            <a:xfrm>
              <a:off x="3873183" y="17859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" name="Google Shape;1129;p33"/>
            <p:cNvSpPr/>
            <p:nvPr/>
          </p:nvSpPr>
          <p:spPr>
            <a:xfrm>
              <a:off x="3794477" y="160885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" name="Google Shape;1130;p33"/>
            <p:cNvSpPr/>
            <p:nvPr/>
          </p:nvSpPr>
          <p:spPr>
            <a:xfrm>
              <a:off x="3817289" y="155750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5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" name="Google Shape;1131;p33"/>
            <p:cNvSpPr/>
            <p:nvPr/>
          </p:nvSpPr>
          <p:spPr>
            <a:xfrm>
              <a:off x="3838529" y="14712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" name="Google Shape;1132;p33"/>
            <p:cNvSpPr/>
            <p:nvPr/>
          </p:nvSpPr>
          <p:spPr>
            <a:xfrm>
              <a:off x="3856660" y="13489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" name="Google Shape;1133;p33"/>
            <p:cNvSpPr/>
            <p:nvPr/>
          </p:nvSpPr>
          <p:spPr>
            <a:xfrm>
              <a:off x="3873183" y="11484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" name="Google Shape;1134;p33"/>
          <p:cNvGrpSpPr/>
          <p:nvPr/>
        </p:nvGrpSpPr>
        <p:grpSpPr>
          <a:xfrm>
            <a:off x="511753" y="2579144"/>
            <a:ext cx="1060745" cy="736755"/>
            <a:chOff x="-1693165" y="2708310"/>
            <a:chExt cx="597737" cy="415167"/>
          </a:xfrm>
        </p:grpSpPr>
        <p:sp>
          <p:nvSpPr>
            <p:cNvPr id="1135" name="Google Shape;1135;p33"/>
            <p:cNvSpPr/>
            <p:nvPr/>
          </p:nvSpPr>
          <p:spPr>
            <a:xfrm>
              <a:off x="-1692362" y="2734091"/>
              <a:ext cx="596131" cy="389386"/>
            </a:xfrm>
            <a:custGeom>
              <a:avLst/>
              <a:gdLst/>
              <a:ahLst/>
              <a:cxnLst/>
              <a:rect l="l" t="t" r="r" b="b"/>
              <a:pathLst>
                <a:path w="17064" h="11146" extrusionOk="0">
                  <a:moveTo>
                    <a:pt x="7475" y="1"/>
                  </a:moveTo>
                  <a:cubicBezTo>
                    <a:pt x="7366" y="1"/>
                    <a:pt x="7259" y="29"/>
                    <a:pt x="7164" y="85"/>
                  </a:cubicBezTo>
                  <a:lnTo>
                    <a:pt x="642" y="3881"/>
                  </a:lnTo>
                  <a:cubicBezTo>
                    <a:pt x="529" y="3948"/>
                    <a:pt x="496" y="4072"/>
                    <a:pt x="541" y="4174"/>
                  </a:cubicBezTo>
                  <a:cubicBezTo>
                    <a:pt x="496" y="4275"/>
                    <a:pt x="529" y="4410"/>
                    <a:pt x="642" y="4467"/>
                  </a:cubicBezTo>
                  <a:lnTo>
                    <a:pt x="935" y="4647"/>
                  </a:lnTo>
                  <a:lnTo>
                    <a:pt x="135" y="5109"/>
                  </a:lnTo>
                  <a:cubicBezTo>
                    <a:pt x="34" y="5176"/>
                    <a:pt x="0" y="5300"/>
                    <a:pt x="45" y="5401"/>
                  </a:cubicBezTo>
                  <a:cubicBezTo>
                    <a:pt x="0" y="5503"/>
                    <a:pt x="34" y="5638"/>
                    <a:pt x="135" y="5706"/>
                  </a:cubicBezTo>
                  <a:lnTo>
                    <a:pt x="9304" y="11044"/>
                  </a:lnTo>
                  <a:cubicBezTo>
                    <a:pt x="9416" y="11112"/>
                    <a:pt x="9546" y="11146"/>
                    <a:pt x="9675" y="11146"/>
                  </a:cubicBezTo>
                  <a:cubicBezTo>
                    <a:pt x="9805" y="11146"/>
                    <a:pt x="9934" y="11112"/>
                    <a:pt x="10047" y="11044"/>
                  </a:cubicBezTo>
                  <a:lnTo>
                    <a:pt x="16366" y="7339"/>
                  </a:lnTo>
                  <a:cubicBezTo>
                    <a:pt x="16512" y="7249"/>
                    <a:pt x="16557" y="7091"/>
                    <a:pt x="16523" y="6956"/>
                  </a:cubicBezTo>
                  <a:cubicBezTo>
                    <a:pt x="16557" y="6809"/>
                    <a:pt x="16512" y="6652"/>
                    <a:pt x="16366" y="6573"/>
                  </a:cubicBezTo>
                  <a:lnTo>
                    <a:pt x="16219" y="6483"/>
                  </a:lnTo>
                  <a:lnTo>
                    <a:pt x="16873" y="6111"/>
                  </a:lnTo>
                  <a:cubicBezTo>
                    <a:pt x="17008" y="6021"/>
                    <a:pt x="17064" y="5863"/>
                    <a:pt x="17019" y="5728"/>
                  </a:cubicBezTo>
                  <a:cubicBezTo>
                    <a:pt x="17064" y="5582"/>
                    <a:pt x="17008" y="5424"/>
                    <a:pt x="16873" y="5345"/>
                  </a:cubicBezTo>
                  <a:lnTo>
                    <a:pt x="16861" y="5345"/>
                  </a:lnTo>
                  <a:lnTo>
                    <a:pt x="7794" y="85"/>
                  </a:lnTo>
                  <a:cubicBezTo>
                    <a:pt x="7693" y="29"/>
                    <a:pt x="7583" y="1"/>
                    <a:pt x="7475" y="1"/>
                  </a:cubicBezTo>
                  <a:close/>
                </a:path>
              </a:pathLst>
            </a:cu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" name="Google Shape;1136;p33"/>
            <p:cNvSpPr/>
            <p:nvPr/>
          </p:nvSpPr>
          <p:spPr>
            <a:xfrm>
              <a:off x="-1693165" y="2758894"/>
              <a:ext cx="580410" cy="339813"/>
            </a:xfrm>
            <a:custGeom>
              <a:avLst/>
              <a:gdLst/>
              <a:ahLst/>
              <a:cxnLst/>
              <a:rect l="l" t="t" r="r" b="b"/>
              <a:pathLst>
                <a:path w="16614" h="9727" extrusionOk="0">
                  <a:moveTo>
                    <a:pt x="6999" y="0"/>
                  </a:moveTo>
                  <a:cubicBezTo>
                    <a:pt x="6891" y="0"/>
                    <a:pt x="6781" y="28"/>
                    <a:pt x="6680" y="85"/>
                  </a:cubicBezTo>
                  <a:lnTo>
                    <a:pt x="158" y="3881"/>
                  </a:lnTo>
                  <a:cubicBezTo>
                    <a:pt x="1" y="3971"/>
                    <a:pt x="1" y="4196"/>
                    <a:pt x="158" y="4286"/>
                  </a:cubicBezTo>
                  <a:lnTo>
                    <a:pt x="9327" y="9625"/>
                  </a:lnTo>
                  <a:cubicBezTo>
                    <a:pt x="9439" y="9692"/>
                    <a:pt x="9569" y="9726"/>
                    <a:pt x="9698" y="9726"/>
                  </a:cubicBezTo>
                  <a:cubicBezTo>
                    <a:pt x="9828" y="9726"/>
                    <a:pt x="9957" y="9692"/>
                    <a:pt x="10070" y="9625"/>
                  </a:cubicBezTo>
                  <a:lnTo>
                    <a:pt x="16389" y="5919"/>
                  </a:lnTo>
                  <a:cubicBezTo>
                    <a:pt x="16614" y="5795"/>
                    <a:pt x="16614" y="5469"/>
                    <a:pt x="16389" y="5345"/>
                  </a:cubicBezTo>
                  <a:lnTo>
                    <a:pt x="7310" y="85"/>
                  </a:lnTo>
                  <a:cubicBezTo>
                    <a:pt x="7215" y="28"/>
                    <a:pt x="7108" y="0"/>
                    <a:pt x="6999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" name="Google Shape;1137;p33"/>
            <p:cNvSpPr/>
            <p:nvPr/>
          </p:nvSpPr>
          <p:spPr>
            <a:xfrm>
              <a:off x="-1693165" y="2757916"/>
              <a:ext cx="580410" cy="341944"/>
            </a:xfrm>
            <a:custGeom>
              <a:avLst/>
              <a:gdLst/>
              <a:ahLst/>
              <a:cxnLst/>
              <a:rect l="l" t="t" r="r" b="b"/>
              <a:pathLst>
                <a:path w="16614" h="9788" fill="none" extrusionOk="0">
                  <a:moveTo>
                    <a:pt x="16389" y="5947"/>
                  </a:moveTo>
                  <a:lnTo>
                    <a:pt x="10070" y="9653"/>
                  </a:lnTo>
                  <a:cubicBezTo>
                    <a:pt x="9845" y="9788"/>
                    <a:pt x="9552" y="9788"/>
                    <a:pt x="9327" y="9653"/>
                  </a:cubicBezTo>
                  <a:lnTo>
                    <a:pt x="158" y="4314"/>
                  </a:lnTo>
                  <a:cubicBezTo>
                    <a:pt x="1" y="4224"/>
                    <a:pt x="1" y="3999"/>
                    <a:pt x="158" y="3909"/>
                  </a:cubicBezTo>
                  <a:lnTo>
                    <a:pt x="6680" y="113"/>
                  </a:lnTo>
                  <a:cubicBezTo>
                    <a:pt x="6882" y="0"/>
                    <a:pt x="7119" y="0"/>
                    <a:pt x="7310" y="113"/>
                  </a:cubicBezTo>
                  <a:lnTo>
                    <a:pt x="16389" y="5373"/>
                  </a:lnTo>
                  <a:cubicBezTo>
                    <a:pt x="16614" y="5497"/>
                    <a:pt x="16614" y="5823"/>
                    <a:pt x="16389" y="594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" name="Google Shape;1138;p33"/>
            <p:cNvSpPr/>
            <p:nvPr/>
          </p:nvSpPr>
          <p:spPr>
            <a:xfrm>
              <a:off x="-1693165" y="2752292"/>
              <a:ext cx="580410" cy="340092"/>
            </a:xfrm>
            <a:custGeom>
              <a:avLst/>
              <a:gdLst/>
              <a:ahLst/>
              <a:cxnLst/>
              <a:rect l="l" t="t" r="r" b="b"/>
              <a:pathLst>
                <a:path w="16614" h="9735" extrusionOk="0">
                  <a:moveTo>
                    <a:pt x="6999" y="1"/>
                  </a:moveTo>
                  <a:cubicBezTo>
                    <a:pt x="6891" y="1"/>
                    <a:pt x="6781" y="32"/>
                    <a:pt x="6680" y="94"/>
                  </a:cubicBezTo>
                  <a:lnTo>
                    <a:pt x="158" y="3889"/>
                  </a:lnTo>
                  <a:cubicBezTo>
                    <a:pt x="1" y="3979"/>
                    <a:pt x="1" y="4205"/>
                    <a:pt x="158" y="4295"/>
                  </a:cubicBezTo>
                  <a:lnTo>
                    <a:pt x="9327" y="9634"/>
                  </a:lnTo>
                  <a:cubicBezTo>
                    <a:pt x="9439" y="9701"/>
                    <a:pt x="9569" y="9735"/>
                    <a:pt x="9698" y="9735"/>
                  </a:cubicBezTo>
                  <a:cubicBezTo>
                    <a:pt x="9828" y="9735"/>
                    <a:pt x="9957" y="9701"/>
                    <a:pt x="10070" y="9634"/>
                  </a:cubicBezTo>
                  <a:lnTo>
                    <a:pt x="16389" y="5928"/>
                  </a:lnTo>
                  <a:cubicBezTo>
                    <a:pt x="16614" y="5804"/>
                    <a:pt x="16614" y="5477"/>
                    <a:pt x="16389" y="5354"/>
                  </a:cubicBezTo>
                  <a:lnTo>
                    <a:pt x="7310" y="94"/>
                  </a:lnTo>
                  <a:cubicBezTo>
                    <a:pt x="7215" y="32"/>
                    <a:pt x="7108" y="1"/>
                    <a:pt x="69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" name="Google Shape;1139;p33"/>
            <p:cNvSpPr/>
            <p:nvPr/>
          </p:nvSpPr>
          <p:spPr>
            <a:xfrm>
              <a:off x="-1693165" y="2751209"/>
              <a:ext cx="580410" cy="342363"/>
            </a:xfrm>
            <a:custGeom>
              <a:avLst/>
              <a:gdLst/>
              <a:ahLst/>
              <a:cxnLst/>
              <a:rect l="l" t="t" r="r" b="b"/>
              <a:pathLst>
                <a:path w="16614" h="9800" fill="none" extrusionOk="0">
                  <a:moveTo>
                    <a:pt x="16389" y="5959"/>
                  </a:moveTo>
                  <a:lnTo>
                    <a:pt x="10070" y="9665"/>
                  </a:lnTo>
                  <a:cubicBezTo>
                    <a:pt x="9845" y="9800"/>
                    <a:pt x="9552" y="9800"/>
                    <a:pt x="9327" y="9665"/>
                  </a:cubicBezTo>
                  <a:lnTo>
                    <a:pt x="158" y="4326"/>
                  </a:lnTo>
                  <a:cubicBezTo>
                    <a:pt x="1" y="4236"/>
                    <a:pt x="1" y="4010"/>
                    <a:pt x="158" y="3920"/>
                  </a:cubicBezTo>
                  <a:lnTo>
                    <a:pt x="6680" y="125"/>
                  </a:lnTo>
                  <a:cubicBezTo>
                    <a:pt x="6882" y="1"/>
                    <a:pt x="7119" y="1"/>
                    <a:pt x="7310" y="125"/>
                  </a:cubicBezTo>
                  <a:lnTo>
                    <a:pt x="16389" y="5385"/>
                  </a:lnTo>
                  <a:cubicBezTo>
                    <a:pt x="16614" y="5508"/>
                    <a:pt x="16614" y="5835"/>
                    <a:pt x="16389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" name="Google Shape;1140;p33"/>
            <p:cNvSpPr/>
            <p:nvPr/>
          </p:nvSpPr>
          <p:spPr>
            <a:xfrm>
              <a:off x="-1545989" y="2855871"/>
              <a:ext cx="251043" cy="146413"/>
            </a:xfrm>
            <a:custGeom>
              <a:avLst/>
              <a:gdLst/>
              <a:ahLst/>
              <a:cxnLst/>
              <a:rect l="l" t="t" r="r" b="b"/>
              <a:pathLst>
                <a:path w="7186" h="4191" fill="none" extrusionOk="0">
                  <a:moveTo>
                    <a:pt x="7186" y="4191"/>
                  </a:moveTo>
                  <a:lnTo>
                    <a:pt x="0" y="1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" name="Google Shape;1141;p33"/>
            <p:cNvSpPr/>
            <p:nvPr/>
          </p:nvSpPr>
          <p:spPr>
            <a:xfrm>
              <a:off x="-1564888" y="2868482"/>
              <a:ext cx="251078" cy="146413"/>
            </a:xfrm>
            <a:custGeom>
              <a:avLst/>
              <a:gdLst/>
              <a:ahLst/>
              <a:cxnLst/>
              <a:rect l="l" t="t" r="r" b="b"/>
              <a:pathLst>
                <a:path w="7187" h="4191" fill="none" extrusionOk="0">
                  <a:moveTo>
                    <a:pt x="7186" y="4190"/>
                  </a:moveTo>
                  <a:lnTo>
                    <a:pt x="0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" name="Google Shape;1142;p33"/>
            <p:cNvSpPr/>
            <p:nvPr/>
          </p:nvSpPr>
          <p:spPr>
            <a:xfrm>
              <a:off x="-1590460" y="2881442"/>
              <a:ext cx="251078" cy="146028"/>
            </a:xfrm>
            <a:custGeom>
              <a:avLst/>
              <a:gdLst/>
              <a:ahLst/>
              <a:cxnLst/>
              <a:rect l="l" t="t" r="r" b="b"/>
              <a:pathLst>
                <a:path w="7187" h="4180" fill="none" extrusionOk="0">
                  <a:moveTo>
                    <a:pt x="7186" y="4179"/>
                  </a:moveTo>
                  <a:lnTo>
                    <a:pt x="0" y="1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" name="Google Shape;1143;p33"/>
            <p:cNvSpPr/>
            <p:nvPr/>
          </p:nvSpPr>
          <p:spPr>
            <a:xfrm>
              <a:off x="-1298133" y="2907014"/>
              <a:ext cx="118884" cy="70534"/>
            </a:xfrm>
            <a:custGeom>
              <a:avLst/>
              <a:gdLst/>
              <a:ahLst/>
              <a:cxnLst/>
              <a:rect l="l" t="t" r="r" b="b"/>
              <a:pathLst>
                <a:path w="3403" h="2019" extrusionOk="0">
                  <a:moveTo>
                    <a:pt x="1707" y="1"/>
                  </a:moveTo>
                  <a:cubicBezTo>
                    <a:pt x="1662" y="1"/>
                    <a:pt x="1617" y="12"/>
                    <a:pt x="1578" y="35"/>
                  </a:cubicBezTo>
                  <a:lnTo>
                    <a:pt x="57" y="925"/>
                  </a:lnTo>
                  <a:cubicBezTo>
                    <a:pt x="1" y="958"/>
                    <a:pt x="1" y="1048"/>
                    <a:pt x="57" y="1082"/>
                  </a:cubicBezTo>
                  <a:lnTo>
                    <a:pt x="1555" y="1983"/>
                  </a:lnTo>
                  <a:cubicBezTo>
                    <a:pt x="1591" y="2007"/>
                    <a:pt x="1637" y="2019"/>
                    <a:pt x="1684" y="2019"/>
                  </a:cubicBezTo>
                  <a:cubicBezTo>
                    <a:pt x="1725" y="2019"/>
                    <a:pt x="1766" y="2010"/>
                    <a:pt x="1803" y="1995"/>
                  </a:cubicBezTo>
                  <a:lnTo>
                    <a:pt x="3312" y="1127"/>
                  </a:lnTo>
                  <a:cubicBezTo>
                    <a:pt x="3402" y="1082"/>
                    <a:pt x="3402" y="947"/>
                    <a:pt x="3312" y="902"/>
                  </a:cubicBezTo>
                  <a:lnTo>
                    <a:pt x="1837" y="35"/>
                  </a:lnTo>
                  <a:cubicBezTo>
                    <a:pt x="1797" y="12"/>
                    <a:pt x="1752" y="1"/>
                    <a:pt x="170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" name="Google Shape;1144;p33"/>
            <p:cNvSpPr/>
            <p:nvPr/>
          </p:nvSpPr>
          <p:spPr>
            <a:xfrm>
              <a:off x="-1298133" y="2906630"/>
              <a:ext cx="118884" cy="71267"/>
            </a:xfrm>
            <a:custGeom>
              <a:avLst/>
              <a:gdLst/>
              <a:ahLst/>
              <a:cxnLst/>
              <a:rect l="l" t="t" r="r" b="b"/>
              <a:pathLst>
                <a:path w="3403" h="2040" fill="none" extrusionOk="0">
                  <a:moveTo>
                    <a:pt x="3312" y="1138"/>
                  </a:moveTo>
                  <a:lnTo>
                    <a:pt x="1803" y="2006"/>
                  </a:lnTo>
                  <a:cubicBezTo>
                    <a:pt x="1724" y="2039"/>
                    <a:pt x="1623" y="2039"/>
                    <a:pt x="1555" y="1994"/>
                  </a:cubicBezTo>
                  <a:lnTo>
                    <a:pt x="57" y="1093"/>
                  </a:lnTo>
                  <a:cubicBezTo>
                    <a:pt x="1" y="1059"/>
                    <a:pt x="1" y="969"/>
                    <a:pt x="57" y="936"/>
                  </a:cubicBezTo>
                  <a:lnTo>
                    <a:pt x="1578" y="46"/>
                  </a:lnTo>
                  <a:cubicBezTo>
                    <a:pt x="1657" y="1"/>
                    <a:pt x="1758" y="1"/>
                    <a:pt x="1837" y="46"/>
                  </a:cubicBezTo>
                  <a:lnTo>
                    <a:pt x="3312" y="913"/>
                  </a:lnTo>
                  <a:cubicBezTo>
                    <a:pt x="3402" y="958"/>
                    <a:pt x="3402" y="1093"/>
                    <a:pt x="3312" y="113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" name="Google Shape;1145;p33"/>
            <p:cNvSpPr/>
            <p:nvPr/>
          </p:nvSpPr>
          <p:spPr>
            <a:xfrm>
              <a:off x="-1252091" y="2914490"/>
              <a:ext cx="62219" cy="36647"/>
            </a:xfrm>
            <a:custGeom>
              <a:avLst/>
              <a:gdLst/>
              <a:ahLst/>
              <a:cxnLst/>
              <a:rect l="l" t="t" r="r" b="b"/>
              <a:pathLst>
                <a:path w="1781" h="1049" fill="none" extrusionOk="0">
                  <a:moveTo>
                    <a:pt x="1780" y="1048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" name="Google Shape;1146;p33"/>
            <p:cNvSpPr/>
            <p:nvPr/>
          </p:nvSpPr>
          <p:spPr>
            <a:xfrm>
              <a:off x="-1284334" y="2932201"/>
              <a:ext cx="62184" cy="36647"/>
            </a:xfrm>
            <a:custGeom>
              <a:avLst/>
              <a:gdLst/>
              <a:ahLst/>
              <a:cxnLst/>
              <a:rect l="l" t="t" r="r" b="b"/>
              <a:pathLst>
                <a:path w="1780" h="1049" fill="none" extrusionOk="0">
                  <a:moveTo>
                    <a:pt x="1780" y="1048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" name="Google Shape;1147;p33"/>
            <p:cNvSpPr/>
            <p:nvPr/>
          </p:nvSpPr>
          <p:spPr>
            <a:xfrm>
              <a:off x="-1252475" y="2933005"/>
              <a:ext cx="62219" cy="37800"/>
            </a:xfrm>
            <a:custGeom>
              <a:avLst/>
              <a:gdLst/>
              <a:ahLst/>
              <a:cxnLst/>
              <a:rect l="l" t="t" r="r" b="b"/>
              <a:pathLst>
                <a:path w="1781" h="1082" fill="none" extrusionOk="0">
                  <a:moveTo>
                    <a:pt x="1780" y="0"/>
                  </a:moveTo>
                  <a:lnTo>
                    <a:pt x="0" y="1082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" name="Google Shape;1148;p33"/>
            <p:cNvSpPr/>
            <p:nvPr/>
          </p:nvSpPr>
          <p:spPr>
            <a:xfrm>
              <a:off x="-1247374" y="2935345"/>
              <a:ext cx="31127" cy="18935"/>
            </a:xfrm>
            <a:custGeom>
              <a:avLst/>
              <a:gdLst/>
              <a:ahLst/>
              <a:cxnLst/>
              <a:rect l="l" t="t" r="r" b="b"/>
              <a:pathLst>
                <a:path w="891" h="542" fill="none" extrusionOk="0">
                  <a:moveTo>
                    <a:pt x="891" y="1"/>
                  </a:moveTo>
                  <a:lnTo>
                    <a:pt x="1" y="542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" name="Google Shape;1149;p33"/>
            <p:cNvSpPr/>
            <p:nvPr/>
          </p:nvSpPr>
          <p:spPr>
            <a:xfrm>
              <a:off x="-1261138" y="2926298"/>
              <a:ext cx="30743" cy="18550"/>
            </a:xfrm>
            <a:custGeom>
              <a:avLst/>
              <a:gdLst/>
              <a:ahLst/>
              <a:cxnLst/>
              <a:rect l="l" t="t" r="r" b="b"/>
              <a:pathLst>
                <a:path w="880" h="531" fill="none" extrusionOk="0">
                  <a:moveTo>
                    <a:pt x="879" y="1"/>
                  </a:moveTo>
                  <a:lnTo>
                    <a:pt x="1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" name="Google Shape;1150;p33"/>
            <p:cNvSpPr/>
            <p:nvPr/>
          </p:nvSpPr>
          <p:spPr>
            <a:xfrm>
              <a:off x="-1290238" y="2911765"/>
              <a:ext cx="61416" cy="36996"/>
            </a:xfrm>
            <a:custGeom>
              <a:avLst/>
              <a:gdLst/>
              <a:ahLst/>
              <a:cxnLst/>
              <a:rect l="l" t="t" r="r" b="b"/>
              <a:pathLst>
                <a:path w="1758" h="1059" fill="none" extrusionOk="0">
                  <a:moveTo>
                    <a:pt x="1757" y="0"/>
                  </a:moveTo>
                  <a:cubicBezTo>
                    <a:pt x="1746" y="23"/>
                    <a:pt x="0" y="1059"/>
                    <a:pt x="0" y="1059"/>
                  </a:cubicBez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" name="Google Shape;1151;p33"/>
            <p:cNvSpPr/>
            <p:nvPr/>
          </p:nvSpPr>
          <p:spPr>
            <a:xfrm>
              <a:off x="-1675454" y="2715716"/>
              <a:ext cx="580026" cy="340092"/>
            </a:xfrm>
            <a:custGeom>
              <a:avLst/>
              <a:gdLst/>
              <a:ahLst/>
              <a:cxnLst/>
              <a:rect l="l" t="t" r="r" b="b"/>
              <a:pathLst>
                <a:path w="16603" h="9735" extrusionOk="0">
                  <a:moveTo>
                    <a:pt x="6991" y="0"/>
                  </a:moveTo>
                  <a:cubicBezTo>
                    <a:pt x="6882" y="0"/>
                    <a:pt x="6775" y="31"/>
                    <a:pt x="6680" y="93"/>
                  </a:cubicBezTo>
                  <a:lnTo>
                    <a:pt x="158" y="3889"/>
                  </a:lnTo>
                  <a:cubicBezTo>
                    <a:pt x="0" y="3979"/>
                    <a:pt x="0" y="4204"/>
                    <a:pt x="158" y="4294"/>
                  </a:cubicBezTo>
                  <a:lnTo>
                    <a:pt x="9315" y="9633"/>
                  </a:lnTo>
                  <a:cubicBezTo>
                    <a:pt x="9433" y="9701"/>
                    <a:pt x="9563" y="9734"/>
                    <a:pt x="9691" y="9734"/>
                  </a:cubicBezTo>
                  <a:cubicBezTo>
                    <a:pt x="9819" y="9734"/>
                    <a:pt x="9946" y="9701"/>
                    <a:pt x="10059" y="9633"/>
                  </a:cubicBezTo>
                  <a:lnTo>
                    <a:pt x="16377" y="5927"/>
                  </a:lnTo>
                  <a:cubicBezTo>
                    <a:pt x="16603" y="5804"/>
                    <a:pt x="16603" y="5477"/>
                    <a:pt x="16377" y="5353"/>
                  </a:cubicBezTo>
                  <a:lnTo>
                    <a:pt x="7310" y="93"/>
                  </a:lnTo>
                  <a:cubicBezTo>
                    <a:pt x="7209" y="31"/>
                    <a:pt x="7099" y="0"/>
                    <a:pt x="69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" name="Google Shape;1152;p33"/>
            <p:cNvSpPr/>
            <p:nvPr/>
          </p:nvSpPr>
          <p:spPr>
            <a:xfrm>
              <a:off x="-1675454" y="2714633"/>
              <a:ext cx="580026" cy="342363"/>
            </a:xfrm>
            <a:custGeom>
              <a:avLst/>
              <a:gdLst/>
              <a:ahLst/>
              <a:cxnLst/>
              <a:rect l="l" t="t" r="r" b="b"/>
              <a:pathLst>
                <a:path w="16603" h="9800" fill="none" extrusionOk="0">
                  <a:moveTo>
                    <a:pt x="16377" y="5958"/>
                  </a:moveTo>
                  <a:lnTo>
                    <a:pt x="10059" y="9664"/>
                  </a:lnTo>
                  <a:cubicBezTo>
                    <a:pt x="9833" y="9799"/>
                    <a:pt x="9552" y="9799"/>
                    <a:pt x="9315" y="9664"/>
                  </a:cubicBezTo>
                  <a:lnTo>
                    <a:pt x="158" y="4325"/>
                  </a:lnTo>
                  <a:cubicBezTo>
                    <a:pt x="0" y="4235"/>
                    <a:pt x="0" y="4010"/>
                    <a:pt x="158" y="3920"/>
                  </a:cubicBezTo>
                  <a:lnTo>
                    <a:pt x="6680" y="124"/>
                  </a:lnTo>
                  <a:cubicBezTo>
                    <a:pt x="6871" y="0"/>
                    <a:pt x="7108" y="0"/>
                    <a:pt x="7310" y="124"/>
                  </a:cubicBezTo>
                  <a:lnTo>
                    <a:pt x="16377" y="5384"/>
                  </a:lnTo>
                  <a:cubicBezTo>
                    <a:pt x="16603" y="5508"/>
                    <a:pt x="16603" y="5835"/>
                    <a:pt x="16377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" name="Google Shape;1153;p33"/>
            <p:cNvSpPr/>
            <p:nvPr/>
          </p:nvSpPr>
          <p:spPr>
            <a:xfrm>
              <a:off x="-1675454" y="2709323"/>
              <a:ext cx="580026" cy="340197"/>
            </a:xfrm>
            <a:custGeom>
              <a:avLst/>
              <a:gdLst/>
              <a:ahLst/>
              <a:cxnLst/>
              <a:rect l="l" t="t" r="r" b="b"/>
              <a:pathLst>
                <a:path w="16603" h="9738" extrusionOk="0">
                  <a:moveTo>
                    <a:pt x="6991" y="0"/>
                  </a:moveTo>
                  <a:cubicBezTo>
                    <a:pt x="6882" y="0"/>
                    <a:pt x="6775" y="28"/>
                    <a:pt x="6680" y="85"/>
                  </a:cubicBezTo>
                  <a:lnTo>
                    <a:pt x="158" y="3880"/>
                  </a:lnTo>
                  <a:cubicBezTo>
                    <a:pt x="0" y="3982"/>
                    <a:pt x="0" y="4207"/>
                    <a:pt x="158" y="4297"/>
                  </a:cubicBezTo>
                  <a:lnTo>
                    <a:pt x="9315" y="9636"/>
                  </a:lnTo>
                  <a:cubicBezTo>
                    <a:pt x="9433" y="9703"/>
                    <a:pt x="9563" y="9737"/>
                    <a:pt x="9691" y="9737"/>
                  </a:cubicBezTo>
                  <a:cubicBezTo>
                    <a:pt x="9819" y="9737"/>
                    <a:pt x="9946" y="9703"/>
                    <a:pt x="10059" y="9636"/>
                  </a:cubicBezTo>
                  <a:lnTo>
                    <a:pt x="16377" y="5930"/>
                  </a:lnTo>
                  <a:cubicBezTo>
                    <a:pt x="16603" y="5795"/>
                    <a:pt x="16603" y="5480"/>
                    <a:pt x="16377" y="5345"/>
                  </a:cubicBezTo>
                  <a:lnTo>
                    <a:pt x="7310" y="85"/>
                  </a:lnTo>
                  <a:cubicBezTo>
                    <a:pt x="7209" y="28"/>
                    <a:pt x="7099" y="0"/>
                    <a:pt x="699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" name="Google Shape;1154;p33"/>
            <p:cNvSpPr/>
            <p:nvPr/>
          </p:nvSpPr>
          <p:spPr>
            <a:xfrm>
              <a:off x="-1675454" y="2708310"/>
              <a:ext cx="580026" cy="342398"/>
            </a:xfrm>
            <a:custGeom>
              <a:avLst/>
              <a:gdLst/>
              <a:ahLst/>
              <a:cxnLst/>
              <a:rect l="l" t="t" r="r" b="b"/>
              <a:pathLst>
                <a:path w="16603" h="9801" fill="none" extrusionOk="0">
                  <a:moveTo>
                    <a:pt x="16377" y="5959"/>
                  </a:moveTo>
                  <a:lnTo>
                    <a:pt x="10059" y="9665"/>
                  </a:lnTo>
                  <a:cubicBezTo>
                    <a:pt x="9833" y="9800"/>
                    <a:pt x="9552" y="9800"/>
                    <a:pt x="9315" y="9665"/>
                  </a:cubicBezTo>
                  <a:lnTo>
                    <a:pt x="158" y="4326"/>
                  </a:lnTo>
                  <a:cubicBezTo>
                    <a:pt x="0" y="4236"/>
                    <a:pt x="0" y="4011"/>
                    <a:pt x="158" y="3909"/>
                  </a:cubicBezTo>
                  <a:lnTo>
                    <a:pt x="6680" y="114"/>
                  </a:lnTo>
                  <a:cubicBezTo>
                    <a:pt x="6871" y="1"/>
                    <a:pt x="7108" y="1"/>
                    <a:pt x="7310" y="114"/>
                  </a:cubicBezTo>
                  <a:lnTo>
                    <a:pt x="16377" y="5374"/>
                  </a:lnTo>
                  <a:cubicBezTo>
                    <a:pt x="16603" y="5509"/>
                    <a:pt x="16603" y="5824"/>
                    <a:pt x="16377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" name="Google Shape;1155;p33"/>
            <p:cNvSpPr/>
            <p:nvPr/>
          </p:nvSpPr>
          <p:spPr>
            <a:xfrm>
              <a:off x="-1528312" y="2813007"/>
              <a:ext cx="251078" cy="146378"/>
            </a:xfrm>
            <a:custGeom>
              <a:avLst/>
              <a:gdLst/>
              <a:ahLst/>
              <a:cxnLst/>
              <a:rect l="l" t="t" r="r" b="b"/>
              <a:pathLst>
                <a:path w="7187" h="4190" fill="none" extrusionOk="0">
                  <a:moveTo>
                    <a:pt x="7187" y="4190"/>
                  </a:moveTo>
                  <a:lnTo>
                    <a:pt x="1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" name="Google Shape;1156;p33"/>
            <p:cNvSpPr/>
            <p:nvPr/>
          </p:nvSpPr>
          <p:spPr>
            <a:xfrm>
              <a:off x="-1547596" y="2825583"/>
              <a:ext cx="251078" cy="146413"/>
            </a:xfrm>
            <a:custGeom>
              <a:avLst/>
              <a:gdLst/>
              <a:ahLst/>
              <a:cxnLst/>
              <a:rect l="l" t="t" r="r" b="b"/>
              <a:pathLst>
                <a:path w="7187" h="4191" fill="none" extrusionOk="0">
                  <a:moveTo>
                    <a:pt x="7187" y="4190"/>
                  </a:moveTo>
                  <a:lnTo>
                    <a:pt x="1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" name="Google Shape;1157;p33"/>
            <p:cNvSpPr/>
            <p:nvPr/>
          </p:nvSpPr>
          <p:spPr>
            <a:xfrm>
              <a:off x="-1572748" y="2838579"/>
              <a:ext cx="251078" cy="145993"/>
            </a:xfrm>
            <a:custGeom>
              <a:avLst/>
              <a:gdLst/>
              <a:ahLst/>
              <a:cxnLst/>
              <a:rect l="l" t="t" r="r" b="b"/>
              <a:pathLst>
                <a:path w="7187" h="4179" fill="none" extrusionOk="0">
                  <a:moveTo>
                    <a:pt x="7186" y="4179"/>
                  </a:moveTo>
                  <a:lnTo>
                    <a:pt x="0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" name="Google Shape;1158;p33"/>
            <p:cNvSpPr/>
            <p:nvPr/>
          </p:nvSpPr>
          <p:spPr>
            <a:xfrm>
              <a:off x="-1280806" y="2864150"/>
              <a:ext cx="119268" cy="70499"/>
            </a:xfrm>
            <a:custGeom>
              <a:avLst/>
              <a:gdLst/>
              <a:ahLst/>
              <a:cxnLst/>
              <a:rect l="l" t="t" r="r" b="b"/>
              <a:pathLst>
                <a:path w="3414" h="2018" extrusionOk="0">
                  <a:moveTo>
                    <a:pt x="1707" y="0"/>
                  </a:moveTo>
                  <a:cubicBezTo>
                    <a:pt x="1662" y="0"/>
                    <a:pt x="1617" y="11"/>
                    <a:pt x="1577" y="34"/>
                  </a:cubicBezTo>
                  <a:lnTo>
                    <a:pt x="68" y="924"/>
                  </a:lnTo>
                  <a:cubicBezTo>
                    <a:pt x="0" y="958"/>
                    <a:pt x="0" y="1048"/>
                    <a:pt x="68" y="1082"/>
                  </a:cubicBezTo>
                  <a:lnTo>
                    <a:pt x="1555" y="1983"/>
                  </a:lnTo>
                  <a:cubicBezTo>
                    <a:pt x="1597" y="2007"/>
                    <a:pt x="1643" y="2018"/>
                    <a:pt x="1688" y="2018"/>
                  </a:cubicBezTo>
                  <a:cubicBezTo>
                    <a:pt x="1727" y="2018"/>
                    <a:pt x="1766" y="2010"/>
                    <a:pt x="1803" y="1994"/>
                  </a:cubicBezTo>
                  <a:lnTo>
                    <a:pt x="3323" y="1127"/>
                  </a:lnTo>
                  <a:lnTo>
                    <a:pt x="3312" y="1127"/>
                  </a:lnTo>
                  <a:cubicBezTo>
                    <a:pt x="3402" y="1082"/>
                    <a:pt x="3413" y="946"/>
                    <a:pt x="3323" y="901"/>
                  </a:cubicBezTo>
                  <a:lnTo>
                    <a:pt x="1836" y="34"/>
                  </a:lnTo>
                  <a:cubicBezTo>
                    <a:pt x="1797" y="11"/>
                    <a:pt x="1752" y="0"/>
                    <a:pt x="170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" name="Google Shape;1159;p33"/>
            <p:cNvSpPr/>
            <p:nvPr/>
          </p:nvSpPr>
          <p:spPr>
            <a:xfrm>
              <a:off x="-1280806" y="2863731"/>
              <a:ext cx="119268" cy="71267"/>
            </a:xfrm>
            <a:custGeom>
              <a:avLst/>
              <a:gdLst/>
              <a:ahLst/>
              <a:cxnLst/>
              <a:rect l="l" t="t" r="r" b="b"/>
              <a:pathLst>
                <a:path w="3414" h="2040" fill="none" extrusionOk="0">
                  <a:moveTo>
                    <a:pt x="3323" y="1139"/>
                  </a:moveTo>
                  <a:lnTo>
                    <a:pt x="1803" y="2006"/>
                  </a:lnTo>
                  <a:cubicBezTo>
                    <a:pt x="1724" y="2040"/>
                    <a:pt x="1634" y="2040"/>
                    <a:pt x="1555" y="1995"/>
                  </a:cubicBezTo>
                  <a:lnTo>
                    <a:pt x="68" y="1094"/>
                  </a:lnTo>
                  <a:cubicBezTo>
                    <a:pt x="0" y="1060"/>
                    <a:pt x="0" y="970"/>
                    <a:pt x="68" y="936"/>
                  </a:cubicBezTo>
                  <a:lnTo>
                    <a:pt x="1577" y="46"/>
                  </a:lnTo>
                  <a:cubicBezTo>
                    <a:pt x="1656" y="1"/>
                    <a:pt x="1758" y="1"/>
                    <a:pt x="1836" y="46"/>
                  </a:cubicBezTo>
                  <a:lnTo>
                    <a:pt x="3323" y="913"/>
                  </a:lnTo>
                  <a:cubicBezTo>
                    <a:pt x="3413" y="958"/>
                    <a:pt x="3402" y="1094"/>
                    <a:pt x="3312" y="113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" name="Google Shape;1160;p33"/>
            <p:cNvSpPr/>
            <p:nvPr/>
          </p:nvSpPr>
          <p:spPr>
            <a:xfrm>
              <a:off x="-1234379" y="2871626"/>
              <a:ext cx="61800" cy="36612"/>
            </a:xfrm>
            <a:custGeom>
              <a:avLst/>
              <a:gdLst/>
              <a:ahLst/>
              <a:cxnLst/>
              <a:rect l="l" t="t" r="r" b="b"/>
              <a:pathLst>
                <a:path w="1769" h="1048" fill="none" extrusionOk="0">
                  <a:moveTo>
                    <a:pt x="1769" y="1048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" name="Google Shape;1161;p33"/>
            <p:cNvSpPr/>
            <p:nvPr/>
          </p:nvSpPr>
          <p:spPr>
            <a:xfrm>
              <a:off x="-1266658" y="2889338"/>
              <a:ext cx="61835" cy="36612"/>
            </a:xfrm>
            <a:custGeom>
              <a:avLst/>
              <a:gdLst/>
              <a:ahLst/>
              <a:cxnLst/>
              <a:rect l="l" t="t" r="r" b="b"/>
              <a:pathLst>
                <a:path w="1770" h="1048" fill="none" extrusionOk="0">
                  <a:moveTo>
                    <a:pt x="1769" y="1048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" name="Google Shape;1162;p33"/>
            <p:cNvSpPr/>
            <p:nvPr/>
          </p:nvSpPr>
          <p:spPr>
            <a:xfrm>
              <a:off x="-1235148" y="2890106"/>
              <a:ext cx="62569" cy="37415"/>
            </a:xfrm>
            <a:custGeom>
              <a:avLst/>
              <a:gdLst/>
              <a:ahLst/>
              <a:cxnLst/>
              <a:rect l="l" t="t" r="r" b="b"/>
              <a:pathLst>
                <a:path w="1791" h="1071" fill="none" extrusionOk="0">
                  <a:moveTo>
                    <a:pt x="1791" y="1"/>
                  </a:moveTo>
                  <a:lnTo>
                    <a:pt x="0" y="107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" name="Google Shape;1163;p33"/>
            <p:cNvSpPr/>
            <p:nvPr/>
          </p:nvSpPr>
          <p:spPr>
            <a:xfrm>
              <a:off x="-1229663" y="2892482"/>
              <a:ext cx="30743" cy="18516"/>
            </a:xfrm>
            <a:custGeom>
              <a:avLst/>
              <a:gdLst/>
              <a:ahLst/>
              <a:cxnLst/>
              <a:rect l="l" t="t" r="r" b="b"/>
              <a:pathLst>
                <a:path w="880" h="530" fill="none" extrusionOk="0">
                  <a:moveTo>
                    <a:pt x="879" y="0"/>
                  </a:moveTo>
                  <a:lnTo>
                    <a:pt x="1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" name="Google Shape;1164;p33"/>
            <p:cNvSpPr/>
            <p:nvPr/>
          </p:nvSpPr>
          <p:spPr>
            <a:xfrm>
              <a:off x="-1243811" y="2883434"/>
              <a:ext cx="30708" cy="18516"/>
            </a:xfrm>
            <a:custGeom>
              <a:avLst/>
              <a:gdLst/>
              <a:ahLst/>
              <a:cxnLst/>
              <a:rect l="l" t="t" r="r" b="b"/>
              <a:pathLst>
                <a:path w="879" h="530" fill="none" extrusionOk="0">
                  <a:moveTo>
                    <a:pt x="879" y="0"/>
                  </a:moveTo>
                  <a:lnTo>
                    <a:pt x="0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7A90CED-A26D-EE3C-D1E0-6B7BEBBD1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3229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A90CED-A26D-EE3C-D1E0-6B7BEBBD1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BD636CDE-1403-1C02-DDB3-FD121DFDDD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5077" y="1089765"/>
            <a:ext cx="3709170" cy="323973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2" name="Google Shape;1630;p44">
            <a:extLst>
              <a:ext uri="{FF2B5EF4-FFF2-40B4-BE49-F238E27FC236}">
                <a16:creationId xmlns:a16="http://schemas.microsoft.com/office/drawing/2014/main" id="{645F1C5A-FA58-65D9-B990-D6ED010A50EA}"/>
              </a:ext>
            </a:extLst>
          </p:cNvPr>
          <p:cNvSpPr txBox="1">
            <a:spLocks/>
          </p:cNvSpPr>
          <p:nvPr/>
        </p:nvSpPr>
        <p:spPr>
          <a:xfrm>
            <a:off x="435077" y="-24241"/>
            <a:ext cx="8318091" cy="573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pPr algn="ctr"/>
            <a:r>
              <a:rPr lang="en-US" sz="1800">
                <a:solidFill>
                  <a:schemeClr val="accent2"/>
                </a:solidFill>
              </a:rPr>
              <a:t>Decision Tree Model – Confusion Matrix &amp; ROC Curv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A74FE3-CF06-F29E-B10E-5BE583F065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99753" y="1089765"/>
            <a:ext cx="3709170" cy="323973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921735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7A90CED-A26D-EE3C-D1E0-6B7BEBBD1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7184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A90CED-A26D-EE3C-D1E0-6B7BEBBD1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A6907380-4930-B23A-6658-657385AD13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5077" y="1089765"/>
            <a:ext cx="3709170" cy="323973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2" name="Google Shape;1630;p44">
            <a:extLst>
              <a:ext uri="{FF2B5EF4-FFF2-40B4-BE49-F238E27FC236}">
                <a16:creationId xmlns:a16="http://schemas.microsoft.com/office/drawing/2014/main" id="{645F1C5A-FA58-65D9-B990-D6ED010A50EA}"/>
              </a:ext>
            </a:extLst>
          </p:cNvPr>
          <p:cNvSpPr txBox="1">
            <a:spLocks/>
          </p:cNvSpPr>
          <p:nvPr/>
        </p:nvSpPr>
        <p:spPr>
          <a:xfrm>
            <a:off x="435077" y="-24241"/>
            <a:ext cx="8318091" cy="573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pPr algn="ctr"/>
            <a:r>
              <a:rPr lang="en-US" sz="1800">
                <a:solidFill>
                  <a:schemeClr val="accent2"/>
                </a:solidFill>
              </a:rPr>
              <a:t>Support Vector Classifier Model – Confusion Matrix</a:t>
            </a:r>
          </a:p>
        </p:txBody>
      </p:sp>
    </p:spTree>
    <p:extLst>
      <p:ext uri="{BB962C8B-B14F-4D97-AF65-F5344CB8AC3E}">
        <p14:creationId xmlns:p14="http://schemas.microsoft.com/office/powerpoint/2010/main" val="34045453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7A90CED-A26D-EE3C-D1E0-6B7BEBBD1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A90CED-A26D-EE3C-D1E0-6B7BEBBD1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1630;p44">
            <a:extLst>
              <a:ext uri="{FF2B5EF4-FFF2-40B4-BE49-F238E27FC236}">
                <a16:creationId xmlns:a16="http://schemas.microsoft.com/office/drawing/2014/main" id="{645F1C5A-FA58-65D9-B990-D6ED010A50EA}"/>
              </a:ext>
            </a:extLst>
          </p:cNvPr>
          <p:cNvSpPr txBox="1">
            <a:spLocks/>
          </p:cNvSpPr>
          <p:nvPr/>
        </p:nvSpPr>
        <p:spPr>
          <a:xfrm>
            <a:off x="435077" y="-24241"/>
            <a:ext cx="8318091" cy="573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pPr algn="ctr"/>
            <a:r>
              <a:rPr lang="en-US" sz="1800">
                <a:solidFill>
                  <a:schemeClr val="accent2"/>
                </a:solidFill>
              </a:rPr>
              <a:t>Random Forest Classifier Model – Confusion Matrix &amp; ROC Curv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1941773-9454-3144-44A2-6A907CCEA1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5077" y="1089764"/>
            <a:ext cx="3709170" cy="323973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F9D83FC3-CB38-A4A5-4B32-DF9C732D3699}"/>
              </a:ext>
            </a:extLst>
          </p:cNvPr>
          <p:cNvGrpSpPr/>
          <p:nvPr/>
        </p:nvGrpSpPr>
        <p:grpSpPr>
          <a:xfrm>
            <a:off x="4999753" y="1089764"/>
            <a:ext cx="3709170" cy="3239738"/>
            <a:chOff x="4999753" y="1089764"/>
            <a:chExt cx="3709170" cy="323973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94F0D5F-DFFF-3035-E345-9A1C0AE6C4F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999753" y="1089764"/>
              <a:ext cx="3709170" cy="3239738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27E2745-9E25-8D42-0D07-799EBA6CD3DA}"/>
                </a:ext>
              </a:extLst>
            </p:cNvPr>
            <p:cNvSpPr txBox="1"/>
            <p:nvPr/>
          </p:nvSpPr>
          <p:spPr>
            <a:xfrm>
              <a:off x="5934076" y="1127864"/>
              <a:ext cx="2019300" cy="10772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700" b="1"/>
                <a:t>RF Model ROC Curv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0847117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7A90CED-A26D-EE3C-D1E0-6B7BEBBD1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A90CED-A26D-EE3C-D1E0-6B7BEBBD1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1630;p44">
            <a:extLst>
              <a:ext uri="{FF2B5EF4-FFF2-40B4-BE49-F238E27FC236}">
                <a16:creationId xmlns:a16="http://schemas.microsoft.com/office/drawing/2014/main" id="{645F1C5A-FA58-65D9-B990-D6ED010A50EA}"/>
              </a:ext>
            </a:extLst>
          </p:cNvPr>
          <p:cNvSpPr txBox="1">
            <a:spLocks/>
          </p:cNvSpPr>
          <p:nvPr/>
        </p:nvSpPr>
        <p:spPr>
          <a:xfrm>
            <a:off x="435077" y="-24241"/>
            <a:ext cx="8318091" cy="573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pPr algn="ctr"/>
            <a:r>
              <a:rPr lang="en-US" sz="1800">
                <a:solidFill>
                  <a:schemeClr val="accent2"/>
                </a:solidFill>
              </a:rPr>
              <a:t>Gradient Boosting Decision Tree – Confusion Matrix &amp; ROC Curv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AD15C85-750A-45E2-3E26-F058920B3B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4417" y="1089765"/>
            <a:ext cx="3709170" cy="323973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6BA532C-D138-F311-031E-285B538DE9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00413" y="1089765"/>
            <a:ext cx="3709170" cy="323973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5842286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7A90CED-A26D-EE3C-D1E0-6B7BEBBD1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A90CED-A26D-EE3C-D1E0-6B7BEBBD1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1630;p44">
            <a:extLst>
              <a:ext uri="{FF2B5EF4-FFF2-40B4-BE49-F238E27FC236}">
                <a16:creationId xmlns:a16="http://schemas.microsoft.com/office/drawing/2014/main" id="{645F1C5A-FA58-65D9-B990-D6ED010A50EA}"/>
              </a:ext>
            </a:extLst>
          </p:cNvPr>
          <p:cNvSpPr txBox="1">
            <a:spLocks/>
          </p:cNvSpPr>
          <p:nvPr/>
        </p:nvSpPr>
        <p:spPr>
          <a:xfrm>
            <a:off x="435077" y="-24241"/>
            <a:ext cx="8318091" cy="573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pPr algn="ctr"/>
            <a:r>
              <a:rPr lang="en-US" sz="1800">
                <a:solidFill>
                  <a:schemeClr val="accent2"/>
                </a:solidFill>
              </a:rPr>
              <a:t>K-Means Clustering Process Flow</a:t>
            </a:r>
          </a:p>
        </p:txBody>
      </p:sp>
      <p:cxnSp>
        <p:nvCxnSpPr>
          <p:cNvPr id="2" name="Google Shape;1645;p44">
            <a:extLst>
              <a:ext uri="{FF2B5EF4-FFF2-40B4-BE49-F238E27FC236}">
                <a16:creationId xmlns:a16="http://schemas.microsoft.com/office/drawing/2014/main" id="{B7E09759-51F0-8305-3DDD-13D4E7A900A0}"/>
              </a:ext>
            </a:extLst>
          </p:cNvPr>
          <p:cNvCxnSpPr>
            <a:cxnSpLocks/>
          </p:cNvCxnSpPr>
          <p:nvPr/>
        </p:nvCxnSpPr>
        <p:spPr>
          <a:xfrm>
            <a:off x="6616471" y="2045792"/>
            <a:ext cx="1715774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5" name="Google Shape;1631;p44">
            <a:extLst>
              <a:ext uri="{FF2B5EF4-FFF2-40B4-BE49-F238E27FC236}">
                <a16:creationId xmlns:a16="http://schemas.microsoft.com/office/drawing/2014/main" id="{1DA99B80-30AD-4720-175A-270621359D0A}"/>
              </a:ext>
            </a:extLst>
          </p:cNvPr>
          <p:cNvSpPr/>
          <p:nvPr/>
        </p:nvSpPr>
        <p:spPr>
          <a:xfrm>
            <a:off x="714501" y="1932980"/>
            <a:ext cx="176400" cy="176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Google Shape;1632;p44">
            <a:extLst>
              <a:ext uri="{FF2B5EF4-FFF2-40B4-BE49-F238E27FC236}">
                <a16:creationId xmlns:a16="http://schemas.microsoft.com/office/drawing/2014/main" id="{25FF1032-D2C4-7A20-6A17-B2ACD0ED5CD1}"/>
              </a:ext>
            </a:extLst>
          </p:cNvPr>
          <p:cNvSpPr/>
          <p:nvPr/>
        </p:nvSpPr>
        <p:spPr>
          <a:xfrm>
            <a:off x="2678401" y="1932980"/>
            <a:ext cx="176400" cy="176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1633;p44">
            <a:extLst>
              <a:ext uri="{FF2B5EF4-FFF2-40B4-BE49-F238E27FC236}">
                <a16:creationId xmlns:a16="http://schemas.microsoft.com/office/drawing/2014/main" id="{D6613286-A7F3-678A-B532-6DF1B4404520}"/>
              </a:ext>
            </a:extLst>
          </p:cNvPr>
          <p:cNvSpPr/>
          <p:nvPr/>
        </p:nvSpPr>
        <p:spPr>
          <a:xfrm>
            <a:off x="4642301" y="1932980"/>
            <a:ext cx="176400" cy="176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1634;p44">
            <a:extLst>
              <a:ext uri="{FF2B5EF4-FFF2-40B4-BE49-F238E27FC236}">
                <a16:creationId xmlns:a16="http://schemas.microsoft.com/office/drawing/2014/main" id="{B39337AE-69E1-BC50-AFAB-CB2F7B754008}"/>
              </a:ext>
            </a:extLst>
          </p:cNvPr>
          <p:cNvSpPr/>
          <p:nvPr/>
        </p:nvSpPr>
        <p:spPr>
          <a:xfrm>
            <a:off x="6518022" y="1957592"/>
            <a:ext cx="176400" cy="176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635;p44">
            <a:extLst>
              <a:ext uri="{FF2B5EF4-FFF2-40B4-BE49-F238E27FC236}">
                <a16:creationId xmlns:a16="http://schemas.microsoft.com/office/drawing/2014/main" id="{84DBFB98-4439-BF75-669A-CA2863AD35DF}"/>
              </a:ext>
            </a:extLst>
          </p:cNvPr>
          <p:cNvSpPr txBox="1"/>
          <p:nvPr/>
        </p:nvSpPr>
        <p:spPr>
          <a:xfrm flipH="1">
            <a:off x="274286" y="2551820"/>
            <a:ext cx="1070516" cy="1470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Variable Selection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Continuous Important Variables</a:t>
            </a:r>
            <a:endParaRPr sz="1000"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</p:txBody>
      </p:sp>
      <p:sp>
        <p:nvSpPr>
          <p:cNvPr id="11" name="Google Shape;1637;p44">
            <a:extLst>
              <a:ext uri="{FF2B5EF4-FFF2-40B4-BE49-F238E27FC236}">
                <a16:creationId xmlns:a16="http://schemas.microsoft.com/office/drawing/2014/main" id="{C056FBA7-6E1F-A65A-F156-1ECCAD692E04}"/>
              </a:ext>
            </a:extLst>
          </p:cNvPr>
          <p:cNvSpPr txBox="1"/>
          <p:nvPr/>
        </p:nvSpPr>
        <p:spPr>
          <a:xfrm flipH="1">
            <a:off x="1860401" y="2599603"/>
            <a:ext cx="1812300" cy="15709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Standardization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"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50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Bring all variables to</a:t>
            </a:r>
            <a:r>
              <a:rPr lang="en-US" sz="1050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 t</a:t>
            </a:r>
            <a:r>
              <a:rPr lang="en" sz="1050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he same scale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"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</p:txBody>
      </p:sp>
      <p:sp>
        <p:nvSpPr>
          <p:cNvPr id="13" name="Google Shape;1641;p44">
            <a:extLst>
              <a:ext uri="{FF2B5EF4-FFF2-40B4-BE49-F238E27FC236}">
                <a16:creationId xmlns:a16="http://schemas.microsoft.com/office/drawing/2014/main" id="{4F237203-48CF-B825-7AFA-8904C1CC560D}"/>
              </a:ext>
            </a:extLst>
          </p:cNvPr>
          <p:cNvSpPr txBox="1"/>
          <p:nvPr/>
        </p:nvSpPr>
        <p:spPr>
          <a:xfrm flipH="1">
            <a:off x="5700022" y="2624216"/>
            <a:ext cx="1812300" cy="7880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Analyze Cluster Profiles</a:t>
            </a:r>
            <a:endParaRPr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</p:txBody>
      </p:sp>
      <p:cxnSp>
        <p:nvCxnSpPr>
          <p:cNvPr id="16" name="Google Shape;1643;p44">
            <a:extLst>
              <a:ext uri="{FF2B5EF4-FFF2-40B4-BE49-F238E27FC236}">
                <a16:creationId xmlns:a16="http://schemas.microsoft.com/office/drawing/2014/main" id="{4EF8FF0C-6939-E446-5E33-8B9009DB7A3C}"/>
              </a:ext>
            </a:extLst>
          </p:cNvPr>
          <p:cNvCxnSpPr>
            <a:stCxn id="5" idx="3"/>
            <a:endCxn id="6" idx="1"/>
          </p:cNvCxnSpPr>
          <p:nvPr/>
        </p:nvCxnSpPr>
        <p:spPr>
          <a:xfrm>
            <a:off x="890901" y="2021180"/>
            <a:ext cx="17874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7" name="Google Shape;1644;p44">
            <a:extLst>
              <a:ext uri="{FF2B5EF4-FFF2-40B4-BE49-F238E27FC236}">
                <a16:creationId xmlns:a16="http://schemas.microsoft.com/office/drawing/2014/main" id="{099F68A0-0DAE-7777-1FFC-1A1419B2C6D1}"/>
              </a:ext>
            </a:extLst>
          </p:cNvPr>
          <p:cNvCxnSpPr>
            <a:stCxn id="6" idx="3"/>
            <a:endCxn id="7" idx="1"/>
          </p:cNvCxnSpPr>
          <p:nvPr/>
        </p:nvCxnSpPr>
        <p:spPr>
          <a:xfrm>
            <a:off x="2854801" y="2021180"/>
            <a:ext cx="178740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8" name="Google Shape;1645;p44">
            <a:extLst>
              <a:ext uri="{FF2B5EF4-FFF2-40B4-BE49-F238E27FC236}">
                <a16:creationId xmlns:a16="http://schemas.microsoft.com/office/drawing/2014/main" id="{676C6BFC-0D38-01F8-B0B8-74449EFB1968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4818701" y="2021180"/>
            <a:ext cx="1699321" cy="24612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9" name="Google Shape;1646;p44">
            <a:extLst>
              <a:ext uri="{FF2B5EF4-FFF2-40B4-BE49-F238E27FC236}">
                <a16:creationId xmlns:a16="http://schemas.microsoft.com/office/drawing/2014/main" id="{B68338B7-F2DF-8868-C21F-5B729007F17E}"/>
              </a:ext>
            </a:extLst>
          </p:cNvPr>
          <p:cNvCxnSpPr>
            <a:cxnSpLocks/>
            <a:stCxn id="5" idx="2"/>
          </p:cNvCxnSpPr>
          <p:nvPr/>
        </p:nvCxnSpPr>
        <p:spPr>
          <a:xfrm>
            <a:off x="802701" y="2109380"/>
            <a:ext cx="0" cy="482605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0" name="Google Shape;1647;p44">
            <a:extLst>
              <a:ext uri="{FF2B5EF4-FFF2-40B4-BE49-F238E27FC236}">
                <a16:creationId xmlns:a16="http://schemas.microsoft.com/office/drawing/2014/main" id="{2BD9EF86-9A99-EC02-F4C9-A98403C77798}"/>
              </a:ext>
            </a:extLst>
          </p:cNvPr>
          <p:cNvCxnSpPr>
            <a:cxnSpLocks/>
            <a:stCxn id="6" idx="2"/>
            <a:endCxn id="11" idx="0"/>
          </p:cNvCxnSpPr>
          <p:nvPr/>
        </p:nvCxnSpPr>
        <p:spPr>
          <a:xfrm flipH="1">
            <a:off x="2766551" y="2109380"/>
            <a:ext cx="50" cy="490223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1" name="Google Shape;1639;p44">
            <a:extLst>
              <a:ext uri="{FF2B5EF4-FFF2-40B4-BE49-F238E27FC236}">
                <a16:creationId xmlns:a16="http://schemas.microsoft.com/office/drawing/2014/main" id="{4117C0B4-C1AC-AD76-FC63-67A9EB411E1D}"/>
              </a:ext>
            </a:extLst>
          </p:cNvPr>
          <p:cNvSpPr txBox="1"/>
          <p:nvPr/>
        </p:nvSpPr>
        <p:spPr>
          <a:xfrm flipH="1">
            <a:off x="3786458" y="2595880"/>
            <a:ext cx="1888039" cy="1180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Silhouette Score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"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Identify Optimal Number of Cluster</a:t>
            </a:r>
            <a:endParaRPr sz="1000"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</p:txBody>
      </p:sp>
      <p:cxnSp>
        <p:nvCxnSpPr>
          <p:cNvPr id="23" name="Google Shape;1648;p44">
            <a:extLst>
              <a:ext uri="{FF2B5EF4-FFF2-40B4-BE49-F238E27FC236}">
                <a16:creationId xmlns:a16="http://schemas.microsoft.com/office/drawing/2014/main" id="{FD95F353-E2B2-5436-91FA-4DBF517F40B3}"/>
              </a:ext>
            </a:extLst>
          </p:cNvPr>
          <p:cNvCxnSpPr>
            <a:cxnSpLocks/>
            <a:stCxn id="7" idx="2"/>
            <a:endCxn id="21" idx="0"/>
          </p:cNvCxnSpPr>
          <p:nvPr/>
        </p:nvCxnSpPr>
        <p:spPr>
          <a:xfrm flipH="1">
            <a:off x="4730477" y="2109380"/>
            <a:ext cx="24" cy="48650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4" name="Google Shape;1649;p44">
            <a:extLst>
              <a:ext uri="{FF2B5EF4-FFF2-40B4-BE49-F238E27FC236}">
                <a16:creationId xmlns:a16="http://schemas.microsoft.com/office/drawing/2014/main" id="{B350AE9C-31E3-B281-AD28-53676B8F8B02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 flipH="1">
            <a:off x="6606172" y="2133992"/>
            <a:ext cx="50" cy="490224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5" name="Google Shape;1634;p44">
            <a:extLst>
              <a:ext uri="{FF2B5EF4-FFF2-40B4-BE49-F238E27FC236}">
                <a16:creationId xmlns:a16="http://schemas.microsoft.com/office/drawing/2014/main" id="{46467DD7-673E-E52D-F6BB-65320862CA33}"/>
              </a:ext>
            </a:extLst>
          </p:cNvPr>
          <p:cNvSpPr/>
          <p:nvPr/>
        </p:nvSpPr>
        <p:spPr>
          <a:xfrm>
            <a:off x="8246256" y="1967969"/>
            <a:ext cx="176400" cy="176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" name="Google Shape;1641;p44">
            <a:extLst>
              <a:ext uri="{FF2B5EF4-FFF2-40B4-BE49-F238E27FC236}">
                <a16:creationId xmlns:a16="http://schemas.microsoft.com/office/drawing/2014/main" id="{DFF2343C-2285-CE32-ECE6-D10B75569987}"/>
              </a:ext>
            </a:extLst>
          </p:cNvPr>
          <p:cNvSpPr txBox="1"/>
          <p:nvPr/>
        </p:nvSpPr>
        <p:spPr>
          <a:xfrm flipH="1">
            <a:off x="7428256" y="2634593"/>
            <a:ext cx="1812300" cy="7880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Business Validation</a:t>
            </a:r>
            <a:endParaRPr>
              <a:solidFill>
                <a:schemeClr val="dk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</p:txBody>
      </p:sp>
      <p:cxnSp>
        <p:nvCxnSpPr>
          <p:cNvPr id="28" name="Google Shape;1649;p44">
            <a:extLst>
              <a:ext uri="{FF2B5EF4-FFF2-40B4-BE49-F238E27FC236}">
                <a16:creationId xmlns:a16="http://schemas.microsoft.com/office/drawing/2014/main" id="{D8E31743-45DB-3662-A52C-7C8DD488E648}"/>
              </a:ext>
            </a:extLst>
          </p:cNvPr>
          <p:cNvCxnSpPr>
            <a:cxnSpLocks/>
            <a:stCxn id="25" idx="2"/>
            <a:endCxn id="26" idx="0"/>
          </p:cNvCxnSpPr>
          <p:nvPr/>
        </p:nvCxnSpPr>
        <p:spPr>
          <a:xfrm flipH="1">
            <a:off x="8334406" y="2144369"/>
            <a:ext cx="50" cy="490224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9" name="Graphic 28" descr="Statistics with solid fill">
            <a:extLst>
              <a:ext uri="{FF2B5EF4-FFF2-40B4-BE49-F238E27FC236}">
                <a16:creationId xmlns:a16="http://schemas.microsoft.com/office/drawing/2014/main" id="{89E6956C-47EF-A3C6-CFD4-5859F9A2A4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8302" y="1312281"/>
            <a:ext cx="448798" cy="448798"/>
          </a:xfrm>
          <a:prstGeom prst="rect">
            <a:avLst/>
          </a:prstGeom>
        </p:spPr>
      </p:pic>
      <p:sp>
        <p:nvSpPr>
          <p:cNvPr id="30" name="Oval 29">
            <a:extLst>
              <a:ext uri="{FF2B5EF4-FFF2-40B4-BE49-F238E27FC236}">
                <a16:creationId xmlns:a16="http://schemas.microsoft.com/office/drawing/2014/main" id="{5D702E6D-8558-961D-797B-68942F21FDFB}"/>
              </a:ext>
            </a:extLst>
          </p:cNvPr>
          <p:cNvSpPr/>
          <p:nvPr/>
        </p:nvSpPr>
        <p:spPr>
          <a:xfrm>
            <a:off x="452657" y="1184552"/>
            <a:ext cx="700087" cy="683525"/>
          </a:xfrm>
          <a:prstGeom prst="ellipse">
            <a:avLst/>
          </a:prstGeom>
          <a:noFill/>
          <a:ln>
            <a:solidFill>
              <a:schemeClr val="tx2">
                <a:lumMod val="1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48B7007-9547-8A2A-76B3-4DD97E1EA605}"/>
              </a:ext>
            </a:extLst>
          </p:cNvPr>
          <p:cNvSpPr/>
          <p:nvPr/>
        </p:nvSpPr>
        <p:spPr>
          <a:xfrm>
            <a:off x="2416507" y="1171631"/>
            <a:ext cx="700087" cy="683525"/>
          </a:xfrm>
          <a:prstGeom prst="ellipse">
            <a:avLst/>
          </a:prstGeom>
          <a:noFill/>
          <a:ln>
            <a:solidFill>
              <a:schemeClr val="tx2">
                <a:lumMod val="1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6D3A6C2-7662-A050-1714-241A090AFA26}"/>
              </a:ext>
            </a:extLst>
          </p:cNvPr>
          <p:cNvSpPr/>
          <p:nvPr/>
        </p:nvSpPr>
        <p:spPr>
          <a:xfrm>
            <a:off x="4380434" y="1161255"/>
            <a:ext cx="700087" cy="683525"/>
          </a:xfrm>
          <a:prstGeom prst="ellipse">
            <a:avLst/>
          </a:prstGeom>
          <a:noFill/>
          <a:ln>
            <a:solidFill>
              <a:schemeClr val="tx2">
                <a:lumMod val="1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CD73B9B-2635-0284-1405-CFF921CB235F}"/>
              </a:ext>
            </a:extLst>
          </p:cNvPr>
          <p:cNvSpPr/>
          <p:nvPr/>
        </p:nvSpPr>
        <p:spPr>
          <a:xfrm>
            <a:off x="6252323" y="1161255"/>
            <a:ext cx="700087" cy="683525"/>
          </a:xfrm>
          <a:prstGeom prst="ellipse">
            <a:avLst/>
          </a:prstGeom>
          <a:noFill/>
          <a:ln>
            <a:solidFill>
              <a:schemeClr val="tx2">
                <a:lumMod val="1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7377CED-75C7-2505-A0C7-00842C784E28}"/>
              </a:ext>
            </a:extLst>
          </p:cNvPr>
          <p:cNvSpPr/>
          <p:nvPr/>
        </p:nvSpPr>
        <p:spPr>
          <a:xfrm>
            <a:off x="7967838" y="1171631"/>
            <a:ext cx="700087" cy="683525"/>
          </a:xfrm>
          <a:prstGeom prst="ellipse">
            <a:avLst/>
          </a:prstGeom>
          <a:noFill/>
          <a:ln>
            <a:solidFill>
              <a:schemeClr val="tx2">
                <a:lumMod val="1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Graphic 34" descr="Scales of justice with solid fill">
            <a:extLst>
              <a:ext uri="{FF2B5EF4-FFF2-40B4-BE49-F238E27FC236}">
                <a16:creationId xmlns:a16="http://schemas.microsoft.com/office/drawing/2014/main" id="{CFFE5A4F-6B7C-A35B-7E3B-7E8A9478DA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528042" y="1277392"/>
            <a:ext cx="477117" cy="477117"/>
          </a:xfrm>
          <a:prstGeom prst="rect">
            <a:avLst/>
          </a:prstGeom>
        </p:spPr>
      </p:pic>
      <p:pic>
        <p:nvPicPr>
          <p:cNvPr id="36" name="Graphic 35" descr="Tools with solid fill">
            <a:extLst>
              <a:ext uri="{FF2B5EF4-FFF2-40B4-BE49-F238E27FC236}">
                <a16:creationId xmlns:a16="http://schemas.microsoft.com/office/drawing/2014/main" id="{098A49E3-4468-EFEA-592B-AE5CB5CE475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512183" y="1299947"/>
            <a:ext cx="436590" cy="436590"/>
          </a:xfrm>
          <a:prstGeom prst="rect">
            <a:avLst/>
          </a:prstGeom>
        </p:spPr>
      </p:pic>
      <p:pic>
        <p:nvPicPr>
          <p:cNvPr id="37" name="Graphic 36" descr="Clipboard Checked with solid fill">
            <a:extLst>
              <a:ext uri="{FF2B5EF4-FFF2-40B4-BE49-F238E27FC236}">
                <a16:creationId xmlns:a16="http://schemas.microsoft.com/office/drawing/2014/main" id="{B9C45725-472B-D87F-55A1-842AB7E7380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53994" y="1256693"/>
            <a:ext cx="504456" cy="504456"/>
          </a:xfrm>
          <a:prstGeom prst="rect">
            <a:avLst/>
          </a:prstGeom>
        </p:spPr>
      </p:pic>
      <p:pic>
        <p:nvPicPr>
          <p:cNvPr id="38" name="Graphic 37" descr="Presentation with bar chart with solid fill">
            <a:extLst>
              <a:ext uri="{FF2B5EF4-FFF2-40B4-BE49-F238E27FC236}">
                <a16:creationId xmlns:a16="http://schemas.microsoft.com/office/drawing/2014/main" id="{0EC2FCDC-40F6-3DEB-4E06-56B5ECEDE4C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75474" y="1265835"/>
            <a:ext cx="490224" cy="49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48045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7A90CED-A26D-EE3C-D1E0-6B7BEBBD1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A90CED-A26D-EE3C-D1E0-6B7BEBBD1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1630;p44">
            <a:extLst>
              <a:ext uri="{FF2B5EF4-FFF2-40B4-BE49-F238E27FC236}">
                <a16:creationId xmlns:a16="http://schemas.microsoft.com/office/drawing/2014/main" id="{645F1C5A-FA58-65D9-B990-D6ED010A50EA}"/>
              </a:ext>
            </a:extLst>
          </p:cNvPr>
          <p:cNvSpPr txBox="1">
            <a:spLocks/>
          </p:cNvSpPr>
          <p:nvPr/>
        </p:nvSpPr>
        <p:spPr>
          <a:xfrm>
            <a:off x="435077" y="-24241"/>
            <a:ext cx="8318091" cy="573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Poppins"/>
              <a:buNone/>
              <a:defRPr sz="3500" b="1" i="0" u="none" strike="noStrike" cap="none">
                <a:solidFill>
                  <a:schemeClr val="dk1"/>
                </a:solidFill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pPr algn="ctr"/>
            <a:r>
              <a:rPr lang="en-US" sz="1800">
                <a:solidFill>
                  <a:schemeClr val="accent2"/>
                </a:solidFill>
              </a:rPr>
              <a:t>K-Means Clustering Variables &amp; Silhouette Sco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9B0BCBE-A564-5540-4BF1-BA183FAA31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14198" y="1142999"/>
            <a:ext cx="4038970" cy="306378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9EB32E7-89DB-29B5-7440-08C5AF461787}"/>
              </a:ext>
            </a:extLst>
          </p:cNvPr>
          <p:cNvSpPr/>
          <p:nvPr/>
        </p:nvSpPr>
        <p:spPr>
          <a:xfrm>
            <a:off x="742268" y="946297"/>
            <a:ext cx="2878461" cy="3457183"/>
          </a:xfrm>
          <a:prstGeom prst="rect">
            <a:avLst/>
          </a:prstGeom>
          <a:noFill/>
          <a:ln>
            <a:solidFill>
              <a:schemeClr val="accent1">
                <a:shade val="15000"/>
                <a:alpha val="3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1"/>
                </a:solidFill>
                <a:effectLst/>
              </a:rPr>
              <a:t>Clustering Input Variables</a:t>
            </a:r>
          </a:p>
          <a:p>
            <a:endParaRPr lang="en-US">
              <a:solidFill>
                <a:schemeClr val="tx1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>
                <a:solidFill>
                  <a:schemeClr val="tx1"/>
                </a:solidFill>
                <a:effectLst/>
              </a:rPr>
              <a:t>Age</a:t>
            </a:r>
            <a:endParaRPr lang="en-US">
              <a:solidFill>
                <a:schemeClr val="tx1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>
                <a:solidFill>
                  <a:schemeClr val="tx1"/>
                </a:solidFill>
                <a:effectLst/>
              </a:rPr>
              <a:t>Dur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>
                <a:solidFill>
                  <a:schemeClr val="tx1"/>
                </a:solidFill>
                <a:effectLst/>
              </a:rPr>
              <a:t>Campaig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err="1">
                <a:solidFill>
                  <a:schemeClr val="tx1"/>
                </a:solidFill>
                <a:effectLst/>
              </a:rPr>
              <a:t>Pdays</a:t>
            </a:r>
            <a:endParaRPr lang="en-US" b="0">
              <a:solidFill>
                <a:schemeClr val="tx1"/>
              </a:solidFill>
              <a:effectLst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err="1">
                <a:solidFill>
                  <a:schemeClr val="tx1"/>
                </a:solidFill>
                <a:effectLst/>
              </a:rPr>
              <a:t>Cons_price_idx</a:t>
            </a:r>
            <a:endParaRPr lang="en-US" b="0">
              <a:solidFill>
                <a:schemeClr val="tx1"/>
              </a:solidFill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92891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0" name="Google Shape;1170;p34"/>
          <p:cNvSpPr txBox="1">
            <a:spLocks noGrp="1"/>
          </p:cNvSpPr>
          <p:nvPr>
            <p:ph type="title" idx="4294967295"/>
          </p:nvPr>
        </p:nvSpPr>
        <p:spPr>
          <a:xfrm>
            <a:off x="1505214" y="13927"/>
            <a:ext cx="5788294" cy="126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2400">
                <a:solidFill>
                  <a:schemeClr val="accent2"/>
                </a:solidFill>
              </a:rPr>
              <a:t>Case Context</a:t>
            </a:r>
          </a:p>
        </p:txBody>
      </p:sp>
      <p:sp>
        <p:nvSpPr>
          <p:cNvPr id="1169" name="Google Shape;1169;p34"/>
          <p:cNvSpPr txBox="1">
            <a:spLocks noGrp="1"/>
          </p:cNvSpPr>
          <p:nvPr>
            <p:ph type="subTitle" idx="4294967295"/>
          </p:nvPr>
        </p:nvSpPr>
        <p:spPr>
          <a:xfrm>
            <a:off x="457801" y="2279650"/>
            <a:ext cx="3917950" cy="558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Understanding Relationship </a:t>
            </a:r>
            <a:br>
              <a:rPr lang="en" sz="1800"/>
            </a:br>
            <a:r>
              <a:rPr lang="en" sz="1800"/>
              <a:t>Between Variables</a:t>
            </a:r>
            <a:endParaRPr sz="1800"/>
          </a:p>
        </p:txBody>
      </p:sp>
      <p:sp>
        <p:nvSpPr>
          <p:cNvPr id="1171" name="Google Shape;1171;p34"/>
          <p:cNvSpPr txBox="1">
            <a:spLocks noGrp="1"/>
          </p:cNvSpPr>
          <p:nvPr>
            <p:ph type="subTitle" idx="4294967295"/>
          </p:nvPr>
        </p:nvSpPr>
        <p:spPr>
          <a:xfrm>
            <a:off x="947995" y="2749550"/>
            <a:ext cx="2997200" cy="143668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ncovering how Input variables are correlated with the Target variable and what patterns are present in the dataset.</a:t>
            </a:r>
            <a:endParaRPr/>
          </a:p>
        </p:txBody>
      </p:sp>
      <p:sp>
        <p:nvSpPr>
          <p:cNvPr id="1172" name="Google Shape;1172;p34"/>
          <p:cNvSpPr txBox="1">
            <a:spLocks noGrp="1"/>
          </p:cNvSpPr>
          <p:nvPr>
            <p:ph type="subTitle" idx="4294967295"/>
          </p:nvPr>
        </p:nvSpPr>
        <p:spPr>
          <a:xfrm>
            <a:off x="5198805" y="2749550"/>
            <a:ext cx="2997200" cy="143668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Building a Machine Learning model enabling the business to predict clients who will subscribe to their marketing campaign(Term Deposits).</a:t>
            </a:r>
            <a:endParaRPr/>
          </a:p>
        </p:txBody>
      </p:sp>
      <p:sp>
        <p:nvSpPr>
          <p:cNvPr id="1173" name="Google Shape;1173;p34"/>
          <p:cNvSpPr txBox="1">
            <a:spLocks noGrp="1"/>
          </p:cNvSpPr>
          <p:nvPr>
            <p:ph type="subTitle" idx="4294967295"/>
          </p:nvPr>
        </p:nvSpPr>
        <p:spPr>
          <a:xfrm>
            <a:off x="5143145" y="2273982"/>
            <a:ext cx="2997200" cy="558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Predicting Term Deposit Subscription</a:t>
            </a:r>
            <a:endParaRPr sz="1800"/>
          </a:p>
        </p:txBody>
      </p:sp>
      <p:sp>
        <p:nvSpPr>
          <p:cNvPr id="1174" name="Google Shape;1174;p34"/>
          <p:cNvSpPr/>
          <p:nvPr/>
        </p:nvSpPr>
        <p:spPr>
          <a:xfrm>
            <a:off x="6253636" y="1412763"/>
            <a:ext cx="780900" cy="708000"/>
          </a:xfrm>
          <a:prstGeom prst="rect">
            <a:avLst/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5" name="Google Shape;1175;p34"/>
          <p:cNvSpPr/>
          <p:nvPr/>
        </p:nvSpPr>
        <p:spPr>
          <a:xfrm>
            <a:off x="1964703" y="1412763"/>
            <a:ext cx="780900" cy="708000"/>
          </a:xfrm>
          <a:prstGeom prst="rect">
            <a:avLst/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FEB584D-D5FE-1B78-7026-320D5BD77F8D}"/>
              </a:ext>
            </a:extLst>
          </p:cNvPr>
          <p:cNvGrpSpPr/>
          <p:nvPr/>
        </p:nvGrpSpPr>
        <p:grpSpPr>
          <a:xfrm>
            <a:off x="6474486" y="1597128"/>
            <a:ext cx="339200" cy="339271"/>
            <a:chOff x="2130545" y="1541685"/>
            <a:chExt cx="339200" cy="339271"/>
          </a:xfrm>
        </p:grpSpPr>
        <p:sp>
          <p:nvSpPr>
            <p:cNvPr id="1177" name="Google Shape;1177;p34"/>
            <p:cNvSpPr/>
            <p:nvPr/>
          </p:nvSpPr>
          <p:spPr>
            <a:xfrm>
              <a:off x="2230562" y="1800108"/>
              <a:ext cx="139148" cy="80848"/>
            </a:xfrm>
            <a:custGeom>
              <a:avLst/>
              <a:gdLst/>
              <a:ahLst/>
              <a:cxnLst/>
              <a:rect l="l" t="t" r="r" b="b"/>
              <a:pathLst>
                <a:path w="7905" h="4593" extrusionOk="0">
                  <a:moveTo>
                    <a:pt x="0" y="0"/>
                  </a:moveTo>
                  <a:lnTo>
                    <a:pt x="0" y="566"/>
                  </a:lnTo>
                  <a:cubicBezTo>
                    <a:pt x="3" y="1298"/>
                    <a:pt x="479" y="1949"/>
                    <a:pt x="1178" y="2171"/>
                  </a:cubicBezTo>
                  <a:cubicBezTo>
                    <a:pt x="1407" y="3502"/>
                    <a:pt x="2560" y="4593"/>
                    <a:pt x="3954" y="4593"/>
                  </a:cubicBezTo>
                  <a:cubicBezTo>
                    <a:pt x="5345" y="4593"/>
                    <a:pt x="6499" y="3502"/>
                    <a:pt x="6728" y="2171"/>
                  </a:cubicBezTo>
                  <a:cubicBezTo>
                    <a:pt x="7426" y="1949"/>
                    <a:pt x="7902" y="1298"/>
                    <a:pt x="7905" y="566"/>
                  </a:cubicBezTo>
                  <a:lnTo>
                    <a:pt x="7905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1178" name="Google Shape;1178;p34"/>
            <p:cNvSpPr/>
            <p:nvPr/>
          </p:nvSpPr>
          <p:spPr>
            <a:xfrm>
              <a:off x="2175537" y="1541685"/>
              <a:ext cx="244534" cy="238567"/>
            </a:xfrm>
            <a:custGeom>
              <a:avLst/>
              <a:gdLst/>
              <a:ahLst/>
              <a:cxnLst/>
              <a:rect l="l" t="t" r="r" b="b"/>
              <a:pathLst>
                <a:path w="13892" h="13553" extrusionOk="0">
                  <a:moveTo>
                    <a:pt x="7080" y="2260"/>
                  </a:moveTo>
                  <a:cubicBezTo>
                    <a:pt x="9574" y="2263"/>
                    <a:pt x="11594" y="4284"/>
                    <a:pt x="11597" y="6777"/>
                  </a:cubicBezTo>
                  <a:cubicBezTo>
                    <a:pt x="11597" y="7090"/>
                    <a:pt x="11344" y="7340"/>
                    <a:pt x="11031" y="7340"/>
                  </a:cubicBezTo>
                  <a:cubicBezTo>
                    <a:pt x="10718" y="7340"/>
                    <a:pt x="10468" y="7090"/>
                    <a:pt x="10468" y="6777"/>
                  </a:cubicBezTo>
                  <a:cubicBezTo>
                    <a:pt x="10465" y="4907"/>
                    <a:pt x="8950" y="3392"/>
                    <a:pt x="7080" y="3389"/>
                  </a:cubicBezTo>
                  <a:cubicBezTo>
                    <a:pt x="6767" y="3389"/>
                    <a:pt x="6514" y="3136"/>
                    <a:pt x="6514" y="2826"/>
                  </a:cubicBezTo>
                  <a:cubicBezTo>
                    <a:pt x="6514" y="2513"/>
                    <a:pt x="6767" y="2260"/>
                    <a:pt x="7080" y="2260"/>
                  </a:cubicBezTo>
                  <a:close/>
                  <a:moveTo>
                    <a:pt x="7070" y="1"/>
                  </a:moveTo>
                  <a:cubicBezTo>
                    <a:pt x="6595" y="1"/>
                    <a:pt x="6111" y="50"/>
                    <a:pt x="5623" y="152"/>
                  </a:cubicBezTo>
                  <a:cubicBezTo>
                    <a:pt x="3075" y="685"/>
                    <a:pt x="1001" y="2754"/>
                    <a:pt x="459" y="5301"/>
                  </a:cubicBezTo>
                  <a:cubicBezTo>
                    <a:pt x="1" y="7469"/>
                    <a:pt x="567" y="9644"/>
                    <a:pt x="2015" y="11270"/>
                  </a:cubicBezTo>
                  <a:cubicBezTo>
                    <a:pt x="2584" y="11908"/>
                    <a:pt x="2952" y="12703"/>
                    <a:pt x="3072" y="13552"/>
                  </a:cubicBezTo>
                  <a:lnTo>
                    <a:pt x="11088" y="13552"/>
                  </a:lnTo>
                  <a:cubicBezTo>
                    <a:pt x="11221" y="12691"/>
                    <a:pt x="11597" y="11887"/>
                    <a:pt x="12175" y="11233"/>
                  </a:cubicBezTo>
                  <a:cubicBezTo>
                    <a:pt x="13259" y="10002"/>
                    <a:pt x="13892" y="8418"/>
                    <a:pt x="13892" y="6777"/>
                  </a:cubicBezTo>
                  <a:cubicBezTo>
                    <a:pt x="13892" y="2969"/>
                    <a:pt x="10766" y="1"/>
                    <a:pt x="707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1179" name="Google Shape;1179;p34"/>
            <p:cNvSpPr/>
            <p:nvPr/>
          </p:nvSpPr>
          <p:spPr>
            <a:xfrm>
              <a:off x="2130545" y="1660960"/>
              <a:ext cx="39711" cy="19908"/>
            </a:xfrm>
            <a:custGeom>
              <a:avLst/>
              <a:gdLst/>
              <a:ahLst/>
              <a:cxnLst/>
              <a:rect l="l" t="t" r="r" b="b"/>
              <a:pathLst>
                <a:path w="2256" h="1131" extrusionOk="0">
                  <a:moveTo>
                    <a:pt x="563" y="1"/>
                  </a:moveTo>
                  <a:cubicBezTo>
                    <a:pt x="250" y="1"/>
                    <a:pt x="0" y="254"/>
                    <a:pt x="0" y="567"/>
                  </a:cubicBezTo>
                  <a:cubicBezTo>
                    <a:pt x="0" y="877"/>
                    <a:pt x="250" y="1130"/>
                    <a:pt x="563" y="1130"/>
                  </a:cubicBezTo>
                  <a:lnTo>
                    <a:pt x="1693" y="1130"/>
                  </a:lnTo>
                  <a:cubicBezTo>
                    <a:pt x="2006" y="1130"/>
                    <a:pt x="2256" y="877"/>
                    <a:pt x="2256" y="567"/>
                  </a:cubicBezTo>
                  <a:cubicBezTo>
                    <a:pt x="2256" y="254"/>
                    <a:pt x="2006" y="1"/>
                    <a:pt x="16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1180" name="Google Shape;1180;p34"/>
            <p:cNvSpPr/>
            <p:nvPr/>
          </p:nvSpPr>
          <p:spPr>
            <a:xfrm>
              <a:off x="2132552" y="1594422"/>
              <a:ext cx="35803" cy="33850"/>
            </a:xfrm>
            <a:custGeom>
              <a:avLst/>
              <a:gdLst/>
              <a:ahLst/>
              <a:cxnLst/>
              <a:rect l="l" t="t" r="r" b="b"/>
              <a:pathLst>
                <a:path w="2034" h="1923" extrusionOk="0">
                  <a:moveTo>
                    <a:pt x="623" y="0"/>
                  </a:moveTo>
                  <a:cubicBezTo>
                    <a:pt x="478" y="0"/>
                    <a:pt x="333" y="56"/>
                    <a:pt x="224" y="167"/>
                  </a:cubicBezTo>
                  <a:cubicBezTo>
                    <a:pt x="4" y="384"/>
                    <a:pt x="1" y="736"/>
                    <a:pt x="214" y="959"/>
                  </a:cubicBezTo>
                  <a:lnTo>
                    <a:pt x="1015" y="1757"/>
                  </a:lnTo>
                  <a:cubicBezTo>
                    <a:pt x="1125" y="1867"/>
                    <a:pt x="1269" y="1922"/>
                    <a:pt x="1413" y="1922"/>
                  </a:cubicBezTo>
                  <a:cubicBezTo>
                    <a:pt x="1558" y="1922"/>
                    <a:pt x="1702" y="1867"/>
                    <a:pt x="1813" y="1757"/>
                  </a:cubicBezTo>
                  <a:cubicBezTo>
                    <a:pt x="2033" y="1534"/>
                    <a:pt x="2033" y="1179"/>
                    <a:pt x="1813" y="959"/>
                  </a:cubicBezTo>
                  <a:lnTo>
                    <a:pt x="1015" y="158"/>
                  </a:lnTo>
                  <a:cubicBezTo>
                    <a:pt x="906" y="53"/>
                    <a:pt x="764" y="0"/>
                    <a:pt x="623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1181" name="Google Shape;1181;p34"/>
            <p:cNvSpPr/>
            <p:nvPr/>
          </p:nvSpPr>
          <p:spPr>
            <a:xfrm>
              <a:off x="2132552" y="1713679"/>
              <a:ext cx="35698" cy="33726"/>
            </a:xfrm>
            <a:custGeom>
              <a:avLst/>
              <a:gdLst/>
              <a:ahLst/>
              <a:cxnLst/>
              <a:rect l="l" t="t" r="r" b="b"/>
              <a:pathLst>
                <a:path w="2028" h="1916" extrusionOk="0">
                  <a:moveTo>
                    <a:pt x="1405" y="0"/>
                  </a:moveTo>
                  <a:cubicBezTo>
                    <a:pt x="1264" y="0"/>
                    <a:pt x="1124" y="53"/>
                    <a:pt x="1015" y="159"/>
                  </a:cubicBezTo>
                  <a:lnTo>
                    <a:pt x="214" y="960"/>
                  </a:lnTo>
                  <a:cubicBezTo>
                    <a:pt x="1" y="1179"/>
                    <a:pt x="4" y="1532"/>
                    <a:pt x="224" y="1749"/>
                  </a:cubicBezTo>
                  <a:cubicBezTo>
                    <a:pt x="333" y="1860"/>
                    <a:pt x="478" y="1916"/>
                    <a:pt x="623" y="1916"/>
                  </a:cubicBezTo>
                  <a:cubicBezTo>
                    <a:pt x="764" y="1916"/>
                    <a:pt x="906" y="1863"/>
                    <a:pt x="1015" y="1758"/>
                  </a:cubicBezTo>
                  <a:lnTo>
                    <a:pt x="1813" y="960"/>
                  </a:lnTo>
                  <a:cubicBezTo>
                    <a:pt x="2027" y="737"/>
                    <a:pt x="2024" y="384"/>
                    <a:pt x="1804" y="168"/>
                  </a:cubicBezTo>
                  <a:cubicBezTo>
                    <a:pt x="1695" y="56"/>
                    <a:pt x="1550" y="0"/>
                    <a:pt x="140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1182" name="Google Shape;1182;p34"/>
            <p:cNvSpPr/>
            <p:nvPr/>
          </p:nvSpPr>
          <p:spPr>
            <a:xfrm>
              <a:off x="2430016" y="1660960"/>
              <a:ext cx="39729" cy="19908"/>
            </a:xfrm>
            <a:custGeom>
              <a:avLst/>
              <a:gdLst/>
              <a:ahLst/>
              <a:cxnLst/>
              <a:rect l="l" t="t" r="r" b="b"/>
              <a:pathLst>
                <a:path w="2257" h="1131" extrusionOk="0">
                  <a:moveTo>
                    <a:pt x="564" y="1"/>
                  </a:moveTo>
                  <a:cubicBezTo>
                    <a:pt x="251" y="1"/>
                    <a:pt x="1" y="254"/>
                    <a:pt x="1" y="567"/>
                  </a:cubicBezTo>
                  <a:cubicBezTo>
                    <a:pt x="1" y="877"/>
                    <a:pt x="251" y="1130"/>
                    <a:pt x="564" y="1130"/>
                  </a:cubicBezTo>
                  <a:lnTo>
                    <a:pt x="1693" y="1130"/>
                  </a:lnTo>
                  <a:cubicBezTo>
                    <a:pt x="2006" y="1130"/>
                    <a:pt x="2256" y="877"/>
                    <a:pt x="2256" y="567"/>
                  </a:cubicBezTo>
                  <a:cubicBezTo>
                    <a:pt x="2256" y="254"/>
                    <a:pt x="2006" y="1"/>
                    <a:pt x="16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1183" name="Google Shape;1183;p34"/>
            <p:cNvSpPr/>
            <p:nvPr/>
          </p:nvSpPr>
          <p:spPr>
            <a:xfrm>
              <a:off x="2432040" y="1594422"/>
              <a:ext cx="35680" cy="33726"/>
            </a:xfrm>
            <a:custGeom>
              <a:avLst/>
              <a:gdLst/>
              <a:ahLst/>
              <a:cxnLst/>
              <a:rect l="l" t="t" r="r" b="b"/>
              <a:pathLst>
                <a:path w="2027" h="1916" extrusionOk="0">
                  <a:moveTo>
                    <a:pt x="1405" y="0"/>
                  </a:moveTo>
                  <a:cubicBezTo>
                    <a:pt x="1264" y="0"/>
                    <a:pt x="1123" y="53"/>
                    <a:pt x="1015" y="158"/>
                  </a:cubicBezTo>
                  <a:lnTo>
                    <a:pt x="214" y="959"/>
                  </a:lnTo>
                  <a:cubicBezTo>
                    <a:pt x="0" y="1179"/>
                    <a:pt x="3" y="1531"/>
                    <a:pt x="223" y="1748"/>
                  </a:cubicBezTo>
                  <a:cubicBezTo>
                    <a:pt x="333" y="1860"/>
                    <a:pt x="478" y="1915"/>
                    <a:pt x="623" y="1915"/>
                  </a:cubicBezTo>
                  <a:cubicBezTo>
                    <a:pt x="764" y="1915"/>
                    <a:pt x="905" y="1863"/>
                    <a:pt x="1015" y="1757"/>
                  </a:cubicBezTo>
                  <a:lnTo>
                    <a:pt x="1813" y="959"/>
                  </a:lnTo>
                  <a:cubicBezTo>
                    <a:pt x="2027" y="736"/>
                    <a:pt x="2024" y="384"/>
                    <a:pt x="1804" y="167"/>
                  </a:cubicBezTo>
                  <a:cubicBezTo>
                    <a:pt x="1694" y="56"/>
                    <a:pt x="1549" y="0"/>
                    <a:pt x="140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1184" name="Google Shape;1184;p34"/>
            <p:cNvSpPr/>
            <p:nvPr/>
          </p:nvSpPr>
          <p:spPr>
            <a:xfrm>
              <a:off x="2431935" y="1713556"/>
              <a:ext cx="35786" cy="33850"/>
            </a:xfrm>
            <a:custGeom>
              <a:avLst/>
              <a:gdLst/>
              <a:ahLst/>
              <a:cxnLst/>
              <a:rect l="l" t="t" r="r" b="b"/>
              <a:pathLst>
                <a:path w="2033" h="1923" extrusionOk="0">
                  <a:moveTo>
                    <a:pt x="621" y="1"/>
                  </a:moveTo>
                  <a:cubicBezTo>
                    <a:pt x="476" y="1"/>
                    <a:pt x="331" y="56"/>
                    <a:pt x="220" y="166"/>
                  </a:cubicBezTo>
                  <a:cubicBezTo>
                    <a:pt x="0" y="388"/>
                    <a:pt x="0" y="744"/>
                    <a:pt x="220" y="967"/>
                  </a:cubicBezTo>
                  <a:lnTo>
                    <a:pt x="1021" y="1765"/>
                  </a:lnTo>
                  <a:cubicBezTo>
                    <a:pt x="1129" y="1870"/>
                    <a:pt x="1270" y="1923"/>
                    <a:pt x="1411" y="1923"/>
                  </a:cubicBezTo>
                  <a:cubicBezTo>
                    <a:pt x="1555" y="1923"/>
                    <a:pt x="1700" y="1867"/>
                    <a:pt x="1810" y="1756"/>
                  </a:cubicBezTo>
                  <a:cubicBezTo>
                    <a:pt x="2030" y="1539"/>
                    <a:pt x="2033" y="1186"/>
                    <a:pt x="1819" y="967"/>
                  </a:cubicBezTo>
                  <a:lnTo>
                    <a:pt x="1021" y="166"/>
                  </a:lnTo>
                  <a:cubicBezTo>
                    <a:pt x="910" y="56"/>
                    <a:pt x="765" y="1"/>
                    <a:pt x="62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</p:grpSp>
      <p:pic>
        <p:nvPicPr>
          <p:cNvPr id="4" name="Graphic 3" descr="Research outline">
            <a:extLst>
              <a:ext uri="{FF2B5EF4-FFF2-40B4-BE49-F238E27FC236}">
                <a16:creationId xmlns:a16="http://schemas.microsoft.com/office/drawing/2014/main" id="{C85024BA-8D70-9F26-777F-DF1E9735D3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09464" y="1500869"/>
            <a:ext cx="485915" cy="48591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1" name="Google Shape;871;p33"/>
          <p:cNvSpPr txBox="1">
            <a:spLocks noGrp="1"/>
          </p:cNvSpPr>
          <p:nvPr>
            <p:ph type="title"/>
          </p:nvPr>
        </p:nvSpPr>
        <p:spPr>
          <a:xfrm>
            <a:off x="3697353" y="2790652"/>
            <a:ext cx="4355700" cy="1759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Exploratory Data Analysis</a:t>
            </a:r>
            <a:endParaRPr/>
          </a:p>
        </p:txBody>
      </p:sp>
      <p:sp>
        <p:nvSpPr>
          <p:cNvPr id="872" name="Google Shape;872;p33"/>
          <p:cNvSpPr txBox="1">
            <a:spLocks noGrp="1"/>
          </p:cNvSpPr>
          <p:nvPr>
            <p:ph type="title" idx="2"/>
          </p:nvPr>
        </p:nvSpPr>
        <p:spPr>
          <a:xfrm>
            <a:off x="5060553" y="940516"/>
            <a:ext cx="1629300" cy="147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2</a:t>
            </a:r>
            <a:endParaRPr/>
          </a:p>
        </p:txBody>
      </p:sp>
      <p:grpSp>
        <p:nvGrpSpPr>
          <p:cNvPr id="873" name="Google Shape;873;p33"/>
          <p:cNvGrpSpPr/>
          <p:nvPr/>
        </p:nvGrpSpPr>
        <p:grpSpPr>
          <a:xfrm>
            <a:off x="351435" y="412016"/>
            <a:ext cx="1301097" cy="1072159"/>
            <a:chOff x="8077428" y="4048214"/>
            <a:chExt cx="933690" cy="788700"/>
          </a:xfrm>
        </p:grpSpPr>
        <p:sp>
          <p:nvSpPr>
            <p:cNvPr id="874" name="Google Shape;874;p33"/>
            <p:cNvSpPr/>
            <p:nvPr/>
          </p:nvSpPr>
          <p:spPr>
            <a:xfrm>
              <a:off x="8077428" y="4048214"/>
              <a:ext cx="235200" cy="7887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3"/>
            <p:cNvSpPr/>
            <p:nvPr/>
          </p:nvSpPr>
          <p:spPr>
            <a:xfrm>
              <a:off x="8426673" y="4191843"/>
              <a:ext cx="235200" cy="6450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6" name="Google Shape;876;p33"/>
            <p:cNvSpPr/>
            <p:nvPr/>
          </p:nvSpPr>
          <p:spPr>
            <a:xfrm>
              <a:off x="8775917" y="4392244"/>
              <a:ext cx="235200" cy="444600"/>
            </a:xfrm>
            <a:prstGeom prst="rect">
              <a:avLst/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77" name="Google Shape;877;p33"/>
          <p:cNvSpPr/>
          <p:nvPr/>
        </p:nvSpPr>
        <p:spPr>
          <a:xfrm>
            <a:off x="2968436" y="184686"/>
            <a:ext cx="140400" cy="1404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8" name="Google Shape;878;p33"/>
          <p:cNvSpPr/>
          <p:nvPr/>
        </p:nvSpPr>
        <p:spPr>
          <a:xfrm>
            <a:off x="211023" y="3265896"/>
            <a:ext cx="140400" cy="140400"/>
          </a:xfrm>
          <a:prstGeom prst="ellipse">
            <a:avLst/>
          </a:prstGeom>
          <a:solidFill>
            <a:srgbClr val="000000">
              <a:alpha val="126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79" name="Google Shape;879;p33"/>
          <p:cNvGrpSpPr/>
          <p:nvPr/>
        </p:nvGrpSpPr>
        <p:grpSpPr>
          <a:xfrm>
            <a:off x="351416" y="3830928"/>
            <a:ext cx="1133720" cy="1133717"/>
            <a:chOff x="10173800" y="2018150"/>
            <a:chExt cx="1448103" cy="1448100"/>
          </a:xfrm>
        </p:grpSpPr>
        <p:sp>
          <p:nvSpPr>
            <p:cNvPr id="880" name="Google Shape;880;p33"/>
            <p:cNvSpPr/>
            <p:nvPr/>
          </p:nvSpPr>
          <p:spPr>
            <a:xfrm>
              <a:off x="10173800" y="2018150"/>
              <a:ext cx="1448100" cy="1448100"/>
            </a:xfrm>
            <a:prstGeom prst="donut">
              <a:avLst>
                <a:gd name="adj" fmla="val 20968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" name="Google Shape;881;p33"/>
            <p:cNvSpPr/>
            <p:nvPr/>
          </p:nvSpPr>
          <p:spPr>
            <a:xfrm flipH="1">
              <a:off x="10173803" y="2018150"/>
              <a:ext cx="1448100" cy="1448100"/>
            </a:xfrm>
            <a:prstGeom prst="blockArc">
              <a:avLst>
                <a:gd name="adj1" fmla="val 10800000"/>
                <a:gd name="adj2" fmla="val 16161326"/>
                <a:gd name="adj3" fmla="val 20401"/>
              </a:avLst>
            </a:pr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82" name="Google Shape;882;p33"/>
          <p:cNvSpPr/>
          <p:nvPr/>
        </p:nvSpPr>
        <p:spPr>
          <a:xfrm>
            <a:off x="2796527" y="2380950"/>
            <a:ext cx="171900" cy="148500"/>
          </a:xfrm>
          <a:prstGeom prst="triangle">
            <a:avLst>
              <a:gd name="adj" fmla="val 5000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3" name="Google Shape;883;p33"/>
          <p:cNvGrpSpPr/>
          <p:nvPr/>
        </p:nvGrpSpPr>
        <p:grpSpPr>
          <a:xfrm>
            <a:off x="1652514" y="3242074"/>
            <a:ext cx="1226117" cy="958679"/>
            <a:chOff x="1477660" y="1834701"/>
            <a:chExt cx="546593" cy="427390"/>
          </a:xfrm>
        </p:grpSpPr>
        <p:sp>
          <p:nvSpPr>
            <p:cNvPr id="884" name="Google Shape;884;p33"/>
            <p:cNvSpPr/>
            <p:nvPr/>
          </p:nvSpPr>
          <p:spPr>
            <a:xfrm>
              <a:off x="1542984" y="2006268"/>
              <a:ext cx="399412" cy="255824"/>
            </a:xfrm>
            <a:custGeom>
              <a:avLst/>
              <a:gdLst/>
              <a:ahLst/>
              <a:cxnLst/>
              <a:rect l="l" t="t" r="r" b="b"/>
              <a:pathLst>
                <a:path w="11433" h="6590" extrusionOk="0">
                  <a:moveTo>
                    <a:pt x="34" y="0"/>
                  </a:moveTo>
                  <a:cubicBezTo>
                    <a:pt x="12" y="113"/>
                    <a:pt x="0" y="225"/>
                    <a:pt x="0" y="349"/>
                  </a:cubicBezTo>
                  <a:cubicBezTo>
                    <a:pt x="0" y="428"/>
                    <a:pt x="0" y="496"/>
                    <a:pt x="12" y="575"/>
                  </a:cubicBezTo>
                  <a:lnTo>
                    <a:pt x="0" y="1239"/>
                  </a:lnTo>
                  <a:cubicBezTo>
                    <a:pt x="0" y="1284"/>
                    <a:pt x="0" y="1340"/>
                    <a:pt x="0" y="1386"/>
                  </a:cubicBezTo>
                  <a:cubicBezTo>
                    <a:pt x="0" y="1543"/>
                    <a:pt x="23" y="1690"/>
                    <a:pt x="57" y="1825"/>
                  </a:cubicBezTo>
                  <a:cubicBezTo>
                    <a:pt x="124" y="2039"/>
                    <a:pt x="226" y="2230"/>
                    <a:pt x="361" y="2410"/>
                  </a:cubicBezTo>
                  <a:cubicBezTo>
                    <a:pt x="372" y="2422"/>
                    <a:pt x="383" y="2433"/>
                    <a:pt x="395" y="2456"/>
                  </a:cubicBezTo>
                  <a:cubicBezTo>
                    <a:pt x="575" y="2681"/>
                    <a:pt x="823" y="2884"/>
                    <a:pt x="1115" y="3052"/>
                  </a:cubicBezTo>
                  <a:cubicBezTo>
                    <a:pt x="1138" y="3075"/>
                    <a:pt x="1172" y="3086"/>
                    <a:pt x="1194" y="3109"/>
                  </a:cubicBezTo>
                  <a:cubicBezTo>
                    <a:pt x="1735" y="3402"/>
                    <a:pt x="2433" y="3582"/>
                    <a:pt x="3177" y="3582"/>
                  </a:cubicBezTo>
                  <a:cubicBezTo>
                    <a:pt x="3931" y="3582"/>
                    <a:pt x="4551" y="3424"/>
                    <a:pt x="5091" y="3143"/>
                  </a:cubicBezTo>
                  <a:lnTo>
                    <a:pt x="5091" y="3143"/>
                  </a:lnTo>
                  <a:cubicBezTo>
                    <a:pt x="5080" y="3210"/>
                    <a:pt x="5069" y="3278"/>
                    <a:pt x="5069" y="3345"/>
                  </a:cubicBezTo>
                  <a:cubicBezTo>
                    <a:pt x="5069" y="3424"/>
                    <a:pt x="5080" y="3503"/>
                    <a:pt x="5091" y="3582"/>
                  </a:cubicBezTo>
                  <a:lnTo>
                    <a:pt x="5080" y="4246"/>
                  </a:lnTo>
                  <a:cubicBezTo>
                    <a:pt x="5080" y="4291"/>
                    <a:pt x="5069" y="4336"/>
                    <a:pt x="5069" y="4393"/>
                  </a:cubicBezTo>
                  <a:cubicBezTo>
                    <a:pt x="5069" y="4652"/>
                    <a:pt x="5136" y="4911"/>
                    <a:pt x="5260" y="5147"/>
                  </a:cubicBezTo>
                  <a:cubicBezTo>
                    <a:pt x="5283" y="5181"/>
                    <a:pt x="5305" y="5215"/>
                    <a:pt x="5317" y="5249"/>
                  </a:cubicBezTo>
                  <a:cubicBezTo>
                    <a:pt x="5362" y="5305"/>
                    <a:pt x="5407" y="5373"/>
                    <a:pt x="5452" y="5440"/>
                  </a:cubicBezTo>
                  <a:cubicBezTo>
                    <a:pt x="5486" y="5463"/>
                    <a:pt x="5508" y="5497"/>
                    <a:pt x="5531" y="5530"/>
                  </a:cubicBezTo>
                  <a:cubicBezTo>
                    <a:pt x="5610" y="5620"/>
                    <a:pt x="5700" y="5711"/>
                    <a:pt x="5801" y="5789"/>
                  </a:cubicBezTo>
                  <a:cubicBezTo>
                    <a:pt x="5835" y="5812"/>
                    <a:pt x="5869" y="5846"/>
                    <a:pt x="5902" y="5868"/>
                  </a:cubicBezTo>
                  <a:cubicBezTo>
                    <a:pt x="6477" y="6308"/>
                    <a:pt x="7322" y="6589"/>
                    <a:pt x="8256" y="6589"/>
                  </a:cubicBezTo>
                  <a:cubicBezTo>
                    <a:pt x="9191" y="6589"/>
                    <a:pt x="9980" y="6319"/>
                    <a:pt x="10565" y="5902"/>
                  </a:cubicBezTo>
                  <a:cubicBezTo>
                    <a:pt x="10610" y="5868"/>
                    <a:pt x="10655" y="5823"/>
                    <a:pt x="10701" y="5789"/>
                  </a:cubicBezTo>
                  <a:cubicBezTo>
                    <a:pt x="10802" y="5711"/>
                    <a:pt x="10892" y="5620"/>
                    <a:pt x="10971" y="5530"/>
                  </a:cubicBezTo>
                  <a:cubicBezTo>
                    <a:pt x="11016" y="5485"/>
                    <a:pt x="11050" y="5429"/>
                    <a:pt x="11083" y="5384"/>
                  </a:cubicBezTo>
                  <a:cubicBezTo>
                    <a:pt x="11117" y="5339"/>
                    <a:pt x="11151" y="5294"/>
                    <a:pt x="11185" y="5249"/>
                  </a:cubicBezTo>
                  <a:cubicBezTo>
                    <a:pt x="11196" y="5215"/>
                    <a:pt x="11219" y="5181"/>
                    <a:pt x="11241" y="5147"/>
                  </a:cubicBezTo>
                  <a:cubicBezTo>
                    <a:pt x="11365" y="4911"/>
                    <a:pt x="11433" y="4652"/>
                    <a:pt x="11433" y="4393"/>
                  </a:cubicBezTo>
                  <a:lnTo>
                    <a:pt x="11433" y="4122"/>
                  </a:lnTo>
                  <a:cubicBezTo>
                    <a:pt x="11286" y="4077"/>
                    <a:pt x="11151" y="4021"/>
                    <a:pt x="11027" y="3965"/>
                  </a:cubicBezTo>
                  <a:cubicBezTo>
                    <a:pt x="10881" y="3897"/>
                    <a:pt x="10723" y="3830"/>
                    <a:pt x="10577" y="3762"/>
                  </a:cubicBezTo>
                  <a:cubicBezTo>
                    <a:pt x="10543" y="3740"/>
                    <a:pt x="10498" y="3728"/>
                    <a:pt x="10441" y="3706"/>
                  </a:cubicBezTo>
                  <a:cubicBezTo>
                    <a:pt x="10205" y="3604"/>
                    <a:pt x="9957" y="3514"/>
                    <a:pt x="9721" y="3413"/>
                  </a:cubicBezTo>
                  <a:cubicBezTo>
                    <a:pt x="9022" y="3131"/>
                    <a:pt x="8324" y="2838"/>
                    <a:pt x="7648" y="2512"/>
                  </a:cubicBezTo>
                  <a:cubicBezTo>
                    <a:pt x="6578" y="1994"/>
                    <a:pt x="5553" y="1374"/>
                    <a:pt x="4528" y="777"/>
                  </a:cubicBezTo>
                  <a:cubicBezTo>
                    <a:pt x="4100" y="529"/>
                    <a:pt x="3672" y="270"/>
                    <a:pt x="3267" y="0"/>
                  </a:cubicBezTo>
                  <a:close/>
                </a:path>
              </a:pathLst>
            </a:cu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3"/>
            <p:cNvSpPr/>
            <p:nvPr/>
          </p:nvSpPr>
          <p:spPr>
            <a:xfrm>
              <a:off x="1542986" y="1962978"/>
              <a:ext cx="222361" cy="153469"/>
            </a:xfrm>
            <a:custGeom>
              <a:avLst/>
              <a:gdLst/>
              <a:ahLst/>
              <a:cxnLst/>
              <a:rect l="l" t="t" r="r" b="b"/>
              <a:pathLst>
                <a:path w="6365" h="4393" extrusionOk="0">
                  <a:moveTo>
                    <a:pt x="3188" y="0"/>
                  </a:moveTo>
                  <a:cubicBezTo>
                    <a:pt x="1971" y="0"/>
                    <a:pt x="924" y="462"/>
                    <a:pt x="383" y="1149"/>
                  </a:cubicBezTo>
                  <a:lnTo>
                    <a:pt x="23" y="1149"/>
                  </a:lnTo>
                  <a:lnTo>
                    <a:pt x="12" y="2106"/>
                  </a:lnTo>
                  <a:cubicBezTo>
                    <a:pt x="12" y="2129"/>
                    <a:pt x="0" y="2163"/>
                    <a:pt x="0" y="2197"/>
                  </a:cubicBezTo>
                  <a:cubicBezTo>
                    <a:pt x="0" y="3413"/>
                    <a:pt x="1431" y="4393"/>
                    <a:pt x="3188" y="4393"/>
                  </a:cubicBezTo>
                  <a:cubicBezTo>
                    <a:pt x="4945" y="4393"/>
                    <a:pt x="6364" y="3413"/>
                    <a:pt x="6364" y="2197"/>
                  </a:cubicBezTo>
                  <a:lnTo>
                    <a:pt x="6364" y="1149"/>
                  </a:lnTo>
                  <a:lnTo>
                    <a:pt x="5981" y="1149"/>
                  </a:lnTo>
                  <a:cubicBezTo>
                    <a:pt x="5452" y="462"/>
                    <a:pt x="4393" y="0"/>
                    <a:pt x="3188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3"/>
            <p:cNvSpPr/>
            <p:nvPr/>
          </p:nvSpPr>
          <p:spPr>
            <a:xfrm>
              <a:off x="1542986" y="1962559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extrusionOk="0">
                  <a:moveTo>
                    <a:pt x="3177" y="1"/>
                  </a:moveTo>
                  <a:cubicBezTo>
                    <a:pt x="1431" y="1"/>
                    <a:pt x="0" y="992"/>
                    <a:pt x="0" y="2209"/>
                  </a:cubicBezTo>
                  <a:cubicBezTo>
                    <a:pt x="0" y="3425"/>
                    <a:pt x="1431" y="4405"/>
                    <a:pt x="3177" y="4405"/>
                  </a:cubicBezTo>
                  <a:cubicBezTo>
                    <a:pt x="4934" y="4405"/>
                    <a:pt x="6364" y="3425"/>
                    <a:pt x="6364" y="2209"/>
                  </a:cubicBezTo>
                  <a:cubicBezTo>
                    <a:pt x="6364" y="992"/>
                    <a:pt x="4934" y="1"/>
                    <a:pt x="31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3"/>
            <p:cNvSpPr/>
            <p:nvPr/>
          </p:nvSpPr>
          <p:spPr>
            <a:xfrm>
              <a:off x="1542986" y="1962978"/>
              <a:ext cx="222361" cy="153469"/>
            </a:xfrm>
            <a:custGeom>
              <a:avLst/>
              <a:gdLst/>
              <a:ahLst/>
              <a:cxnLst/>
              <a:rect l="l" t="t" r="r" b="b"/>
              <a:pathLst>
                <a:path w="6365" h="4393" fill="none" extrusionOk="0">
                  <a:moveTo>
                    <a:pt x="5981" y="1149"/>
                  </a:moveTo>
                  <a:cubicBezTo>
                    <a:pt x="5452" y="462"/>
                    <a:pt x="4393" y="0"/>
                    <a:pt x="3188" y="0"/>
                  </a:cubicBezTo>
                  <a:cubicBezTo>
                    <a:pt x="1971" y="0"/>
                    <a:pt x="924" y="462"/>
                    <a:pt x="383" y="1149"/>
                  </a:cubicBezTo>
                  <a:lnTo>
                    <a:pt x="23" y="1149"/>
                  </a:lnTo>
                  <a:lnTo>
                    <a:pt x="12" y="2106"/>
                  </a:lnTo>
                  <a:cubicBezTo>
                    <a:pt x="12" y="2129"/>
                    <a:pt x="0" y="2163"/>
                    <a:pt x="0" y="2197"/>
                  </a:cubicBezTo>
                  <a:cubicBezTo>
                    <a:pt x="0" y="3413"/>
                    <a:pt x="1431" y="4393"/>
                    <a:pt x="3188" y="4393"/>
                  </a:cubicBezTo>
                  <a:cubicBezTo>
                    <a:pt x="4945" y="4393"/>
                    <a:pt x="6364" y="3413"/>
                    <a:pt x="6364" y="2197"/>
                  </a:cubicBezTo>
                  <a:lnTo>
                    <a:pt x="6364" y="1149"/>
                  </a:ln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3"/>
            <p:cNvSpPr/>
            <p:nvPr/>
          </p:nvSpPr>
          <p:spPr>
            <a:xfrm>
              <a:off x="1542986" y="1962559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fill="none" extrusionOk="0">
                  <a:moveTo>
                    <a:pt x="6364" y="2209"/>
                  </a:moveTo>
                  <a:cubicBezTo>
                    <a:pt x="6364" y="3425"/>
                    <a:pt x="4934" y="4405"/>
                    <a:pt x="3177" y="4405"/>
                  </a:cubicBezTo>
                  <a:cubicBezTo>
                    <a:pt x="1431" y="4405"/>
                    <a:pt x="0" y="3425"/>
                    <a:pt x="0" y="2209"/>
                  </a:cubicBezTo>
                  <a:cubicBezTo>
                    <a:pt x="0" y="992"/>
                    <a:pt x="1431" y="1"/>
                    <a:pt x="3177" y="1"/>
                  </a:cubicBezTo>
                  <a:cubicBezTo>
                    <a:pt x="4934" y="1"/>
                    <a:pt x="6364" y="992"/>
                    <a:pt x="6364" y="220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9" name="Google Shape;889;p33"/>
            <p:cNvSpPr/>
            <p:nvPr/>
          </p:nvSpPr>
          <p:spPr>
            <a:xfrm>
              <a:off x="1542986" y="1926368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extrusionOk="0">
                  <a:moveTo>
                    <a:pt x="3177" y="1"/>
                  </a:moveTo>
                  <a:cubicBezTo>
                    <a:pt x="1431" y="1"/>
                    <a:pt x="0" y="981"/>
                    <a:pt x="0" y="2197"/>
                  </a:cubicBezTo>
                  <a:cubicBezTo>
                    <a:pt x="0" y="3413"/>
                    <a:pt x="1431" y="4405"/>
                    <a:pt x="3177" y="4405"/>
                  </a:cubicBezTo>
                  <a:cubicBezTo>
                    <a:pt x="4934" y="4405"/>
                    <a:pt x="6364" y="3413"/>
                    <a:pt x="6364" y="2197"/>
                  </a:cubicBezTo>
                  <a:cubicBezTo>
                    <a:pt x="6364" y="981"/>
                    <a:pt x="4934" y="1"/>
                    <a:pt x="317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0" name="Google Shape;890;p33"/>
            <p:cNvSpPr/>
            <p:nvPr/>
          </p:nvSpPr>
          <p:spPr>
            <a:xfrm>
              <a:off x="1542986" y="1926368"/>
              <a:ext cx="222361" cy="153889"/>
            </a:xfrm>
            <a:custGeom>
              <a:avLst/>
              <a:gdLst/>
              <a:ahLst/>
              <a:cxnLst/>
              <a:rect l="l" t="t" r="r" b="b"/>
              <a:pathLst>
                <a:path w="6365" h="4405" fill="none" extrusionOk="0">
                  <a:moveTo>
                    <a:pt x="6364" y="2197"/>
                  </a:moveTo>
                  <a:cubicBezTo>
                    <a:pt x="6364" y="3413"/>
                    <a:pt x="4934" y="4405"/>
                    <a:pt x="3177" y="4405"/>
                  </a:cubicBezTo>
                  <a:cubicBezTo>
                    <a:pt x="1431" y="4405"/>
                    <a:pt x="0" y="3413"/>
                    <a:pt x="0" y="2197"/>
                  </a:cubicBezTo>
                  <a:cubicBezTo>
                    <a:pt x="0" y="981"/>
                    <a:pt x="1431" y="1"/>
                    <a:pt x="3177" y="1"/>
                  </a:cubicBezTo>
                  <a:cubicBezTo>
                    <a:pt x="4934" y="1"/>
                    <a:pt x="6364" y="981"/>
                    <a:pt x="6364" y="219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1" name="Google Shape;891;p33"/>
            <p:cNvSpPr/>
            <p:nvPr/>
          </p:nvSpPr>
          <p:spPr>
            <a:xfrm>
              <a:off x="1654739" y="208060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cubicBezTo>
                    <a:pt x="0" y="1003"/>
                    <a:pt x="0" y="970"/>
                    <a:pt x="0" y="947"/>
                  </a:cubicBez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2" name="Google Shape;892;p33"/>
            <p:cNvSpPr/>
            <p:nvPr/>
          </p:nvSpPr>
          <p:spPr>
            <a:xfrm>
              <a:off x="1678739" y="207826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3" name="Google Shape;893;p33"/>
            <p:cNvSpPr/>
            <p:nvPr/>
          </p:nvSpPr>
          <p:spPr>
            <a:xfrm>
              <a:off x="1701935" y="207312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" name="Google Shape;894;p33"/>
            <p:cNvSpPr/>
            <p:nvPr/>
          </p:nvSpPr>
          <p:spPr>
            <a:xfrm>
              <a:off x="1722790" y="2064496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3"/>
            <p:cNvSpPr/>
            <p:nvPr/>
          </p:nvSpPr>
          <p:spPr>
            <a:xfrm>
              <a:off x="1740886" y="205226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3"/>
            <p:cNvSpPr/>
            <p:nvPr/>
          </p:nvSpPr>
          <p:spPr>
            <a:xfrm>
              <a:off x="1757410" y="203221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3"/>
            <p:cNvSpPr/>
            <p:nvPr/>
          </p:nvSpPr>
          <p:spPr>
            <a:xfrm>
              <a:off x="1630321" y="207826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3"/>
            <p:cNvSpPr/>
            <p:nvPr/>
          </p:nvSpPr>
          <p:spPr>
            <a:xfrm>
              <a:off x="1607124" y="207312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3"/>
            <p:cNvSpPr/>
            <p:nvPr/>
          </p:nvSpPr>
          <p:spPr>
            <a:xfrm>
              <a:off x="1586269" y="2064496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3"/>
            <p:cNvSpPr/>
            <p:nvPr/>
          </p:nvSpPr>
          <p:spPr>
            <a:xfrm>
              <a:off x="1568173" y="205226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3"/>
            <p:cNvSpPr/>
            <p:nvPr/>
          </p:nvSpPr>
          <p:spPr>
            <a:xfrm>
              <a:off x="1551650" y="203221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3"/>
            <p:cNvSpPr/>
            <p:nvPr/>
          </p:nvSpPr>
          <p:spPr>
            <a:xfrm>
              <a:off x="1568173" y="1943695"/>
              <a:ext cx="171985" cy="118849"/>
            </a:xfrm>
            <a:custGeom>
              <a:avLst/>
              <a:gdLst/>
              <a:ahLst/>
              <a:cxnLst/>
              <a:rect l="l" t="t" r="r" b="b"/>
              <a:pathLst>
                <a:path w="4923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47"/>
                    <a:pt x="1104" y="3402"/>
                    <a:pt x="2456" y="3402"/>
                  </a:cubicBezTo>
                  <a:cubicBezTo>
                    <a:pt x="3819" y="3402"/>
                    <a:pt x="4922" y="2647"/>
                    <a:pt x="4922" y="1701"/>
                  </a:cubicBezTo>
                  <a:cubicBezTo>
                    <a:pt x="4922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3"/>
            <p:cNvSpPr/>
            <p:nvPr/>
          </p:nvSpPr>
          <p:spPr>
            <a:xfrm>
              <a:off x="1568173" y="1943695"/>
              <a:ext cx="171985" cy="118849"/>
            </a:xfrm>
            <a:custGeom>
              <a:avLst/>
              <a:gdLst/>
              <a:ahLst/>
              <a:cxnLst/>
              <a:rect l="l" t="t" r="r" b="b"/>
              <a:pathLst>
                <a:path w="4923" h="3402" fill="none" extrusionOk="0">
                  <a:moveTo>
                    <a:pt x="4922" y="1701"/>
                  </a:moveTo>
                  <a:cubicBezTo>
                    <a:pt x="4922" y="2647"/>
                    <a:pt x="3819" y="3402"/>
                    <a:pt x="2456" y="3402"/>
                  </a:cubicBezTo>
                  <a:cubicBezTo>
                    <a:pt x="1104" y="3402"/>
                    <a:pt x="0" y="2647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22" y="766"/>
                    <a:pt x="4922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3"/>
            <p:cNvSpPr/>
            <p:nvPr/>
          </p:nvSpPr>
          <p:spPr>
            <a:xfrm>
              <a:off x="1591369" y="1970035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1" y="1"/>
                  </a:moveTo>
                  <a:lnTo>
                    <a:pt x="68" y="125"/>
                  </a:lnTo>
                  <a:lnTo>
                    <a:pt x="282" y="237"/>
                  </a:lnTo>
                  <a:cubicBezTo>
                    <a:pt x="91" y="350"/>
                    <a:pt x="1" y="451"/>
                    <a:pt x="12" y="564"/>
                  </a:cubicBezTo>
                  <a:cubicBezTo>
                    <a:pt x="12" y="665"/>
                    <a:pt x="125" y="778"/>
                    <a:pt x="327" y="891"/>
                  </a:cubicBezTo>
                  <a:cubicBezTo>
                    <a:pt x="463" y="970"/>
                    <a:pt x="620" y="1026"/>
                    <a:pt x="778" y="1071"/>
                  </a:cubicBezTo>
                  <a:cubicBezTo>
                    <a:pt x="936" y="1105"/>
                    <a:pt x="1082" y="1127"/>
                    <a:pt x="1217" y="1138"/>
                  </a:cubicBezTo>
                  <a:cubicBezTo>
                    <a:pt x="1352" y="1138"/>
                    <a:pt x="1578" y="1138"/>
                    <a:pt x="1904" y="1127"/>
                  </a:cubicBezTo>
                  <a:cubicBezTo>
                    <a:pt x="2096" y="1127"/>
                    <a:pt x="2242" y="1138"/>
                    <a:pt x="2321" y="1161"/>
                  </a:cubicBezTo>
                  <a:cubicBezTo>
                    <a:pt x="2411" y="1195"/>
                    <a:pt x="2535" y="1251"/>
                    <a:pt x="2681" y="1330"/>
                  </a:cubicBezTo>
                  <a:cubicBezTo>
                    <a:pt x="2738" y="1364"/>
                    <a:pt x="2783" y="1398"/>
                    <a:pt x="2783" y="1420"/>
                  </a:cubicBezTo>
                  <a:cubicBezTo>
                    <a:pt x="2794" y="1454"/>
                    <a:pt x="2783" y="1476"/>
                    <a:pt x="2738" y="1488"/>
                  </a:cubicBezTo>
                  <a:cubicBezTo>
                    <a:pt x="2710" y="1499"/>
                    <a:pt x="2684" y="1505"/>
                    <a:pt x="2659" y="1505"/>
                  </a:cubicBezTo>
                  <a:cubicBezTo>
                    <a:pt x="2634" y="1505"/>
                    <a:pt x="2608" y="1499"/>
                    <a:pt x="2580" y="1488"/>
                  </a:cubicBezTo>
                  <a:cubicBezTo>
                    <a:pt x="2524" y="1476"/>
                    <a:pt x="2400" y="1409"/>
                    <a:pt x="2220" y="1307"/>
                  </a:cubicBezTo>
                  <a:lnTo>
                    <a:pt x="2051" y="1217"/>
                  </a:lnTo>
                  <a:lnTo>
                    <a:pt x="1409" y="1488"/>
                  </a:lnTo>
                  <a:lnTo>
                    <a:pt x="1544" y="1555"/>
                  </a:lnTo>
                  <a:cubicBezTo>
                    <a:pt x="1848" y="1724"/>
                    <a:pt x="2118" y="1814"/>
                    <a:pt x="2366" y="1826"/>
                  </a:cubicBezTo>
                  <a:cubicBezTo>
                    <a:pt x="2431" y="1831"/>
                    <a:pt x="2493" y="1834"/>
                    <a:pt x="2552" y="1834"/>
                  </a:cubicBezTo>
                  <a:cubicBezTo>
                    <a:pt x="2731" y="1834"/>
                    <a:pt x="2887" y="1809"/>
                    <a:pt x="3031" y="1758"/>
                  </a:cubicBezTo>
                  <a:lnTo>
                    <a:pt x="3290" y="1904"/>
                  </a:lnTo>
                  <a:lnTo>
                    <a:pt x="3583" y="1792"/>
                  </a:lnTo>
                  <a:lnTo>
                    <a:pt x="3335" y="1645"/>
                  </a:lnTo>
                  <a:cubicBezTo>
                    <a:pt x="3515" y="1533"/>
                    <a:pt x="3594" y="1420"/>
                    <a:pt x="3571" y="1296"/>
                  </a:cubicBezTo>
                  <a:cubicBezTo>
                    <a:pt x="3537" y="1172"/>
                    <a:pt x="3402" y="1048"/>
                    <a:pt x="3166" y="913"/>
                  </a:cubicBezTo>
                  <a:cubicBezTo>
                    <a:pt x="3008" y="834"/>
                    <a:pt x="2862" y="767"/>
                    <a:pt x="2726" y="733"/>
                  </a:cubicBezTo>
                  <a:cubicBezTo>
                    <a:pt x="2580" y="688"/>
                    <a:pt x="2456" y="665"/>
                    <a:pt x="2332" y="665"/>
                  </a:cubicBezTo>
                  <a:cubicBezTo>
                    <a:pt x="2276" y="660"/>
                    <a:pt x="2200" y="657"/>
                    <a:pt x="2106" y="657"/>
                  </a:cubicBezTo>
                  <a:cubicBezTo>
                    <a:pt x="2011" y="657"/>
                    <a:pt x="1899" y="660"/>
                    <a:pt x="1769" y="665"/>
                  </a:cubicBezTo>
                  <a:cubicBezTo>
                    <a:pt x="1611" y="671"/>
                    <a:pt x="1482" y="674"/>
                    <a:pt x="1382" y="674"/>
                  </a:cubicBezTo>
                  <a:cubicBezTo>
                    <a:pt x="1282" y="674"/>
                    <a:pt x="1212" y="671"/>
                    <a:pt x="1172" y="665"/>
                  </a:cubicBezTo>
                  <a:cubicBezTo>
                    <a:pt x="1082" y="665"/>
                    <a:pt x="992" y="632"/>
                    <a:pt x="891" y="564"/>
                  </a:cubicBezTo>
                  <a:cubicBezTo>
                    <a:pt x="823" y="530"/>
                    <a:pt x="789" y="508"/>
                    <a:pt x="767" y="474"/>
                  </a:cubicBezTo>
                  <a:cubicBezTo>
                    <a:pt x="755" y="451"/>
                    <a:pt x="767" y="429"/>
                    <a:pt x="812" y="418"/>
                  </a:cubicBezTo>
                  <a:cubicBezTo>
                    <a:pt x="838" y="404"/>
                    <a:pt x="868" y="399"/>
                    <a:pt x="898" y="399"/>
                  </a:cubicBezTo>
                  <a:cubicBezTo>
                    <a:pt x="919" y="399"/>
                    <a:pt x="939" y="402"/>
                    <a:pt x="958" y="406"/>
                  </a:cubicBezTo>
                  <a:cubicBezTo>
                    <a:pt x="1014" y="418"/>
                    <a:pt x="1105" y="463"/>
                    <a:pt x="1217" y="530"/>
                  </a:cubicBezTo>
                  <a:lnTo>
                    <a:pt x="1330" y="587"/>
                  </a:lnTo>
                  <a:lnTo>
                    <a:pt x="1972" y="328"/>
                  </a:lnTo>
                  <a:cubicBezTo>
                    <a:pt x="1916" y="294"/>
                    <a:pt x="1882" y="271"/>
                    <a:pt x="1848" y="260"/>
                  </a:cubicBezTo>
                  <a:cubicBezTo>
                    <a:pt x="1645" y="147"/>
                    <a:pt x="1442" y="80"/>
                    <a:pt x="1228" y="57"/>
                  </a:cubicBezTo>
                  <a:cubicBezTo>
                    <a:pt x="1175" y="52"/>
                    <a:pt x="1121" y="49"/>
                    <a:pt x="1068" y="49"/>
                  </a:cubicBezTo>
                  <a:cubicBezTo>
                    <a:pt x="907" y="49"/>
                    <a:pt x="744" y="74"/>
                    <a:pt x="575" y="125"/>
                  </a:cubicBezTo>
                  <a:lnTo>
                    <a:pt x="36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3"/>
            <p:cNvSpPr/>
            <p:nvPr/>
          </p:nvSpPr>
          <p:spPr>
            <a:xfrm>
              <a:off x="1591369" y="1970035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2" y="328"/>
                  </a:moveTo>
                  <a:lnTo>
                    <a:pt x="1330" y="587"/>
                  </a:lnTo>
                  <a:lnTo>
                    <a:pt x="1217" y="530"/>
                  </a:lnTo>
                  <a:cubicBezTo>
                    <a:pt x="1105" y="463"/>
                    <a:pt x="1014" y="418"/>
                    <a:pt x="958" y="406"/>
                  </a:cubicBezTo>
                  <a:cubicBezTo>
                    <a:pt x="913" y="395"/>
                    <a:pt x="857" y="395"/>
                    <a:pt x="812" y="418"/>
                  </a:cubicBezTo>
                  <a:cubicBezTo>
                    <a:pt x="767" y="429"/>
                    <a:pt x="755" y="451"/>
                    <a:pt x="767" y="474"/>
                  </a:cubicBezTo>
                  <a:cubicBezTo>
                    <a:pt x="789" y="508"/>
                    <a:pt x="823" y="530"/>
                    <a:pt x="891" y="564"/>
                  </a:cubicBezTo>
                  <a:cubicBezTo>
                    <a:pt x="992" y="632"/>
                    <a:pt x="1082" y="665"/>
                    <a:pt x="1172" y="665"/>
                  </a:cubicBezTo>
                  <a:cubicBezTo>
                    <a:pt x="1251" y="677"/>
                    <a:pt x="1454" y="677"/>
                    <a:pt x="1769" y="665"/>
                  </a:cubicBezTo>
                  <a:cubicBezTo>
                    <a:pt x="2028" y="654"/>
                    <a:pt x="2220" y="654"/>
                    <a:pt x="2332" y="665"/>
                  </a:cubicBezTo>
                  <a:cubicBezTo>
                    <a:pt x="2456" y="665"/>
                    <a:pt x="2580" y="688"/>
                    <a:pt x="2726" y="733"/>
                  </a:cubicBezTo>
                  <a:cubicBezTo>
                    <a:pt x="2862" y="767"/>
                    <a:pt x="3008" y="834"/>
                    <a:pt x="3166" y="913"/>
                  </a:cubicBezTo>
                  <a:cubicBezTo>
                    <a:pt x="3402" y="1048"/>
                    <a:pt x="3537" y="1172"/>
                    <a:pt x="3571" y="1296"/>
                  </a:cubicBezTo>
                  <a:cubicBezTo>
                    <a:pt x="3594" y="1420"/>
                    <a:pt x="3515" y="1533"/>
                    <a:pt x="3335" y="1645"/>
                  </a:cubicBezTo>
                  <a:lnTo>
                    <a:pt x="3583" y="1792"/>
                  </a:lnTo>
                  <a:lnTo>
                    <a:pt x="3290" y="1904"/>
                  </a:lnTo>
                  <a:lnTo>
                    <a:pt x="3031" y="1758"/>
                  </a:lnTo>
                  <a:cubicBezTo>
                    <a:pt x="2839" y="1826"/>
                    <a:pt x="2625" y="1848"/>
                    <a:pt x="2366" y="1826"/>
                  </a:cubicBezTo>
                  <a:cubicBezTo>
                    <a:pt x="2118" y="1814"/>
                    <a:pt x="1848" y="1724"/>
                    <a:pt x="1544" y="1555"/>
                  </a:cubicBezTo>
                  <a:lnTo>
                    <a:pt x="1409" y="1488"/>
                  </a:lnTo>
                  <a:lnTo>
                    <a:pt x="2051" y="1217"/>
                  </a:lnTo>
                  <a:lnTo>
                    <a:pt x="2220" y="1307"/>
                  </a:lnTo>
                  <a:cubicBezTo>
                    <a:pt x="2400" y="1409"/>
                    <a:pt x="2524" y="1476"/>
                    <a:pt x="2580" y="1488"/>
                  </a:cubicBezTo>
                  <a:cubicBezTo>
                    <a:pt x="2636" y="1510"/>
                    <a:pt x="2681" y="1510"/>
                    <a:pt x="2738" y="1488"/>
                  </a:cubicBezTo>
                  <a:cubicBezTo>
                    <a:pt x="2783" y="1476"/>
                    <a:pt x="2794" y="1454"/>
                    <a:pt x="2783" y="1420"/>
                  </a:cubicBezTo>
                  <a:cubicBezTo>
                    <a:pt x="2783" y="1398"/>
                    <a:pt x="2738" y="1364"/>
                    <a:pt x="2681" y="1330"/>
                  </a:cubicBezTo>
                  <a:cubicBezTo>
                    <a:pt x="2535" y="1251"/>
                    <a:pt x="2411" y="1195"/>
                    <a:pt x="2321" y="1161"/>
                  </a:cubicBezTo>
                  <a:cubicBezTo>
                    <a:pt x="2242" y="1138"/>
                    <a:pt x="2096" y="1127"/>
                    <a:pt x="1904" y="1127"/>
                  </a:cubicBezTo>
                  <a:cubicBezTo>
                    <a:pt x="1578" y="1138"/>
                    <a:pt x="1352" y="1138"/>
                    <a:pt x="1217" y="1138"/>
                  </a:cubicBezTo>
                  <a:cubicBezTo>
                    <a:pt x="1082" y="1127"/>
                    <a:pt x="936" y="1105"/>
                    <a:pt x="778" y="1071"/>
                  </a:cubicBezTo>
                  <a:cubicBezTo>
                    <a:pt x="620" y="1026"/>
                    <a:pt x="463" y="970"/>
                    <a:pt x="327" y="891"/>
                  </a:cubicBezTo>
                  <a:cubicBezTo>
                    <a:pt x="125" y="778"/>
                    <a:pt x="12" y="665"/>
                    <a:pt x="12" y="564"/>
                  </a:cubicBezTo>
                  <a:cubicBezTo>
                    <a:pt x="1" y="451"/>
                    <a:pt x="91" y="350"/>
                    <a:pt x="282" y="237"/>
                  </a:cubicBezTo>
                  <a:lnTo>
                    <a:pt x="68" y="125"/>
                  </a:lnTo>
                  <a:lnTo>
                    <a:pt x="361" y="1"/>
                  </a:lnTo>
                  <a:lnTo>
                    <a:pt x="575" y="125"/>
                  </a:lnTo>
                  <a:cubicBezTo>
                    <a:pt x="800" y="57"/>
                    <a:pt x="1014" y="35"/>
                    <a:pt x="1228" y="57"/>
                  </a:cubicBezTo>
                  <a:cubicBezTo>
                    <a:pt x="1442" y="80"/>
                    <a:pt x="1645" y="147"/>
                    <a:pt x="1848" y="260"/>
                  </a:cubicBezTo>
                  <a:cubicBezTo>
                    <a:pt x="1882" y="271"/>
                    <a:pt x="1916" y="294"/>
                    <a:pt x="1972" y="32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extrusionOk="0">
                  <a:moveTo>
                    <a:pt x="3176" y="0"/>
                  </a:moveTo>
                  <a:cubicBezTo>
                    <a:pt x="1960" y="0"/>
                    <a:pt x="912" y="473"/>
                    <a:pt x="372" y="1160"/>
                  </a:cubicBezTo>
                  <a:lnTo>
                    <a:pt x="11" y="1160"/>
                  </a:lnTo>
                  <a:lnTo>
                    <a:pt x="0" y="2106"/>
                  </a:lnTo>
                  <a:cubicBezTo>
                    <a:pt x="0" y="2140"/>
                    <a:pt x="0" y="2174"/>
                    <a:pt x="0" y="2208"/>
                  </a:cubicBezTo>
                  <a:cubicBezTo>
                    <a:pt x="0" y="3424"/>
                    <a:pt x="1419" y="4404"/>
                    <a:pt x="3176" y="4404"/>
                  </a:cubicBezTo>
                  <a:cubicBezTo>
                    <a:pt x="4933" y="4404"/>
                    <a:pt x="6353" y="3424"/>
                    <a:pt x="6353" y="2208"/>
                  </a:cubicBezTo>
                  <a:lnTo>
                    <a:pt x="6353" y="1160"/>
                  </a:lnTo>
                  <a:lnTo>
                    <a:pt x="5981" y="1160"/>
                  </a:lnTo>
                  <a:cubicBezTo>
                    <a:pt x="5440" y="473"/>
                    <a:pt x="4393" y="0"/>
                    <a:pt x="3176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extrusionOk="0">
                  <a:moveTo>
                    <a:pt x="3176" y="0"/>
                  </a:moveTo>
                  <a:cubicBezTo>
                    <a:pt x="1419" y="0"/>
                    <a:pt x="0" y="991"/>
                    <a:pt x="0" y="2208"/>
                  </a:cubicBezTo>
                  <a:cubicBezTo>
                    <a:pt x="0" y="3413"/>
                    <a:pt x="1419" y="4404"/>
                    <a:pt x="3176" y="4404"/>
                  </a:cubicBezTo>
                  <a:cubicBezTo>
                    <a:pt x="4933" y="4404"/>
                    <a:pt x="6353" y="3413"/>
                    <a:pt x="6353" y="2208"/>
                  </a:cubicBezTo>
                  <a:cubicBezTo>
                    <a:pt x="6353" y="991"/>
                    <a:pt x="4933" y="0"/>
                    <a:pt x="317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fill="none" extrusionOk="0">
                  <a:moveTo>
                    <a:pt x="5981" y="1160"/>
                  </a:moveTo>
                  <a:cubicBezTo>
                    <a:pt x="5440" y="473"/>
                    <a:pt x="4393" y="0"/>
                    <a:pt x="3176" y="0"/>
                  </a:cubicBezTo>
                  <a:cubicBezTo>
                    <a:pt x="1960" y="0"/>
                    <a:pt x="912" y="473"/>
                    <a:pt x="372" y="1160"/>
                  </a:cubicBezTo>
                  <a:lnTo>
                    <a:pt x="11" y="1160"/>
                  </a:lnTo>
                  <a:lnTo>
                    <a:pt x="0" y="2106"/>
                  </a:lnTo>
                  <a:cubicBezTo>
                    <a:pt x="0" y="2140"/>
                    <a:pt x="0" y="2174"/>
                    <a:pt x="0" y="2208"/>
                  </a:cubicBezTo>
                  <a:cubicBezTo>
                    <a:pt x="0" y="3424"/>
                    <a:pt x="1419" y="4404"/>
                    <a:pt x="3176" y="4404"/>
                  </a:cubicBezTo>
                  <a:cubicBezTo>
                    <a:pt x="4933" y="4404"/>
                    <a:pt x="6353" y="3424"/>
                    <a:pt x="6353" y="2208"/>
                  </a:cubicBezTo>
                  <a:lnTo>
                    <a:pt x="6353" y="1160"/>
                  </a:ln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3"/>
            <p:cNvSpPr/>
            <p:nvPr/>
          </p:nvSpPr>
          <p:spPr>
            <a:xfrm>
              <a:off x="1720450" y="2067640"/>
              <a:ext cx="221942" cy="153889"/>
            </a:xfrm>
            <a:custGeom>
              <a:avLst/>
              <a:gdLst/>
              <a:ahLst/>
              <a:cxnLst/>
              <a:rect l="l" t="t" r="r" b="b"/>
              <a:pathLst>
                <a:path w="6353" h="4405" fill="none" extrusionOk="0">
                  <a:moveTo>
                    <a:pt x="6353" y="2208"/>
                  </a:moveTo>
                  <a:cubicBezTo>
                    <a:pt x="6353" y="3413"/>
                    <a:pt x="4933" y="4404"/>
                    <a:pt x="3176" y="4404"/>
                  </a:cubicBezTo>
                  <a:cubicBezTo>
                    <a:pt x="1419" y="4404"/>
                    <a:pt x="0" y="3413"/>
                    <a:pt x="0" y="2208"/>
                  </a:cubicBezTo>
                  <a:cubicBezTo>
                    <a:pt x="0" y="991"/>
                    <a:pt x="1419" y="0"/>
                    <a:pt x="3176" y="0"/>
                  </a:cubicBezTo>
                  <a:cubicBezTo>
                    <a:pt x="4933" y="0"/>
                    <a:pt x="6353" y="991"/>
                    <a:pt x="6353" y="220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3"/>
            <p:cNvSpPr/>
            <p:nvPr/>
          </p:nvSpPr>
          <p:spPr>
            <a:xfrm>
              <a:off x="1720450" y="2031414"/>
              <a:ext cx="221942" cy="153504"/>
            </a:xfrm>
            <a:custGeom>
              <a:avLst/>
              <a:gdLst/>
              <a:ahLst/>
              <a:cxnLst/>
              <a:rect l="l" t="t" r="r" b="b"/>
              <a:pathLst>
                <a:path w="6353" h="4394" extrusionOk="0">
                  <a:moveTo>
                    <a:pt x="3176" y="1"/>
                  </a:moveTo>
                  <a:cubicBezTo>
                    <a:pt x="1419" y="1"/>
                    <a:pt x="0" y="981"/>
                    <a:pt x="0" y="2197"/>
                  </a:cubicBezTo>
                  <a:cubicBezTo>
                    <a:pt x="0" y="3414"/>
                    <a:pt x="1419" y="4394"/>
                    <a:pt x="3176" y="4394"/>
                  </a:cubicBezTo>
                  <a:cubicBezTo>
                    <a:pt x="4933" y="4394"/>
                    <a:pt x="6353" y="3414"/>
                    <a:pt x="6353" y="2197"/>
                  </a:cubicBezTo>
                  <a:cubicBezTo>
                    <a:pt x="6353" y="981"/>
                    <a:pt x="4933" y="1"/>
                    <a:pt x="317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" name="Google Shape;911;p33"/>
            <p:cNvSpPr/>
            <p:nvPr/>
          </p:nvSpPr>
          <p:spPr>
            <a:xfrm>
              <a:off x="1720450" y="2031414"/>
              <a:ext cx="221942" cy="153504"/>
            </a:xfrm>
            <a:custGeom>
              <a:avLst/>
              <a:gdLst/>
              <a:ahLst/>
              <a:cxnLst/>
              <a:rect l="l" t="t" r="r" b="b"/>
              <a:pathLst>
                <a:path w="6353" h="4394" fill="none" extrusionOk="0">
                  <a:moveTo>
                    <a:pt x="6353" y="2197"/>
                  </a:moveTo>
                  <a:cubicBezTo>
                    <a:pt x="6353" y="3414"/>
                    <a:pt x="4933" y="4394"/>
                    <a:pt x="3176" y="4394"/>
                  </a:cubicBezTo>
                  <a:cubicBezTo>
                    <a:pt x="1419" y="4394"/>
                    <a:pt x="0" y="3414"/>
                    <a:pt x="0" y="2197"/>
                  </a:cubicBezTo>
                  <a:cubicBezTo>
                    <a:pt x="0" y="981"/>
                    <a:pt x="1419" y="1"/>
                    <a:pt x="3176" y="1"/>
                  </a:cubicBezTo>
                  <a:cubicBezTo>
                    <a:pt x="4933" y="1"/>
                    <a:pt x="6353" y="981"/>
                    <a:pt x="6353" y="219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3"/>
            <p:cNvSpPr/>
            <p:nvPr/>
          </p:nvSpPr>
          <p:spPr>
            <a:xfrm>
              <a:off x="1832168" y="2185263"/>
              <a:ext cx="35" cy="36263"/>
            </a:xfrm>
            <a:custGeom>
              <a:avLst/>
              <a:gdLst/>
              <a:ahLst/>
              <a:cxnLst/>
              <a:rect l="l" t="t" r="r" b="b"/>
              <a:pathLst>
                <a:path w="1" h="1038" fill="none" extrusionOk="0">
                  <a:moveTo>
                    <a:pt x="1" y="1037"/>
                  </a:moveTo>
                  <a:cubicBezTo>
                    <a:pt x="1" y="1003"/>
                    <a:pt x="1" y="981"/>
                    <a:pt x="1" y="958"/>
                  </a:cubicBez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3"/>
            <p:cNvSpPr/>
            <p:nvPr/>
          </p:nvSpPr>
          <p:spPr>
            <a:xfrm>
              <a:off x="1856168" y="2183306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3"/>
            <p:cNvSpPr/>
            <p:nvPr/>
          </p:nvSpPr>
          <p:spPr>
            <a:xfrm>
              <a:off x="1879015" y="2178206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0" y="1014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3"/>
            <p:cNvSpPr/>
            <p:nvPr/>
          </p:nvSpPr>
          <p:spPr>
            <a:xfrm>
              <a:off x="1900254" y="216954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3"/>
            <p:cNvSpPr/>
            <p:nvPr/>
          </p:nvSpPr>
          <p:spPr>
            <a:xfrm>
              <a:off x="1918350" y="215735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3"/>
            <p:cNvSpPr/>
            <p:nvPr/>
          </p:nvSpPr>
          <p:spPr>
            <a:xfrm>
              <a:off x="1934489" y="213726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3"/>
            <p:cNvSpPr/>
            <p:nvPr/>
          </p:nvSpPr>
          <p:spPr>
            <a:xfrm>
              <a:off x="1807400" y="2183306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0" y="1014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3"/>
            <p:cNvSpPr/>
            <p:nvPr/>
          </p:nvSpPr>
          <p:spPr>
            <a:xfrm>
              <a:off x="1784588" y="2178206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0" y="1014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3"/>
            <p:cNvSpPr/>
            <p:nvPr/>
          </p:nvSpPr>
          <p:spPr>
            <a:xfrm>
              <a:off x="1763314" y="216954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3"/>
            <p:cNvSpPr/>
            <p:nvPr/>
          </p:nvSpPr>
          <p:spPr>
            <a:xfrm>
              <a:off x="1745218" y="215735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3"/>
            <p:cNvSpPr/>
            <p:nvPr/>
          </p:nvSpPr>
          <p:spPr>
            <a:xfrm>
              <a:off x="1729078" y="213726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3" name="Google Shape;923;p33"/>
            <p:cNvSpPr/>
            <p:nvPr/>
          </p:nvSpPr>
          <p:spPr>
            <a:xfrm>
              <a:off x="1745602" y="2048741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extrusionOk="0">
                  <a:moveTo>
                    <a:pt x="2456" y="1"/>
                  </a:moveTo>
                  <a:cubicBezTo>
                    <a:pt x="1094" y="1"/>
                    <a:pt x="1" y="766"/>
                    <a:pt x="1" y="1701"/>
                  </a:cubicBezTo>
                  <a:cubicBezTo>
                    <a:pt x="1" y="2636"/>
                    <a:pt x="1094" y="3402"/>
                    <a:pt x="2456" y="3402"/>
                  </a:cubicBezTo>
                  <a:cubicBezTo>
                    <a:pt x="3819" y="3402"/>
                    <a:pt x="4912" y="2636"/>
                    <a:pt x="4912" y="1701"/>
                  </a:cubicBezTo>
                  <a:cubicBezTo>
                    <a:pt x="4912" y="766"/>
                    <a:pt x="3819" y="1"/>
                    <a:pt x="24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3"/>
            <p:cNvSpPr/>
            <p:nvPr/>
          </p:nvSpPr>
          <p:spPr>
            <a:xfrm>
              <a:off x="1745602" y="2048741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fill="none" extrusionOk="0">
                  <a:moveTo>
                    <a:pt x="4912" y="1701"/>
                  </a:moveTo>
                  <a:cubicBezTo>
                    <a:pt x="4912" y="2636"/>
                    <a:pt x="3819" y="3402"/>
                    <a:pt x="2456" y="3402"/>
                  </a:cubicBezTo>
                  <a:cubicBezTo>
                    <a:pt x="1094" y="3402"/>
                    <a:pt x="1" y="2636"/>
                    <a:pt x="1" y="1701"/>
                  </a:cubicBezTo>
                  <a:cubicBezTo>
                    <a:pt x="1" y="766"/>
                    <a:pt x="1094" y="1"/>
                    <a:pt x="2456" y="1"/>
                  </a:cubicBezTo>
                  <a:cubicBezTo>
                    <a:pt x="3819" y="1"/>
                    <a:pt x="4912" y="766"/>
                    <a:pt x="4912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3"/>
            <p:cNvSpPr/>
            <p:nvPr/>
          </p:nvSpPr>
          <p:spPr>
            <a:xfrm>
              <a:off x="1768833" y="2074697"/>
              <a:ext cx="125556" cy="66935"/>
            </a:xfrm>
            <a:custGeom>
              <a:avLst/>
              <a:gdLst/>
              <a:ahLst/>
              <a:cxnLst/>
              <a:rect l="l" t="t" r="r" b="b"/>
              <a:pathLst>
                <a:path w="3594" h="1916" extrusionOk="0">
                  <a:moveTo>
                    <a:pt x="361" y="1"/>
                  </a:moveTo>
                  <a:lnTo>
                    <a:pt x="57" y="125"/>
                  </a:lnTo>
                  <a:lnTo>
                    <a:pt x="282" y="249"/>
                  </a:lnTo>
                  <a:cubicBezTo>
                    <a:pt x="91" y="350"/>
                    <a:pt x="1" y="463"/>
                    <a:pt x="1" y="564"/>
                  </a:cubicBezTo>
                  <a:cubicBezTo>
                    <a:pt x="12" y="677"/>
                    <a:pt x="113" y="789"/>
                    <a:pt x="316" y="902"/>
                  </a:cubicBezTo>
                  <a:cubicBezTo>
                    <a:pt x="462" y="981"/>
                    <a:pt x="609" y="1037"/>
                    <a:pt x="778" y="1082"/>
                  </a:cubicBezTo>
                  <a:cubicBezTo>
                    <a:pt x="935" y="1116"/>
                    <a:pt x="1082" y="1139"/>
                    <a:pt x="1217" y="1150"/>
                  </a:cubicBezTo>
                  <a:cubicBezTo>
                    <a:pt x="1341" y="1150"/>
                    <a:pt x="1577" y="1150"/>
                    <a:pt x="1904" y="1139"/>
                  </a:cubicBezTo>
                  <a:cubicBezTo>
                    <a:pt x="2096" y="1139"/>
                    <a:pt x="2231" y="1150"/>
                    <a:pt x="2321" y="1172"/>
                  </a:cubicBezTo>
                  <a:cubicBezTo>
                    <a:pt x="2411" y="1206"/>
                    <a:pt x="2524" y="1262"/>
                    <a:pt x="2681" y="1341"/>
                  </a:cubicBezTo>
                  <a:cubicBezTo>
                    <a:pt x="2738" y="1375"/>
                    <a:pt x="2771" y="1409"/>
                    <a:pt x="2783" y="1431"/>
                  </a:cubicBezTo>
                  <a:cubicBezTo>
                    <a:pt x="2794" y="1454"/>
                    <a:pt x="2783" y="1476"/>
                    <a:pt x="2738" y="1499"/>
                  </a:cubicBezTo>
                  <a:cubicBezTo>
                    <a:pt x="2709" y="1510"/>
                    <a:pt x="2681" y="1516"/>
                    <a:pt x="2653" y="1516"/>
                  </a:cubicBezTo>
                  <a:cubicBezTo>
                    <a:pt x="2625" y="1516"/>
                    <a:pt x="2597" y="1510"/>
                    <a:pt x="2569" y="1499"/>
                  </a:cubicBezTo>
                  <a:cubicBezTo>
                    <a:pt x="2512" y="1476"/>
                    <a:pt x="2400" y="1420"/>
                    <a:pt x="2208" y="1319"/>
                  </a:cubicBezTo>
                  <a:lnTo>
                    <a:pt x="2050" y="1229"/>
                  </a:lnTo>
                  <a:lnTo>
                    <a:pt x="1408" y="1488"/>
                  </a:lnTo>
                  <a:lnTo>
                    <a:pt x="1532" y="1567"/>
                  </a:lnTo>
                  <a:cubicBezTo>
                    <a:pt x="1836" y="1735"/>
                    <a:pt x="2118" y="1826"/>
                    <a:pt x="2366" y="1837"/>
                  </a:cubicBezTo>
                  <a:cubicBezTo>
                    <a:pt x="2407" y="1839"/>
                    <a:pt x="2448" y="1840"/>
                    <a:pt x="2488" y="1840"/>
                  </a:cubicBezTo>
                  <a:cubicBezTo>
                    <a:pt x="2687" y="1840"/>
                    <a:pt x="2869" y="1816"/>
                    <a:pt x="3019" y="1769"/>
                  </a:cubicBezTo>
                  <a:lnTo>
                    <a:pt x="3289" y="1916"/>
                  </a:lnTo>
                  <a:lnTo>
                    <a:pt x="3582" y="1792"/>
                  </a:lnTo>
                  <a:lnTo>
                    <a:pt x="3323" y="1657"/>
                  </a:lnTo>
                  <a:cubicBezTo>
                    <a:pt x="3515" y="1544"/>
                    <a:pt x="3594" y="1431"/>
                    <a:pt x="3560" y="1307"/>
                  </a:cubicBezTo>
                  <a:cubicBezTo>
                    <a:pt x="3537" y="1184"/>
                    <a:pt x="3402" y="1060"/>
                    <a:pt x="3154" y="925"/>
                  </a:cubicBezTo>
                  <a:cubicBezTo>
                    <a:pt x="3008" y="834"/>
                    <a:pt x="2861" y="778"/>
                    <a:pt x="2715" y="733"/>
                  </a:cubicBezTo>
                  <a:cubicBezTo>
                    <a:pt x="2580" y="699"/>
                    <a:pt x="2445" y="677"/>
                    <a:pt x="2332" y="665"/>
                  </a:cubicBezTo>
                  <a:cubicBezTo>
                    <a:pt x="2219" y="665"/>
                    <a:pt x="2028" y="665"/>
                    <a:pt x="1758" y="677"/>
                  </a:cubicBezTo>
                  <a:lnTo>
                    <a:pt x="1161" y="677"/>
                  </a:lnTo>
                  <a:cubicBezTo>
                    <a:pt x="1082" y="665"/>
                    <a:pt x="992" y="632"/>
                    <a:pt x="879" y="575"/>
                  </a:cubicBezTo>
                  <a:cubicBezTo>
                    <a:pt x="823" y="542"/>
                    <a:pt x="778" y="508"/>
                    <a:pt x="766" y="485"/>
                  </a:cubicBezTo>
                  <a:cubicBezTo>
                    <a:pt x="755" y="463"/>
                    <a:pt x="766" y="440"/>
                    <a:pt x="811" y="418"/>
                  </a:cubicBezTo>
                  <a:cubicBezTo>
                    <a:pt x="837" y="411"/>
                    <a:pt x="864" y="405"/>
                    <a:pt x="892" y="405"/>
                  </a:cubicBezTo>
                  <a:cubicBezTo>
                    <a:pt x="912" y="405"/>
                    <a:pt x="934" y="408"/>
                    <a:pt x="958" y="418"/>
                  </a:cubicBezTo>
                  <a:cubicBezTo>
                    <a:pt x="1014" y="429"/>
                    <a:pt x="1093" y="463"/>
                    <a:pt x="1217" y="530"/>
                  </a:cubicBezTo>
                  <a:lnTo>
                    <a:pt x="1330" y="598"/>
                  </a:lnTo>
                  <a:lnTo>
                    <a:pt x="1961" y="332"/>
                  </a:lnTo>
                  <a:lnTo>
                    <a:pt x="1961" y="332"/>
                  </a:lnTo>
                  <a:cubicBezTo>
                    <a:pt x="1964" y="334"/>
                    <a:pt x="1968" y="337"/>
                    <a:pt x="1972" y="339"/>
                  </a:cubicBezTo>
                  <a:lnTo>
                    <a:pt x="1972" y="328"/>
                  </a:lnTo>
                  <a:lnTo>
                    <a:pt x="1961" y="332"/>
                  </a:lnTo>
                  <a:lnTo>
                    <a:pt x="1961" y="332"/>
                  </a:lnTo>
                  <a:cubicBezTo>
                    <a:pt x="1909" y="302"/>
                    <a:pt x="1869" y="281"/>
                    <a:pt x="1848" y="260"/>
                  </a:cubicBezTo>
                  <a:cubicBezTo>
                    <a:pt x="1645" y="147"/>
                    <a:pt x="1442" y="80"/>
                    <a:pt x="1228" y="57"/>
                  </a:cubicBezTo>
                  <a:cubicBezTo>
                    <a:pt x="1175" y="52"/>
                    <a:pt x="1121" y="49"/>
                    <a:pt x="1068" y="49"/>
                  </a:cubicBezTo>
                  <a:cubicBezTo>
                    <a:pt x="907" y="49"/>
                    <a:pt x="744" y="74"/>
                    <a:pt x="575" y="125"/>
                  </a:cubicBezTo>
                  <a:lnTo>
                    <a:pt x="36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3"/>
            <p:cNvSpPr/>
            <p:nvPr/>
          </p:nvSpPr>
          <p:spPr>
            <a:xfrm>
              <a:off x="1768833" y="2074697"/>
              <a:ext cx="125556" cy="66935"/>
            </a:xfrm>
            <a:custGeom>
              <a:avLst/>
              <a:gdLst/>
              <a:ahLst/>
              <a:cxnLst/>
              <a:rect l="l" t="t" r="r" b="b"/>
              <a:pathLst>
                <a:path w="3594" h="1916" fill="none" extrusionOk="0">
                  <a:moveTo>
                    <a:pt x="1972" y="328"/>
                  </a:moveTo>
                  <a:lnTo>
                    <a:pt x="1330" y="598"/>
                  </a:lnTo>
                  <a:lnTo>
                    <a:pt x="1217" y="530"/>
                  </a:lnTo>
                  <a:cubicBezTo>
                    <a:pt x="1093" y="463"/>
                    <a:pt x="1014" y="429"/>
                    <a:pt x="958" y="418"/>
                  </a:cubicBezTo>
                  <a:cubicBezTo>
                    <a:pt x="902" y="395"/>
                    <a:pt x="857" y="406"/>
                    <a:pt x="811" y="418"/>
                  </a:cubicBezTo>
                  <a:cubicBezTo>
                    <a:pt x="766" y="440"/>
                    <a:pt x="755" y="463"/>
                    <a:pt x="766" y="485"/>
                  </a:cubicBezTo>
                  <a:cubicBezTo>
                    <a:pt x="778" y="508"/>
                    <a:pt x="823" y="542"/>
                    <a:pt x="879" y="575"/>
                  </a:cubicBezTo>
                  <a:cubicBezTo>
                    <a:pt x="992" y="632"/>
                    <a:pt x="1082" y="665"/>
                    <a:pt x="1161" y="677"/>
                  </a:cubicBezTo>
                  <a:cubicBezTo>
                    <a:pt x="1251" y="677"/>
                    <a:pt x="1442" y="677"/>
                    <a:pt x="1758" y="677"/>
                  </a:cubicBezTo>
                  <a:cubicBezTo>
                    <a:pt x="2028" y="665"/>
                    <a:pt x="2219" y="665"/>
                    <a:pt x="2332" y="665"/>
                  </a:cubicBezTo>
                  <a:cubicBezTo>
                    <a:pt x="2445" y="677"/>
                    <a:pt x="2580" y="699"/>
                    <a:pt x="2715" y="733"/>
                  </a:cubicBezTo>
                  <a:cubicBezTo>
                    <a:pt x="2861" y="778"/>
                    <a:pt x="3008" y="834"/>
                    <a:pt x="3154" y="925"/>
                  </a:cubicBezTo>
                  <a:cubicBezTo>
                    <a:pt x="3402" y="1060"/>
                    <a:pt x="3537" y="1184"/>
                    <a:pt x="3560" y="1307"/>
                  </a:cubicBezTo>
                  <a:cubicBezTo>
                    <a:pt x="3594" y="1431"/>
                    <a:pt x="3515" y="1544"/>
                    <a:pt x="3323" y="1657"/>
                  </a:cubicBezTo>
                  <a:lnTo>
                    <a:pt x="3582" y="1792"/>
                  </a:lnTo>
                  <a:lnTo>
                    <a:pt x="3289" y="1916"/>
                  </a:lnTo>
                  <a:lnTo>
                    <a:pt x="3019" y="1769"/>
                  </a:lnTo>
                  <a:cubicBezTo>
                    <a:pt x="2839" y="1826"/>
                    <a:pt x="2614" y="1848"/>
                    <a:pt x="2366" y="1837"/>
                  </a:cubicBezTo>
                  <a:cubicBezTo>
                    <a:pt x="2118" y="1826"/>
                    <a:pt x="1836" y="1735"/>
                    <a:pt x="1532" y="1567"/>
                  </a:cubicBezTo>
                  <a:lnTo>
                    <a:pt x="1408" y="1488"/>
                  </a:lnTo>
                  <a:lnTo>
                    <a:pt x="2050" y="1229"/>
                  </a:lnTo>
                  <a:lnTo>
                    <a:pt x="2208" y="1319"/>
                  </a:lnTo>
                  <a:cubicBezTo>
                    <a:pt x="2400" y="1420"/>
                    <a:pt x="2512" y="1476"/>
                    <a:pt x="2569" y="1499"/>
                  </a:cubicBezTo>
                  <a:cubicBezTo>
                    <a:pt x="2625" y="1521"/>
                    <a:pt x="2681" y="1521"/>
                    <a:pt x="2738" y="1499"/>
                  </a:cubicBezTo>
                  <a:cubicBezTo>
                    <a:pt x="2783" y="1476"/>
                    <a:pt x="2794" y="1454"/>
                    <a:pt x="2783" y="1431"/>
                  </a:cubicBezTo>
                  <a:cubicBezTo>
                    <a:pt x="2771" y="1409"/>
                    <a:pt x="2738" y="1375"/>
                    <a:pt x="2681" y="1341"/>
                  </a:cubicBezTo>
                  <a:cubicBezTo>
                    <a:pt x="2524" y="1262"/>
                    <a:pt x="2411" y="1206"/>
                    <a:pt x="2321" y="1172"/>
                  </a:cubicBezTo>
                  <a:cubicBezTo>
                    <a:pt x="2231" y="1150"/>
                    <a:pt x="2096" y="1139"/>
                    <a:pt x="1904" y="1139"/>
                  </a:cubicBezTo>
                  <a:cubicBezTo>
                    <a:pt x="1577" y="1150"/>
                    <a:pt x="1341" y="1150"/>
                    <a:pt x="1217" y="1150"/>
                  </a:cubicBezTo>
                  <a:cubicBezTo>
                    <a:pt x="1082" y="1139"/>
                    <a:pt x="935" y="1116"/>
                    <a:pt x="778" y="1082"/>
                  </a:cubicBezTo>
                  <a:cubicBezTo>
                    <a:pt x="609" y="1037"/>
                    <a:pt x="462" y="981"/>
                    <a:pt x="316" y="902"/>
                  </a:cubicBezTo>
                  <a:cubicBezTo>
                    <a:pt x="113" y="789"/>
                    <a:pt x="12" y="677"/>
                    <a:pt x="1" y="564"/>
                  </a:cubicBezTo>
                  <a:cubicBezTo>
                    <a:pt x="1" y="463"/>
                    <a:pt x="91" y="350"/>
                    <a:pt x="282" y="249"/>
                  </a:cubicBezTo>
                  <a:lnTo>
                    <a:pt x="57" y="125"/>
                  </a:lnTo>
                  <a:lnTo>
                    <a:pt x="361" y="1"/>
                  </a:lnTo>
                  <a:lnTo>
                    <a:pt x="575" y="125"/>
                  </a:lnTo>
                  <a:cubicBezTo>
                    <a:pt x="800" y="57"/>
                    <a:pt x="1014" y="35"/>
                    <a:pt x="1228" y="57"/>
                  </a:cubicBezTo>
                  <a:cubicBezTo>
                    <a:pt x="1442" y="80"/>
                    <a:pt x="1645" y="147"/>
                    <a:pt x="1848" y="260"/>
                  </a:cubicBezTo>
                  <a:cubicBezTo>
                    <a:pt x="1870" y="283"/>
                    <a:pt x="1915" y="305"/>
                    <a:pt x="1972" y="33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3"/>
            <p:cNvSpPr/>
            <p:nvPr/>
          </p:nvSpPr>
          <p:spPr>
            <a:xfrm>
              <a:off x="1477660" y="1901111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0"/>
                  </a:moveTo>
                  <a:cubicBezTo>
                    <a:pt x="9507" y="0"/>
                    <a:pt x="9400" y="31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3"/>
                    <a:pt x="226" y="5927"/>
                  </a:cubicBezTo>
                  <a:lnTo>
                    <a:pt x="5576" y="9081"/>
                  </a:lnTo>
                  <a:cubicBezTo>
                    <a:pt x="5694" y="9149"/>
                    <a:pt x="5824" y="9182"/>
                    <a:pt x="5952" y="9182"/>
                  </a:cubicBezTo>
                  <a:cubicBezTo>
                    <a:pt x="6080" y="9182"/>
                    <a:pt x="6207" y="9149"/>
                    <a:pt x="6319" y="9081"/>
                  </a:cubicBezTo>
                  <a:lnTo>
                    <a:pt x="15488" y="3742"/>
                  </a:lnTo>
                  <a:cubicBezTo>
                    <a:pt x="15645" y="3652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1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3"/>
            <p:cNvSpPr/>
            <p:nvPr/>
          </p:nvSpPr>
          <p:spPr>
            <a:xfrm>
              <a:off x="1477660" y="1900028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8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0"/>
                    <a:pt x="9496" y="0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4"/>
                    <a:pt x="226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3"/>
            <p:cNvSpPr/>
            <p:nvPr/>
          </p:nvSpPr>
          <p:spPr>
            <a:xfrm>
              <a:off x="1477660" y="1894683"/>
              <a:ext cx="546593" cy="320948"/>
            </a:xfrm>
            <a:custGeom>
              <a:avLst/>
              <a:gdLst/>
              <a:ahLst/>
              <a:cxnLst/>
              <a:rect l="l" t="t" r="r" b="b"/>
              <a:pathLst>
                <a:path w="15646" h="9187" extrusionOk="0">
                  <a:moveTo>
                    <a:pt x="9615" y="1"/>
                  </a:moveTo>
                  <a:cubicBezTo>
                    <a:pt x="9507" y="1"/>
                    <a:pt x="9400" y="29"/>
                    <a:pt x="9304" y="85"/>
                  </a:cubicBezTo>
                  <a:lnTo>
                    <a:pt x="226" y="5345"/>
                  </a:lnTo>
                  <a:cubicBezTo>
                    <a:pt x="1" y="5481"/>
                    <a:pt x="1" y="5796"/>
                    <a:pt x="226" y="5931"/>
                  </a:cubicBezTo>
                  <a:lnTo>
                    <a:pt x="5576" y="9085"/>
                  </a:lnTo>
                  <a:cubicBezTo>
                    <a:pt x="5694" y="9152"/>
                    <a:pt x="5824" y="9186"/>
                    <a:pt x="5952" y="9186"/>
                  </a:cubicBezTo>
                  <a:cubicBezTo>
                    <a:pt x="6080" y="9186"/>
                    <a:pt x="6207" y="9152"/>
                    <a:pt x="6319" y="9085"/>
                  </a:cubicBezTo>
                  <a:lnTo>
                    <a:pt x="15488" y="3746"/>
                  </a:lnTo>
                  <a:cubicBezTo>
                    <a:pt x="15645" y="3656"/>
                    <a:pt x="15645" y="3431"/>
                    <a:pt x="15488" y="3341"/>
                  </a:cubicBezTo>
                  <a:lnTo>
                    <a:pt x="9935" y="85"/>
                  </a:lnTo>
                  <a:cubicBezTo>
                    <a:pt x="9834" y="29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3"/>
            <p:cNvSpPr/>
            <p:nvPr/>
          </p:nvSpPr>
          <p:spPr>
            <a:xfrm>
              <a:off x="1477660" y="1893705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3"/>
                  </a:lnTo>
                  <a:cubicBezTo>
                    <a:pt x="5813" y="9248"/>
                    <a:pt x="6094" y="9248"/>
                    <a:pt x="6319" y="9113"/>
                  </a:cubicBezTo>
                  <a:lnTo>
                    <a:pt x="15488" y="3774"/>
                  </a:lnTo>
                  <a:cubicBezTo>
                    <a:pt x="15645" y="3684"/>
                    <a:pt x="15645" y="3459"/>
                    <a:pt x="15488" y="3369"/>
                  </a:cubicBezTo>
                  <a:lnTo>
                    <a:pt x="9935" y="113"/>
                  </a:lnTo>
                  <a:cubicBezTo>
                    <a:pt x="9732" y="1"/>
                    <a:pt x="9496" y="1"/>
                    <a:pt x="9304" y="113"/>
                  </a:cubicBezTo>
                  <a:lnTo>
                    <a:pt x="226" y="5373"/>
                  </a:lnTo>
                  <a:cubicBezTo>
                    <a:pt x="1" y="5509"/>
                    <a:pt x="1" y="5824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3"/>
            <p:cNvSpPr/>
            <p:nvPr/>
          </p:nvSpPr>
          <p:spPr>
            <a:xfrm>
              <a:off x="1531178" y="1927555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extrusionOk="0">
                  <a:moveTo>
                    <a:pt x="8752" y="0"/>
                  </a:moveTo>
                  <a:cubicBezTo>
                    <a:pt x="8628" y="169"/>
                    <a:pt x="8380" y="282"/>
                    <a:pt x="8088" y="282"/>
                  </a:cubicBezTo>
                  <a:cubicBezTo>
                    <a:pt x="7806" y="282"/>
                    <a:pt x="7558" y="169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8"/>
                    <a:pt x="271" y="4686"/>
                  </a:cubicBezTo>
                  <a:cubicBezTo>
                    <a:pt x="271" y="4855"/>
                    <a:pt x="169" y="4990"/>
                    <a:pt x="12" y="5091"/>
                  </a:cubicBezTo>
                  <a:lnTo>
                    <a:pt x="3774" y="7310"/>
                  </a:lnTo>
                  <a:cubicBezTo>
                    <a:pt x="3909" y="7153"/>
                    <a:pt x="4145" y="7051"/>
                    <a:pt x="4427" y="7051"/>
                  </a:cubicBezTo>
                  <a:cubicBezTo>
                    <a:pt x="4709" y="7051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2"/>
                    <a:pt x="12311" y="2276"/>
                    <a:pt x="12469" y="2174"/>
                  </a:cubicBezTo>
                  <a:lnTo>
                    <a:pt x="8752" y="0"/>
                  </a:ln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3"/>
            <p:cNvSpPr/>
            <p:nvPr/>
          </p:nvSpPr>
          <p:spPr>
            <a:xfrm>
              <a:off x="1531178" y="1927555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fill="none" extrusionOk="0">
                  <a:moveTo>
                    <a:pt x="12199" y="2580"/>
                  </a:moveTo>
                  <a:cubicBezTo>
                    <a:pt x="12199" y="2422"/>
                    <a:pt x="12311" y="2276"/>
                    <a:pt x="12469" y="2174"/>
                  </a:cubicBezTo>
                  <a:lnTo>
                    <a:pt x="8752" y="0"/>
                  </a:lnTo>
                  <a:cubicBezTo>
                    <a:pt x="8628" y="169"/>
                    <a:pt x="8380" y="282"/>
                    <a:pt x="8088" y="282"/>
                  </a:cubicBezTo>
                  <a:cubicBezTo>
                    <a:pt x="7806" y="282"/>
                    <a:pt x="7558" y="169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8"/>
                    <a:pt x="271" y="4686"/>
                  </a:cubicBezTo>
                  <a:cubicBezTo>
                    <a:pt x="271" y="4855"/>
                    <a:pt x="169" y="4990"/>
                    <a:pt x="12" y="5091"/>
                  </a:cubicBezTo>
                  <a:lnTo>
                    <a:pt x="3774" y="7310"/>
                  </a:lnTo>
                  <a:cubicBezTo>
                    <a:pt x="3909" y="7153"/>
                    <a:pt x="4145" y="7051"/>
                    <a:pt x="4427" y="7051"/>
                  </a:cubicBezTo>
                  <a:cubicBezTo>
                    <a:pt x="4709" y="7051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3"/>
            <p:cNvSpPr/>
            <p:nvPr/>
          </p:nvSpPr>
          <p:spPr>
            <a:xfrm>
              <a:off x="1671647" y="1987747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extrusionOk="0">
                  <a:moveTo>
                    <a:pt x="2456" y="1"/>
                  </a:moveTo>
                  <a:cubicBezTo>
                    <a:pt x="1104" y="1"/>
                    <a:pt x="0" y="767"/>
                    <a:pt x="0" y="1702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2"/>
                  </a:cubicBezTo>
                  <a:cubicBezTo>
                    <a:pt x="4911" y="767"/>
                    <a:pt x="3819" y="1"/>
                    <a:pt x="245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3"/>
            <p:cNvSpPr/>
            <p:nvPr/>
          </p:nvSpPr>
          <p:spPr>
            <a:xfrm>
              <a:off x="1671647" y="1987747"/>
              <a:ext cx="171601" cy="118884"/>
            </a:xfrm>
            <a:custGeom>
              <a:avLst/>
              <a:gdLst/>
              <a:ahLst/>
              <a:cxnLst/>
              <a:rect l="l" t="t" r="r" b="b"/>
              <a:pathLst>
                <a:path w="4912" h="3403" fill="none" extrusionOk="0">
                  <a:moveTo>
                    <a:pt x="4911" y="1702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2"/>
                  </a:cubicBezTo>
                  <a:cubicBezTo>
                    <a:pt x="0" y="767"/>
                    <a:pt x="1104" y="1"/>
                    <a:pt x="2456" y="1"/>
                  </a:cubicBezTo>
                  <a:cubicBezTo>
                    <a:pt x="3819" y="1"/>
                    <a:pt x="4911" y="767"/>
                    <a:pt x="4911" y="1702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3"/>
            <p:cNvSpPr/>
            <p:nvPr/>
          </p:nvSpPr>
          <p:spPr>
            <a:xfrm>
              <a:off x="1694878" y="2014122"/>
              <a:ext cx="125556" cy="66516"/>
            </a:xfrm>
            <a:custGeom>
              <a:avLst/>
              <a:gdLst/>
              <a:ahLst/>
              <a:cxnLst/>
              <a:rect l="l" t="t" r="r" b="b"/>
              <a:pathLst>
                <a:path w="3594" h="1904" extrusionOk="0">
                  <a:moveTo>
                    <a:pt x="360" y="0"/>
                  </a:moveTo>
                  <a:lnTo>
                    <a:pt x="68" y="113"/>
                  </a:lnTo>
                  <a:lnTo>
                    <a:pt x="282" y="237"/>
                  </a:lnTo>
                  <a:cubicBezTo>
                    <a:pt x="90" y="338"/>
                    <a:pt x="0" y="451"/>
                    <a:pt x="11" y="552"/>
                  </a:cubicBezTo>
                  <a:cubicBezTo>
                    <a:pt x="11" y="665"/>
                    <a:pt x="124" y="778"/>
                    <a:pt x="327" y="890"/>
                  </a:cubicBezTo>
                  <a:cubicBezTo>
                    <a:pt x="462" y="969"/>
                    <a:pt x="608" y="1025"/>
                    <a:pt x="777" y="1070"/>
                  </a:cubicBezTo>
                  <a:cubicBezTo>
                    <a:pt x="935" y="1104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4"/>
                    <a:pt x="2523" y="1251"/>
                    <a:pt x="2681" y="1329"/>
                  </a:cubicBezTo>
                  <a:cubicBezTo>
                    <a:pt x="2737" y="1363"/>
                    <a:pt x="2771" y="1397"/>
                    <a:pt x="2782" y="1420"/>
                  </a:cubicBezTo>
                  <a:cubicBezTo>
                    <a:pt x="2793" y="1442"/>
                    <a:pt x="2782" y="1465"/>
                    <a:pt x="2737" y="1487"/>
                  </a:cubicBezTo>
                  <a:cubicBezTo>
                    <a:pt x="2709" y="1498"/>
                    <a:pt x="2684" y="1504"/>
                    <a:pt x="2657" y="1504"/>
                  </a:cubicBezTo>
                  <a:cubicBezTo>
                    <a:pt x="2630" y="1504"/>
                    <a:pt x="2602" y="1498"/>
                    <a:pt x="2568" y="1487"/>
                  </a:cubicBezTo>
                  <a:cubicBezTo>
                    <a:pt x="2512" y="1476"/>
                    <a:pt x="2399" y="1408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5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4"/>
                    <a:pt x="3030" y="1757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2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6"/>
                    <a:pt x="2714" y="721"/>
                  </a:cubicBezTo>
                  <a:cubicBezTo>
                    <a:pt x="2579" y="687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3"/>
                    <a:pt x="1376" y="673"/>
                  </a:cubicBezTo>
                  <a:cubicBezTo>
                    <a:pt x="1278" y="673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3"/>
                  </a:cubicBezTo>
                  <a:cubicBezTo>
                    <a:pt x="755" y="451"/>
                    <a:pt x="766" y="428"/>
                    <a:pt x="811" y="406"/>
                  </a:cubicBezTo>
                  <a:cubicBezTo>
                    <a:pt x="837" y="399"/>
                    <a:pt x="863" y="393"/>
                    <a:pt x="891" y="393"/>
                  </a:cubicBezTo>
                  <a:cubicBezTo>
                    <a:pt x="912" y="393"/>
                    <a:pt x="934" y="396"/>
                    <a:pt x="957" y="406"/>
                  </a:cubicBezTo>
                  <a:cubicBezTo>
                    <a:pt x="1014" y="417"/>
                    <a:pt x="1093" y="462"/>
                    <a:pt x="1216" y="518"/>
                  </a:cubicBezTo>
                  <a:lnTo>
                    <a:pt x="1329" y="586"/>
                  </a:lnTo>
                  <a:lnTo>
                    <a:pt x="1971" y="327"/>
                  </a:lnTo>
                  <a:cubicBezTo>
                    <a:pt x="1915" y="293"/>
                    <a:pt x="1881" y="271"/>
                    <a:pt x="1847" y="248"/>
                  </a:cubicBezTo>
                  <a:cubicBezTo>
                    <a:pt x="1644" y="136"/>
                    <a:pt x="1442" y="68"/>
                    <a:pt x="1228" y="45"/>
                  </a:cubicBezTo>
                  <a:cubicBezTo>
                    <a:pt x="1174" y="40"/>
                    <a:pt x="1121" y="37"/>
                    <a:pt x="1067" y="37"/>
                  </a:cubicBezTo>
                  <a:cubicBezTo>
                    <a:pt x="906" y="37"/>
                    <a:pt x="743" y="62"/>
                    <a:pt x="574" y="113"/>
                  </a:cubicBezTo>
                  <a:lnTo>
                    <a:pt x="36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6" name="Google Shape;936;p33"/>
            <p:cNvSpPr/>
            <p:nvPr/>
          </p:nvSpPr>
          <p:spPr>
            <a:xfrm>
              <a:off x="1694878" y="2014122"/>
              <a:ext cx="125556" cy="66516"/>
            </a:xfrm>
            <a:custGeom>
              <a:avLst/>
              <a:gdLst/>
              <a:ahLst/>
              <a:cxnLst/>
              <a:rect l="l" t="t" r="r" b="b"/>
              <a:pathLst>
                <a:path w="3594" h="1904" fill="none" extrusionOk="0">
                  <a:moveTo>
                    <a:pt x="1971" y="327"/>
                  </a:moveTo>
                  <a:lnTo>
                    <a:pt x="1329" y="586"/>
                  </a:lnTo>
                  <a:lnTo>
                    <a:pt x="1216" y="518"/>
                  </a:lnTo>
                  <a:cubicBezTo>
                    <a:pt x="1093" y="462"/>
                    <a:pt x="1014" y="417"/>
                    <a:pt x="957" y="406"/>
                  </a:cubicBezTo>
                  <a:cubicBezTo>
                    <a:pt x="901" y="383"/>
                    <a:pt x="856" y="395"/>
                    <a:pt x="811" y="406"/>
                  </a:cubicBezTo>
                  <a:cubicBezTo>
                    <a:pt x="766" y="428"/>
                    <a:pt x="755" y="451"/>
                    <a:pt x="766" y="473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6"/>
                    <a:pt x="1442" y="676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7"/>
                    <a:pt x="2714" y="721"/>
                  </a:cubicBezTo>
                  <a:cubicBezTo>
                    <a:pt x="2861" y="766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2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7"/>
                  </a:lnTo>
                  <a:cubicBezTo>
                    <a:pt x="2838" y="1814"/>
                    <a:pt x="2613" y="1836"/>
                    <a:pt x="2365" y="1825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8"/>
                    <a:pt x="2512" y="1476"/>
                    <a:pt x="2568" y="1487"/>
                  </a:cubicBezTo>
                  <a:cubicBezTo>
                    <a:pt x="2636" y="1510"/>
                    <a:pt x="2681" y="1510"/>
                    <a:pt x="2737" y="1487"/>
                  </a:cubicBezTo>
                  <a:cubicBezTo>
                    <a:pt x="2782" y="1465"/>
                    <a:pt x="2793" y="1442"/>
                    <a:pt x="2782" y="1420"/>
                  </a:cubicBezTo>
                  <a:cubicBezTo>
                    <a:pt x="2771" y="1397"/>
                    <a:pt x="2737" y="1363"/>
                    <a:pt x="2681" y="1329"/>
                  </a:cubicBezTo>
                  <a:cubicBezTo>
                    <a:pt x="2523" y="1251"/>
                    <a:pt x="2410" y="1194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4"/>
                    <a:pt x="777" y="1070"/>
                  </a:cubicBezTo>
                  <a:cubicBezTo>
                    <a:pt x="608" y="1025"/>
                    <a:pt x="462" y="969"/>
                    <a:pt x="327" y="890"/>
                  </a:cubicBezTo>
                  <a:cubicBezTo>
                    <a:pt x="124" y="778"/>
                    <a:pt x="11" y="665"/>
                    <a:pt x="11" y="552"/>
                  </a:cubicBezTo>
                  <a:cubicBezTo>
                    <a:pt x="0" y="451"/>
                    <a:pt x="90" y="338"/>
                    <a:pt x="282" y="237"/>
                  </a:cubicBezTo>
                  <a:lnTo>
                    <a:pt x="68" y="113"/>
                  </a:lnTo>
                  <a:lnTo>
                    <a:pt x="360" y="0"/>
                  </a:lnTo>
                  <a:lnTo>
                    <a:pt x="574" y="113"/>
                  </a:lnTo>
                  <a:cubicBezTo>
                    <a:pt x="800" y="45"/>
                    <a:pt x="1014" y="23"/>
                    <a:pt x="1228" y="45"/>
                  </a:cubicBezTo>
                  <a:cubicBezTo>
                    <a:pt x="1442" y="68"/>
                    <a:pt x="1644" y="136"/>
                    <a:pt x="1847" y="248"/>
                  </a:cubicBezTo>
                  <a:cubicBezTo>
                    <a:pt x="1881" y="271"/>
                    <a:pt x="1915" y="293"/>
                    <a:pt x="1971" y="32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7" name="Google Shape;937;p33"/>
            <p:cNvSpPr/>
            <p:nvPr/>
          </p:nvSpPr>
          <p:spPr>
            <a:xfrm>
              <a:off x="1628364" y="2101072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7" y="1"/>
                  </a:moveTo>
                  <a:cubicBezTo>
                    <a:pt x="271" y="1"/>
                    <a:pt x="1" y="181"/>
                    <a:pt x="1" y="406"/>
                  </a:cubicBezTo>
                  <a:cubicBezTo>
                    <a:pt x="1" y="631"/>
                    <a:pt x="271" y="823"/>
                    <a:pt x="597" y="823"/>
                  </a:cubicBezTo>
                  <a:cubicBezTo>
                    <a:pt x="924" y="823"/>
                    <a:pt x="1183" y="631"/>
                    <a:pt x="1183" y="406"/>
                  </a:cubicBezTo>
                  <a:cubicBezTo>
                    <a:pt x="1183" y="181"/>
                    <a:pt x="924" y="1"/>
                    <a:pt x="59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8" name="Google Shape;938;p33"/>
            <p:cNvSpPr/>
            <p:nvPr/>
          </p:nvSpPr>
          <p:spPr>
            <a:xfrm>
              <a:off x="1843592" y="1975555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8" y="1"/>
                  </a:moveTo>
                  <a:cubicBezTo>
                    <a:pt x="260" y="1"/>
                    <a:pt x="1" y="181"/>
                    <a:pt x="1" y="406"/>
                  </a:cubicBezTo>
                  <a:cubicBezTo>
                    <a:pt x="1" y="631"/>
                    <a:pt x="260" y="823"/>
                    <a:pt x="598" y="823"/>
                  </a:cubicBezTo>
                  <a:cubicBezTo>
                    <a:pt x="924" y="823"/>
                    <a:pt x="1183" y="631"/>
                    <a:pt x="1183" y="406"/>
                  </a:cubicBezTo>
                  <a:cubicBezTo>
                    <a:pt x="1183" y="181"/>
                    <a:pt x="924" y="1"/>
                    <a:pt x="59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9" name="Google Shape;939;p33"/>
            <p:cNvSpPr/>
            <p:nvPr/>
          </p:nvSpPr>
          <p:spPr>
            <a:xfrm>
              <a:off x="1477660" y="1871591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0"/>
                  </a:moveTo>
                  <a:cubicBezTo>
                    <a:pt x="9507" y="0"/>
                    <a:pt x="9400" y="31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4"/>
                    <a:pt x="226" y="5928"/>
                  </a:cubicBezTo>
                  <a:lnTo>
                    <a:pt x="5576" y="9081"/>
                  </a:lnTo>
                  <a:cubicBezTo>
                    <a:pt x="5694" y="9149"/>
                    <a:pt x="5824" y="9183"/>
                    <a:pt x="5952" y="9183"/>
                  </a:cubicBezTo>
                  <a:cubicBezTo>
                    <a:pt x="6080" y="9183"/>
                    <a:pt x="6207" y="9149"/>
                    <a:pt x="6319" y="9081"/>
                  </a:cubicBezTo>
                  <a:lnTo>
                    <a:pt x="15488" y="3742"/>
                  </a:lnTo>
                  <a:cubicBezTo>
                    <a:pt x="15645" y="3652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1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3"/>
            <p:cNvSpPr/>
            <p:nvPr/>
          </p:nvSpPr>
          <p:spPr>
            <a:xfrm>
              <a:off x="1477660" y="1870508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0"/>
                    <a:pt x="9496" y="0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5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3"/>
            <p:cNvSpPr/>
            <p:nvPr/>
          </p:nvSpPr>
          <p:spPr>
            <a:xfrm>
              <a:off x="1477660" y="1865198"/>
              <a:ext cx="546593" cy="320913"/>
            </a:xfrm>
            <a:custGeom>
              <a:avLst/>
              <a:gdLst/>
              <a:ahLst/>
              <a:cxnLst/>
              <a:rect l="l" t="t" r="r" b="b"/>
              <a:pathLst>
                <a:path w="15646" h="9186" extrusionOk="0">
                  <a:moveTo>
                    <a:pt x="9615" y="0"/>
                  </a:moveTo>
                  <a:cubicBezTo>
                    <a:pt x="9507" y="0"/>
                    <a:pt x="9400" y="28"/>
                    <a:pt x="9304" y="85"/>
                  </a:cubicBezTo>
                  <a:lnTo>
                    <a:pt x="226" y="5345"/>
                  </a:lnTo>
                  <a:cubicBezTo>
                    <a:pt x="1" y="5480"/>
                    <a:pt x="1" y="5795"/>
                    <a:pt x="226" y="5930"/>
                  </a:cubicBezTo>
                  <a:lnTo>
                    <a:pt x="5576" y="9084"/>
                  </a:lnTo>
                  <a:cubicBezTo>
                    <a:pt x="5694" y="9152"/>
                    <a:pt x="5824" y="9185"/>
                    <a:pt x="5952" y="9185"/>
                  </a:cubicBezTo>
                  <a:cubicBezTo>
                    <a:pt x="6080" y="9185"/>
                    <a:pt x="6207" y="9152"/>
                    <a:pt x="6319" y="9084"/>
                  </a:cubicBezTo>
                  <a:lnTo>
                    <a:pt x="15488" y="3745"/>
                  </a:lnTo>
                  <a:cubicBezTo>
                    <a:pt x="15645" y="3655"/>
                    <a:pt x="15645" y="3430"/>
                    <a:pt x="15488" y="3340"/>
                  </a:cubicBezTo>
                  <a:lnTo>
                    <a:pt x="9935" y="85"/>
                  </a:lnTo>
                  <a:cubicBezTo>
                    <a:pt x="9834" y="28"/>
                    <a:pt x="9724" y="0"/>
                    <a:pt x="96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3"/>
            <p:cNvSpPr/>
            <p:nvPr/>
          </p:nvSpPr>
          <p:spPr>
            <a:xfrm>
              <a:off x="1477660" y="1864220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8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3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13"/>
                  </a:lnTo>
                  <a:cubicBezTo>
                    <a:pt x="9732" y="0"/>
                    <a:pt x="9496" y="0"/>
                    <a:pt x="9304" y="113"/>
                  </a:cubicBezTo>
                  <a:lnTo>
                    <a:pt x="226" y="5373"/>
                  </a:lnTo>
                  <a:cubicBezTo>
                    <a:pt x="1" y="5508"/>
                    <a:pt x="1" y="5823"/>
                    <a:pt x="226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3"/>
            <p:cNvSpPr/>
            <p:nvPr/>
          </p:nvSpPr>
          <p:spPr>
            <a:xfrm>
              <a:off x="1531178" y="1898036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extrusionOk="0">
                  <a:moveTo>
                    <a:pt x="8752" y="1"/>
                  </a:moveTo>
                  <a:cubicBezTo>
                    <a:pt x="8628" y="170"/>
                    <a:pt x="8380" y="282"/>
                    <a:pt x="8088" y="282"/>
                  </a:cubicBezTo>
                  <a:cubicBezTo>
                    <a:pt x="7806" y="282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0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2"/>
                    <a:pt x="12311" y="2276"/>
                    <a:pt x="12469" y="2175"/>
                  </a:cubicBezTo>
                  <a:lnTo>
                    <a:pt x="8752" y="1"/>
                  </a:ln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3"/>
            <p:cNvSpPr/>
            <p:nvPr/>
          </p:nvSpPr>
          <p:spPr>
            <a:xfrm>
              <a:off x="1531178" y="1898036"/>
              <a:ext cx="437980" cy="255794"/>
            </a:xfrm>
            <a:custGeom>
              <a:avLst/>
              <a:gdLst/>
              <a:ahLst/>
              <a:cxnLst/>
              <a:rect l="l" t="t" r="r" b="b"/>
              <a:pathLst>
                <a:path w="12537" h="7322" fill="none" extrusionOk="0">
                  <a:moveTo>
                    <a:pt x="12199" y="2580"/>
                  </a:moveTo>
                  <a:cubicBezTo>
                    <a:pt x="12199" y="2422"/>
                    <a:pt x="12311" y="2276"/>
                    <a:pt x="12469" y="2175"/>
                  </a:cubicBezTo>
                  <a:lnTo>
                    <a:pt x="8752" y="1"/>
                  </a:lnTo>
                  <a:cubicBezTo>
                    <a:pt x="8628" y="170"/>
                    <a:pt x="8380" y="282"/>
                    <a:pt x="8088" y="282"/>
                  </a:cubicBezTo>
                  <a:cubicBezTo>
                    <a:pt x="7806" y="282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0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19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3"/>
            <p:cNvSpPr/>
            <p:nvPr/>
          </p:nvSpPr>
          <p:spPr>
            <a:xfrm>
              <a:off x="1671647" y="1958262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1"/>
                  </a:cubicBezTo>
                  <a:cubicBezTo>
                    <a:pt x="4911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3"/>
            <p:cNvSpPr/>
            <p:nvPr/>
          </p:nvSpPr>
          <p:spPr>
            <a:xfrm>
              <a:off x="1671647" y="1958262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fill="none" extrusionOk="0">
                  <a:moveTo>
                    <a:pt x="4911" y="1701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11" y="766"/>
                    <a:pt x="4911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3"/>
            <p:cNvSpPr/>
            <p:nvPr/>
          </p:nvSpPr>
          <p:spPr>
            <a:xfrm>
              <a:off x="1694878" y="1984602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0" y="1"/>
                  </a:moveTo>
                  <a:lnTo>
                    <a:pt x="68" y="113"/>
                  </a:lnTo>
                  <a:lnTo>
                    <a:pt x="282" y="237"/>
                  </a:lnTo>
                  <a:cubicBezTo>
                    <a:pt x="90" y="339"/>
                    <a:pt x="0" y="451"/>
                    <a:pt x="11" y="553"/>
                  </a:cubicBezTo>
                  <a:cubicBezTo>
                    <a:pt x="11" y="665"/>
                    <a:pt x="124" y="778"/>
                    <a:pt x="327" y="890"/>
                  </a:cubicBezTo>
                  <a:cubicBezTo>
                    <a:pt x="462" y="969"/>
                    <a:pt x="608" y="1026"/>
                    <a:pt x="777" y="1071"/>
                  </a:cubicBezTo>
                  <a:cubicBezTo>
                    <a:pt x="935" y="1104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5"/>
                    <a:pt x="2523" y="1251"/>
                    <a:pt x="2681" y="1330"/>
                  </a:cubicBezTo>
                  <a:cubicBezTo>
                    <a:pt x="2737" y="1363"/>
                    <a:pt x="2771" y="1397"/>
                    <a:pt x="2782" y="1420"/>
                  </a:cubicBezTo>
                  <a:cubicBezTo>
                    <a:pt x="2793" y="1442"/>
                    <a:pt x="2782" y="1465"/>
                    <a:pt x="2737" y="1487"/>
                  </a:cubicBezTo>
                  <a:cubicBezTo>
                    <a:pt x="2709" y="1499"/>
                    <a:pt x="2684" y="1504"/>
                    <a:pt x="2657" y="1504"/>
                  </a:cubicBezTo>
                  <a:cubicBezTo>
                    <a:pt x="2630" y="1504"/>
                    <a:pt x="2602" y="1499"/>
                    <a:pt x="2568" y="1487"/>
                  </a:cubicBezTo>
                  <a:cubicBezTo>
                    <a:pt x="2512" y="1476"/>
                    <a:pt x="2399" y="1409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5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5"/>
                    <a:pt x="3030" y="1758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2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7"/>
                    <a:pt x="2714" y="721"/>
                  </a:cubicBezTo>
                  <a:cubicBezTo>
                    <a:pt x="2579" y="688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4"/>
                    <a:pt x="1376" y="674"/>
                  </a:cubicBezTo>
                  <a:cubicBezTo>
                    <a:pt x="1278" y="674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4"/>
                  </a:cubicBezTo>
                  <a:cubicBezTo>
                    <a:pt x="755" y="451"/>
                    <a:pt x="766" y="429"/>
                    <a:pt x="811" y="406"/>
                  </a:cubicBezTo>
                  <a:cubicBezTo>
                    <a:pt x="837" y="400"/>
                    <a:pt x="863" y="393"/>
                    <a:pt x="891" y="393"/>
                  </a:cubicBezTo>
                  <a:cubicBezTo>
                    <a:pt x="912" y="393"/>
                    <a:pt x="934" y="397"/>
                    <a:pt x="957" y="406"/>
                  </a:cubicBezTo>
                  <a:cubicBezTo>
                    <a:pt x="1014" y="417"/>
                    <a:pt x="1093" y="462"/>
                    <a:pt x="1216" y="519"/>
                  </a:cubicBezTo>
                  <a:lnTo>
                    <a:pt x="1329" y="586"/>
                  </a:lnTo>
                  <a:lnTo>
                    <a:pt x="1971" y="327"/>
                  </a:lnTo>
                  <a:cubicBezTo>
                    <a:pt x="1915" y="293"/>
                    <a:pt x="1881" y="271"/>
                    <a:pt x="1847" y="248"/>
                  </a:cubicBezTo>
                  <a:cubicBezTo>
                    <a:pt x="1644" y="136"/>
                    <a:pt x="1442" y="68"/>
                    <a:pt x="1228" y="46"/>
                  </a:cubicBezTo>
                  <a:cubicBezTo>
                    <a:pt x="1174" y="40"/>
                    <a:pt x="1121" y="37"/>
                    <a:pt x="1067" y="37"/>
                  </a:cubicBezTo>
                  <a:cubicBezTo>
                    <a:pt x="906" y="37"/>
                    <a:pt x="743" y="63"/>
                    <a:pt x="574" y="113"/>
                  </a:cubicBezTo>
                  <a:lnTo>
                    <a:pt x="36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8" name="Google Shape;948;p33"/>
            <p:cNvSpPr/>
            <p:nvPr/>
          </p:nvSpPr>
          <p:spPr>
            <a:xfrm>
              <a:off x="1694878" y="1984602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1" y="327"/>
                  </a:moveTo>
                  <a:lnTo>
                    <a:pt x="1329" y="586"/>
                  </a:lnTo>
                  <a:lnTo>
                    <a:pt x="1216" y="519"/>
                  </a:lnTo>
                  <a:cubicBezTo>
                    <a:pt x="1093" y="462"/>
                    <a:pt x="1014" y="417"/>
                    <a:pt x="957" y="406"/>
                  </a:cubicBezTo>
                  <a:cubicBezTo>
                    <a:pt x="901" y="384"/>
                    <a:pt x="856" y="395"/>
                    <a:pt x="811" y="406"/>
                  </a:cubicBezTo>
                  <a:cubicBezTo>
                    <a:pt x="766" y="429"/>
                    <a:pt x="755" y="451"/>
                    <a:pt x="766" y="474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6"/>
                    <a:pt x="1442" y="676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8"/>
                    <a:pt x="2714" y="721"/>
                  </a:cubicBezTo>
                  <a:cubicBezTo>
                    <a:pt x="2861" y="767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2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8"/>
                  </a:lnTo>
                  <a:cubicBezTo>
                    <a:pt x="2838" y="1814"/>
                    <a:pt x="2613" y="1837"/>
                    <a:pt x="2365" y="1825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9"/>
                    <a:pt x="2512" y="1476"/>
                    <a:pt x="2568" y="1487"/>
                  </a:cubicBezTo>
                  <a:cubicBezTo>
                    <a:pt x="2636" y="1510"/>
                    <a:pt x="2681" y="1510"/>
                    <a:pt x="2737" y="1487"/>
                  </a:cubicBezTo>
                  <a:cubicBezTo>
                    <a:pt x="2782" y="1465"/>
                    <a:pt x="2793" y="1442"/>
                    <a:pt x="2782" y="1420"/>
                  </a:cubicBezTo>
                  <a:cubicBezTo>
                    <a:pt x="2771" y="1397"/>
                    <a:pt x="2737" y="1363"/>
                    <a:pt x="2681" y="1330"/>
                  </a:cubicBezTo>
                  <a:cubicBezTo>
                    <a:pt x="2523" y="1251"/>
                    <a:pt x="2410" y="1195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4"/>
                    <a:pt x="777" y="1071"/>
                  </a:cubicBezTo>
                  <a:cubicBezTo>
                    <a:pt x="608" y="1026"/>
                    <a:pt x="462" y="969"/>
                    <a:pt x="327" y="890"/>
                  </a:cubicBezTo>
                  <a:cubicBezTo>
                    <a:pt x="124" y="778"/>
                    <a:pt x="11" y="665"/>
                    <a:pt x="11" y="553"/>
                  </a:cubicBezTo>
                  <a:cubicBezTo>
                    <a:pt x="0" y="451"/>
                    <a:pt x="90" y="339"/>
                    <a:pt x="282" y="237"/>
                  </a:cubicBezTo>
                  <a:lnTo>
                    <a:pt x="68" y="113"/>
                  </a:lnTo>
                  <a:lnTo>
                    <a:pt x="360" y="1"/>
                  </a:lnTo>
                  <a:lnTo>
                    <a:pt x="574" y="113"/>
                  </a:lnTo>
                  <a:cubicBezTo>
                    <a:pt x="800" y="46"/>
                    <a:pt x="1014" y="23"/>
                    <a:pt x="1228" y="46"/>
                  </a:cubicBezTo>
                  <a:cubicBezTo>
                    <a:pt x="1442" y="68"/>
                    <a:pt x="1644" y="136"/>
                    <a:pt x="1847" y="248"/>
                  </a:cubicBezTo>
                  <a:cubicBezTo>
                    <a:pt x="1881" y="271"/>
                    <a:pt x="1915" y="293"/>
                    <a:pt x="1971" y="32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3"/>
            <p:cNvSpPr/>
            <p:nvPr/>
          </p:nvSpPr>
          <p:spPr>
            <a:xfrm>
              <a:off x="1628364" y="2071553"/>
              <a:ext cx="41363" cy="28786"/>
            </a:xfrm>
            <a:custGeom>
              <a:avLst/>
              <a:gdLst/>
              <a:ahLst/>
              <a:cxnLst/>
              <a:rect l="l" t="t" r="r" b="b"/>
              <a:pathLst>
                <a:path w="1184" h="824" extrusionOk="0">
                  <a:moveTo>
                    <a:pt x="597" y="1"/>
                  </a:moveTo>
                  <a:cubicBezTo>
                    <a:pt x="271" y="1"/>
                    <a:pt x="1" y="181"/>
                    <a:pt x="1" y="406"/>
                  </a:cubicBezTo>
                  <a:cubicBezTo>
                    <a:pt x="1" y="632"/>
                    <a:pt x="271" y="823"/>
                    <a:pt x="597" y="823"/>
                  </a:cubicBezTo>
                  <a:cubicBezTo>
                    <a:pt x="924" y="823"/>
                    <a:pt x="1183" y="632"/>
                    <a:pt x="1183" y="406"/>
                  </a:cubicBezTo>
                  <a:cubicBezTo>
                    <a:pt x="1183" y="181"/>
                    <a:pt x="924" y="1"/>
                    <a:pt x="59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3"/>
            <p:cNvSpPr/>
            <p:nvPr/>
          </p:nvSpPr>
          <p:spPr>
            <a:xfrm>
              <a:off x="1843592" y="1946035"/>
              <a:ext cx="41363" cy="28786"/>
            </a:xfrm>
            <a:custGeom>
              <a:avLst/>
              <a:gdLst/>
              <a:ahLst/>
              <a:cxnLst/>
              <a:rect l="l" t="t" r="r" b="b"/>
              <a:pathLst>
                <a:path w="1184" h="824" extrusionOk="0">
                  <a:moveTo>
                    <a:pt x="598" y="1"/>
                  </a:moveTo>
                  <a:cubicBezTo>
                    <a:pt x="260" y="1"/>
                    <a:pt x="1" y="181"/>
                    <a:pt x="1" y="406"/>
                  </a:cubicBezTo>
                  <a:cubicBezTo>
                    <a:pt x="1" y="632"/>
                    <a:pt x="260" y="823"/>
                    <a:pt x="598" y="823"/>
                  </a:cubicBezTo>
                  <a:cubicBezTo>
                    <a:pt x="924" y="823"/>
                    <a:pt x="1183" y="632"/>
                    <a:pt x="1183" y="406"/>
                  </a:cubicBezTo>
                  <a:cubicBezTo>
                    <a:pt x="1183" y="181"/>
                    <a:pt x="924" y="1"/>
                    <a:pt x="59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3"/>
            <p:cNvSpPr/>
            <p:nvPr/>
          </p:nvSpPr>
          <p:spPr>
            <a:xfrm>
              <a:off x="1477660" y="1842072"/>
              <a:ext cx="546593" cy="320808"/>
            </a:xfrm>
            <a:custGeom>
              <a:avLst/>
              <a:gdLst/>
              <a:ahLst/>
              <a:cxnLst/>
              <a:rect l="l" t="t" r="r" b="b"/>
              <a:pathLst>
                <a:path w="15646" h="9183" extrusionOk="0">
                  <a:moveTo>
                    <a:pt x="9615" y="1"/>
                  </a:moveTo>
                  <a:cubicBezTo>
                    <a:pt x="9507" y="1"/>
                    <a:pt x="9400" y="32"/>
                    <a:pt x="9304" y="93"/>
                  </a:cubicBezTo>
                  <a:lnTo>
                    <a:pt x="226" y="5353"/>
                  </a:lnTo>
                  <a:cubicBezTo>
                    <a:pt x="1" y="5477"/>
                    <a:pt x="1" y="5804"/>
                    <a:pt x="226" y="5928"/>
                  </a:cubicBezTo>
                  <a:lnTo>
                    <a:pt x="5576" y="9082"/>
                  </a:lnTo>
                  <a:cubicBezTo>
                    <a:pt x="5694" y="9149"/>
                    <a:pt x="5824" y="9183"/>
                    <a:pt x="5952" y="9183"/>
                  </a:cubicBezTo>
                  <a:cubicBezTo>
                    <a:pt x="6080" y="9183"/>
                    <a:pt x="6207" y="9149"/>
                    <a:pt x="6319" y="9082"/>
                  </a:cubicBezTo>
                  <a:lnTo>
                    <a:pt x="15488" y="3743"/>
                  </a:lnTo>
                  <a:cubicBezTo>
                    <a:pt x="15645" y="3653"/>
                    <a:pt x="15645" y="3427"/>
                    <a:pt x="15488" y="3337"/>
                  </a:cubicBezTo>
                  <a:lnTo>
                    <a:pt x="9935" y="93"/>
                  </a:lnTo>
                  <a:cubicBezTo>
                    <a:pt x="9834" y="32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3"/>
            <p:cNvSpPr/>
            <p:nvPr/>
          </p:nvSpPr>
          <p:spPr>
            <a:xfrm>
              <a:off x="1477660" y="1840989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3"/>
                  </a:lnTo>
                  <a:cubicBezTo>
                    <a:pt x="5813" y="9248"/>
                    <a:pt x="6094" y="9248"/>
                    <a:pt x="6319" y="9113"/>
                  </a:cubicBezTo>
                  <a:lnTo>
                    <a:pt x="15488" y="3774"/>
                  </a:lnTo>
                  <a:cubicBezTo>
                    <a:pt x="15645" y="3684"/>
                    <a:pt x="15645" y="3458"/>
                    <a:pt x="15488" y="3368"/>
                  </a:cubicBezTo>
                  <a:lnTo>
                    <a:pt x="9935" y="124"/>
                  </a:lnTo>
                  <a:cubicBezTo>
                    <a:pt x="9732" y="1"/>
                    <a:pt x="9496" y="1"/>
                    <a:pt x="9304" y="124"/>
                  </a:cubicBezTo>
                  <a:lnTo>
                    <a:pt x="226" y="5384"/>
                  </a:lnTo>
                  <a:cubicBezTo>
                    <a:pt x="1" y="5508"/>
                    <a:pt x="1" y="5835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3"/>
            <p:cNvSpPr/>
            <p:nvPr/>
          </p:nvSpPr>
          <p:spPr>
            <a:xfrm>
              <a:off x="1477660" y="1835679"/>
              <a:ext cx="546593" cy="320913"/>
            </a:xfrm>
            <a:custGeom>
              <a:avLst/>
              <a:gdLst/>
              <a:ahLst/>
              <a:cxnLst/>
              <a:rect l="l" t="t" r="r" b="b"/>
              <a:pathLst>
                <a:path w="15646" h="9186" extrusionOk="0">
                  <a:moveTo>
                    <a:pt x="9615" y="1"/>
                  </a:moveTo>
                  <a:cubicBezTo>
                    <a:pt x="9507" y="1"/>
                    <a:pt x="9400" y="29"/>
                    <a:pt x="9304" y="85"/>
                  </a:cubicBezTo>
                  <a:lnTo>
                    <a:pt x="226" y="5345"/>
                  </a:lnTo>
                  <a:cubicBezTo>
                    <a:pt x="1" y="5480"/>
                    <a:pt x="1" y="5795"/>
                    <a:pt x="226" y="5931"/>
                  </a:cubicBezTo>
                  <a:lnTo>
                    <a:pt x="5576" y="9084"/>
                  </a:lnTo>
                  <a:cubicBezTo>
                    <a:pt x="5694" y="9152"/>
                    <a:pt x="5824" y="9186"/>
                    <a:pt x="5952" y="9186"/>
                  </a:cubicBezTo>
                  <a:cubicBezTo>
                    <a:pt x="6080" y="9186"/>
                    <a:pt x="6207" y="9152"/>
                    <a:pt x="6319" y="9084"/>
                  </a:cubicBezTo>
                  <a:lnTo>
                    <a:pt x="15488" y="3746"/>
                  </a:lnTo>
                  <a:cubicBezTo>
                    <a:pt x="15645" y="3655"/>
                    <a:pt x="15645" y="3430"/>
                    <a:pt x="15488" y="3340"/>
                  </a:cubicBezTo>
                  <a:lnTo>
                    <a:pt x="9935" y="85"/>
                  </a:lnTo>
                  <a:cubicBezTo>
                    <a:pt x="9834" y="29"/>
                    <a:pt x="9724" y="1"/>
                    <a:pt x="961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3"/>
            <p:cNvSpPr/>
            <p:nvPr/>
          </p:nvSpPr>
          <p:spPr>
            <a:xfrm>
              <a:off x="1477660" y="1834701"/>
              <a:ext cx="546593" cy="323079"/>
            </a:xfrm>
            <a:custGeom>
              <a:avLst/>
              <a:gdLst/>
              <a:ahLst/>
              <a:cxnLst/>
              <a:rect l="l" t="t" r="r" b="b"/>
              <a:pathLst>
                <a:path w="15646" h="9248" fill="none" extrusionOk="0">
                  <a:moveTo>
                    <a:pt x="226" y="5959"/>
                  </a:moveTo>
                  <a:lnTo>
                    <a:pt x="5576" y="9112"/>
                  </a:lnTo>
                  <a:cubicBezTo>
                    <a:pt x="5813" y="9247"/>
                    <a:pt x="6094" y="9247"/>
                    <a:pt x="6319" y="9112"/>
                  </a:cubicBezTo>
                  <a:lnTo>
                    <a:pt x="15488" y="3774"/>
                  </a:lnTo>
                  <a:cubicBezTo>
                    <a:pt x="15645" y="3683"/>
                    <a:pt x="15645" y="3458"/>
                    <a:pt x="15488" y="3368"/>
                  </a:cubicBezTo>
                  <a:lnTo>
                    <a:pt x="9935" y="113"/>
                  </a:lnTo>
                  <a:cubicBezTo>
                    <a:pt x="9732" y="0"/>
                    <a:pt x="9496" y="0"/>
                    <a:pt x="9304" y="113"/>
                  </a:cubicBezTo>
                  <a:lnTo>
                    <a:pt x="226" y="5373"/>
                  </a:lnTo>
                  <a:cubicBezTo>
                    <a:pt x="1" y="5508"/>
                    <a:pt x="1" y="5823"/>
                    <a:pt x="226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3"/>
            <p:cNvSpPr/>
            <p:nvPr/>
          </p:nvSpPr>
          <p:spPr>
            <a:xfrm>
              <a:off x="1531178" y="1868517"/>
              <a:ext cx="437980" cy="255829"/>
            </a:xfrm>
            <a:custGeom>
              <a:avLst/>
              <a:gdLst/>
              <a:ahLst/>
              <a:cxnLst/>
              <a:rect l="l" t="t" r="r" b="b"/>
              <a:pathLst>
                <a:path w="12537" h="7323" extrusionOk="0">
                  <a:moveTo>
                    <a:pt x="8752" y="1"/>
                  </a:moveTo>
                  <a:cubicBezTo>
                    <a:pt x="8628" y="170"/>
                    <a:pt x="8380" y="283"/>
                    <a:pt x="8088" y="283"/>
                  </a:cubicBezTo>
                  <a:cubicBezTo>
                    <a:pt x="7806" y="283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1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20"/>
                  </a:lnTo>
                  <a:cubicBezTo>
                    <a:pt x="12334" y="2929"/>
                    <a:pt x="12210" y="2760"/>
                    <a:pt x="12210" y="2580"/>
                  </a:cubicBezTo>
                  <a:lnTo>
                    <a:pt x="12199" y="2580"/>
                  </a:lnTo>
                  <a:cubicBezTo>
                    <a:pt x="12199" y="2423"/>
                    <a:pt x="12311" y="2276"/>
                    <a:pt x="12469" y="2175"/>
                  </a:cubicBezTo>
                  <a:lnTo>
                    <a:pt x="8752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3"/>
            <p:cNvSpPr/>
            <p:nvPr/>
          </p:nvSpPr>
          <p:spPr>
            <a:xfrm>
              <a:off x="1531178" y="1868517"/>
              <a:ext cx="437980" cy="255829"/>
            </a:xfrm>
            <a:custGeom>
              <a:avLst/>
              <a:gdLst/>
              <a:ahLst/>
              <a:cxnLst/>
              <a:rect l="l" t="t" r="r" b="b"/>
              <a:pathLst>
                <a:path w="12537" h="7323" fill="none" extrusionOk="0">
                  <a:moveTo>
                    <a:pt x="12199" y="2580"/>
                  </a:moveTo>
                  <a:cubicBezTo>
                    <a:pt x="12199" y="2423"/>
                    <a:pt x="12311" y="2276"/>
                    <a:pt x="12469" y="2175"/>
                  </a:cubicBezTo>
                  <a:lnTo>
                    <a:pt x="8752" y="1"/>
                  </a:lnTo>
                  <a:cubicBezTo>
                    <a:pt x="8628" y="170"/>
                    <a:pt x="8380" y="283"/>
                    <a:pt x="8088" y="283"/>
                  </a:cubicBezTo>
                  <a:cubicBezTo>
                    <a:pt x="7806" y="283"/>
                    <a:pt x="7558" y="170"/>
                    <a:pt x="7434" y="12"/>
                  </a:cubicBezTo>
                  <a:lnTo>
                    <a:pt x="0" y="4281"/>
                  </a:lnTo>
                  <a:cubicBezTo>
                    <a:pt x="158" y="4382"/>
                    <a:pt x="271" y="4529"/>
                    <a:pt x="271" y="4686"/>
                  </a:cubicBezTo>
                  <a:cubicBezTo>
                    <a:pt x="271" y="4855"/>
                    <a:pt x="169" y="4991"/>
                    <a:pt x="12" y="5092"/>
                  </a:cubicBezTo>
                  <a:lnTo>
                    <a:pt x="3774" y="7311"/>
                  </a:lnTo>
                  <a:cubicBezTo>
                    <a:pt x="3909" y="7153"/>
                    <a:pt x="4145" y="7052"/>
                    <a:pt x="4427" y="7052"/>
                  </a:cubicBezTo>
                  <a:cubicBezTo>
                    <a:pt x="4709" y="7052"/>
                    <a:pt x="4956" y="7164"/>
                    <a:pt x="5092" y="7322"/>
                  </a:cubicBezTo>
                  <a:lnTo>
                    <a:pt x="12537" y="3020"/>
                  </a:lnTo>
                  <a:cubicBezTo>
                    <a:pt x="12334" y="2929"/>
                    <a:pt x="12210" y="2760"/>
                    <a:pt x="12210" y="2580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3"/>
            <p:cNvSpPr/>
            <p:nvPr/>
          </p:nvSpPr>
          <p:spPr>
            <a:xfrm>
              <a:off x="1671647" y="1928743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extrusionOk="0">
                  <a:moveTo>
                    <a:pt x="2456" y="0"/>
                  </a:moveTo>
                  <a:cubicBezTo>
                    <a:pt x="1104" y="0"/>
                    <a:pt x="0" y="766"/>
                    <a:pt x="0" y="1701"/>
                  </a:cubicBezTo>
                  <a:cubicBezTo>
                    <a:pt x="0" y="2636"/>
                    <a:pt x="1104" y="3402"/>
                    <a:pt x="2456" y="3402"/>
                  </a:cubicBezTo>
                  <a:cubicBezTo>
                    <a:pt x="3819" y="3402"/>
                    <a:pt x="4911" y="2636"/>
                    <a:pt x="4911" y="1701"/>
                  </a:cubicBezTo>
                  <a:cubicBezTo>
                    <a:pt x="4911" y="766"/>
                    <a:pt x="3819" y="0"/>
                    <a:pt x="24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" name="Google Shape;958;p33"/>
            <p:cNvSpPr/>
            <p:nvPr/>
          </p:nvSpPr>
          <p:spPr>
            <a:xfrm>
              <a:off x="1671647" y="1928743"/>
              <a:ext cx="171601" cy="118849"/>
            </a:xfrm>
            <a:custGeom>
              <a:avLst/>
              <a:gdLst/>
              <a:ahLst/>
              <a:cxnLst/>
              <a:rect l="l" t="t" r="r" b="b"/>
              <a:pathLst>
                <a:path w="4912" h="3402" fill="none" extrusionOk="0">
                  <a:moveTo>
                    <a:pt x="4911" y="1701"/>
                  </a:moveTo>
                  <a:cubicBezTo>
                    <a:pt x="4911" y="2636"/>
                    <a:pt x="3819" y="3402"/>
                    <a:pt x="2456" y="3402"/>
                  </a:cubicBezTo>
                  <a:cubicBezTo>
                    <a:pt x="1104" y="3402"/>
                    <a:pt x="0" y="2636"/>
                    <a:pt x="0" y="1701"/>
                  </a:cubicBezTo>
                  <a:cubicBezTo>
                    <a:pt x="0" y="766"/>
                    <a:pt x="1104" y="0"/>
                    <a:pt x="2456" y="0"/>
                  </a:cubicBezTo>
                  <a:cubicBezTo>
                    <a:pt x="3819" y="0"/>
                    <a:pt x="4911" y="766"/>
                    <a:pt x="4911" y="1701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3"/>
            <p:cNvSpPr/>
            <p:nvPr/>
          </p:nvSpPr>
          <p:spPr>
            <a:xfrm>
              <a:off x="1694878" y="1955083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extrusionOk="0">
                  <a:moveTo>
                    <a:pt x="360" y="1"/>
                  </a:moveTo>
                  <a:lnTo>
                    <a:pt x="68" y="114"/>
                  </a:lnTo>
                  <a:lnTo>
                    <a:pt x="282" y="237"/>
                  </a:lnTo>
                  <a:cubicBezTo>
                    <a:pt x="90" y="339"/>
                    <a:pt x="0" y="451"/>
                    <a:pt x="11" y="553"/>
                  </a:cubicBezTo>
                  <a:cubicBezTo>
                    <a:pt x="11" y="665"/>
                    <a:pt x="124" y="778"/>
                    <a:pt x="327" y="891"/>
                  </a:cubicBezTo>
                  <a:cubicBezTo>
                    <a:pt x="462" y="970"/>
                    <a:pt x="608" y="1026"/>
                    <a:pt x="777" y="1071"/>
                  </a:cubicBezTo>
                  <a:cubicBezTo>
                    <a:pt x="935" y="1105"/>
                    <a:pt x="1081" y="1127"/>
                    <a:pt x="1216" y="1138"/>
                  </a:cubicBezTo>
                  <a:cubicBezTo>
                    <a:pt x="1352" y="1138"/>
                    <a:pt x="1577" y="1138"/>
                    <a:pt x="1904" y="1127"/>
                  </a:cubicBezTo>
                  <a:cubicBezTo>
                    <a:pt x="2095" y="1127"/>
                    <a:pt x="2241" y="1138"/>
                    <a:pt x="2320" y="1161"/>
                  </a:cubicBezTo>
                  <a:cubicBezTo>
                    <a:pt x="2410" y="1195"/>
                    <a:pt x="2523" y="1251"/>
                    <a:pt x="2681" y="1330"/>
                  </a:cubicBezTo>
                  <a:cubicBezTo>
                    <a:pt x="2737" y="1364"/>
                    <a:pt x="2771" y="1398"/>
                    <a:pt x="2782" y="1420"/>
                  </a:cubicBezTo>
                  <a:cubicBezTo>
                    <a:pt x="2793" y="1443"/>
                    <a:pt x="2782" y="1465"/>
                    <a:pt x="2737" y="1488"/>
                  </a:cubicBezTo>
                  <a:cubicBezTo>
                    <a:pt x="2709" y="1499"/>
                    <a:pt x="2684" y="1505"/>
                    <a:pt x="2657" y="1505"/>
                  </a:cubicBezTo>
                  <a:cubicBezTo>
                    <a:pt x="2630" y="1505"/>
                    <a:pt x="2602" y="1499"/>
                    <a:pt x="2568" y="1488"/>
                  </a:cubicBezTo>
                  <a:cubicBezTo>
                    <a:pt x="2512" y="1476"/>
                    <a:pt x="2399" y="1409"/>
                    <a:pt x="2208" y="1307"/>
                  </a:cubicBezTo>
                  <a:lnTo>
                    <a:pt x="2050" y="1217"/>
                  </a:lnTo>
                  <a:lnTo>
                    <a:pt x="1408" y="1476"/>
                  </a:lnTo>
                  <a:lnTo>
                    <a:pt x="1543" y="1555"/>
                  </a:lnTo>
                  <a:cubicBezTo>
                    <a:pt x="1847" y="1724"/>
                    <a:pt x="2118" y="1814"/>
                    <a:pt x="2365" y="1826"/>
                  </a:cubicBezTo>
                  <a:cubicBezTo>
                    <a:pt x="2407" y="1827"/>
                    <a:pt x="2447" y="1828"/>
                    <a:pt x="2487" y="1828"/>
                  </a:cubicBezTo>
                  <a:cubicBezTo>
                    <a:pt x="2687" y="1828"/>
                    <a:pt x="2870" y="1805"/>
                    <a:pt x="3030" y="1758"/>
                  </a:cubicBezTo>
                  <a:lnTo>
                    <a:pt x="3289" y="1904"/>
                  </a:lnTo>
                  <a:lnTo>
                    <a:pt x="3582" y="1780"/>
                  </a:lnTo>
                  <a:lnTo>
                    <a:pt x="3323" y="1645"/>
                  </a:lnTo>
                  <a:cubicBezTo>
                    <a:pt x="3514" y="1533"/>
                    <a:pt x="3593" y="1420"/>
                    <a:pt x="3570" y="1296"/>
                  </a:cubicBezTo>
                  <a:cubicBezTo>
                    <a:pt x="3537" y="1172"/>
                    <a:pt x="3402" y="1048"/>
                    <a:pt x="3165" y="913"/>
                  </a:cubicBezTo>
                  <a:cubicBezTo>
                    <a:pt x="3007" y="823"/>
                    <a:pt x="2861" y="767"/>
                    <a:pt x="2714" y="722"/>
                  </a:cubicBezTo>
                  <a:cubicBezTo>
                    <a:pt x="2579" y="688"/>
                    <a:pt x="2444" y="665"/>
                    <a:pt x="2332" y="654"/>
                  </a:cubicBezTo>
                  <a:cubicBezTo>
                    <a:pt x="2219" y="654"/>
                    <a:pt x="2027" y="654"/>
                    <a:pt x="1757" y="665"/>
                  </a:cubicBezTo>
                  <a:cubicBezTo>
                    <a:pt x="1599" y="671"/>
                    <a:pt x="1473" y="674"/>
                    <a:pt x="1376" y="674"/>
                  </a:cubicBezTo>
                  <a:cubicBezTo>
                    <a:pt x="1278" y="674"/>
                    <a:pt x="1211" y="671"/>
                    <a:pt x="1171" y="665"/>
                  </a:cubicBezTo>
                  <a:cubicBezTo>
                    <a:pt x="1081" y="654"/>
                    <a:pt x="991" y="620"/>
                    <a:pt x="879" y="564"/>
                  </a:cubicBezTo>
                  <a:cubicBezTo>
                    <a:pt x="822" y="530"/>
                    <a:pt x="777" y="496"/>
                    <a:pt x="766" y="474"/>
                  </a:cubicBezTo>
                  <a:cubicBezTo>
                    <a:pt x="755" y="451"/>
                    <a:pt x="766" y="429"/>
                    <a:pt x="811" y="406"/>
                  </a:cubicBezTo>
                  <a:cubicBezTo>
                    <a:pt x="837" y="400"/>
                    <a:pt x="863" y="393"/>
                    <a:pt x="891" y="393"/>
                  </a:cubicBezTo>
                  <a:cubicBezTo>
                    <a:pt x="912" y="393"/>
                    <a:pt x="934" y="397"/>
                    <a:pt x="957" y="406"/>
                  </a:cubicBezTo>
                  <a:cubicBezTo>
                    <a:pt x="1014" y="418"/>
                    <a:pt x="1093" y="463"/>
                    <a:pt x="1216" y="519"/>
                  </a:cubicBezTo>
                  <a:lnTo>
                    <a:pt x="1329" y="587"/>
                  </a:lnTo>
                  <a:lnTo>
                    <a:pt x="1971" y="328"/>
                  </a:lnTo>
                  <a:cubicBezTo>
                    <a:pt x="1915" y="294"/>
                    <a:pt x="1881" y="271"/>
                    <a:pt x="1847" y="249"/>
                  </a:cubicBezTo>
                  <a:cubicBezTo>
                    <a:pt x="1644" y="136"/>
                    <a:pt x="1442" y="68"/>
                    <a:pt x="1228" y="46"/>
                  </a:cubicBezTo>
                  <a:cubicBezTo>
                    <a:pt x="1174" y="40"/>
                    <a:pt x="1121" y="38"/>
                    <a:pt x="1067" y="38"/>
                  </a:cubicBezTo>
                  <a:cubicBezTo>
                    <a:pt x="906" y="38"/>
                    <a:pt x="743" y="63"/>
                    <a:pt x="574" y="114"/>
                  </a:cubicBezTo>
                  <a:lnTo>
                    <a:pt x="360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3"/>
            <p:cNvSpPr/>
            <p:nvPr/>
          </p:nvSpPr>
          <p:spPr>
            <a:xfrm>
              <a:off x="1694878" y="1955083"/>
              <a:ext cx="125556" cy="66551"/>
            </a:xfrm>
            <a:custGeom>
              <a:avLst/>
              <a:gdLst/>
              <a:ahLst/>
              <a:cxnLst/>
              <a:rect l="l" t="t" r="r" b="b"/>
              <a:pathLst>
                <a:path w="3594" h="1905" fill="none" extrusionOk="0">
                  <a:moveTo>
                    <a:pt x="1971" y="328"/>
                  </a:moveTo>
                  <a:lnTo>
                    <a:pt x="1329" y="587"/>
                  </a:lnTo>
                  <a:lnTo>
                    <a:pt x="1216" y="519"/>
                  </a:lnTo>
                  <a:cubicBezTo>
                    <a:pt x="1093" y="463"/>
                    <a:pt x="1014" y="418"/>
                    <a:pt x="957" y="406"/>
                  </a:cubicBezTo>
                  <a:cubicBezTo>
                    <a:pt x="901" y="384"/>
                    <a:pt x="856" y="395"/>
                    <a:pt x="811" y="406"/>
                  </a:cubicBezTo>
                  <a:cubicBezTo>
                    <a:pt x="766" y="429"/>
                    <a:pt x="755" y="451"/>
                    <a:pt x="766" y="474"/>
                  </a:cubicBezTo>
                  <a:cubicBezTo>
                    <a:pt x="777" y="496"/>
                    <a:pt x="822" y="530"/>
                    <a:pt x="879" y="564"/>
                  </a:cubicBezTo>
                  <a:cubicBezTo>
                    <a:pt x="991" y="620"/>
                    <a:pt x="1081" y="654"/>
                    <a:pt x="1171" y="665"/>
                  </a:cubicBezTo>
                  <a:cubicBezTo>
                    <a:pt x="1250" y="677"/>
                    <a:pt x="1442" y="677"/>
                    <a:pt x="1757" y="665"/>
                  </a:cubicBezTo>
                  <a:cubicBezTo>
                    <a:pt x="2027" y="654"/>
                    <a:pt x="2219" y="654"/>
                    <a:pt x="2332" y="654"/>
                  </a:cubicBezTo>
                  <a:cubicBezTo>
                    <a:pt x="2444" y="665"/>
                    <a:pt x="2579" y="688"/>
                    <a:pt x="2714" y="722"/>
                  </a:cubicBezTo>
                  <a:cubicBezTo>
                    <a:pt x="2861" y="767"/>
                    <a:pt x="3007" y="823"/>
                    <a:pt x="3165" y="913"/>
                  </a:cubicBezTo>
                  <a:cubicBezTo>
                    <a:pt x="3402" y="1048"/>
                    <a:pt x="3537" y="1172"/>
                    <a:pt x="3570" y="1296"/>
                  </a:cubicBezTo>
                  <a:cubicBezTo>
                    <a:pt x="3593" y="1420"/>
                    <a:pt x="3514" y="1533"/>
                    <a:pt x="3323" y="1645"/>
                  </a:cubicBezTo>
                  <a:lnTo>
                    <a:pt x="3582" y="1780"/>
                  </a:lnTo>
                  <a:lnTo>
                    <a:pt x="3289" y="1904"/>
                  </a:lnTo>
                  <a:lnTo>
                    <a:pt x="3030" y="1758"/>
                  </a:lnTo>
                  <a:cubicBezTo>
                    <a:pt x="2838" y="1814"/>
                    <a:pt x="2613" y="1837"/>
                    <a:pt x="2365" y="1826"/>
                  </a:cubicBezTo>
                  <a:cubicBezTo>
                    <a:pt x="2118" y="1814"/>
                    <a:pt x="1847" y="1724"/>
                    <a:pt x="1543" y="1555"/>
                  </a:cubicBezTo>
                  <a:lnTo>
                    <a:pt x="1408" y="1476"/>
                  </a:lnTo>
                  <a:lnTo>
                    <a:pt x="2050" y="1217"/>
                  </a:lnTo>
                  <a:lnTo>
                    <a:pt x="2208" y="1307"/>
                  </a:lnTo>
                  <a:cubicBezTo>
                    <a:pt x="2399" y="1409"/>
                    <a:pt x="2512" y="1476"/>
                    <a:pt x="2568" y="1488"/>
                  </a:cubicBezTo>
                  <a:cubicBezTo>
                    <a:pt x="2636" y="1510"/>
                    <a:pt x="2681" y="1510"/>
                    <a:pt x="2737" y="1488"/>
                  </a:cubicBezTo>
                  <a:cubicBezTo>
                    <a:pt x="2782" y="1465"/>
                    <a:pt x="2793" y="1443"/>
                    <a:pt x="2782" y="1420"/>
                  </a:cubicBezTo>
                  <a:cubicBezTo>
                    <a:pt x="2771" y="1398"/>
                    <a:pt x="2737" y="1364"/>
                    <a:pt x="2681" y="1330"/>
                  </a:cubicBezTo>
                  <a:cubicBezTo>
                    <a:pt x="2523" y="1251"/>
                    <a:pt x="2410" y="1195"/>
                    <a:pt x="2320" y="1161"/>
                  </a:cubicBezTo>
                  <a:cubicBezTo>
                    <a:pt x="2241" y="1138"/>
                    <a:pt x="2095" y="1127"/>
                    <a:pt x="1904" y="1127"/>
                  </a:cubicBezTo>
                  <a:cubicBezTo>
                    <a:pt x="1577" y="1138"/>
                    <a:pt x="1352" y="1138"/>
                    <a:pt x="1216" y="1138"/>
                  </a:cubicBezTo>
                  <a:cubicBezTo>
                    <a:pt x="1081" y="1127"/>
                    <a:pt x="935" y="1105"/>
                    <a:pt x="777" y="1071"/>
                  </a:cubicBezTo>
                  <a:cubicBezTo>
                    <a:pt x="608" y="1026"/>
                    <a:pt x="462" y="970"/>
                    <a:pt x="327" y="891"/>
                  </a:cubicBezTo>
                  <a:cubicBezTo>
                    <a:pt x="124" y="778"/>
                    <a:pt x="11" y="665"/>
                    <a:pt x="11" y="553"/>
                  </a:cubicBezTo>
                  <a:cubicBezTo>
                    <a:pt x="0" y="451"/>
                    <a:pt x="90" y="339"/>
                    <a:pt x="282" y="237"/>
                  </a:cubicBezTo>
                  <a:lnTo>
                    <a:pt x="68" y="114"/>
                  </a:lnTo>
                  <a:lnTo>
                    <a:pt x="360" y="1"/>
                  </a:lnTo>
                  <a:lnTo>
                    <a:pt x="574" y="114"/>
                  </a:lnTo>
                  <a:cubicBezTo>
                    <a:pt x="800" y="46"/>
                    <a:pt x="1014" y="23"/>
                    <a:pt x="1228" y="46"/>
                  </a:cubicBezTo>
                  <a:cubicBezTo>
                    <a:pt x="1442" y="68"/>
                    <a:pt x="1644" y="136"/>
                    <a:pt x="1847" y="249"/>
                  </a:cubicBezTo>
                  <a:cubicBezTo>
                    <a:pt x="1881" y="271"/>
                    <a:pt x="1915" y="294"/>
                    <a:pt x="1971" y="32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3"/>
            <p:cNvSpPr/>
            <p:nvPr/>
          </p:nvSpPr>
          <p:spPr>
            <a:xfrm>
              <a:off x="1628364" y="2042069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7" y="0"/>
                  </a:moveTo>
                  <a:cubicBezTo>
                    <a:pt x="271" y="0"/>
                    <a:pt x="1" y="180"/>
                    <a:pt x="1" y="406"/>
                  </a:cubicBezTo>
                  <a:cubicBezTo>
                    <a:pt x="1" y="631"/>
                    <a:pt x="271" y="822"/>
                    <a:pt x="597" y="822"/>
                  </a:cubicBezTo>
                  <a:cubicBezTo>
                    <a:pt x="924" y="822"/>
                    <a:pt x="1183" y="631"/>
                    <a:pt x="1183" y="406"/>
                  </a:cubicBezTo>
                  <a:cubicBezTo>
                    <a:pt x="1183" y="180"/>
                    <a:pt x="924" y="0"/>
                    <a:pt x="5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3"/>
            <p:cNvSpPr/>
            <p:nvPr/>
          </p:nvSpPr>
          <p:spPr>
            <a:xfrm>
              <a:off x="1843592" y="1916551"/>
              <a:ext cx="41363" cy="28752"/>
            </a:xfrm>
            <a:custGeom>
              <a:avLst/>
              <a:gdLst/>
              <a:ahLst/>
              <a:cxnLst/>
              <a:rect l="l" t="t" r="r" b="b"/>
              <a:pathLst>
                <a:path w="1184" h="823" extrusionOk="0">
                  <a:moveTo>
                    <a:pt x="598" y="0"/>
                  </a:moveTo>
                  <a:cubicBezTo>
                    <a:pt x="260" y="0"/>
                    <a:pt x="1" y="180"/>
                    <a:pt x="1" y="406"/>
                  </a:cubicBezTo>
                  <a:cubicBezTo>
                    <a:pt x="1" y="631"/>
                    <a:pt x="260" y="822"/>
                    <a:pt x="598" y="822"/>
                  </a:cubicBezTo>
                  <a:cubicBezTo>
                    <a:pt x="924" y="822"/>
                    <a:pt x="1183" y="631"/>
                    <a:pt x="1183" y="406"/>
                  </a:cubicBezTo>
                  <a:cubicBezTo>
                    <a:pt x="1183" y="180"/>
                    <a:pt x="924" y="0"/>
                    <a:pt x="59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3" name="Google Shape;963;p33"/>
          <p:cNvGrpSpPr/>
          <p:nvPr/>
        </p:nvGrpSpPr>
        <p:grpSpPr>
          <a:xfrm>
            <a:off x="1051028" y="1240410"/>
            <a:ext cx="1226139" cy="1052197"/>
            <a:chOff x="3337647" y="-19723"/>
            <a:chExt cx="543453" cy="466358"/>
          </a:xfrm>
        </p:grpSpPr>
        <p:grpSp>
          <p:nvGrpSpPr>
            <p:cNvPr id="964" name="Google Shape;964;p33"/>
            <p:cNvGrpSpPr/>
            <p:nvPr/>
          </p:nvGrpSpPr>
          <p:grpSpPr>
            <a:xfrm>
              <a:off x="3337647" y="-19723"/>
              <a:ext cx="543453" cy="466358"/>
              <a:chOff x="3670072" y="965127"/>
              <a:chExt cx="543453" cy="466358"/>
            </a:xfrm>
          </p:grpSpPr>
          <p:sp>
            <p:nvSpPr>
              <p:cNvPr id="965" name="Google Shape;965;p33"/>
              <p:cNvSpPr/>
              <p:nvPr/>
            </p:nvSpPr>
            <p:spPr>
              <a:xfrm>
                <a:off x="3670077" y="1171687"/>
                <a:ext cx="543449" cy="259798"/>
              </a:xfrm>
              <a:custGeom>
                <a:avLst/>
                <a:gdLst/>
                <a:ahLst/>
                <a:cxnLst/>
                <a:rect l="l" t="t" r="r" b="b"/>
                <a:pathLst>
                  <a:path w="15556" h="6748" extrusionOk="0">
                    <a:moveTo>
                      <a:pt x="23" y="1"/>
                    </a:moveTo>
                    <a:cubicBezTo>
                      <a:pt x="35" y="46"/>
                      <a:pt x="35" y="80"/>
                      <a:pt x="46" y="125"/>
                    </a:cubicBezTo>
                    <a:cubicBezTo>
                      <a:pt x="12" y="249"/>
                      <a:pt x="1" y="372"/>
                      <a:pt x="1" y="508"/>
                    </a:cubicBezTo>
                    <a:cubicBezTo>
                      <a:pt x="1" y="586"/>
                      <a:pt x="1" y="654"/>
                      <a:pt x="12" y="733"/>
                    </a:cubicBezTo>
                    <a:lnTo>
                      <a:pt x="1" y="1397"/>
                    </a:lnTo>
                    <a:cubicBezTo>
                      <a:pt x="1" y="1454"/>
                      <a:pt x="1" y="1499"/>
                      <a:pt x="1" y="1544"/>
                    </a:cubicBezTo>
                    <a:cubicBezTo>
                      <a:pt x="1" y="1916"/>
                      <a:pt x="125" y="2265"/>
                      <a:pt x="361" y="2569"/>
                    </a:cubicBezTo>
                    <a:cubicBezTo>
                      <a:pt x="372" y="2580"/>
                      <a:pt x="384" y="2591"/>
                      <a:pt x="395" y="2614"/>
                    </a:cubicBezTo>
                    <a:cubicBezTo>
                      <a:pt x="936" y="3290"/>
                      <a:pt x="1983" y="3740"/>
                      <a:pt x="3177" y="3740"/>
                    </a:cubicBezTo>
                    <a:cubicBezTo>
                      <a:pt x="3898" y="3740"/>
                      <a:pt x="4551" y="3582"/>
                      <a:pt x="5092" y="3301"/>
                    </a:cubicBezTo>
                    <a:lnTo>
                      <a:pt x="5092" y="3301"/>
                    </a:lnTo>
                    <a:cubicBezTo>
                      <a:pt x="5081" y="3368"/>
                      <a:pt x="5069" y="3436"/>
                      <a:pt x="5069" y="3504"/>
                    </a:cubicBezTo>
                    <a:cubicBezTo>
                      <a:pt x="5069" y="3582"/>
                      <a:pt x="5081" y="3661"/>
                      <a:pt x="5092" y="3740"/>
                    </a:cubicBezTo>
                    <a:lnTo>
                      <a:pt x="5081" y="4405"/>
                    </a:lnTo>
                    <a:cubicBezTo>
                      <a:pt x="5081" y="4450"/>
                      <a:pt x="5069" y="4506"/>
                      <a:pt x="5069" y="4551"/>
                    </a:cubicBezTo>
                    <a:cubicBezTo>
                      <a:pt x="5069" y="4698"/>
                      <a:pt x="5092" y="4844"/>
                      <a:pt x="5137" y="4990"/>
                    </a:cubicBezTo>
                    <a:cubicBezTo>
                      <a:pt x="5430" y="5993"/>
                      <a:pt x="6714" y="6747"/>
                      <a:pt x="8257" y="6747"/>
                    </a:cubicBezTo>
                    <a:cubicBezTo>
                      <a:pt x="9000" y="6747"/>
                      <a:pt x="9687" y="6567"/>
                      <a:pt x="10239" y="6274"/>
                    </a:cubicBezTo>
                    <a:cubicBezTo>
                      <a:pt x="10262" y="6252"/>
                      <a:pt x="10295" y="6241"/>
                      <a:pt x="10318" y="6218"/>
                    </a:cubicBezTo>
                    <a:cubicBezTo>
                      <a:pt x="10611" y="6049"/>
                      <a:pt x="10847" y="5846"/>
                      <a:pt x="11039" y="5610"/>
                    </a:cubicBezTo>
                    <a:cubicBezTo>
                      <a:pt x="11050" y="5599"/>
                      <a:pt x="11061" y="5587"/>
                      <a:pt x="11073" y="5576"/>
                    </a:cubicBezTo>
                    <a:cubicBezTo>
                      <a:pt x="11208" y="5396"/>
                      <a:pt x="11309" y="5193"/>
                      <a:pt x="11365" y="4990"/>
                    </a:cubicBezTo>
                    <a:cubicBezTo>
                      <a:pt x="11411" y="4844"/>
                      <a:pt x="11433" y="4698"/>
                      <a:pt x="11433" y="4551"/>
                    </a:cubicBezTo>
                    <a:lnTo>
                      <a:pt x="11433" y="4258"/>
                    </a:lnTo>
                    <a:cubicBezTo>
                      <a:pt x="11726" y="4326"/>
                      <a:pt x="12041" y="4360"/>
                      <a:pt x="12368" y="4360"/>
                    </a:cubicBezTo>
                    <a:cubicBezTo>
                      <a:pt x="13123" y="4360"/>
                      <a:pt x="13810" y="4179"/>
                      <a:pt x="14350" y="3875"/>
                    </a:cubicBezTo>
                    <a:cubicBezTo>
                      <a:pt x="14384" y="3864"/>
                      <a:pt x="14407" y="3842"/>
                      <a:pt x="14440" y="3830"/>
                    </a:cubicBezTo>
                    <a:cubicBezTo>
                      <a:pt x="14722" y="3661"/>
                      <a:pt x="14970" y="3447"/>
                      <a:pt x="15150" y="3222"/>
                    </a:cubicBezTo>
                    <a:cubicBezTo>
                      <a:pt x="15161" y="3211"/>
                      <a:pt x="15172" y="3188"/>
                      <a:pt x="15184" y="3177"/>
                    </a:cubicBezTo>
                    <a:cubicBezTo>
                      <a:pt x="15319" y="2997"/>
                      <a:pt x="15432" y="2805"/>
                      <a:pt x="15488" y="2603"/>
                    </a:cubicBezTo>
                    <a:cubicBezTo>
                      <a:pt x="15533" y="2456"/>
                      <a:pt x="15555" y="2310"/>
                      <a:pt x="15555" y="2152"/>
                    </a:cubicBezTo>
                    <a:lnTo>
                      <a:pt x="15555" y="1116"/>
                    </a:lnTo>
                    <a:cubicBezTo>
                      <a:pt x="15555" y="981"/>
                      <a:pt x="15533" y="857"/>
                      <a:pt x="15499" y="733"/>
                    </a:cubicBezTo>
                    <a:cubicBezTo>
                      <a:pt x="15533" y="609"/>
                      <a:pt x="15555" y="485"/>
                      <a:pt x="15555" y="350"/>
                    </a:cubicBezTo>
                    <a:lnTo>
                      <a:pt x="15555" y="1"/>
                    </a:lnTo>
                    <a:close/>
                  </a:path>
                </a:pathLst>
              </a:custGeom>
              <a:solidFill>
                <a:srgbClr val="000000">
                  <a:alpha val="126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6" name="Google Shape;966;p33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lnTo>
                      <a:pt x="5981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7" name="Google Shape;967;p33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" name="Google Shape;968;p33"/>
              <p:cNvSpPr/>
              <p:nvPr/>
            </p:nvSpPr>
            <p:spPr>
              <a:xfrm>
                <a:off x="3991149" y="1157159"/>
                <a:ext cx="222361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3" fill="none" extrusionOk="0">
                    <a:moveTo>
                      <a:pt x="5981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84" y="1149"/>
                    </a:cubicBezTo>
                    <a:lnTo>
                      <a:pt x="23" y="1149"/>
                    </a:lnTo>
                    <a:lnTo>
                      <a:pt x="12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6"/>
                    </a:cubicBezTo>
                    <a:lnTo>
                      <a:pt x="6364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" name="Google Shape;969;p33"/>
              <p:cNvSpPr/>
              <p:nvPr/>
            </p:nvSpPr>
            <p:spPr>
              <a:xfrm>
                <a:off x="3991149" y="115674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" name="Google Shape;970;p33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64" y="3413"/>
                      <a:pt x="6364" y="2197"/>
                    </a:cubicBezTo>
                    <a:cubicBezTo>
                      <a:pt x="6364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" name="Google Shape;971;p33"/>
              <p:cNvSpPr/>
              <p:nvPr/>
            </p:nvSpPr>
            <p:spPr>
              <a:xfrm>
                <a:off x="3991149" y="1120548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" name="Google Shape;972;p33"/>
              <p:cNvSpPr/>
              <p:nvPr/>
            </p:nvSpPr>
            <p:spPr>
              <a:xfrm>
                <a:off x="4102903" y="127478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cubicBezTo>
                      <a:pt x="0" y="1003"/>
                      <a:pt x="0" y="981"/>
                      <a:pt x="0" y="947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" name="Google Shape;973;p33"/>
              <p:cNvSpPr/>
              <p:nvPr/>
            </p:nvSpPr>
            <p:spPr>
              <a:xfrm>
                <a:off x="4078100" y="127244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" name="Google Shape;974;p33"/>
              <p:cNvSpPr/>
              <p:nvPr/>
            </p:nvSpPr>
            <p:spPr>
              <a:xfrm>
                <a:off x="4055288" y="126730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5" name="Google Shape;975;p33"/>
              <p:cNvSpPr/>
              <p:nvPr/>
            </p:nvSpPr>
            <p:spPr>
              <a:xfrm>
                <a:off x="4034048" y="125864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6" name="Google Shape;976;p33"/>
              <p:cNvSpPr/>
              <p:nvPr/>
            </p:nvSpPr>
            <p:spPr>
              <a:xfrm>
                <a:off x="4016337" y="124645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7" name="Google Shape;977;p33"/>
              <p:cNvSpPr/>
              <p:nvPr/>
            </p:nvSpPr>
            <p:spPr>
              <a:xfrm>
                <a:off x="3999813" y="122639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8" name="Google Shape;978;p33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23" y="2647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9" name="Google Shape;979;p33"/>
              <p:cNvSpPr/>
              <p:nvPr/>
            </p:nvSpPr>
            <p:spPr>
              <a:xfrm>
                <a:off x="4016337" y="1137875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0" name="Google Shape;980;p33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37"/>
                    </a:lnTo>
                    <a:cubicBezTo>
                      <a:pt x="90" y="350"/>
                      <a:pt x="0" y="451"/>
                      <a:pt x="11" y="564"/>
                    </a:cubicBezTo>
                    <a:cubicBezTo>
                      <a:pt x="11" y="665"/>
                      <a:pt x="124" y="778"/>
                      <a:pt x="327" y="891"/>
                    </a:cubicBezTo>
                    <a:cubicBezTo>
                      <a:pt x="462" y="969"/>
                      <a:pt x="620" y="1026"/>
                      <a:pt x="777" y="1071"/>
                    </a:cubicBezTo>
                    <a:cubicBezTo>
                      <a:pt x="935" y="1105"/>
                      <a:pt x="1081" y="1138"/>
                      <a:pt x="1216" y="1138"/>
                    </a:cubicBezTo>
                    <a:cubicBezTo>
                      <a:pt x="1352" y="1138"/>
                      <a:pt x="1577" y="1138"/>
                      <a:pt x="1904" y="1127"/>
                    </a:cubicBezTo>
                    <a:cubicBezTo>
                      <a:pt x="2095" y="1127"/>
                      <a:pt x="2241" y="1138"/>
                      <a:pt x="2320" y="1161"/>
                    </a:cubicBezTo>
                    <a:cubicBezTo>
                      <a:pt x="2410" y="1195"/>
                      <a:pt x="2534" y="1251"/>
                      <a:pt x="2681" y="1330"/>
                    </a:cubicBezTo>
                    <a:cubicBezTo>
                      <a:pt x="2737" y="1364"/>
                      <a:pt x="2782" y="1397"/>
                      <a:pt x="2782" y="1420"/>
                    </a:cubicBezTo>
                    <a:cubicBezTo>
                      <a:pt x="2793" y="1454"/>
                      <a:pt x="2782" y="1476"/>
                      <a:pt x="2737" y="1487"/>
                    </a:cubicBezTo>
                    <a:cubicBezTo>
                      <a:pt x="2709" y="1499"/>
                      <a:pt x="2684" y="1504"/>
                      <a:pt x="2658" y="1504"/>
                    </a:cubicBezTo>
                    <a:cubicBezTo>
                      <a:pt x="2633" y="1504"/>
                      <a:pt x="2608" y="1499"/>
                      <a:pt x="2579" y="1487"/>
                    </a:cubicBezTo>
                    <a:cubicBezTo>
                      <a:pt x="2512" y="1476"/>
                      <a:pt x="2399" y="1409"/>
                      <a:pt x="2219" y="1307"/>
                    </a:cubicBezTo>
                    <a:lnTo>
                      <a:pt x="2050" y="1217"/>
                    </a:lnTo>
                    <a:lnTo>
                      <a:pt x="1408" y="1487"/>
                    </a:lnTo>
                    <a:lnTo>
                      <a:pt x="1543" y="1555"/>
                    </a:lnTo>
                    <a:cubicBezTo>
                      <a:pt x="1847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4" y="1834"/>
                      <a:pt x="2886" y="1809"/>
                      <a:pt x="3030" y="1758"/>
                    </a:cubicBezTo>
                    <a:lnTo>
                      <a:pt x="3289" y="1904"/>
                    </a:lnTo>
                    <a:lnTo>
                      <a:pt x="3582" y="1792"/>
                    </a:lnTo>
                    <a:lnTo>
                      <a:pt x="3334" y="1645"/>
                    </a:lnTo>
                    <a:cubicBezTo>
                      <a:pt x="3514" y="1533"/>
                      <a:pt x="3593" y="1420"/>
                      <a:pt x="3571" y="1296"/>
                    </a:cubicBezTo>
                    <a:cubicBezTo>
                      <a:pt x="3537" y="1172"/>
                      <a:pt x="3402" y="1048"/>
                      <a:pt x="3165" y="913"/>
                    </a:cubicBezTo>
                    <a:cubicBezTo>
                      <a:pt x="3007" y="834"/>
                      <a:pt x="2861" y="767"/>
                      <a:pt x="2726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3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5" y="671"/>
                      <a:pt x="1478" y="674"/>
                      <a:pt x="1380" y="674"/>
                    </a:cubicBezTo>
                    <a:cubicBezTo>
                      <a:pt x="1281" y="674"/>
                      <a:pt x="1211" y="671"/>
                      <a:pt x="1171" y="665"/>
                    </a:cubicBezTo>
                    <a:cubicBezTo>
                      <a:pt x="1081" y="665"/>
                      <a:pt x="991" y="631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7" y="404"/>
                      <a:pt x="868" y="399"/>
                      <a:pt x="897" y="399"/>
                    </a:cubicBezTo>
                    <a:cubicBezTo>
                      <a:pt x="918" y="399"/>
                      <a:pt x="939" y="402"/>
                      <a:pt x="957" y="406"/>
                    </a:cubicBezTo>
                    <a:cubicBezTo>
                      <a:pt x="1014" y="417"/>
                      <a:pt x="1093" y="463"/>
                      <a:pt x="1216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81" y="271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1" name="Google Shape;981;p33"/>
              <p:cNvSpPr/>
              <p:nvPr/>
            </p:nvSpPr>
            <p:spPr>
              <a:xfrm>
                <a:off x="4039568" y="116421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6" y="530"/>
                    </a:lnTo>
                    <a:cubicBezTo>
                      <a:pt x="1093" y="463"/>
                      <a:pt x="1014" y="417"/>
                      <a:pt x="957" y="406"/>
                    </a:cubicBezTo>
                    <a:cubicBezTo>
                      <a:pt x="912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31"/>
                      <a:pt x="1081" y="665"/>
                      <a:pt x="1171" y="665"/>
                    </a:cubicBezTo>
                    <a:cubicBezTo>
                      <a:pt x="1250" y="677"/>
                      <a:pt x="1453" y="677"/>
                      <a:pt x="1757" y="665"/>
                    </a:cubicBezTo>
                    <a:cubicBezTo>
                      <a:pt x="2027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26" y="733"/>
                    </a:cubicBezTo>
                    <a:cubicBezTo>
                      <a:pt x="2861" y="767"/>
                      <a:pt x="3007" y="834"/>
                      <a:pt x="3165" y="913"/>
                    </a:cubicBezTo>
                    <a:cubicBezTo>
                      <a:pt x="3402" y="1048"/>
                      <a:pt x="3537" y="1172"/>
                      <a:pt x="3571" y="1296"/>
                    </a:cubicBezTo>
                    <a:cubicBezTo>
                      <a:pt x="3593" y="1420"/>
                      <a:pt x="3514" y="1533"/>
                      <a:pt x="3334" y="1645"/>
                    </a:cubicBezTo>
                    <a:lnTo>
                      <a:pt x="3582" y="1792"/>
                    </a:lnTo>
                    <a:lnTo>
                      <a:pt x="3289" y="1904"/>
                    </a:lnTo>
                    <a:lnTo>
                      <a:pt x="3030" y="1758"/>
                    </a:lnTo>
                    <a:cubicBezTo>
                      <a:pt x="2838" y="1825"/>
                      <a:pt x="2613" y="1848"/>
                      <a:pt x="2365" y="1825"/>
                    </a:cubicBezTo>
                    <a:cubicBezTo>
                      <a:pt x="2118" y="1814"/>
                      <a:pt x="1847" y="1724"/>
                      <a:pt x="1543" y="1555"/>
                    </a:cubicBezTo>
                    <a:lnTo>
                      <a:pt x="1408" y="1487"/>
                    </a:lnTo>
                    <a:lnTo>
                      <a:pt x="2050" y="1217"/>
                    </a:lnTo>
                    <a:lnTo>
                      <a:pt x="2219" y="1307"/>
                    </a:lnTo>
                    <a:cubicBezTo>
                      <a:pt x="2399" y="1409"/>
                      <a:pt x="2512" y="1476"/>
                      <a:pt x="2579" y="1487"/>
                    </a:cubicBezTo>
                    <a:cubicBezTo>
                      <a:pt x="2636" y="1510"/>
                      <a:pt x="2681" y="1510"/>
                      <a:pt x="2737" y="1487"/>
                    </a:cubicBezTo>
                    <a:cubicBezTo>
                      <a:pt x="2782" y="1476"/>
                      <a:pt x="2793" y="1454"/>
                      <a:pt x="2782" y="1420"/>
                    </a:cubicBezTo>
                    <a:cubicBezTo>
                      <a:pt x="2782" y="1397"/>
                      <a:pt x="2737" y="1364"/>
                      <a:pt x="2681" y="1330"/>
                    </a:cubicBezTo>
                    <a:cubicBezTo>
                      <a:pt x="2534" y="1251"/>
                      <a:pt x="2410" y="1195"/>
                      <a:pt x="2320" y="1161"/>
                    </a:cubicBezTo>
                    <a:cubicBezTo>
                      <a:pt x="2241" y="1138"/>
                      <a:pt x="2095" y="1127"/>
                      <a:pt x="1904" y="1127"/>
                    </a:cubicBezTo>
                    <a:cubicBezTo>
                      <a:pt x="1577" y="1138"/>
                      <a:pt x="1352" y="1138"/>
                      <a:pt x="1216" y="1138"/>
                    </a:cubicBezTo>
                    <a:cubicBezTo>
                      <a:pt x="1081" y="1138"/>
                      <a:pt x="935" y="1105"/>
                      <a:pt x="777" y="1071"/>
                    </a:cubicBezTo>
                    <a:cubicBezTo>
                      <a:pt x="620" y="1026"/>
                      <a:pt x="462" y="969"/>
                      <a:pt x="327" y="891"/>
                    </a:cubicBezTo>
                    <a:cubicBezTo>
                      <a:pt x="124" y="778"/>
                      <a:pt x="11" y="665"/>
                      <a:pt x="11" y="564"/>
                    </a:cubicBezTo>
                    <a:cubicBezTo>
                      <a:pt x="0" y="451"/>
                      <a:pt x="90" y="350"/>
                      <a:pt x="282" y="237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2" name="Google Shape;982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3" name="Google Shape;983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4" name="Google Shape;984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4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5" name="Google Shape;985;p33"/>
              <p:cNvSpPr/>
              <p:nvPr/>
            </p:nvSpPr>
            <p:spPr>
              <a:xfrm>
                <a:off x="3991149" y="109378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6" name="Google Shape;986;p33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64" y="3413"/>
                      <a:pt x="6364" y="2197"/>
                    </a:cubicBezTo>
                    <a:cubicBezTo>
                      <a:pt x="6364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7" name="Google Shape;987;p33"/>
              <p:cNvSpPr/>
              <p:nvPr/>
            </p:nvSpPr>
            <p:spPr>
              <a:xfrm>
                <a:off x="3991149" y="1057597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3"/>
                      <a:pt x="4934" y="4393"/>
                      <a:pt x="3177" y="4393"/>
                    </a:cubicBezTo>
                    <a:cubicBezTo>
                      <a:pt x="1420" y="4393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64" y="980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8" name="Google Shape;988;p33"/>
              <p:cNvSpPr/>
              <p:nvPr/>
            </p:nvSpPr>
            <p:spPr>
              <a:xfrm>
                <a:off x="4102903" y="121144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0" y="958"/>
                    </a:cubicBez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9" name="Google Shape;989;p33"/>
              <p:cNvSpPr/>
              <p:nvPr/>
            </p:nvSpPr>
            <p:spPr>
              <a:xfrm>
                <a:off x="4078100" y="1209490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0" name="Google Shape;990;p33"/>
              <p:cNvSpPr/>
              <p:nvPr/>
            </p:nvSpPr>
            <p:spPr>
              <a:xfrm>
                <a:off x="4055288" y="1204354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1" name="Google Shape;991;p33"/>
              <p:cNvSpPr/>
              <p:nvPr/>
            </p:nvSpPr>
            <p:spPr>
              <a:xfrm>
                <a:off x="4034048" y="119569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2" name="Google Shape;992;p33"/>
              <p:cNvSpPr/>
              <p:nvPr/>
            </p:nvSpPr>
            <p:spPr>
              <a:xfrm>
                <a:off x="4016337" y="118349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3" name="Google Shape;993;p33"/>
              <p:cNvSpPr/>
              <p:nvPr/>
            </p:nvSpPr>
            <p:spPr>
              <a:xfrm>
                <a:off x="3999813" y="116344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4" name="Google Shape;994;p33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37"/>
                      <a:pt x="1104" y="3402"/>
                      <a:pt x="2456" y="3402"/>
                    </a:cubicBezTo>
                    <a:cubicBezTo>
                      <a:pt x="3819" y="3402"/>
                      <a:pt x="4923" y="2637"/>
                      <a:pt x="4923" y="1702"/>
                    </a:cubicBezTo>
                    <a:cubicBezTo>
                      <a:pt x="4923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5" name="Google Shape;995;p33"/>
              <p:cNvSpPr/>
              <p:nvPr/>
            </p:nvSpPr>
            <p:spPr>
              <a:xfrm>
                <a:off x="4016337" y="1074889"/>
                <a:ext cx="171985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3" fill="none" extrusionOk="0">
                    <a:moveTo>
                      <a:pt x="4923" y="1702"/>
                    </a:moveTo>
                    <a:cubicBezTo>
                      <a:pt x="4923" y="2637"/>
                      <a:pt x="3819" y="3402"/>
                      <a:pt x="2456" y="3402"/>
                    </a:cubicBezTo>
                    <a:cubicBezTo>
                      <a:pt x="1104" y="3402"/>
                      <a:pt x="1" y="2637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23" y="767"/>
                      <a:pt x="4923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6" name="Google Shape;996;p33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90" y="350"/>
                      <a:pt x="0" y="462"/>
                      <a:pt x="11" y="564"/>
                    </a:cubicBezTo>
                    <a:cubicBezTo>
                      <a:pt x="11" y="676"/>
                      <a:pt x="124" y="789"/>
                      <a:pt x="327" y="901"/>
                    </a:cubicBezTo>
                    <a:cubicBezTo>
                      <a:pt x="462" y="980"/>
                      <a:pt x="620" y="1037"/>
                      <a:pt x="777" y="1082"/>
                    </a:cubicBezTo>
                    <a:cubicBezTo>
                      <a:pt x="935" y="1115"/>
                      <a:pt x="1081" y="1138"/>
                      <a:pt x="1216" y="1149"/>
                    </a:cubicBezTo>
                    <a:cubicBezTo>
                      <a:pt x="1352" y="1149"/>
                      <a:pt x="1577" y="1149"/>
                      <a:pt x="1904" y="1138"/>
                    </a:cubicBezTo>
                    <a:cubicBezTo>
                      <a:pt x="2095" y="1138"/>
                      <a:pt x="2241" y="1149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4"/>
                      <a:pt x="2782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10"/>
                      <a:pt x="2684" y="1515"/>
                      <a:pt x="2658" y="1515"/>
                    </a:cubicBezTo>
                    <a:cubicBezTo>
                      <a:pt x="2633" y="1515"/>
                      <a:pt x="2608" y="1510"/>
                      <a:pt x="2579" y="1498"/>
                    </a:cubicBezTo>
                    <a:cubicBezTo>
                      <a:pt x="2512" y="1487"/>
                      <a:pt x="2399" y="1420"/>
                      <a:pt x="2219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34" y="1656"/>
                    </a:lnTo>
                    <a:cubicBezTo>
                      <a:pt x="3514" y="1543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2"/>
                    </a:cubicBezTo>
                    <a:cubicBezTo>
                      <a:pt x="2579" y="699"/>
                      <a:pt x="2444" y="676"/>
                      <a:pt x="2332" y="665"/>
                    </a:cubicBezTo>
                    <a:cubicBezTo>
                      <a:pt x="2219" y="665"/>
                      <a:pt x="2027" y="665"/>
                      <a:pt x="1757" y="676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5"/>
                    </a:cubicBezTo>
                    <a:cubicBezTo>
                      <a:pt x="755" y="462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8"/>
                      <a:pt x="1093" y="473"/>
                      <a:pt x="1216" y="530"/>
                    </a:cubicBezTo>
                    <a:lnTo>
                      <a:pt x="1329" y="597"/>
                    </a:lnTo>
                    <a:lnTo>
                      <a:pt x="1971" y="338"/>
                    </a:lnTo>
                    <a:cubicBezTo>
                      <a:pt x="1915" y="304"/>
                      <a:pt x="1881" y="282"/>
                      <a:pt x="1847" y="259"/>
                    </a:cubicBezTo>
                    <a:cubicBezTo>
                      <a:pt x="1644" y="147"/>
                      <a:pt x="1442" y="79"/>
                      <a:pt x="1228" y="57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3" y="74"/>
                      <a:pt x="574" y="124"/>
                    </a:cubicBezTo>
                    <a:lnTo>
                      <a:pt x="36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7" name="Google Shape;997;p33"/>
              <p:cNvSpPr/>
              <p:nvPr/>
            </p:nvSpPr>
            <p:spPr>
              <a:xfrm>
                <a:off x="4039568" y="1100880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8"/>
                    </a:moveTo>
                    <a:lnTo>
                      <a:pt x="1329" y="597"/>
                    </a:lnTo>
                    <a:lnTo>
                      <a:pt x="1216" y="530"/>
                    </a:lnTo>
                    <a:cubicBezTo>
                      <a:pt x="1093" y="473"/>
                      <a:pt x="1014" y="428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2"/>
                      <a:pt x="766" y="485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6"/>
                    </a:cubicBezTo>
                    <a:cubicBezTo>
                      <a:pt x="1250" y="687"/>
                      <a:pt x="1453" y="687"/>
                      <a:pt x="1757" y="676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6"/>
                      <a:pt x="2579" y="699"/>
                      <a:pt x="2726" y="732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3"/>
                      <a:pt x="3334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6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8"/>
                    </a:lnTo>
                    <a:cubicBezTo>
                      <a:pt x="2399" y="1420"/>
                      <a:pt x="2512" y="1487"/>
                      <a:pt x="2579" y="1498"/>
                    </a:cubicBezTo>
                    <a:cubicBezTo>
                      <a:pt x="2636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82" y="1408"/>
                      <a:pt x="2737" y="1374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49"/>
                      <a:pt x="2095" y="1138"/>
                      <a:pt x="1904" y="1138"/>
                    </a:cubicBezTo>
                    <a:cubicBezTo>
                      <a:pt x="1577" y="1149"/>
                      <a:pt x="1352" y="1149"/>
                      <a:pt x="1216" y="1149"/>
                    </a:cubicBezTo>
                    <a:cubicBezTo>
                      <a:pt x="1081" y="1138"/>
                      <a:pt x="935" y="1115"/>
                      <a:pt x="777" y="1082"/>
                    </a:cubicBezTo>
                    <a:cubicBezTo>
                      <a:pt x="620" y="1037"/>
                      <a:pt x="462" y="980"/>
                      <a:pt x="327" y="901"/>
                    </a:cubicBezTo>
                    <a:cubicBezTo>
                      <a:pt x="124" y="789"/>
                      <a:pt x="11" y="676"/>
                      <a:pt x="11" y="564"/>
                    </a:cubicBezTo>
                    <a:cubicBezTo>
                      <a:pt x="0" y="462"/>
                      <a:pt x="90" y="350"/>
                      <a:pt x="282" y="248"/>
                    </a:cubicBezTo>
                    <a:lnTo>
                      <a:pt x="68" y="124"/>
                    </a:lnTo>
                    <a:lnTo>
                      <a:pt x="360" y="0"/>
                    </a:lnTo>
                    <a:lnTo>
                      <a:pt x="574" y="124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4" y="147"/>
                      <a:pt x="1847" y="259"/>
                    </a:cubicBezTo>
                    <a:cubicBezTo>
                      <a:pt x="1881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8" name="Google Shape;998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41" y="474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9" name="Google Shape;999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cubicBezTo>
                      <a:pt x="6364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0" name="Google Shape;1000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41" y="474"/>
                      <a:pt x="4393" y="1"/>
                      <a:pt x="3177" y="1"/>
                    </a:cubicBezTo>
                    <a:cubicBezTo>
                      <a:pt x="1972" y="1"/>
                      <a:pt x="913" y="474"/>
                      <a:pt x="384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" y="2141"/>
                      <a:pt x="1" y="2175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64" y="3425"/>
                      <a:pt x="6364" y="2209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1" name="Google Shape;1001;p33"/>
              <p:cNvSpPr/>
              <p:nvPr/>
            </p:nvSpPr>
            <p:spPr>
              <a:xfrm>
                <a:off x="3991149" y="1030034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9"/>
                    </a:moveTo>
                    <a:cubicBezTo>
                      <a:pt x="6364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64" y="992"/>
                      <a:pt x="6364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2" name="Google Shape;1002;p33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extrusionOk="0">
                    <a:moveTo>
                      <a:pt x="3177" y="1"/>
                    </a:moveTo>
                    <a:cubicBezTo>
                      <a:pt x="1420" y="1"/>
                      <a:pt x="1" y="981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64" y="3414"/>
                      <a:pt x="6364" y="2197"/>
                    </a:cubicBezTo>
                    <a:cubicBezTo>
                      <a:pt x="6364" y="981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3" name="Google Shape;1003;p33"/>
              <p:cNvSpPr/>
              <p:nvPr/>
            </p:nvSpPr>
            <p:spPr>
              <a:xfrm>
                <a:off x="3991149" y="993843"/>
                <a:ext cx="222361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394" fill="none" extrusionOk="0">
                    <a:moveTo>
                      <a:pt x="6364" y="2197"/>
                    </a:moveTo>
                    <a:cubicBezTo>
                      <a:pt x="6364" y="3414"/>
                      <a:pt x="4934" y="4393"/>
                      <a:pt x="3177" y="4393"/>
                    </a:cubicBezTo>
                    <a:cubicBezTo>
                      <a:pt x="1420" y="4393"/>
                      <a:pt x="1" y="3414"/>
                      <a:pt x="1" y="2197"/>
                    </a:cubicBezTo>
                    <a:cubicBezTo>
                      <a:pt x="1" y="981"/>
                      <a:pt x="1420" y="1"/>
                      <a:pt x="3177" y="1"/>
                    </a:cubicBezTo>
                    <a:cubicBezTo>
                      <a:pt x="4934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4" name="Google Shape;1004;p33"/>
              <p:cNvSpPr/>
              <p:nvPr/>
            </p:nvSpPr>
            <p:spPr>
              <a:xfrm>
                <a:off x="4102903" y="1147692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cubicBezTo>
                      <a:pt x="0" y="1003"/>
                      <a:pt x="0" y="981"/>
                      <a:pt x="0" y="958"/>
                    </a:cubicBez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5" name="Google Shape;1005;p33"/>
              <p:cNvSpPr/>
              <p:nvPr/>
            </p:nvSpPr>
            <p:spPr>
              <a:xfrm>
                <a:off x="4078100" y="114573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6" name="Google Shape;1006;p33"/>
              <p:cNvSpPr/>
              <p:nvPr/>
            </p:nvSpPr>
            <p:spPr>
              <a:xfrm>
                <a:off x="4055288" y="1140600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7" name="Google Shape;1007;p33"/>
              <p:cNvSpPr/>
              <p:nvPr/>
            </p:nvSpPr>
            <p:spPr>
              <a:xfrm>
                <a:off x="4034048" y="113197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8" name="Google Shape;1008;p33"/>
              <p:cNvSpPr/>
              <p:nvPr/>
            </p:nvSpPr>
            <p:spPr>
              <a:xfrm>
                <a:off x="4016337" y="111974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9" name="Google Shape;1009;p33"/>
              <p:cNvSpPr/>
              <p:nvPr/>
            </p:nvSpPr>
            <p:spPr>
              <a:xfrm>
                <a:off x="3999813" y="109969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0" name="Google Shape;1010;p33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23" y="2636"/>
                      <a:pt x="4923" y="1701"/>
                    </a:cubicBezTo>
                    <a:cubicBezTo>
                      <a:pt x="4923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1" name="Google Shape;1011;p33"/>
              <p:cNvSpPr/>
              <p:nvPr/>
            </p:nvSpPr>
            <p:spPr>
              <a:xfrm>
                <a:off x="4016337" y="1011170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3" y="1701"/>
                    </a:moveTo>
                    <a:cubicBezTo>
                      <a:pt x="4923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23" y="766"/>
                      <a:pt x="4923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2" name="Google Shape;1012;p33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extrusionOk="0">
                    <a:moveTo>
                      <a:pt x="360" y="1"/>
                    </a:moveTo>
                    <a:lnTo>
                      <a:pt x="68" y="125"/>
                    </a:lnTo>
                    <a:lnTo>
                      <a:pt x="282" y="249"/>
                    </a:lnTo>
                    <a:cubicBezTo>
                      <a:pt x="90" y="350"/>
                      <a:pt x="0" y="463"/>
                      <a:pt x="11" y="564"/>
                    </a:cubicBezTo>
                    <a:cubicBezTo>
                      <a:pt x="11" y="677"/>
                      <a:pt x="124" y="789"/>
                      <a:pt x="327" y="902"/>
                    </a:cubicBezTo>
                    <a:cubicBezTo>
                      <a:pt x="462" y="981"/>
                      <a:pt x="620" y="1037"/>
                      <a:pt x="777" y="1082"/>
                    </a:cubicBezTo>
                    <a:cubicBezTo>
                      <a:pt x="935" y="1116"/>
                      <a:pt x="1081" y="1138"/>
                      <a:pt x="1216" y="1150"/>
                    </a:cubicBezTo>
                    <a:cubicBezTo>
                      <a:pt x="1352" y="1150"/>
                      <a:pt x="1577" y="1150"/>
                      <a:pt x="1904" y="1138"/>
                    </a:cubicBezTo>
                    <a:cubicBezTo>
                      <a:pt x="2095" y="1138"/>
                      <a:pt x="2241" y="1150"/>
                      <a:pt x="2320" y="1172"/>
                    </a:cubicBezTo>
                    <a:cubicBezTo>
                      <a:pt x="2410" y="1206"/>
                      <a:pt x="2534" y="1262"/>
                      <a:pt x="2681" y="1341"/>
                    </a:cubicBezTo>
                    <a:cubicBezTo>
                      <a:pt x="2737" y="1375"/>
                      <a:pt x="2782" y="1409"/>
                      <a:pt x="2782" y="1431"/>
                    </a:cubicBezTo>
                    <a:cubicBezTo>
                      <a:pt x="2793" y="1454"/>
                      <a:pt x="2782" y="1476"/>
                      <a:pt x="2737" y="1499"/>
                    </a:cubicBezTo>
                    <a:cubicBezTo>
                      <a:pt x="2709" y="1510"/>
                      <a:pt x="2684" y="1516"/>
                      <a:pt x="2658" y="1516"/>
                    </a:cubicBezTo>
                    <a:cubicBezTo>
                      <a:pt x="2633" y="1516"/>
                      <a:pt x="2608" y="1510"/>
                      <a:pt x="2579" y="1499"/>
                    </a:cubicBezTo>
                    <a:cubicBezTo>
                      <a:pt x="2512" y="1487"/>
                      <a:pt x="2399" y="1420"/>
                      <a:pt x="2219" y="1319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43" y="1566"/>
                    </a:lnTo>
                    <a:cubicBezTo>
                      <a:pt x="1847" y="1735"/>
                      <a:pt x="2118" y="1825"/>
                      <a:pt x="2365" y="1837"/>
                    </a:cubicBezTo>
                    <a:cubicBezTo>
                      <a:pt x="2407" y="1839"/>
                      <a:pt x="2447" y="1839"/>
                      <a:pt x="2487" y="1839"/>
                    </a:cubicBezTo>
                    <a:cubicBezTo>
                      <a:pt x="2687" y="1839"/>
                      <a:pt x="2870" y="1816"/>
                      <a:pt x="3030" y="1769"/>
                    </a:cubicBezTo>
                    <a:lnTo>
                      <a:pt x="3289" y="1915"/>
                    </a:lnTo>
                    <a:lnTo>
                      <a:pt x="3582" y="1792"/>
                    </a:lnTo>
                    <a:lnTo>
                      <a:pt x="3334" y="1656"/>
                    </a:lnTo>
                    <a:cubicBezTo>
                      <a:pt x="3514" y="1544"/>
                      <a:pt x="3593" y="1431"/>
                      <a:pt x="3571" y="1307"/>
                    </a:cubicBezTo>
                    <a:cubicBezTo>
                      <a:pt x="3537" y="1183"/>
                      <a:pt x="3402" y="1059"/>
                      <a:pt x="3165" y="924"/>
                    </a:cubicBezTo>
                    <a:cubicBezTo>
                      <a:pt x="3007" y="834"/>
                      <a:pt x="2861" y="778"/>
                      <a:pt x="2726" y="733"/>
                    </a:cubicBezTo>
                    <a:cubicBezTo>
                      <a:pt x="2579" y="699"/>
                      <a:pt x="2444" y="677"/>
                      <a:pt x="2332" y="665"/>
                    </a:cubicBezTo>
                    <a:cubicBezTo>
                      <a:pt x="2219" y="665"/>
                      <a:pt x="2027" y="665"/>
                      <a:pt x="1757" y="677"/>
                    </a:cubicBezTo>
                    <a:cubicBezTo>
                      <a:pt x="1605" y="682"/>
                      <a:pt x="1478" y="685"/>
                      <a:pt x="1380" y="685"/>
                    </a:cubicBezTo>
                    <a:cubicBezTo>
                      <a:pt x="1281" y="685"/>
                      <a:pt x="1211" y="682"/>
                      <a:pt x="1171" y="677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8"/>
                      <a:pt x="766" y="485"/>
                    </a:cubicBezTo>
                    <a:cubicBezTo>
                      <a:pt x="755" y="463"/>
                      <a:pt x="766" y="440"/>
                      <a:pt x="811" y="417"/>
                    </a:cubicBezTo>
                    <a:cubicBezTo>
                      <a:pt x="837" y="411"/>
                      <a:pt x="867" y="404"/>
                      <a:pt x="896" y="404"/>
                    </a:cubicBezTo>
                    <a:cubicBezTo>
                      <a:pt x="917" y="404"/>
                      <a:pt x="938" y="408"/>
                      <a:pt x="957" y="417"/>
                    </a:cubicBezTo>
                    <a:cubicBezTo>
                      <a:pt x="1014" y="429"/>
                      <a:pt x="1093" y="474"/>
                      <a:pt x="1216" y="530"/>
                    </a:cubicBezTo>
                    <a:lnTo>
                      <a:pt x="1329" y="598"/>
                    </a:lnTo>
                    <a:lnTo>
                      <a:pt x="1971" y="339"/>
                    </a:lnTo>
                    <a:cubicBezTo>
                      <a:pt x="1915" y="305"/>
                      <a:pt x="1881" y="282"/>
                      <a:pt x="1847" y="260"/>
                    </a:cubicBezTo>
                    <a:cubicBezTo>
                      <a:pt x="1644" y="147"/>
                      <a:pt x="1442" y="80"/>
                      <a:pt x="1228" y="57"/>
                    </a:cubicBezTo>
                    <a:cubicBezTo>
                      <a:pt x="1174" y="51"/>
                      <a:pt x="1121" y="49"/>
                      <a:pt x="1067" y="49"/>
                    </a:cubicBezTo>
                    <a:cubicBezTo>
                      <a:pt x="906" y="49"/>
                      <a:pt x="743" y="74"/>
                      <a:pt x="574" y="125"/>
                    </a:cubicBezTo>
                    <a:lnTo>
                      <a:pt x="360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3" name="Google Shape;1013;p33"/>
              <p:cNvSpPr/>
              <p:nvPr/>
            </p:nvSpPr>
            <p:spPr>
              <a:xfrm>
                <a:off x="4039568" y="1037126"/>
                <a:ext cx="125556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6" fill="none" extrusionOk="0">
                    <a:moveTo>
                      <a:pt x="1971" y="339"/>
                    </a:moveTo>
                    <a:lnTo>
                      <a:pt x="1329" y="598"/>
                    </a:lnTo>
                    <a:lnTo>
                      <a:pt x="1216" y="530"/>
                    </a:lnTo>
                    <a:cubicBezTo>
                      <a:pt x="1093" y="474"/>
                      <a:pt x="1014" y="429"/>
                      <a:pt x="957" y="417"/>
                    </a:cubicBezTo>
                    <a:cubicBezTo>
                      <a:pt x="912" y="395"/>
                      <a:pt x="856" y="406"/>
                      <a:pt x="811" y="417"/>
                    </a:cubicBezTo>
                    <a:cubicBezTo>
                      <a:pt x="766" y="440"/>
                      <a:pt x="755" y="463"/>
                      <a:pt x="766" y="485"/>
                    </a:cubicBezTo>
                    <a:cubicBezTo>
                      <a:pt x="777" y="508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71" y="677"/>
                    </a:cubicBezTo>
                    <a:cubicBezTo>
                      <a:pt x="1250" y="688"/>
                      <a:pt x="1453" y="688"/>
                      <a:pt x="1757" y="677"/>
                    </a:cubicBezTo>
                    <a:cubicBezTo>
                      <a:pt x="2027" y="665"/>
                      <a:pt x="2219" y="665"/>
                      <a:pt x="2332" y="665"/>
                    </a:cubicBezTo>
                    <a:cubicBezTo>
                      <a:pt x="2444" y="677"/>
                      <a:pt x="2579" y="699"/>
                      <a:pt x="2726" y="733"/>
                    </a:cubicBezTo>
                    <a:cubicBezTo>
                      <a:pt x="2861" y="778"/>
                      <a:pt x="3007" y="834"/>
                      <a:pt x="3165" y="924"/>
                    </a:cubicBezTo>
                    <a:cubicBezTo>
                      <a:pt x="3402" y="1059"/>
                      <a:pt x="3537" y="1183"/>
                      <a:pt x="3571" y="1307"/>
                    </a:cubicBezTo>
                    <a:cubicBezTo>
                      <a:pt x="3593" y="1431"/>
                      <a:pt x="3514" y="1544"/>
                      <a:pt x="3334" y="1656"/>
                    </a:cubicBezTo>
                    <a:lnTo>
                      <a:pt x="3582" y="1792"/>
                    </a:lnTo>
                    <a:lnTo>
                      <a:pt x="3289" y="1915"/>
                    </a:lnTo>
                    <a:lnTo>
                      <a:pt x="3030" y="1769"/>
                    </a:lnTo>
                    <a:cubicBezTo>
                      <a:pt x="2838" y="1825"/>
                      <a:pt x="2613" y="1848"/>
                      <a:pt x="2365" y="1837"/>
                    </a:cubicBezTo>
                    <a:cubicBezTo>
                      <a:pt x="2118" y="1825"/>
                      <a:pt x="1847" y="1735"/>
                      <a:pt x="1543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19" y="1319"/>
                    </a:lnTo>
                    <a:cubicBezTo>
                      <a:pt x="2399" y="1420"/>
                      <a:pt x="2512" y="1487"/>
                      <a:pt x="2579" y="1499"/>
                    </a:cubicBezTo>
                    <a:cubicBezTo>
                      <a:pt x="2636" y="1521"/>
                      <a:pt x="2681" y="1521"/>
                      <a:pt x="2737" y="1499"/>
                    </a:cubicBezTo>
                    <a:cubicBezTo>
                      <a:pt x="2782" y="1476"/>
                      <a:pt x="2793" y="1454"/>
                      <a:pt x="2782" y="1431"/>
                    </a:cubicBezTo>
                    <a:cubicBezTo>
                      <a:pt x="2782" y="1409"/>
                      <a:pt x="2737" y="1375"/>
                      <a:pt x="2681" y="1341"/>
                    </a:cubicBezTo>
                    <a:cubicBezTo>
                      <a:pt x="2534" y="1262"/>
                      <a:pt x="2410" y="1206"/>
                      <a:pt x="2320" y="1172"/>
                    </a:cubicBezTo>
                    <a:cubicBezTo>
                      <a:pt x="2241" y="1150"/>
                      <a:pt x="2095" y="1138"/>
                      <a:pt x="1904" y="1138"/>
                    </a:cubicBezTo>
                    <a:cubicBezTo>
                      <a:pt x="1577" y="1150"/>
                      <a:pt x="1352" y="1150"/>
                      <a:pt x="1216" y="1150"/>
                    </a:cubicBezTo>
                    <a:cubicBezTo>
                      <a:pt x="1081" y="1138"/>
                      <a:pt x="935" y="1116"/>
                      <a:pt x="777" y="1082"/>
                    </a:cubicBezTo>
                    <a:cubicBezTo>
                      <a:pt x="620" y="1037"/>
                      <a:pt x="462" y="981"/>
                      <a:pt x="327" y="902"/>
                    </a:cubicBezTo>
                    <a:cubicBezTo>
                      <a:pt x="124" y="789"/>
                      <a:pt x="11" y="677"/>
                      <a:pt x="11" y="564"/>
                    </a:cubicBezTo>
                    <a:cubicBezTo>
                      <a:pt x="0" y="463"/>
                      <a:pt x="90" y="350"/>
                      <a:pt x="282" y="249"/>
                    </a:cubicBezTo>
                    <a:lnTo>
                      <a:pt x="68" y="125"/>
                    </a:lnTo>
                    <a:lnTo>
                      <a:pt x="360" y="1"/>
                    </a:lnTo>
                    <a:lnTo>
                      <a:pt x="574" y="125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4" y="147"/>
                      <a:pt x="1847" y="260"/>
                    </a:cubicBezTo>
                    <a:cubicBezTo>
                      <a:pt x="1881" y="282"/>
                      <a:pt x="1915" y="305"/>
                      <a:pt x="1971" y="33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4" name="Google Shape;1014;p33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extrusionOk="0">
                    <a:moveTo>
                      <a:pt x="3177" y="1"/>
                    </a:move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lnTo>
                      <a:pt x="5982" y="1150"/>
                    </a:lnTo>
                    <a:cubicBezTo>
                      <a:pt x="5441" y="463"/>
                      <a:pt x="4393" y="1"/>
                      <a:pt x="3177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5" name="Google Shape;1015;p33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4"/>
                      <a:pt x="3177" y="4404"/>
                    </a:cubicBezTo>
                    <a:cubicBezTo>
                      <a:pt x="4934" y="4404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6" name="Google Shape;1016;p33"/>
              <p:cNvSpPr/>
              <p:nvPr/>
            </p:nvSpPr>
            <p:spPr>
              <a:xfrm>
                <a:off x="3670072" y="1135884"/>
                <a:ext cx="221977" cy="153504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4" fill="none" extrusionOk="0">
                    <a:moveTo>
                      <a:pt x="5982" y="1150"/>
                    </a:moveTo>
                    <a:cubicBezTo>
                      <a:pt x="5441" y="463"/>
                      <a:pt x="4393" y="1"/>
                      <a:pt x="3177" y="1"/>
                    </a:cubicBezTo>
                    <a:cubicBezTo>
                      <a:pt x="1972" y="1"/>
                      <a:pt x="913" y="463"/>
                      <a:pt x="372" y="1150"/>
                    </a:cubicBezTo>
                    <a:lnTo>
                      <a:pt x="23" y="1150"/>
                    </a:lnTo>
                    <a:lnTo>
                      <a:pt x="1" y="2096"/>
                    </a:lnTo>
                    <a:cubicBezTo>
                      <a:pt x="1" y="2130"/>
                      <a:pt x="1" y="2163"/>
                      <a:pt x="1" y="2197"/>
                    </a:cubicBezTo>
                    <a:cubicBezTo>
                      <a:pt x="1" y="3414"/>
                      <a:pt x="1420" y="4393"/>
                      <a:pt x="3177" y="4393"/>
                    </a:cubicBezTo>
                    <a:cubicBezTo>
                      <a:pt x="4934" y="4393"/>
                      <a:pt x="6353" y="3414"/>
                      <a:pt x="6353" y="2197"/>
                    </a:cubicBezTo>
                    <a:lnTo>
                      <a:pt x="6353" y="1150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7" name="Google Shape;1017;p33"/>
              <p:cNvSpPr/>
              <p:nvPr/>
            </p:nvSpPr>
            <p:spPr>
              <a:xfrm>
                <a:off x="3670072" y="1135500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4"/>
                      <a:pt x="3177" y="4404"/>
                    </a:cubicBezTo>
                    <a:cubicBezTo>
                      <a:pt x="1420" y="4404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8" name="Google Shape;1018;p33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9" name="Google Shape;1019;p33"/>
              <p:cNvSpPr/>
              <p:nvPr/>
            </p:nvSpPr>
            <p:spPr>
              <a:xfrm>
                <a:off x="3670072" y="109930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0"/>
                      <a:pt x="3177" y="0"/>
                    </a:cubicBezTo>
                    <a:cubicBezTo>
                      <a:pt x="4934" y="0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0" name="Google Shape;1020;p33"/>
              <p:cNvSpPr/>
              <p:nvPr/>
            </p:nvSpPr>
            <p:spPr>
              <a:xfrm>
                <a:off x="3781826" y="1253157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14"/>
                      <a:pt x="1" y="980"/>
                      <a:pt x="1" y="958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1" name="Google Shape;1021;p33"/>
              <p:cNvSpPr/>
              <p:nvPr/>
            </p:nvSpPr>
            <p:spPr>
              <a:xfrm>
                <a:off x="3805825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2" name="Google Shape;1022;p33"/>
              <p:cNvSpPr/>
              <p:nvPr/>
            </p:nvSpPr>
            <p:spPr>
              <a:xfrm>
                <a:off x="3828637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3" name="Google Shape;1023;p33"/>
              <p:cNvSpPr/>
              <p:nvPr/>
            </p:nvSpPr>
            <p:spPr>
              <a:xfrm>
                <a:off x="3849912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4" name="Google Shape;1024;p33"/>
              <p:cNvSpPr/>
              <p:nvPr/>
            </p:nvSpPr>
            <p:spPr>
              <a:xfrm>
                <a:off x="3868008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5" name="Google Shape;1025;p33"/>
              <p:cNvSpPr/>
              <p:nvPr/>
            </p:nvSpPr>
            <p:spPr>
              <a:xfrm>
                <a:off x="3884147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6" name="Google Shape;1026;p33"/>
              <p:cNvSpPr/>
              <p:nvPr/>
            </p:nvSpPr>
            <p:spPr>
              <a:xfrm>
                <a:off x="3757023" y="125116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7" name="Google Shape;1027;p33"/>
              <p:cNvSpPr/>
              <p:nvPr/>
            </p:nvSpPr>
            <p:spPr>
              <a:xfrm>
                <a:off x="3734211" y="1246065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8" name="Google Shape;1028;p33"/>
              <p:cNvSpPr/>
              <p:nvPr/>
            </p:nvSpPr>
            <p:spPr>
              <a:xfrm>
                <a:off x="3712971" y="1237402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9" name="Google Shape;1029;p33"/>
              <p:cNvSpPr/>
              <p:nvPr/>
            </p:nvSpPr>
            <p:spPr>
              <a:xfrm>
                <a:off x="3694876" y="122521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0" name="Google Shape;1030;p33"/>
              <p:cNvSpPr/>
              <p:nvPr/>
            </p:nvSpPr>
            <p:spPr>
              <a:xfrm>
                <a:off x="3678736" y="1205158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1" name="Google Shape;1031;p33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67"/>
                      <a:pt x="1" y="1702"/>
                    </a:cubicBezTo>
                    <a:cubicBezTo>
                      <a:pt x="1" y="2648"/>
                      <a:pt x="1104" y="3402"/>
                      <a:pt x="2456" y="3402"/>
                    </a:cubicBezTo>
                    <a:cubicBezTo>
                      <a:pt x="3819" y="3402"/>
                      <a:pt x="4911" y="2648"/>
                      <a:pt x="4911" y="1702"/>
                    </a:cubicBezTo>
                    <a:cubicBezTo>
                      <a:pt x="4911" y="767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2" name="Google Shape;1032;p33"/>
              <p:cNvSpPr/>
              <p:nvPr/>
            </p:nvSpPr>
            <p:spPr>
              <a:xfrm>
                <a:off x="3695260" y="1116601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48"/>
                      <a:pt x="3819" y="3402"/>
                      <a:pt x="2456" y="3402"/>
                    </a:cubicBezTo>
                    <a:cubicBezTo>
                      <a:pt x="1104" y="3402"/>
                      <a:pt x="1" y="2648"/>
                      <a:pt x="1" y="1702"/>
                    </a:cubicBezTo>
                    <a:cubicBezTo>
                      <a:pt x="1" y="767"/>
                      <a:pt x="1104" y="1"/>
                      <a:pt x="2456" y="1"/>
                    </a:cubicBezTo>
                    <a:cubicBezTo>
                      <a:pt x="3819" y="1"/>
                      <a:pt x="4911" y="767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3" name="Google Shape;1033;p33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8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0"/>
                    </a:cubicBezTo>
                    <a:cubicBezTo>
                      <a:pt x="462" y="969"/>
                      <a:pt x="608" y="1025"/>
                      <a:pt x="777" y="1071"/>
                    </a:cubicBezTo>
                    <a:cubicBezTo>
                      <a:pt x="935" y="1104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4"/>
                      <a:pt x="2523" y="1251"/>
                      <a:pt x="2681" y="1330"/>
                    </a:cubicBezTo>
                    <a:cubicBezTo>
                      <a:pt x="2737" y="1363"/>
                      <a:pt x="2771" y="1397"/>
                      <a:pt x="2782" y="1420"/>
                    </a:cubicBezTo>
                    <a:cubicBezTo>
                      <a:pt x="2793" y="1453"/>
                      <a:pt x="2782" y="1465"/>
                      <a:pt x="2737" y="1487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7"/>
                    </a:cubicBezTo>
                    <a:cubicBezTo>
                      <a:pt x="2512" y="1476"/>
                      <a:pt x="2399" y="1408"/>
                      <a:pt x="2208" y="1307"/>
                    </a:cubicBezTo>
                    <a:lnTo>
                      <a:pt x="2050" y="1217"/>
                    </a:lnTo>
                    <a:lnTo>
                      <a:pt x="1408" y="1476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19" y="1828"/>
                      <a:pt x="2471" y="1829"/>
                      <a:pt x="2522" y="1829"/>
                    </a:cubicBezTo>
                    <a:cubicBezTo>
                      <a:pt x="2708" y="1829"/>
                      <a:pt x="2877" y="1811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2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6"/>
                      <a:pt x="2715" y="733"/>
                    </a:cubicBezTo>
                    <a:cubicBezTo>
                      <a:pt x="2579" y="688"/>
                      <a:pt x="2444" y="665"/>
                      <a:pt x="2332" y="654"/>
                    </a:cubicBezTo>
                    <a:cubicBezTo>
                      <a:pt x="2219" y="654"/>
                      <a:pt x="2028" y="654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20"/>
                      <a:pt x="879" y="564"/>
                    </a:cubicBezTo>
                    <a:cubicBezTo>
                      <a:pt x="822" y="530"/>
                      <a:pt x="777" y="496"/>
                      <a:pt x="766" y="474"/>
                    </a:cubicBezTo>
                    <a:cubicBezTo>
                      <a:pt x="755" y="451"/>
                      <a:pt x="766" y="429"/>
                      <a:pt x="811" y="417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1"/>
                      <a:pt x="958" y="406"/>
                    </a:cubicBezTo>
                    <a:cubicBezTo>
                      <a:pt x="1014" y="417"/>
                      <a:pt x="1093" y="462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3"/>
                      <a:pt x="1870" y="271"/>
                      <a:pt x="1847" y="248"/>
                    </a:cubicBezTo>
                    <a:cubicBezTo>
                      <a:pt x="1645" y="147"/>
                      <a:pt x="1442" y="79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1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4" name="Google Shape;1034;p33"/>
              <p:cNvSpPr/>
              <p:nvPr/>
            </p:nvSpPr>
            <p:spPr>
              <a:xfrm>
                <a:off x="3718491" y="1142976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2"/>
                      <a:pt x="1014" y="417"/>
                      <a:pt x="958" y="406"/>
                    </a:cubicBezTo>
                    <a:cubicBezTo>
                      <a:pt x="901" y="395"/>
                      <a:pt x="856" y="395"/>
                      <a:pt x="811" y="417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496"/>
                      <a:pt x="822" y="530"/>
                      <a:pt x="879" y="564"/>
                    </a:cubicBezTo>
                    <a:cubicBezTo>
                      <a:pt x="991" y="620"/>
                      <a:pt x="1081" y="665"/>
                      <a:pt x="1160" y="665"/>
                    </a:cubicBezTo>
                    <a:cubicBezTo>
                      <a:pt x="1250" y="676"/>
                      <a:pt x="1442" y="676"/>
                      <a:pt x="1757" y="665"/>
                    </a:cubicBezTo>
                    <a:cubicBezTo>
                      <a:pt x="2028" y="654"/>
                      <a:pt x="2219" y="654"/>
                      <a:pt x="2332" y="654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6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2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36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76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8"/>
                      <a:pt x="2512" y="1476"/>
                      <a:pt x="2568" y="1487"/>
                    </a:cubicBezTo>
                    <a:cubicBezTo>
                      <a:pt x="2625" y="1510"/>
                      <a:pt x="2681" y="1510"/>
                      <a:pt x="2737" y="1487"/>
                    </a:cubicBezTo>
                    <a:cubicBezTo>
                      <a:pt x="2782" y="1465"/>
                      <a:pt x="2793" y="1453"/>
                      <a:pt x="2782" y="1420"/>
                    </a:cubicBezTo>
                    <a:cubicBezTo>
                      <a:pt x="2771" y="1397"/>
                      <a:pt x="2737" y="1363"/>
                      <a:pt x="2681" y="1330"/>
                    </a:cubicBezTo>
                    <a:cubicBezTo>
                      <a:pt x="2523" y="1251"/>
                      <a:pt x="2411" y="1194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4"/>
                      <a:pt x="777" y="1071"/>
                    </a:cubicBezTo>
                    <a:cubicBezTo>
                      <a:pt x="608" y="1025"/>
                      <a:pt x="462" y="969"/>
                      <a:pt x="316" y="890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8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4"/>
                      <a:pt x="1228" y="57"/>
                    </a:cubicBezTo>
                    <a:cubicBezTo>
                      <a:pt x="1442" y="79"/>
                      <a:pt x="1645" y="147"/>
                      <a:pt x="1847" y="248"/>
                    </a:cubicBezTo>
                    <a:cubicBezTo>
                      <a:pt x="1870" y="271"/>
                      <a:pt x="1915" y="293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5" name="Google Shape;1035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lnTo>
                      <a:pt x="5982" y="1161"/>
                    </a:lnTo>
                    <a:cubicBezTo>
                      <a:pt x="5441" y="473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6" name="Google Shape;1036;p33"/>
              <p:cNvSpPr/>
              <p:nvPr/>
            </p:nvSpPr>
            <p:spPr>
              <a:xfrm>
                <a:off x="3674793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0"/>
                    </a:moveTo>
                    <a:cubicBezTo>
                      <a:pt x="1420" y="0"/>
                      <a:pt x="1" y="992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92"/>
                      <a:pt x="4934" y="0"/>
                      <a:pt x="3177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7" name="Google Shape;1037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5982" y="1161"/>
                    </a:moveTo>
                    <a:cubicBezTo>
                      <a:pt x="5441" y="473"/>
                      <a:pt x="4393" y="0"/>
                      <a:pt x="3177" y="0"/>
                    </a:cubicBezTo>
                    <a:cubicBezTo>
                      <a:pt x="1972" y="0"/>
                      <a:pt x="913" y="473"/>
                      <a:pt x="372" y="1161"/>
                    </a:cubicBezTo>
                    <a:lnTo>
                      <a:pt x="23" y="1161"/>
                    </a:lnTo>
                    <a:lnTo>
                      <a:pt x="1" y="2107"/>
                    </a:lnTo>
                    <a:cubicBezTo>
                      <a:pt x="1" y="2140"/>
                      <a:pt x="1" y="2174"/>
                      <a:pt x="1" y="2208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208"/>
                    </a:cubicBezTo>
                    <a:lnTo>
                      <a:pt x="6353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8" name="Google Shape;1038;p33"/>
              <p:cNvSpPr/>
              <p:nvPr/>
            </p:nvSpPr>
            <p:spPr>
              <a:xfrm>
                <a:off x="3670072" y="107254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92"/>
                      <a:pt x="1420" y="0"/>
                      <a:pt x="3177" y="0"/>
                    </a:cubicBezTo>
                    <a:cubicBezTo>
                      <a:pt x="4934" y="0"/>
                      <a:pt x="6353" y="992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9" name="Google Shape;1039;p33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9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9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0" name="Google Shape;1040;p33"/>
              <p:cNvSpPr/>
              <p:nvPr/>
            </p:nvSpPr>
            <p:spPr>
              <a:xfrm>
                <a:off x="3670072" y="1035938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9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9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9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1" name="Google Shape;1041;p33"/>
              <p:cNvSpPr/>
              <p:nvPr/>
            </p:nvSpPr>
            <p:spPr>
              <a:xfrm>
                <a:off x="3781826" y="1190206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6"/>
                    </a:moveTo>
                    <a:cubicBezTo>
                      <a:pt x="1" y="1003"/>
                      <a:pt x="1" y="980"/>
                      <a:pt x="1" y="957"/>
                    </a:cubicBez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2" name="Google Shape;1042;p33"/>
              <p:cNvSpPr/>
              <p:nvPr/>
            </p:nvSpPr>
            <p:spPr>
              <a:xfrm>
                <a:off x="3805825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3" name="Google Shape;1043;p33"/>
              <p:cNvSpPr/>
              <p:nvPr/>
            </p:nvSpPr>
            <p:spPr>
              <a:xfrm>
                <a:off x="3828637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4" name="Google Shape;1044;p33"/>
              <p:cNvSpPr/>
              <p:nvPr/>
            </p:nvSpPr>
            <p:spPr>
              <a:xfrm>
                <a:off x="3849912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5" name="Google Shape;1045;p33"/>
              <p:cNvSpPr/>
              <p:nvPr/>
            </p:nvSpPr>
            <p:spPr>
              <a:xfrm>
                <a:off x="3868008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6" name="Google Shape;1046;p33"/>
              <p:cNvSpPr/>
              <p:nvPr/>
            </p:nvSpPr>
            <p:spPr>
              <a:xfrm>
                <a:off x="3884147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7" name="Google Shape;1047;p33"/>
              <p:cNvSpPr/>
              <p:nvPr/>
            </p:nvSpPr>
            <p:spPr>
              <a:xfrm>
                <a:off x="3757023" y="11882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8" name="Google Shape;1048;p33"/>
              <p:cNvSpPr/>
              <p:nvPr/>
            </p:nvSpPr>
            <p:spPr>
              <a:xfrm>
                <a:off x="3734211" y="1183115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9" name="Google Shape;1049;p33"/>
              <p:cNvSpPr/>
              <p:nvPr/>
            </p:nvSpPr>
            <p:spPr>
              <a:xfrm>
                <a:off x="3712971" y="117445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0" name="Google Shape;1050;p33"/>
              <p:cNvSpPr/>
              <p:nvPr/>
            </p:nvSpPr>
            <p:spPr>
              <a:xfrm>
                <a:off x="3694876" y="116225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1" name="Google Shape;1051;p33"/>
              <p:cNvSpPr/>
              <p:nvPr/>
            </p:nvSpPr>
            <p:spPr>
              <a:xfrm>
                <a:off x="3678736" y="1142207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2" name="Google Shape;1052;p33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extrusionOk="0">
                    <a:moveTo>
                      <a:pt x="2456" y="1"/>
                    </a:moveTo>
                    <a:cubicBezTo>
                      <a:pt x="1104" y="1"/>
                      <a:pt x="1" y="755"/>
                      <a:pt x="1" y="1702"/>
                    </a:cubicBezTo>
                    <a:cubicBezTo>
                      <a:pt x="1" y="2636"/>
                      <a:pt x="1104" y="3402"/>
                      <a:pt x="2456" y="3402"/>
                    </a:cubicBezTo>
                    <a:cubicBezTo>
                      <a:pt x="3819" y="3402"/>
                      <a:pt x="4911" y="2636"/>
                      <a:pt x="4911" y="1702"/>
                    </a:cubicBezTo>
                    <a:cubicBezTo>
                      <a:pt x="4911" y="755"/>
                      <a:pt x="3819" y="1"/>
                      <a:pt x="245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3" name="Google Shape;1053;p33"/>
              <p:cNvSpPr/>
              <p:nvPr/>
            </p:nvSpPr>
            <p:spPr>
              <a:xfrm>
                <a:off x="3695260" y="1053650"/>
                <a:ext cx="171601" cy="118884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3" fill="none" extrusionOk="0">
                    <a:moveTo>
                      <a:pt x="4911" y="1702"/>
                    </a:moveTo>
                    <a:cubicBezTo>
                      <a:pt x="4911" y="2636"/>
                      <a:pt x="3819" y="3402"/>
                      <a:pt x="2456" y="3402"/>
                    </a:cubicBezTo>
                    <a:cubicBezTo>
                      <a:pt x="1104" y="3402"/>
                      <a:pt x="1" y="2636"/>
                      <a:pt x="1" y="1702"/>
                    </a:cubicBezTo>
                    <a:cubicBezTo>
                      <a:pt x="1" y="755"/>
                      <a:pt x="1104" y="1"/>
                      <a:pt x="2456" y="1"/>
                    </a:cubicBezTo>
                    <a:cubicBezTo>
                      <a:pt x="3819" y="1"/>
                      <a:pt x="4911" y="755"/>
                      <a:pt x="4911" y="1702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4" name="Google Shape;1054;p33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extrusionOk="0">
                    <a:moveTo>
                      <a:pt x="361" y="0"/>
                    </a:moveTo>
                    <a:lnTo>
                      <a:pt x="57" y="124"/>
                    </a:lnTo>
                    <a:lnTo>
                      <a:pt x="282" y="248"/>
                    </a:lnTo>
                    <a:cubicBezTo>
                      <a:pt x="90" y="349"/>
                      <a:pt x="0" y="462"/>
                      <a:pt x="0" y="563"/>
                    </a:cubicBezTo>
                    <a:cubicBezTo>
                      <a:pt x="11" y="676"/>
                      <a:pt x="113" y="789"/>
                      <a:pt x="316" y="901"/>
                    </a:cubicBezTo>
                    <a:cubicBezTo>
                      <a:pt x="462" y="980"/>
                      <a:pt x="608" y="1036"/>
                      <a:pt x="777" y="1081"/>
                    </a:cubicBezTo>
                    <a:cubicBezTo>
                      <a:pt x="935" y="1115"/>
                      <a:pt x="1081" y="1138"/>
                      <a:pt x="1217" y="1149"/>
                    </a:cubicBezTo>
                    <a:cubicBezTo>
                      <a:pt x="1341" y="1149"/>
                      <a:pt x="1577" y="1149"/>
                      <a:pt x="1904" y="1138"/>
                    </a:cubicBezTo>
                    <a:cubicBezTo>
                      <a:pt x="2095" y="1138"/>
                      <a:pt x="2230" y="1149"/>
                      <a:pt x="2320" y="1172"/>
                    </a:cubicBezTo>
                    <a:cubicBezTo>
                      <a:pt x="2411" y="1205"/>
                      <a:pt x="2523" y="1262"/>
                      <a:pt x="2681" y="1340"/>
                    </a:cubicBezTo>
                    <a:cubicBezTo>
                      <a:pt x="2737" y="1374"/>
                      <a:pt x="2771" y="1408"/>
                      <a:pt x="2782" y="1431"/>
                    </a:cubicBezTo>
                    <a:cubicBezTo>
                      <a:pt x="2793" y="1453"/>
                      <a:pt x="2782" y="1476"/>
                      <a:pt x="2737" y="1498"/>
                    </a:cubicBezTo>
                    <a:cubicBezTo>
                      <a:pt x="2709" y="1509"/>
                      <a:pt x="2681" y="1515"/>
                      <a:pt x="2653" y="1515"/>
                    </a:cubicBezTo>
                    <a:cubicBezTo>
                      <a:pt x="2625" y="1515"/>
                      <a:pt x="2596" y="1509"/>
                      <a:pt x="2568" y="1498"/>
                    </a:cubicBezTo>
                    <a:cubicBezTo>
                      <a:pt x="2512" y="1476"/>
                      <a:pt x="2399" y="1419"/>
                      <a:pt x="2208" y="1318"/>
                    </a:cubicBezTo>
                    <a:lnTo>
                      <a:pt x="2050" y="1228"/>
                    </a:lnTo>
                    <a:lnTo>
                      <a:pt x="1408" y="1487"/>
                    </a:lnTo>
                    <a:lnTo>
                      <a:pt x="1532" y="1566"/>
                    </a:lnTo>
                    <a:cubicBezTo>
                      <a:pt x="1836" y="1735"/>
                      <a:pt x="2118" y="1825"/>
                      <a:pt x="2365" y="1836"/>
                    </a:cubicBezTo>
                    <a:cubicBezTo>
                      <a:pt x="2407" y="1838"/>
                      <a:pt x="2447" y="1839"/>
                      <a:pt x="2487" y="1839"/>
                    </a:cubicBezTo>
                    <a:cubicBezTo>
                      <a:pt x="2687" y="1839"/>
                      <a:pt x="2869" y="1815"/>
                      <a:pt x="3019" y="1768"/>
                    </a:cubicBezTo>
                    <a:lnTo>
                      <a:pt x="3289" y="1915"/>
                    </a:lnTo>
                    <a:lnTo>
                      <a:pt x="3582" y="1791"/>
                    </a:lnTo>
                    <a:lnTo>
                      <a:pt x="3323" y="1656"/>
                    </a:lnTo>
                    <a:cubicBezTo>
                      <a:pt x="3514" y="1543"/>
                      <a:pt x="3593" y="1431"/>
                      <a:pt x="3559" y="1307"/>
                    </a:cubicBezTo>
                    <a:cubicBezTo>
                      <a:pt x="3537" y="1183"/>
                      <a:pt x="3402" y="1059"/>
                      <a:pt x="3154" y="924"/>
                    </a:cubicBezTo>
                    <a:cubicBezTo>
                      <a:pt x="3007" y="834"/>
                      <a:pt x="2861" y="777"/>
                      <a:pt x="2715" y="732"/>
                    </a:cubicBezTo>
                    <a:cubicBezTo>
                      <a:pt x="2579" y="698"/>
                      <a:pt x="2444" y="676"/>
                      <a:pt x="2332" y="665"/>
                    </a:cubicBezTo>
                    <a:cubicBezTo>
                      <a:pt x="2219" y="665"/>
                      <a:pt x="2028" y="665"/>
                      <a:pt x="1757" y="676"/>
                    </a:cubicBezTo>
                    <a:cubicBezTo>
                      <a:pt x="1547" y="676"/>
                      <a:pt x="1392" y="681"/>
                      <a:pt x="1285" y="681"/>
                    </a:cubicBezTo>
                    <a:cubicBezTo>
                      <a:pt x="1232" y="681"/>
                      <a:pt x="1190" y="680"/>
                      <a:pt x="1160" y="676"/>
                    </a:cubicBezTo>
                    <a:cubicBezTo>
                      <a:pt x="1081" y="665"/>
                      <a:pt x="991" y="631"/>
                      <a:pt x="879" y="575"/>
                    </a:cubicBezTo>
                    <a:cubicBezTo>
                      <a:pt x="822" y="541"/>
                      <a:pt x="777" y="507"/>
                      <a:pt x="766" y="484"/>
                    </a:cubicBezTo>
                    <a:cubicBezTo>
                      <a:pt x="755" y="462"/>
                      <a:pt x="766" y="439"/>
                      <a:pt x="811" y="417"/>
                    </a:cubicBezTo>
                    <a:cubicBezTo>
                      <a:pt x="837" y="410"/>
                      <a:pt x="863" y="404"/>
                      <a:pt x="891" y="404"/>
                    </a:cubicBezTo>
                    <a:cubicBezTo>
                      <a:pt x="912" y="404"/>
                      <a:pt x="934" y="407"/>
                      <a:pt x="958" y="417"/>
                    </a:cubicBezTo>
                    <a:cubicBezTo>
                      <a:pt x="1014" y="428"/>
                      <a:pt x="1093" y="462"/>
                      <a:pt x="1217" y="530"/>
                    </a:cubicBezTo>
                    <a:lnTo>
                      <a:pt x="1329" y="59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64" y="334"/>
                      <a:pt x="1968" y="336"/>
                      <a:pt x="1971" y="338"/>
                    </a:cubicBezTo>
                    <a:lnTo>
                      <a:pt x="1971" y="327"/>
                    </a:lnTo>
                    <a:lnTo>
                      <a:pt x="1960" y="331"/>
                    </a:lnTo>
                    <a:lnTo>
                      <a:pt x="1960" y="331"/>
                    </a:lnTo>
                    <a:cubicBezTo>
                      <a:pt x="1909" y="301"/>
                      <a:pt x="1868" y="280"/>
                      <a:pt x="1847" y="259"/>
                    </a:cubicBezTo>
                    <a:cubicBezTo>
                      <a:pt x="1645" y="147"/>
                      <a:pt x="1442" y="79"/>
                      <a:pt x="1228" y="56"/>
                    </a:cubicBezTo>
                    <a:cubicBezTo>
                      <a:pt x="1174" y="51"/>
                      <a:pt x="1121" y="48"/>
                      <a:pt x="1067" y="48"/>
                    </a:cubicBezTo>
                    <a:cubicBezTo>
                      <a:pt x="906" y="48"/>
                      <a:pt x="744" y="73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5" name="Google Shape;1055;p33"/>
              <p:cNvSpPr/>
              <p:nvPr/>
            </p:nvSpPr>
            <p:spPr>
              <a:xfrm>
                <a:off x="3718491" y="1079640"/>
                <a:ext cx="125556" cy="6690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15" fill="none" extrusionOk="0">
                    <a:moveTo>
                      <a:pt x="1971" y="327"/>
                    </a:moveTo>
                    <a:lnTo>
                      <a:pt x="1329" y="597"/>
                    </a:lnTo>
                    <a:lnTo>
                      <a:pt x="1217" y="530"/>
                    </a:lnTo>
                    <a:cubicBezTo>
                      <a:pt x="1093" y="462"/>
                      <a:pt x="1014" y="428"/>
                      <a:pt x="958" y="417"/>
                    </a:cubicBezTo>
                    <a:cubicBezTo>
                      <a:pt x="901" y="394"/>
                      <a:pt x="856" y="406"/>
                      <a:pt x="811" y="417"/>
                    </a:cubicBezTo>
                    <a:cubicBezTo>
                      <a:pt x="766" y="439"/>
                      <a:pt x="755" y="462"/>
                      <a:pt x="766" y="484"/>
                    </a:cubicBezTo>
                    <a:cubicBezTo>
                      <a:pt x="777" y="507"/>
                      <a:pt x="822" y="541"/>
                      <a:pt x="879" y="575"/>
                    </a:cubicBezTo>
                    <a:cubicBezTo>
                      <a:pt x="991" y="631"/>
                      <a:pt x="1081" y="665"/>
                      <a:pt x="1160" y="676"/>
                    </a:cubicBezTo>
                    <a:cubicBezTo>
                      <a:pt x="1250" y="687"/>
                      <a:pt x="1442" y="676"/>
                      <a:pt x="1757" y="676"/>
                    </a:cubicBezTo>
                    <a:cubicBezTo>
                      <a:pt x="2028" y="665"/>
                      <a:pt x="2219" y="665"/>
                      <a:pt x="2332" y="665"/>
                    </a:cubicBezTo>
                    <a:cubicBezTo>
                      <a:pt x="2444" y="676"/>
                      <a:pt x="2579" y="698"/>
                      <a:pt x="2715" y="732"/>
                    </a:cubicBezTo>
                    <a:cubicBezTo>
                      <a:pt x="2861" y="777"/>
                      <a:pt x="3007" y="834"/>
                      <a:pt x="3154" y="924"/>
                    </a:cubicBezTo>
                    <a:cubicBezTo>
                      <a:pt x="3402" y="1059"/>
                      <a:pt x="3537" y="1183"/>
                      <a:pt x="3559" y="1307"/>
                    </a:cubicBezTo>
                    <a:cubicBezTo>
                      <a:pt x="3593" y="1431"/>
                      <a:pt x="3514" y="1543"/>
                      <a:pt x="3323" y="1656"/>
                    </a:cubicBezTo>
                    <a:lnTo>
                      <a:pt x="3582" y="1791"/>
                    </a:lnTo>
                    <a:lnTo>
                      <a:pt x="3289" y="1915"/>
                    </a:lnTo>
                    <a:lnTo>
                      <a:pt x="3019" y="1768"/>
                    </a:lnTo>
                    <a:cubicBezTo>
                      <a:pt x="2839" y="1825"/>
                      <a:pt x="2613" y="1847"/>
                      <a:pt x="2365" y="1836"/>
                    </a:cubicBezTo>
                    <a:cubicBezTo>
                      <a:pt x="2118" y="1825"/>
                      <a:pt x="1836" y="1735"/>
                      <a:pt x="1532" y="1566"/>
                    </a:cubicBezTo>
                    <a:lnTo>
                      <a:pt x="1408" y="1487"/>
                    </a:lnTo>
                    <a:lnTo>
                      <a:pt x="2050" y="1228"/>
                    </a:lnTo>
                    <a:lnTo>
                      <a:pt x="2208" y="1318"/>
                    </a:lnTo>
                    <a:cubicBezTo>
                      <a:pt x="2399" y="1419"/>
                      <a:pt x="2512" y="1476"/>
                      <a:pt x="2568" y="1498"/>
                    </a:cubicBezTo>
                    <a:cubicBezTo>
                      <a:pt x="2625" y="1521"/>
                      <a:pt x="2681" y="1521"/>
                      <a:pt x="2737" y="1498"/>
                    </a:cubicBezTo>
                    <a:cubicBezTo>
                      <a:pt x="2782" y="1476"/>
                      <a:pt x="2793" y="1453"/>
                      <a:pt x="2782" y="1431"/>
                    </a:cubicBezTo>
                    <a:cubicBezTo>
                      <a:pt x="2771" y="1408"/>
                      <a:pt x="2737" y="1374"/>
                      <a:pt x="2681" y="1340"/>
                    </a:cubicBezTo>
                    <a:cubicBezTo>
                      <a:pt x="2523" y="1262"/>
                      <a:pt x="2411" y="1205"/>
                      <a:pt x="2320" y="1172"/>
                    </a:cubicBezTo>
                    <a:cubicBezTo>
                      <a:pt x="2230" y="1149"/>
                      <a:pt x="2095" y="1138"/>
                      <a:pt x="1904" y="1138"/>
                    </a:cubicBezTo>
                    <a:cubicBezTo>
                      <a:pt x="1577" y="1149"/>
                      <a:pt x="1341" y="1149"/>
                      <a:pt x="1217" y="1149"/>
                    </a:cubicBezTo>
                    <a:cubicBezTo>
                      <a:pt x="1081" y="1138"/>
                      <a:pt x="935" y="1115"/>
                      <a:pt x="777" y="1081"/>
                    </a:cubicBezTo>
                    <a:cubicBezTo>
                      <a:pt x="608" y="1036"/>
                      <a:pt x="462" y="980"/>
                      <a:pt x="316" y="901"/>
                    </a:cubicBezTo>
                    <a:cubicBezTo>
                      <a:pt x="113" y="789"/>
                      <a:pt x="11" y="676"/>
                      <a:pt x="0" y="563"/>
                    </a:cubicBezTo>
                    <a:cubicBezTo>
                      <a:pt x="0" y="462"/>
                      <a:pt x="90" y="349"/>
                      <a:pt x="282" y="248"/>
                    </a:cubicBezTo>
                    <a:lnTo>
                      <a:pt x="57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6"/>
                      <a:pt x="1014" y="34"/>
                      <a:pt x="1228" y="56"/>
                    </a:cubicBezTo>
                    <a:cubicBezTo>
                      <a:pt x="1442" y="79"/>
                      <a:pt x="1645" y="147"/>
                      <a:pt x="1847" y="259"/>
                    </a:cubicBezTo>
                    <a:cubicBezTo>
                      <a:pt x="1870" y="282"/>
                      <a:pt x="1915" y="304"/>
                      <a:pt x="1971" y="33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6" name="Google Shape;1056;p33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extrusionOk="0">
                    <a:moveTo>
                      <a:pt x="3177" y="0"/>
                    </a:move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lnTo>
                      <a:pt x="5982" y="1149"/>
                    </a:lnTo>
                    <a:cubicBezTo>
                      <a:pt x="5441" y="462"/>
                      <a:pt x="4393" y="0"/>
                      <a:pt x="3177" y="0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7" name="Google Shape;1057;p33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92"/>
                      <a:pt x="1" y="2208"/>
                    </a:cubicBezTo>
                    <a:cubicBezTo>
                      <a:pt x="1" y="3425"/>
                      <a:pt x="1420" y="4405"/>
                      <a:pt x="3177" y="4405"/>
                    </a:cubicBezTo>
                    <a:cubicBezTo>
                      <a:pt x="4934" y="4405"/>
                      <a:pt x="6353" y="3425"/>
                      <a:pt x="6353" y="2208"/>
                    </a:cubicBezTo>
                    <a:cubicBezTo>
                      <a:pt x="6353" y="992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8" name="Google Shape;1058;p33"/>
              <p:cNvSpPr/>
              <p:nvPr/>
            </p:nvSpPr>
            <p:spPr>
              <a:xfrm>
                <a:off x="3670072" y="1001738"/>
                <a:ext cx="221977" cy="15346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393" fill="none" extrusionOk="0">
                    <a:moveTo>
                      <a:pt x="5982" y="1149"/>
                    </a:moveTo>
                    <a:cubicBezTo>
                      <a:pt x="5441" y="462"/>
                      <a:pt x="4393" y="0"/>
                      <a:pt x="3177" y="0"/>
                    </a:cubicBezTo>
                    <a:cubicBezTo>
                      <a:pt x="1972" y="0"/>
                      <a:pt x="913" y="462"/>
                      <a:pt x="372" y="1149"/>
                    </a:cubicBezTo>
                    <a:lnTo>
                      <a:pt x="23" y="1149"/>
                    </a:lnTo>
                    <a:lnTo>
                      <a:pt x="1" y="2106"/>
                    </a:lnTo>
                    <a:cubicBezTo>
                      <a:pt x="1" y="2129"/>
                      <a:pt x="1" y="2163"/>
                      <a:pt x="1" y="2196"/>
                    </a:cubicBezTo>
                    <a:cubicBezTo>
                      <a:pt x="1" y="3413"/>
                      <a:pt x="1420" y="4393"/>
                      <a:pt x="3177" y="4393"/>
                    </a:cubicBezTo>
                    <a:cubicBezTo>
                      <a:pt x="4934" y="4393"/>
                      <a:pt x="6353" y="3413"/>
                      <a:pt x="6353" y="2196"/>
                    </a:cubicBezTo>
                    <a:lnTo>
                      <a:pt x="6353" y="1149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9" name="Google Shape;1059;p33"/>
              <p:cNvSpPr/>
              <p:nvPr/>
            </p:nvSpPr>
            <p:spPr>
              <a:xfrm>
                <a:off x="3670072" y="1001319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208"/>
                    </a:moveTo>
                    <a:cubicBezTo>
                      <a:pt x="6353" y="3425"/>
                      <a:pt x="4934" y="4405"/>
                      <a:pt x="3177" y="4405"/>
                    </a:cubicBezTo>
                    <a:cubicBezTo>
                      <a:pt x="1420" y="4405"/>
                      <a:pt x="1" y="3425"/>
                      <a:pt x="1" y="2208"/>
                    </a:cubicBezTo>
                    <a:cubicBezTo>
                      <a:pt x="1" y="992"/>
                      <a:pt x="1420" y="1"/>
                      <a:pt x="3177" y="1"/>
                    </a:cubicBezTo>
                    <a:cubicBezTo>
                      <a:pt x="4934" y="1"/>
                      <a:pt x="6353" y="992"/>
                      <a:pt x="6353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0" name="Google Shape;1060;p33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extrusionOk="0">
                    <a:moveTo>
                      <a:pt x="3177" y="1"/>
                    </a:moveTo>
                    <a:cubicBezTo>
                      <a:pt x="1420" y="1"/>
                      <a:pt x="1" y="980"/>
                      <a:pt x="1" y="2197"/>
                    </a:cubicBezTo>
                    <a:cubicBezTo>
                      <a:pt x="1" y="3413"/>
                      <a:pt x="1420" y="4404"/>
                      <a:pt x="3177" y="4404"/>
                    </a:cubicBezTo>
                    <a:cubicBezTo>
                      <a:pt x="4934" y="4404"/>
                      <a:pt x="6353" y="3413"/>
                      <a:pt x="6353" y="2197"/>
                    </a:cubicBezTo>
                    <a:cubicBezTo>
                      <a:pt x="6353" y="980"/>
                      <a:pt x="4934" y="1"/>
                      <a:pt x="317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1" name="Google Shape;1061;p33"/>
              <p:cNvSpPr/>
              <p:nvPr/>
            </p:nvSpPr>
            <p:spPr>
              <a:xfrm>
                <a:off x="3670072" y="965127"/>
                <a:ext cx="221977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4405" fill="none" extrusionOk="0">
                    <a:moveTo>
                      <a:pt x="6353" y="2197"/>
                    </a:moveTo>
                    <a:cubicBezTo>
                      <a:pt x="6353" y="3413"/>
                      <a:pt x="4934" y="4404"/>
                      <a:pt x="3177" y="4404"/>
                    </a:cubicBezTo>
                    <a:cubicBezTo>
                      <a:pt x="1420" y="4404"/>
                      <a:pt x="1" y="3413"/>
                      <a:pt x="1" y="2197"/>
                    </a:cubicBezTo>
                    <a:cubicBezTo>
                      <a:pt x="1" y="980"/>
                      <a:pt x="1420" y="1"/>
                      <a:pt x="3177" y="1"/>
                    </a:cubicBezTo>
                    <a:cubicBezTo>
                      <a:pt x="4934" y="1"/>
                      <a:pt x="6353" y="980"/>
                      <a:pt x="6353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2" name="Google Shape;1062;p33"/>
              <p:cNvSpPr/>
              <p:nvPr/>
            </p:nvSpPr>
            <p:spPr>
              <a:xfrm>
                <a:off x="3781826" y="111936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cubicBezTo>
                      <a:pt x="1" y="1003"/>
                      <a:pt x="1" y="981"/>
                      <a:pt x="1" y="947"/>
                    </a:cubicBez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3" name="Google Shape;1063;p33"/>
              <p:cNvSpPr/>
              <p:nvPr/>
            </p:nvSpPr>
            <p:spPr>
              <a:xfrm>
                <a:off x="3805825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4" name="Google Shape;1064;p33"/>
              <p:cNvSpPr/>
              <p:nvPr/>
            </p:nvSpPr>
            <p:spPr>
              <a:xfrm>
                <a:off x="3828637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5" name="Google Shape;1065;p33"/>
              <p:cNvSpPr/>
              <p:nvPr/>
            </p:nvSpPr>
            <p:spPr>
              <a:xfrm>
                <a:off x="3849912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6" name="Google Shape;1066;p33"/>
              <p:cNvSpPr/>
              <p:nvPr/>
            </p:nvSpPr>
            <p:spPr>
              <a:xfrm>
                <a:off x="3868008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7" name="Google Shape;1067;p33"/>
              <p:cNvSpPr/>
              <p:nvPr/>
            </p:nvSpPr>
            <p:spPr>
              <a:xfrm>
                <a:off x="3884147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8" name="Google Shape;1068;p33"/>
              <p:cNvSpPr/>
              <p:nvPr/>
            </p:nvSpPr>
            <p:spPr>
              <a:xfrm>
                <a:off x="3757023" y="1117020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9" name="Google Shape;1069;p33"/>
              <p:cNvSpPr/>
              <p:nvPr/>
            </p:nvSpPr>
            <p:spPr>
              <a:xfrm>
                <a:off x="3734211" y="111188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0" name="Google Shape;1070;p33"/>
              <p:cNvSpPr/>
              <p:nvPr/>
            </p:nvSpPr>
            <p:spPr>
              <a:xfrm>
                <a:off x="3712971" y="1103221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1" name="Google Shape;1071;p33"/>
              <p:cNvSpPr/>
              <p:nvPr/>
            </p:nvSpPr>
            <p:spPr>
              <a:xfrm>
                <a:off x="3694876" y="1091029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2" name="Google Shape;1072;p33"/>
              <p:cNvSpPr/>
              <p:nvPr/>
            </p:nvSpPr>
            <p:spPr>
              <a:xfrm>
                <a:off x="3678736" y="1070977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3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extrusionOk="0">
                    <a:moveTo>
                      <a:pt x="2456" y="0"/>
                    </a:moveTo>
                    <a:cubicBezTo>
                      <a:pt x="1104" y="0"/>
                      <a:pt x="1" y="766"/>
                      <a:pt x="1" y="1701"/>
                    </a:cubicBezTo>
                    <a:cubicBezTo>
                      <a:pt x="1" y="2647"/>
                      <a:pt x="1104" y="3402"/>
                      <a:pt x="2456" y="3402"/>
                    </a:cubicBezTo>
                    <a:cubicBezTo>
                      <a:pt x="3819" y="3402"/>
                      <a:pt x="4911" y="2647"/>
                      <a:pt x="4911" y="1701"/>
                    </a:cubicBezTo>
                    <a:cubicBezTo>
                      <a:pt x="4911" y="766"/>
                      <a:pt x="3819" y="0"/>
                      <a:pt x="24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4" name="Google Shape;1074;p33"/>
              <p:cNvSpPr/>
              <p:nvPr/>
            </p:nvSpPr>
            <p:spPr>
              <a:xfrm>
                <a:off x="3695260" y="982454"/>
                <a:ext cx="171601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12" h="3402" fill="none" extrusionOk="0">
                    <a:moveTo>
                      <a:pt x="4911" y="1701"/>
                    </a:moveTo>
                    <a:cubicBezTo>
                      <a:pt x="4911" y="2647"/>
                      <a:pt x="3819" y="3402"/>
                      <a:pt x="2456" y="3402"/>
                    </a:cubicBezTo>
                    <a:cubicBezTo>
                      <a:pt x="1104" y="3402"/>
                      <a:pt x="1" y="2647"/>
                      <a:pt x="1" y="1701"/>
                    </a:cubicBezTo>
                    <a:cubicBezTo>
                      <a:pt x="1" y="766"/>
                      <a:pt x="1104" y="0"/>
                      <a:pt x="2456" y="0"/>
                    </a:cubicBezTo>
                    <a:cubicBezTo>
                      <a:pt x="3819" y="0"/>
                      <a:pt x="4911" y="766"/>
                      <a:pt x="4911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5" name="Google Shape;1075;p33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extrusionOk="0">
                    <a:moveTo>
                      <a:pt x="361" y="1"/>
                    </a:moveTo>
                    <a:lnTo>
                      <a:pt x="57" y="113"/>
                    </a:lnTo>
                    <a:lnTo>
                      <a:pt x="282" y="237"/>
                    </a:lnTo>
                    <a:cubicBezTo>
                      <a:pt x="90" y="339"/>
                      <a:pt x="0" y="451"/>
                      <a:pt x="0" y="564"/>
                    </a:cubicBezTo>
                    <a:cubicBezTo>
                      <a:pt x="11" y="665"/>
                      <a:pt x="113" y="778"/>
                      <a:pt x="316" y="891"/>
                    </a:cubicBezTo>
                    <a:cubicBezTo>
                      <a:pt x="462" y="969"/>
                      <a:pt x="608" y="1026"/>
                      <a:pt x="777" y="1071"/>
                    </a:cubicBezTo>
                    <a:cubicBezTo>
                      <a:pt x="935" y="1105"/>
                      <a:pt x="1081" y="1127"/>
                      <a:pt x="1217" y="1138"/>
                    </a:cubicBezTo>
                    <a:cubicBezTo>
                      <a:pt x="1341" y="1138"/>
                      <a:pt x="1577" y="1138"/>
                      <a:pt x="1904" y="1127"/>
                    </a:cubicBezTo>
                    <a:cubicBezTo>
                      <a:pt x="2095" y="1127"/>
                      <a:pt x="2230" y="1138"/>
                      <a:pt x="2320" y="1161"/>
                    </a:cubicBezTo>
                    <a:cubicBezTo>
                      <a:pt x="2411" y="1195"/>
                      <a:pt x="2523" y="1251"/>
                      <a:pt x="2681" y="1330"/>
                    </a:cubicBezTo>
                    <a:cubicBezTo>
                      <a:pt x="2737" y="1364"/>
                      <a:pt x="2771" y="1397"/>
                      <a:pt x="2782" y="1420"/>
                    </a:cubicBezTo>
                    <a:cubicBezTo>
                      <a:pt x="2793" y="1454"/>
                      <a:pt x="2782" y="1465"/>
                      <a:pt x="2737" y="1488"/>
                    </a:cubicBezTo>
                    <a:cubicBezTo>
                      <a:pt x="2709" y="1499"/>
                      <a:pt x="2681" y="1504"/>
                      <a:pt x="2653" y="1504"/>
                    </a:cubicBezTo>
                    <a:cubicBezTo>
                      <a:pt x="2625" y="1504"/>
                      <a:pt x="2596" y="1499"/>
                      <a:pt x="2568" y="1488"/>
                    </a:cubicBezTo>
                    <a:cubicBezTo>
                      <a:pt x="2512" y="1476"/>
                      <a:pt x="2399" y="1409"/>
                      <a:pt x="2208" y="1307"/>
                    </a:cubicBezTo>
                    <a:lnTo>
                      <a:pt x="2050" y="1217"/>
                    </a:lnTo>
                    <a:lnTo>
                      <a:pt x="1408" y="1488"/>
                    </a:lnTo>
                    <a:lnTo>
                      <a:pt x="1532" y="1555"/>
                    </a:lnTo>
                    <a:cubicBezTo>
                      <a:pt x="1836" y="1724"/>
                      <a:pt x="2118" y="1814"/>
                      <a:pt x="2365" y="1825"/>
                    </a:cubicBezTo>
                    <a:cubicBezTo>
                      <a:pt x="2427" y="1831"/>
                      <a:pt x="2488" y="1834"/>
                      <a:pt x="2547" y="1834"/>
                    </a:cubicBezTo>
                    <a:cubicBezTo>
                      <a:pt x="2723" y="1834"/>
                      <a:pt x="2884" y="1809"/>
                      <a:pt x="3019" y="1758"/>
                    </a:cubicBezTo>
                    <a:lnTo>
                      <a:pt x="3289" y="1904"/>
                    </a:lnTo>
                    <a:lnTo>
                      <a:pt x="3582" y="1780"/>
                    </a:lnTo>
                    <a:lnTo>
                      <a:pt x="3323" y="1645"/>
                    </a:lnTo>
                    <a:cubicBezTo>
                      <a:pt x="3514" y="1533"/>
                      <a:pt x="3593" y="1420"/>
                      <a:pt x="3559" y="1296"/>
                    </a:cubicBezTo>
                    <a:cubicBezTo>
                      <a:pt x="3537" y="1172"/>
                      <a:pt x="3402" y="1048"/>
                      <a:pt x="3154" y="913"/>
                    </a:cubicBezTo>
                    <a:cubicBezTo>
                      <a:pt x="3007" y="834"/>
                      <a:pt x="2861" y="767"/>
                      <a:pt x="2715" y="733"/>
                    </a:cubicBezTo>
                    <a:cubicBezTo>
                      <a:pt x="2579" y="688"/>
                      <a:pt x="2444" y="665"/>
                      <a:pt x="2332" y="665"/>
                    </a:cubicBezTo>
                    <a:cubicBezTo>
                      <a:pt x="2275" y="660"/>
                      <a:pt x="2199" y="657"/>
                      <a:pt x="2104" y="657"/>
                    </a:cubicBezTo>
                    <a:cubicBezTo>
                      <a:pt x="2008" y="657"/>
                      <a:pt x="1892" y="660"/>
                      <a:pt x="1757" y="665"/>
                    </a:cubicBezTo>
                    <a:cubicBezTo>
                      <a:pt x="1600" y="671"/>
                      <a:pt x="1473" y="674"/>
                      <a:pt x="1374" y="674"/>
                    </a:cubicBezTo>
                    <a:cubicBezTo>
                      <a:pt x="1276" y="674"/>
                      <a:pt x="1205" y="671"/>
                      <a:pt x="1160" y="665"/>
                    </a:cubicBezTo>
                    <a:cubicBezTo>
                      <a:pt x="1081" y="665"/>
                      <a:pt x="991" y="632"/>
                      <a:pt x="879" y="564"/>
                    </a:cubicBezTo>
                    <a:cubicBezTo>
                      <a:pt x="822" y="530"/>
                      <a:pt x="777" y="508"/>
                      <a:pt x="766" y="474"/>
                    </a:cubicBezTo>
                    <a:cubicBezTo>
                      <a:pt x="755" y="451"/>
                      <a:pt x="766" y="429"/>
                      <a:pt x="811" y="418"/>
                    </a:cubicBezTo>
                    <a:cubicBezTo>
                      <a:pt x="838" y="404"/>
                      <a:pt x="864" y="399"/>
                      <a:pt x="893" y="399"/>
                    </a:cubicBezTo>
                    <a:cubicBezTo>
                      <a:pt x="913" y="399"/>
                      <a:pt x="934" y="402"/>
                      <a:pt x="958" y="406"/>
                    </a:cubicBezTo>
                    <a:cubicBezTo>
                      <a:pt x="1014" y="418"/>
                      <a:pt x="1093" y="463"/>
                      <a:pt x="1217" y="530"/>
                    </a:cubicBezTo>
                    <a:lnTo>
                      <a:pt x="1329" y="586"/>
                    </a:lnTo>
                    <a:lnTo>
                      <a:pt x="1971" y="327"/>
                    </a:lnTo>
                    <a:cubicBezTo>
                      <a:pt x="1915" y="294"/>
                      <a:pt x="1870" y="271"/>
                      <a:pt x="1847" y="249"/>
                    </a:cubicBezTo>
                    <a:cubicBezTo>
                      <a:pt x="1645" y="147"/>
                      <a:pt x="1442" y="80"/>
                      <a:pt x="1228" y="57"/>
                    </a:cubicBezTo>
                    <a:cubicBezTo>
                      <a:pt x="1173" y="51"/>
                      <a:pt x="1117" y="48"/>
                      <a:pt x="1062" y="48"/>
                    </a:cubicBezTo>
                    <a:cubicBezTo>
                      <a:pt x="903" y="48"/>
                      <a:pt x="742" y="72"/>
                      <a:pt x="575" y="113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6" name="Google Shape;1076;p33"/>
              <p:cNvSpPr/>
              <p:nvPr/>
            </p:nvSpPr>
            <p:spPr>
              <a:xfrm>
                <a:off x="3718491" y="1008795"/>
                <a:ext cx="125556" cy="66551"/>
              </a:xfrm>
              <a:custGeom>
                <a:avLst/>
                <a:gdLst/>
                <a:ahLst/>
                <a:cxnLst/>
                <a:rect l="l" t="t" r="r" b="b"/>
                <a:pathLst>
                  <a:path w="3594" h="1905" fill="none" extrusionOk="0">
                    <a:moveTo>
                      <a:pt x="1971" y="327"/>
                    </a:moveTo>
                    <a:lnTo>
                      <a:pt x="1329" y="586"/>
                    </a:lnTo>
                    <a:lnTo>
                      <a:pt x="1217" y="530"/>
                    </a:lnTo>
                    <a:cubicBezTo>
                      <a:pt x="1093" y="463"/>
                      <a:pt x="1014" y="418"/>
                      <a:pt x="958" y="406"/>
                    </a:cubicBezTo>
                    <a:cubicBezTo>
                      <a:pt x="901" y="395"/>
                      <a:pt x="856" y="395"/>
                      <a:pt x="811" y="418"/>
                    </a:cubicBezTo>
                    <a:cubicBezTo>
                      <a:pt x="766" y="429"/>
                      <a:pt x="755" y="451"/>
                      <a:pt x="766" y="474"/>
                    </a:cubicBezTo>
                    <a:cubicBezTo>
                      <a:pt x="777" y="508"/>
                      <a:pt x="822" y="530"/>
                      <a:pt x="879" y="564"/>
                    </a:cubicBezTo>
                    <a:cubicBezTo>
                      <a:pt x="991" y="632"/>
                      <a:pt x="1081" y="665"/>
                      <a:pt x="1160" y="665"/>
                    </a:cubicBezTo>
                    <a:cubicBezTo>
                      <a:pt x="1250" y="677"/>
                      <a:pt x="1442" y="677"/>
                      <a:pt x="1757" y="665"/>
                    </a:cubicBezTo>
                    <a:cubicBezTo>
                      <a:pt x="2028" y="654"/>
                      <a:pt x="2219" y="654"/>
                      <a:pt x="2332" y="665"/>
                    </a:cubicBezTo>
                    <a:cubicBezTo>
                      <a:pt x="2444" y="665"/>
                      <a:pt x="2579" y="688"/>
                      <a:pt x="2715" y="733"/>
                    </a:cubicBezTo>
                    <a:cubicBezTo>
                      <a:pt x="2861" y="767"/>
                      <a:pt x="3007" y="834"/>
                      <a:pt x="3154" y="913"/>
                    </a:cubicBezTo>
                    <a:cubicBezTo>
                      <a:pt x="3402" y="1048"/>
                      <a:pt x="3537" y="1172"/>
                      <a:pt x="3559" y="1296"/>
                    </a:cubicBezTo>
                    <a:cubicBezTo>
                      <a:pt x="3593" y="1420"/>
                      <a:pt x="3514" y="1533"/>
                      <a:pt x="3323" y="1645"/>
                    </a:cubicBezTo>
                    <a:lnTo>
                      <a:pt x="3582" y="1780"/>
                    </a:lnTo>
                    <a:lnTo>
                      <a:pt x="3289" y="1904"/>
                    </a:lnTo>
                    <a:lnTo>
                      <a:pt x="3019" y="1758"/>
                    </a:lnTo>
                    <a:cubicBezTo>
                      <a:pt x="2839" y="1825"/>
                      <a:pt x="2613" y="1848"/>
                      <a:pt x="2365" y="1825"/>
                    </a:cubicBezTo>
                    <a:cubicBezTo>
                      <a:pt x="2118" y="1814"/>
                      <a:pt x="1836" y="1724"/>
                      <a:pt x="1532" y="1555"/>
                    </a:cubicBezTo>
                    <a:lnTo>
                      <a:pt x="1408" y="1488"/>
                    </a:lnTo>
                    <a:lnTo>
                      <a:pt x="2050" y="1217"/>
                    </a:lnTo>
                    <a:lnTo>
                      <a:pt x="2208" y="1307"/>
                    </a:lnTo>
                    <a:cubicBezTo>
                      <a:pt x="2399" y="1409"/>
                      <a:pt x="2512" y="1476"/>
                      <a:pt x="2568" y="1488"/>
                    </a:cubicBezTo>
                    <a:cubicBezTo>
                      <a:pt x="2625" y="1510"/>
                      <a:pt x="2681" y="1510"/>
                      <a:pt x="2737" y="1488"/>
                    </a:cubicBezTo>
                    <a:cubicBezTo>
                      <a:pt x="2782" y="1465"/>
                      <a:pt x="2793" y="1454"/>
                      <a:pt x="2782" y="1420"/>
                    </a:cubicBezTo>
                    <a:cubicBezTo>
                      <a:pt x="2771" y="1397"/>
                      <a:pt x="2737" y="1364"/>
                      <a:pt x="2681" y="1330"/>
                    </a:cubicBezTo>
                    <a:cubicBezTo>
                      <a:pt x="2523" y="1251"/>
                      <a:pt x="2411" y="1195"/>
                      <a:pt x="2320" y="1161"/>
                    </a:cubicBezTo>
                    <a:cubicBezTo>
                      <a:pt x="2230" y="1138"/>
                      <a:pt x="2095" y="1127"/>
                      <a:pt x="1904" y="1127"/>
                    </a:cubicBezTo>
                    <a:cubicBezTo>
                      <a:pt x="1577" y="1138"/>
                      <a:pt x="1341" y="1138"/>
                      <a:pt x="1217" y="1138"/>
                    </a:cubicBezTo>
                    <a:cubicBezTo>
                      <a:pt x="1081" y="1127"/>
                      <a:pt x="935" y="1105"/>
                      <a:pt x="777" y="1071"/>
                    </a:cubicBezTo>
                    <a:cubicBezTo>
                      <a:pt x="608" y="1026"/>
                      <a:pt x="462" y="969"/>
                      <a:pt x="316" y="891"/>
                    </a:cubicBezTo>
                    <a:cubicBezTo>
                      <a:pt x="113" y="778"/>
                      <a:pt x="11" y="665"/>
                      <a:pt x="0" y="564"/>
                    </a:cubicBezTo>
                    <a:cubicBezTo>
                      <a:pt x="0" y="451"/>
                      <a:pt x="90" y="339"/>
                      <a:pt x="282" y="237"/>
                    </a:cubicBezTo>
                    <a:lnTo>
                      <a:pt x="57" y="113"/>
                    </a:lnTo>
                    <a:lnTo>
                      <a:pt x="361" y="1"/>
                    </a:lnTo>
                    <a:lnTo>
                      <a:pt x="575" y="113"/>
                    </a:lnTo>
                    <a:cubicBezTo>
                      <a:pt x="800" y="57"/>
                      <a:pt x="1014" y="35"/>
                      <a:pt x="1228" y="57"/>
                    </a:cubicBezTo>
                    <a:cubicBezTo>
                      <a:pt x="1442" y="80"/>
                      <a:pt x="1645" y="147"/>
                      <a:pt x="1847" y="249"/>
                    </a:cubicBezTo>
                    <a:cubicBezTo>
                      <a:pt x="1870" y="271"/>
                      <a:pt x="1915" y="294"/>
                      <a:pt x="1971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7" name="Google Shape;1077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74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8" name="Google Shape;1078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9" name="Google Shape;1079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74"/>
                      <a:pt x="4393" y="1"/>
                      <a:pt x="3188" y="1"/>
                    </a:cubicBezTo>
                    <a:cubicBezTo>
                      <a:pt x="1971" y="1"/>
                      <a:pt x="924" y="474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75"/>
                      <a:pt x="0" y="2208"/>
                    </a:cubicBezTo>
                    <a:cubicBezTo>
                      <a:pt x="0" y="3414"/>
                      <a:pt x="1431" y="4405"/>
                      <a:pt x="3188" y="4405"/>
                    </a:cubicBezTo>
                    <a:cubicBezTo>
                      <a:pt x="4945" y="4405"/>
                      <a:pt x="6364" y="3414"/>
                      <a:pt x="6364" y="2208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0" name="Google Shape;1080;p33"/>
              <p:cNvSpPr/>
              <p:nvPr/>
            </p:nvSpPr>
            <p:spPr>
              <a:xfrm>
                <a:off x="3847152" y="1240546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4"/>
                      <a:pt x="4945" y="4405"/>
                      <a:pt x="3188" y="4405"/>
                    </a:cubicBezTo>
                    <a:cubicBezTo>
                      <a:pt x="1431" y="4405"/>
                      <a:pt x="0" y="3414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1" name="Google Shape;1081;p33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2"/>
                      <a:pt x="0" y="2208"/>
                    </a:cubicBezTo>
                    <a:cubicBezTo>
                      <a:pt x="0" y="3424"/>
                      <a:pt x="1431" y="4404"/>
                      <a:pt x="3188" y="4404"/>
                    </a:cubicBezTo>
                    <a:cubicBezTo>
                      <a:pt x="4945" y="4404"/>
                      <a:pt x="6364" y="3424"/>
                      <a:pt x="6364" y="2208"/>
                    </a:cubicBezTo>
                    <a:cubicBezTo>
                      <a:pt x="6364" y="992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2" name="Google Shape;1082;p33"/>
              <p:cNvSpPr/>
              <p:nvPr/>
            </p:nvSpPr>
            <p:spPr>
              <a:xfrm>
                <a:off x="3847152" y="120397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24"/>
                      <a:pt x="4945" y="4404"/>
                      <a:pt x="3188" y="4404"/>
                    </a:cubicBezTo>
                    <a:cubicBezTo>
                      <a:pt x="1431" y="4404"/>
                      <a:pt x="0" y="3424"/>
                      <a:pt x="0" y="2208"/>
                    </a:cubicBezTo>
                    <a:cubicBezTo>
                      <a:pt x="0" y="992"/>
                      <a:pt x="1431" y="0"/>
                      <a:pt x="3188" y="0"/>
                    </a:cubicBezTo>
                    <a:cubicBezTo>
                      <a:pt x="4945" y="0"/>
                      <a:pt x="6364" y="992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3" name="Google Shape;1083;p33"/>
              <p:cNvSpPr/>
              <p:nvPr/>
            </p:nvSpPr>
            <p:spPr>
              <a:xfrm>
                <a:off x="3958905" y="1358203"/>
                <a:ext cx="419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37" fill="none" extrusionOk="0">
                    <a:moveTo>
                      <a:pt x="0" y="1037"/>
                    </a:moveTo>
                    <a:cubicBezTo>
                      <a:pt x="0" y="1003"/>
                      <a:pt x="0" y="980"/>
                      <a:pt x="11" y="958"/>
                    </a:cubicBezTo>
                    <a:lnTo>
                      <a:pt x="1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4" name="Google Shape;1084;p33"/>
              <p:cNvSpPr/>
              <p:nvPr/>
            </p:nvSpPr>
            <p:spPr>
              <a:xfrm>
                <a:off x="3983289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5" name="Google Shape;1085;p33"/>
              <p:cNvSpPr/>
              <p:nvPr/>
            </p:nvSpPr>
            <p:spPr>
              <a:xfrm>
                <a:off x="400610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6" name="Google Shape;1086;p33"/>
              <p:cNvSpPr/>
              <p:nvPr/>
            </p:nvSpPr>
            <p:spPr>
              <a:xfrm>
                <a:off x="4027341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7" name="Google Shape;1087;p33"/>
              <p:cNvSpPr/>
              <p:nvPr/>
            </p:nvSpPr>
            <p:spPr>
              <a:xfrm>
                <a:off x="4045052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8" name="Google Shape;1088;p33"/>
              <p:cNvSpPr/>
              <p:nvPr/>
            </p:nvSpPr>
            <p:spPr>
              <a:xfrm>
                <a:off x="406157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9" name="Google Shape;1089;p33"/>
              <p:cNvSpPr/>
              <p:nvPr/>
            </p:nvSpPr>
            <p:spPr>
              <a:xfrm>
                <a:off x="3934487" y="1356247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0" name="Google Shape;1090;p33"/>
              <p:cNvSpPr/>
              <p:nvPr/>
            </p:nvSpPr>
            <p:spPr>
              <a:xfrm>
                <a:off x="3911291" y="1351112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1" name="Google Shape;1091;p33"/>
              <p:cNvSpPr/>
              <p:nvPr/>
            </p:nvSpPr>
            <p:spPr>
              <a:xfrm>
                <a:off x="3890435" y="1342483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2" name="Google Shape;1092;p33"/>
              <p:cNvSpPr/>
              <p:nvPr/>
            </p:nvSpPr>
            <p:spPr>
              <a:xfrm>
                <a:off x="3872339" y="1330256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3" name="Google Shape;1093;p33"/>
              <p:cNvSpPr/>
              <p:nvPr/>
            </p:nvSpPr>
            <p:spPr>
              <a:xfrm>
                <a:off x="3855816" y="1310204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4" name="Google Shape;1094;p33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5" name="Google Shape;1095;p33"/>
              <p:cNvSpPr/>
              <p:nvPr/>
            </p:nvSpPr>
            <p:spPr>
              <a:xfrm>
                <a:off x="3872339" y="1221682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6" name="Google Shape;1096;p33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1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62"/>
                      <a:pt x="12" y="564"/>
                    </a:cubicBezTo>
                    <a:cubicBezTo>
                      <a:pt x="23" y="676"/>
                      <a:pt x="125" y="789"/>
                      <a:pt x="327" y="902"/>
                    </a:cubicBezTo>
                    <a:cubicBezTo>
                      <a:pt x="462" y="980"/>
                      <a:pt x="620" y="1037"/>
                      <a:pt x="778" y="1071"/>
                    </a:cubicBezTo>
                    <a:cubicBezTo>
                      <a:pt x="947" y="1116"/>
                      <a:pt x="1093" y="1138"/>
                      <a:pt x="1217" y="1138"/>
                    </a:cubicBezTo>
                    <a:cubicBezTo>
                      <a:pt x="1285" y="1144"/>
                      <a:pt x="1375" y="1147"/>
                      <a:pt x="1489" y="1147"/>
                    </a:cubicBezTo>
                    <a:cubicBezTo>
                      <a:pt x="1603" y="1147"/>
                      <a:pt x="1741" y="1144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7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408"/>
                      <a:pt x="2794" y="1431"/>
                    </a:cubicBezTo>
                    <a:cubicBezTo>
                      <a:pt x="2805" y="1454"/>
                      <a:pt x="2783" y="1476"/>
                      <a:pt x="2738" y="1499"/>
                    </a:cubicBezTo>
                    <a:cubicBezTo>
                      <a:pt x="2715" y="1510"/>
                      <a:pt x="2690" y="1515"/>
                      <a:pt x="2663" y="1515"/>
                    </a:cubicBezTo>
                    <a:cubicBezTo>
                      <a:pt x="2636" y="1515"/>
                      <a:pt x="2608" y="1510"/>
                      <a:pt x="2580" y="1499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28"/>
                    </a:lnTo>
                    <a:lnTo>
                      <a:pt x="1409" y="1487"/>
                    </a:lnTo>
                    <a:lnTo>
                      <a:pt x="1544" y="1566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31"/>
                      <a:pt x="3571" y="1307"/>
                    </a:cubicBezTo>
                    <a:cubicBezTo>
                      <a:pt x="3549" y="1183"/>
                      <a:pt x="3413" y="1048"/>
                      <a:pt x="3166" y="924"/>
                    </a:cubicBezTo>
                    <a:cubicBezTo>
                      <a:pt x="3019" y="834"/>
                      <a:pt x="2873" y="778"/>
                      <a:pt x="2726" y="733"/>
                    </a:cubicBezTo>
                    <a:cubicBezTo>
                      <a:pt x="2580" y="699"/>
                      <a:pt x="2456" y="676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454" y="676"/>
                      <a:pt x="1251" y="676"/>
                      <a:pt x="1172" y="676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41"/>
                      <a:pt x="789" y="507"/>
                      <a:pt x="778" y="485"/>
                    </a:cubicBezTo>
                    <a:cubicBezTo>
                      <a:pt x="767" y="451"/>
                      <a:pt x="778" y="440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29"/>
                      <a:pt x="1104" y="462"/>
                      <a:pt x="1217" y="530"/>
                    </a:cubicBezTo>
                    <a:lnTo>
                      <a:pt x="1330" y="598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60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7" name="Google Shape;1097;p33"/>
              <p:cNvSpPr/>
              <p:nvPr/>
            </p:nvSpPr>
            <p:spPr>
              <a:xfrm>
                <a:off x="3895535" y="124763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98"/>
                    </a:lnTo>
                    <a:lnTo>
                      <a:pt x="1217" y="530"/>
                    </a:lnTo>
                    <a:cubicBezTo>
                      <a:pt x="1104" y="462"/>
                      <a:pt x="1014" y="429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40"/>
                      <a:pt x="767" y="451"/>
                      <a:pt x="778" y="485"/>
                    </a:cubicBezTo>
                    <a:cubicBezTo>
                      <a:pt x="789" y="507"/>
                      <a:pt x="823" y="541"/>
                      <a:pt x="890" y="575"/>
                    </a:cubicBezTo>
                    <a:cubicBezTo>
                      <a:pt x="992" y="631"/>
                      <a:pt x="1093" y="665"/>
                      <a:pt x="1172" y="676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76"/>
                      <a:pt x="2580" y="699"/>
                      <a:pt x="2726" y="733"/>
                    </a:cubicBezTo>
                    <a:cubicBezTo>
                      <a:pt x="2873" y="778"/>
                      <a:pt x="3019" y="834"/>
                      <a:pt x="3166" y="924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31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66"/>
                    </a:cubicBezTo>
                    <a:lnTo>
                      <a:pt x="1409" y="1487"/>
                    </a:lnTo>
                    <a:lnTo>
                      <a:pt x="2051" y="1228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9"/>
                    </a:cubicBezTo>
                    <a:cubicBezTo>
                      <a:pt x="2636" y="1521"/>
                      <a:pt x="2693" y="1521"/>
                      <a:pt x="2738" y="1499"/>
                    </a:cubicBezTo>
                    <a:cubicBezTo>
                      <a:pt x="2783" y="1476"/>
                      <a:pt x="2805" y="1454"/>
                      <a:pt x="2794" y="1431"/>
                    </a:cubicBezTo>
                    <a:cubicBezTo>
                      <a:pt x="2783" y="1408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49"/>
                      <a:pt x="1352" y="1149"/>
                      <a:pt x="1217" y="1138"/>
                    </a:cubicBezTo>
                    <a:cubicBezTo>
                      <a:pt x="1093" y="1138"/>
                      <a:pt x="947" y="1116"/>
                      <a:pt x="778" y="1071"/>
                    </a:cubicBezTo>
                    <a:cubicBezTo>
                      <a:pt x="620" y="1037"/>
                      <a:pt x="462" y="980"/>
                      <a:pt x="327" y="902"/>
                    </a:cubicBezTo>
                    <a:cubicBezTo>
                      <a:pt x="125" y="789"/>
                      <a:pt x="23" y="676"/>
                      <a:pt x="12" y="564"/>
                    </a:cubicBezTo>
                    <a:cubicBezTo>
                      <a:pt x="1" y="462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1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60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8" name="Google Shape;1098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lnTo>
                      <a:pt x="5981" y="1161"/>
                    </a:lnTo>
                    <a:cubicBezTo>
                      <a:pt x="5452" y="462"/>
                      <a:pt x="4393" y="1"/>
                      <a:pt x="3188" y="1"/>
                    </a:cubicBezTo>
                    <a:close/>
                  </a:path>
                </a:pathLst>
              </a:custGeom>
              <a:solidFill>
                <a:srgbClr val="4285F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9" name="Google Shape;1099;p33"/>
              <p:cNvSpPr/>
              <p:nvPr/>
            </p:nvSpPr>
            <p:spPr>
              <a:xfrm>
                <a:off x="3849895" y="1178210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1"/>
                    </a:moveTo>
                    <a:cubicBezTo>
                      <a:pt x="1431" y="1"/>
                      <a:pt x="0" y="981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cubicBezTo>
                      <a:pt x="6364" y="981"/>
                      <a:pt x="4945" y="1"/>
                      <a:pt x="318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0" name="Google Shape;1100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5981" y="1161"/>
                    </a:moveTo>
                    <a:cubicBezTo>
                      <a:pt x="5452" y="462"/>
                      <a:pt x="4393" y="1"/>
                      <a:pt x="3188" y="1"/>
                    </a:cubicBezTo>
                    <a:cubicBezTo>
                      <a:pt x="1971" y="1"/>
                      <a:pt x="924" y="462"/>
                      <a:pt x="383" y="1161"/>
                    </a:cubicBezTo>
                    <a:lnTo>
                      <a:pt x="23" y="1161"/>
                    </a:lnTo>
                    <a:lnTo>
                      <a:pt x="12" y="2107"/>
                    </a:lnTo>
                    <a:cubicBezTo>
                      <a:pt x="12" y="2141"/>
                      <a:pt x="0" y="2163"/>
                      <a:pt x="0" y="2197"/>
                    </a:cubicBezTo>
                    <a:cubicBezTo>
                      <a:pt x="0" y="3413"/>
                      <a:pt x="1431" y="4405"/>
                      <a:pt x="3188" y="4405"/>
                    </a:cubicBezTo>
                    <a:cubicBezTo>
                      <a:pt x="4945" y="4405"/>
                      <a:pt x="6364" y="3413"/>
                      <a:pt x="6364" y="2197"/>
                    </a:cubicBezTo>
                    <a:lnTo>
                      <a:pt x="6364" y="1161"/>
                    </a:ln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1" name="Google Shape;1101;p33"/>
              <p:cNvSpPr/>
              <p:nvPr/>
            </p:nvSpPr>
            <p:spPr>
              <a:xfrm>
                <a:off x="3847152" y="1177595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197"/>
                    </a:moveTo>
                    <a:cubicBezTo>
                      <a:pt x="6364" y="3413"/>
                      <a:pt x="4945" y="4405"/>
                      <a:pt x="3188" y="4405"/>
                    </a:cubicBezTo>
                    <a:cubicBezTo>
                      <a:pt x="1431" y="4405"/>
                      <a:pt x="0" y="3413"/>
                      <a:pt x="0" y="2197"/>
                    </a:cubicBezTo>
                    <a:cubicBezTo>
                      <a:pt x="0" y="981"/>
                      <a:pt x="1431" y="1"/>
                      <a:pt x="3188" y="1"/>
                    </a:cubicBezTo>
                    <a:cubicBezTo>
                      <a:pt x="4945" y="1"/>
                      <a:pt x="6364" y="981"/>
                      <a:pt x="6364" y="2197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2" name="Google Shape;1102;p33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extrusionOk="0">
                    <a:moveTo>
                      <a:pt x="3188" y="0"/>
                    </a:moveTo>
                    <a:cubicBezTo>
                      <a:pt x="1431" y="0"/>
                      <a:pt x="0" y="991"/>
                      <a:pt x="0" y="2208"/>
                    </a:cubicBezTo>
                    <a:cubicBezTo>
                      <a:pt x="0" y="3413"/>
                      <a:pt x="1431" y="4404"/>
                      <a:pt x="3188" y="4404"/>
                    </a:cubicBezTo>
                    <a:cubicBezTo>
                      <a:pt x="4945" y="4404"/>
                      <a:pt x="6364" y="3413"/>
                      <a:pt x="6364" y="2208"/>
                    </a:cubicBezTo>
                    <a:cubicBezTo>
                      <a:pt x="6364" y="991"/>
                      <a:pt x="4945" y="0"/>
                      <a:pt x="31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3" name="Google Shape;1103;p33"/>
              <p:cNvSpPr/>
              <p:nvPr/>
            </p:nvSpPr>
            <p:spPr>
              <a:xfrm>
                <a:off x="3847152" y="1141019"/>
                <a:ext cx="222361" cy="153889"/>
              </a:xfrm>
              <a:custGeom>
                <a:avLst/>
                <a:gdLst/>
                <a:ahLst/>
                <a:cxnLst/>
                <a:rect l="l" t="t" r="r" b="b"/>
                <a:pathLst>
                  <a:path w="6365" h="4405" fill="none" extrusionOk="0">
                    <a:moveTo>
                      <a:pt x="6364" y="2208"/>
                    </a:moveTo>
                    <a:cubicBezTo>
                      <a:pt x="6364" y="3413"/>
                      <a:pt x="4945" y="4404"/>
                      <a:pt x="3188" y="4404"/>
                    </a:cubicBezTo>
                    <a:cubicBezTo>
                      <a:pt x="1431" y="4404"/>
                      <a:pt x="0" y="3413"/>
                      <a:pt x="0" y="2208"/>
                    </a:cubicBezTo>
                    <a:cubicBezTo>
                      <a:pt x="0" y="991"/>
                      <a:pt x="1431" y="0"/>
                      <a:pt x="3188" y="0"/>
                    </a:cubicBezTo>
                    <a:cubicBezTo>
                      <a:pt x="4945" y="0"/>
                      <a:pt x="6364" y="991"/>
                      <a:pt x="6364" y="2208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4" name="Google Shape;1104;p33"/>
              <p:cNvSpPr/>
              <p:nvPr/>
            </p:nvSpPr>
            <p:spPr>
              <a:xfrm>
                <a:off x="3958905" y="1295252"/>
                <a:ext cx="419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2" h="1026" fill="none" extrusionOk="0">
                    <a:moveTo>
                      <a:pt x="0" y="1025"/>
                    </a:moveTo>
                    <a:cubicBezTo>
                      <a:pt x="0" y="1003"/>
                      <a:pt x="0" y="980"/>
                      <a:pt x="11" y="947"/>
                    </a:cubicBezTo>
                    <a:lnTo>
                      <a:pt x="1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5" name="Google Shape;1105;p33"/>
              <p:cNvSpPr/>
              <p:nvPr/>
            </p:nvSpPr>
            <p:spPr>
              <a:xfrm>
                <a:off x="3983289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0" y="1014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6" name="Google Shape;1106;p33"/>
              <p:cNvSpPr/>
              <p:nvPr/>
            </p:nvSpPr>
            <p:spPr>
              <a:xfrm>
                <a:off x="400610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1" y="1014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7" name="Google Shape;1107;p33"/>
              <p:cNvSpPr/>
              <p:nvPr/>
            </p:nvSpPr>
            <p:spPr>
              <a:xfrm>
                <a:off x="4027341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1" y="1026"/>
                    </a:moveTo>
                    <a:lnTo>
                      <a:pt x="1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8" name="Google Shape;1108;p33"/>
              <p:cNvSpPr/>
              <p:nvPr/>
            </p:nvSpPr>
            <p:spPr>
              <a:xfrm>
                <a:off x="4045052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1" y="1037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9" name="Google Shape;1109;p33"/>
              <p:cNvSpPr/>
              <p:nvPr/>
            </p:nvSpPr>
            <p:spPr>
              <a:xfrm>
                <a:off x="406157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1" y="1025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0" name="Google Shape;1110;p33"/>
              <p:cNvSpPr/>
              <p:nvPr/>
            </p:nvSpPr>
            <p:spPr>
              <a:xfrm>
                <a:off x="3934487" y="1293296"/>
                <a:ext cx="35" cy="35424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4" fill="none" extrusionOk="0">
                    <a:moveTo>
                      <a:pt x="1" y="1014"/>
                    </a:moveTo>
                    <a:lnTo>
                      <a:pt x="1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1" name="Google Shape;1111;p33"/>
              <p:cNvSpPr/>
              <p:nvPr/>
            </p:nvSpPr>
            <p:spPr>
              <a:xfrm>
                <a:off x="3911291" y="1288161"/>
                <a:ext cx="35" cy="35459"/>
              </a:xfrm>
              <a:custGeom>
                <a:avLst/>
                <a:gdLst/>
                <a:ahLst/>
                <a:cxnLst/>
                <a:rect l="l" t="t" r="r" b="b"/>
                <a:pathLst>
                  <a:path w="1" h="1015" fill="none" extrusionOk="0">
                    <a:moveTo>
                      <a:pt x="0" y="1014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2" name="Google Shape;1112;p33"/>
              <p:cNvSpPr/>
              <p:nvPr/>
            </p:nvSpPr>
            <p:spPr>
              <a:xfrm>
                <a:off x="3890435" y="1279113"/>
                <a:ext cx="35" cy="35843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6" fill="none" extrusionOk="0">
                    <a:moveTo>
                      <a:pt x="0" y="1026"/>
                    </a:moveTo>
                    <a:lnTo>
                      <a:pt x="0" y="1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" name="Google Shape;1113;p33"/>
              <p:cNvSpPr/>
              <p:nvPr/>
            </p:nvSpPr>
            <p:spPr>
              <a:xfrm>
                <a:off x="3872339" y="1266921"/>
                <a:ext cx="35" cy="3622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37" fill="none" extrusionOk="0">
                    <a:moveTo>
                      <a:pt x="0" y="1037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4" name="Google Shape;1114;p33"/>
              <p:cNvSpPr/>
              <p:nvPr/>
            </p:nvSpPr>
            <p:spPr>
              <a:xfrm>
                <a:off x="3855816" y="1246869"/>
                <a:ext cx="35" cy="35808"/>
              </a:xfrm>
              <a:custGeom>
                <a:avLst/>
                <a:gdLst/>
                <a:ahLst/>
                <a:cxnLst/>
                <a:rect l="l" t="t" r="r" b="b"/>
                <a:pathLst>
                  <a:path w="1" h="1025" fill="none" extrusionOk="0">
                    <a:moveTo>
                      <a:pt x="0" y="1025"/>
                    </a:moveTo>
                    <a:lnTo>
                      <a:pt x="0" y="0"/>
                    </a:lnTo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5" name="Google Shape;1115;p33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extrusionOk="0">
                    <a:moveTo>
                      <a:pt x="2467" y="0"/>
                    </a:moveTo>
                    <a:cubicBezTo>
                      <a:pt x="1104" y="0"/>
                      <a:pt x="0" y="755"/>
                      <a:pt x="0" y="1701"/>
                    </a:cubicBezTo>
                    <a:cubicBezTo>
                      <a:pt x="0" y="2636"/>
                      <a:pt x="1104" y="3402"/>
                      <a:pt x="2467" y="3402"/>
                    </a:cubicBezTo>
                    <a:cubicBezTo>
                      <a:pt x="3818" y="3402"/>
                      <a:pt x="4922" y="2636"/>
                      <a:pt x="4922" y="1701"/>
                    </a:cubicBezTo>
                    <a:cubicBezTo>
                      <a:pt x="4922" y="755"/>
                      <a:pt x="3818" y="0"/>
                      <a:pt x="24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6" name="Google Shape;1116;p33"/>
              <p:cNvSpPr/>
              <p:nvPr/>
            </p:nvSpPr>
            <p:spPr>
              <a:xfrm>
                <a:off x="3872339" y="1158731"/>
                <a:ext cx="171985" cy="118849"/>
              </a:xfrm>
              <a:custGeom>
                <a:avLst/>
                <a:gdLst/>
                <a:ahLst/>
                <a:cxnLst/>
                <a:rect l="l" t="t" r="r" b="b"/>
                <a:pathLst>
                  <a:path w="4923" h="3402" fill="none" extrusionOk="0">
                    <a:moveTo>
                      <a:pt x="4922" y="1701"/>
                    </a:moveTo>
                    <a:cubicBezTo>
                      <a:pt x="4922" y="2636"/>
                      <a:pt x="3818" y="3402"/>
                      <a:pt x="2467" y="3402"/>
                    </a:cubicBezTo>
                    <a:cubicBezTo>
                      <a:pt x="1104" y="3402"/>
                      <a:pt x="0" y="2636"/>
                      <a:pt x="0" y="1701"/>
                    </a:cubicBezTo>
                    <a:cubicBezTo>
                      <a:pt x="0" y="755"/>
                      <a:pt x="1104" y="0"/>
                      <a:pt x="2467" y="0"/>
                    </a:cubicBezTo>
                    <a:cubicBezTo>
                      <a:pt x="3818" y="0"/>
                      <a:pt x="4922" y="755"/>
                      <a:pt x="4922" y="1701"/>
                    </a:cubicBezTo>
                    <a:close/>
                  </a:path>
                </a:pathLst>
              </a:custGeom>
              <a:noFill/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7" name="Google Shape;1117;p33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extrusionOk="0">
                    <a:moveTo>
                      <a:pt x="361" y="0"/>
                    </a:moveTo>
                    <a:lnTo>
                      <a:pt x="68" y="124"/>
                    </a:lnTo>
                    <a:lnTo>
                      <a:pt x="282" y="248"/>
                    </a:lnTo>
                    <a:cubicBezTo>
                      <a:pt x="102" y="350"/>
                      <a:pt x="1" y="451"/>
                      <a:pt x="12" y="564"/>
                    </a:cubicBezTo>
                    <a:cubicBezTo>
                      <a:pt x="23" y="676"/>
                      <a:pt x="125" y="778"/>
                      <a:pt x="327" y="890"/>
                    </a:cubicBezTo>
                    <a:cubicBezTo>
                      <a:pt x="462" y="969"/>
                      <a:pt x="620" y="1037"/>
                      <a:pt x="778" y="1070"/>
                    </a:cubicBezTo>
                    <a:cubicBezTo>
                      <a:pt x="947" y="1115"/>
                      <a:pt x="1093" y="1138"/>
                      <a:pt x="1217" y="1138"/>
                    </a:cubicBezTo>
                    <a:cubicBezTo>
                      <a:pt x="1262" y="1142"/>
                      <a:pt x="1317" y="1143"/>
                      <a:pt x="1383" y="1143"/>
                    </a:cubicBezTo>
                    <a:cubicBezTo>
                      <a:pt x="1514" y="1143"/>
                      <a:pt x="1686" y="1138"/>
                      <a:pt x="1904" y="1138"/>
                    </a:cubicBezTo>
                    <a:cubicBezTo>
                      <a:pt x="1955" y="1135"/>
                      <a:pt x="2001" y="1134"/>
                      <a:pt x="2044" y="1134"/>
                    </a:cubicBezTo>
                    <a:cubicBezTo>
                      <a:pt x="2172" y="1134"/>
                      <a:pt x="2265" y="1146"/>
                      <a:pt x="2332" y="1172"/>
                    </a:cubicBezTo>
                    <a:cubicBezTo>
                      <a:pt x="2411" y="1194"/>
                      <a:pt x="2535" y="1251"/>
                      <a:pt x="2681" y="1341"/>
                    </a:cubicBezTo>
                    <a:cubicBezTo>
                      <a:pt x="2749" y="1375"/>
                      <a:pt x="2783" y="1397"/>
                      <a:pt x="2794" y="1431"/>
                    </a:cubicBezTo>
                    <a:cubicBezTo>
                      <a:pt x="2805" y="1453"/>
                      <a:pt x="2783" y="1476"/>
                      <a:pt x="2738" y="1487"/>
                    </a:cubicBezTo>
                    <a:cubicBezTo>
                      <a:pt x="2711" y="1500"/>
                      <a:pt x="2681" y="1506"/>
                      <a:pt x="2649" y="1506"/>
                    </a:cubicBezTo>
                    <a:cubicBezTo>
                      <a:pt x="2627" y="1506"/>
                      <a:pt x="2603" y="1503"/>
                      <a:pt x="2580" y="1498"/>
                    </a:cubicBezTo>
                    <a:cubicBezTo>
                      <a:pt x="2524" y="1476"/>
                      <a:pt x="2400" y="1420"/>
                      <a:pt x="2220" y="1318"/>
                    </a:cubicBezTo>
                    <a:lnTo>
                      <a:pt x="2051" y="1217"/>
                    </a:lnTo>
                    <a:lnTo>
                      <a:pt x="1409" y="1487"/>
                    </a:lnTo>
                    <a:lnTo>
                      <a:pt x="1544" y="1555"/>
                    </a:lnTo>
                    <a:cubicBezTo>
                      <a:pt x="1848" y="1724"/>
                      <a:pt x="2129" y="1814"/>
                      <a:pt x="2377" y="1836"/>
                    </a:cubicBezTo>
                    <a:cubicBezTo>
                      <a:pt x="2419" y="1838"/>
                      <a:pt x="2459" y="1839"/>
                      <a:pt x="2498" y="1839"/>
                    </a:cubicBezTo>
                    <a:cubicBezTo>
                      <a:pt x="2696" y="1839"/>
                      <a:pt x="2871" y="1816"/>
                      <a:pt x="3031" y="1769"/>
                    </a:cubicBezTo>
                    <a:lnTo>
                      <a:pt x="3301" y="1915"/>
                    </a:lnTo>
                    <a:lnTo>
                      <a:pt x="3594" y="1791"/>
                    </a:lnTo>
                    <a:lnTo>
                      <a:pt x="3335" y="1645"/>
                    </a:lnTo>
                    <a:cubicBezTo>
                      <a:pt x="3526" y="1544"/>
                      <a:pt x="3605" y="1420"/>
                      <a:pt x="3571" y="1307"/>
                    </a:cubicBezTo>
                    <a:cubicBezTo>
                      <a:pt x="3549" y="1183"/>
                      <a:pt x="3413" y="1048"/>
                      <a:pt x="3166" y="913"/>
                    </a:cubicBezTo>
                    <a:cubicBezTo>
                      <a:pt x="3019" y="834"/>
                      <a:pt x="2873" y="766"/>
                      <a:pt x="2726" y="733"/>
                    </a:cubicBezTo>
                    <a:cubicBezTo>
                      <a:pt x="2580" y="687"/>
                      <a:pt x="2456" y="665"/>
                      <a:pt x="2343" y="665"/>
                    </a:cubicBezTo>
                    <a:cubicBezTo>
                      <a:pt x="2282" y="659"/>
                      <a:pt x="2205" y="657"/>
                      <a:pt x="2111" y="657"/>
                    </a:cubicBezTo>
                    <a:cubicBezTo>
                      <a:pt x="2017" y="657"/>
                      <a:pt x="1904" y="659"/>
                      <a:pt x="1769" y="665"/>
                    </a:cubicBezTo>
                    <a:cubicBezTo>
                      <a:pt x="1611" y="671"/>
                      <a:pt x="1482" y="673"/>
                      <a:pt x="1382" y="673"/>
                    </a:cubicBezTo>
                    <a:cubicBezTo>
                      <a:pt x="1282" y="673"/>
                      <a:pt x="1211" y="671"/>
                      <a:pt x="1172" y="665"/>
                    </a:cubicBezTo>
                    <a:cubicBezTo>
                      <a:pt x="1093" y="665"/>
                      <a:pt x="992" y="631"/>
                      <a:pt x="890" y="575"/>
                    </a:cubicBezTo>
                    <a:cubicBezTo>
                      <a:pt x="823" y="530"/>
                      <a:pt x="789" y="507"/>
                      <a:pt x="778" y="473"/>
                    </a:cubicBezTo>
                    <a:cubicBezTo>
                      <a:pt x="767" y="451"/>
                      <a:pt x="778" y="428"/>
                      <a:pt x="812" y="417"/>
                    </a:cubicBezTo>
                    <a:cubicBezTo>
                      <a:pt x="845" y="404"/>
                      <a:pt x="874" y="399"/>
                      <a:pt x="904" y="399"/>
                    </a:cubicBezTo>
                    <a:cubicBezTo>
                      <a:pt x="925" y="399"/>
                      <a:pt x="946" y="401"/>
                      <a:pt x="969" y="406"/>
                    </a:cubicBezTo>
                    <a:cubicBezTo>
                      <a:pt x="1014" y="417"/>
                      <a:pt x="1104" y="462"/>
                      <a:pt x="1217" y="530"/>
                    </a:cubicBezTo>
                    <a:lnTo>
                      <a:pt x="1330" y="586"/>
                    </a:lnTo>
                    <a:lnTo>
                      <a:pt x="1972" y="327"/>
                    </a:lnTo>
                    <a:cubicBezTo>
                      <a:pt x="1927" y="293"/>
                      <a:pt x="1882" y="271"/>
                      <a:pt x="1859" y="259"/>
                    </a:cubicBezTo>
                    <a:cubicBezTo>
                      <a:pt x="1656" y="147"/>
                      <a:pt x="1442" y="79"/>
                      <a:pt x="1240" y="57"/>
                    </a:cubicBezTo>
                    <a:cubicBezTo>
                      <a:pt x="1186" y="51"/>
                      <a:pt x="1132" y="48"/>
                      <a:pt x="1077" y="48"/>
                    </a:cubicBezTo>
                    <a:cubicBezTo>
                      <a:pt x="913" y="48"/>
                      <a:pt x="744" y="74"/>
                      <a:pt x="575" y="124"/>
                    </a:cubicBezTo>
                    <a:lnTo>
                      <a:pt x="361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8" name="Google Shape;1118;p33"/>
              <p:cNvSpPr/>
              <p:nvPr/>
            </p:nvSpPr>
            <p:spPr>
              <a:xfrm>
                <a:off x="3895535" y="1184687"/>
                <a:ext cx="125941" cy="66935"/>
              </a:xfrm>
              <a:custGeom>
                <a:avLst/>
                <a:gdLst/>
                <a:ahLst/>
                <a:cxnLst/>
                <a:rect l="l" t="t" r="r" b="b"/>
                <a:pathLst>
                  <a:path w="3605" h="1916" fill="none" extrusionOk="0">
                    <a:moveTo>
                      <a:pt x="1972" y="327"/>
                    </a:moveTo>
                    <a:lnTo>
                      <a:pt x="1330" y="586"/>
                    </a:lnTo>
                    <a:lnTo>
                      <a:pt x="1217" y="530"/>
                    </a:lnTo>
                    <a:cubicBezTo>
                      <a:pt x="1104" y="462"/>
                      <a:pt x="1014" y="417"/>
                      <a:pt x="969" y="406"/>
                    </a:cubicBezTo>
                    <a:cubicBezTo>
                      <a:pt x="913" y="395"/>
                      <a:pt x="868" y="395"/>
                      <a:pt x="812" y="417"/>
                    </a:cubicBezTo>
                    <a:cubicBezTo>
                      <a:pt x="778" y="428"/>
                      <a:pt x="767" y="451"/>
                      <a:pt x="778" y="473"/>
                    </a:cubicBezTo>
                    <a:cubicBezTo>
                      <a:pt x="789" y="507"/>
                      <a:pt x="823" y="530"/>
                      <a:pt x="890" y="575"/>
                    </a:cubicBezTo>
                    <a:cubicBezTo>
                      <a:pt x="992" y="631"/>
                      <a:pt x="1093" y="665"/>
                      <a:pt x="1172" y="665"/>
                    </a:cubicBezTo>
                    <a:cubicBezTo>
                      <a:pt x="1251" y="676"/>
                      <a:pt x="1454" y="676"/>
                      <a:pt x="1769" y="665"/>
                    </a:cubicBezTo>
                    <a:cubicBezTo>
                      <a:pt x="2039" y="654"/>
                      <a:pt x="2220" y="654"/>
                      <a:pt x="2343" y="665"/>
                    </a:cubicBezTo>
                    <a:cubicBezTo>
                      <a:pt x="2456" y="665"/>
                      <a:pt x="2580" y="687"/>
                      <a:pt x="2726" y="733"/>
                    </a:cubicBezTo>
                    <a:cubicBezTo>
                      <a:pt x="2873" y="766"/>
                      <a:pt x="3019" y="834"/>
                      <a:pt x="3166" y="913"/>
                    </a:cubicBezTo>
                    <a:cubicBezTo>
                      <a:pt x="3413" y="1048"/>
                      <a:pt x="3549" y="1183"/>
                      <a:pt x="3571" y="1307"/>
                    </a:cubicBezTo>
                    <a:cubicBezTo>
                      <a:pt x="3605" y="1420"/>
                      <a:pt x="3526" y="1544"/>
                      <a:pt x="3335" y="1645"/>
                    </a:cubicBezTo>
                    <a:lnTo>
                      <a:pt x="3594" y="1791"/>
                    </a:lnTo>
                    <a:lnTo>
                      <a:pt x="3301" y="1915"/>
                    </a:lnTo>
                    <a:lnTo>
                      <a:pt x="3031" y="1769"/>
                    </a:lnTo>
                    <a:cubicBezTo>
                      <a:pt x="2839" y="1825"/>
                      <a:pt x="2625" y="1848"/>
                      <a:pt x="2377" y="1836"/>
                    </a:cubicBezTo>
                    <a:cubicBezTo>
                      <a:pt x="2129" y="1814"/>
                      <a:pt x="1848" y="1724"/>
                      <a:pt x="1544" y="1555"/>
                    </a:cubicBezTo>
                    <a:lnTo>
                      <a:pt x="1409" y="1487"/>
                    </a:lnTo>
                    <a:lnTo>
                      <a:pt x="2051" y="1217"/>
                    </a:lnTo>
                    <a:lnTo>
                      <a:pt x="2220" y="1318"/>
                    </a:lnTo>
                    <a:cubicBezTo>
                      <a:pt x="2400" y="1420"/>
                      <a:pt x="2524" y="1476"/>
                      <a:pt x="2580" y="1498"/>
                    </a:cubicBezTo>
                    <a:cubicBezTo>
                      <a:pt x="2636" y="1510"/>
                      <a:pt x="2693" y="1510"/>
                      <a:pt x="2738" y="1487"/>
                    </a:cubicBezTo>
                    <a:cubicBezTo>
                      <a:pt x="2783" y="1476"/>
                      <a:pt x="2805" y="1453"/>
                      <a:pt x="2794" y="1431"/>
                    </a:cubicBezTo>
                    <a:cubicBezTo>
                      <a:pt x="2783" y="1397"/>
                      <a:pt x="2749" y="1375"/>
                      <a:pt x="2681" y="1341"/>
                    </a:cubicBezTo>
                    <a:cubicBezTo>
                      <a:pt x="2535" y="1251"/>
                      <a:pt x="2411" y="1194"/>
                      <a:pt x="2332" y="1172"/>
                    </a:cubicBezTo>
                    <a:cubicBezTo>
                      <a:pt x="2242" y="1138"/>
                      <a:pt x="2107" y="1127"/>
                      <a:pt x="1904" y="1138"/>
                    </a:cubicBezTo>
                    <a:cubicBezTo>
                      <a:pt x="1578" y="1138"/>
                      <a:pt x="1352" y="1149"/>
                      <a:pt x="1217" y="1138"/>
                    </a:cubicBezTo>
                    <a:cubicBezTo>
                      <a:pt x="1093" y="1138"/>
                      <a:pt x="947" y="1115"/>
                      <a:pt x="778" y="1070"/>
                    </a:cubicBezTo>
                    <a:cubicBezTo>
                      <a:pt x="620" y="1037"/>
                      <a:pt x="462" y="969"/>
                      <a:pt x="327" y="890"/>
                    </a:cubicBezTo>
                    <a:cubicBezTo>
                      <a:pt x="125" y="778"/>
                      <a:pt x="23" y="676"/>
                      <a:pt x="12" y="564"/>
                    </a:cubicBezTo>
                    <a:cubicBezTo>
                      <a:pt x="1" y="451"/>
                      <a:pt x="102" y="350"/>
                      <a:pt x="282" y="248"/>
                    </a:cubicBezTo>
                    <a:lnTo>
                      <a:pt x="68" y="124"/>
                    </a:lnTo>
                    <a:lnTo>
                      <a:pt x="361" y="0"/>
                    </a:lnTo>
                    <a:lnTo>
                      <a:pt x="575" y="124"/>
                    </a:lnTo>
                    <a:cubicBezTo>
                      <a:pt x="800" y="57"/>
                      <a:pt x="1026" y="34"/>
                      <a:pt x="1240" y="57"/>
                    </a:cubicBezTo>
                    <a:cubicBezTo>
                      <a:pt x="1442" y="79"/>
                      <a:pt x="1656" y="147"/>
                      <a:pt x="1859" y="259"/>
                    </a:cubicBezTo>
                    <a:cubicBezTo>
                      <a:pt x="1882" y="271"/>
                      <a:pt x="1927" y="293"/>
                      <a:pt x="1972" y="327"/>
                    </a:cubicBezTo>
                    <a:close/>
                  </a:path>
                </a:pathLst>
              </a:custGeom>
              <a:solidFill>
                <a:schemeClr val="dk2"/>
              </a:solidFill>
              <a:ln w="2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119" name="Google Shape;1119;p33"/>
            <p:cNvSpPr/>
            <p:nvPr/>
          </p:nvSpPr>
          <p:spPr>
            <a:xfrm>
              <a:off x="3794477" y="28759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" name="Google Shape;1120;p33"/>
            <p:cNvSpPr/>
            <p:nvPr/>
          </p:nvSpPr>
          <p:spPr>
            <a:xfrm>
              <a:off x="3817289" y="28245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" name="Google Shape;1121;p33"/>
            <p:cNvSpPr/>
            <p:nvPr/>
          </p:nvSpPr>
          <p:spPr>
            <a:xfrm>
              <a:off x="3838529" y="273792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" name="Google Shape;1122;p33"/>
            <p:cNvSpPr/>
            <p:nvPr/>
          </p:nvSpPr>
          <p:spPr>
            <a:xfrm>
              <a:off x="3856660" y="261600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" name="Google Shape;1123;p33"/>
            <p:cNvSpPr/>
            <p:nvPr/>
          </p:nvSpPr>
          <p:spPr>
            <a:xfrm>
              <a:off x="3873183" y="241548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" name="Google Shape;1124;p33"/>
            <p:cNvSpPr/>
            <p:nvPr/>
          </p:nvSpPr>
          <p:spPr>
            <a:xfrm>
              <a:off x="3794477" y="224640"/>
              <a:ext cx="35" cy="35424"/>
            </a:xfrm>
            <a:custGeom>
              <a:avLst/>
              <a:gdLst/>
              <a:ahLst/>
              <a:cxnLst/>
              <a:rect l="l" t="t" r="r" b="b"/>
              <a:pathLst>
                <a:path w="1" h="1014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" name="Google Shape;1125;p33"/>
            <p:cNvSpPr/>
            <p:nvPr/>
          </p:nvSpPr>
          <p:spPr>
            <a:xfrm>
              <a:off x="3817289" y="219504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" name="Google Shape;1126;p33"/>
            <p:cNvSpPr/>
            <p:nvPr/>
          </p:nvSpPr>
          <p:spPr>
            <a:xfrm>
              <a:off x="3838529" y="21084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6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" name="Google Shape;1127;p33"/>
            <p:cNvSpPr/>
            <p:nvPr/>
          </p:nvSpPr>
          <p:spPr>
            <a:xfrm>
              <a:off x="3856660" y="198649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" name="Google Shape;1128;p33"/>
            <p:cNvSpPr/>
            <p:nvPr/>
          </p:nvSpPr>
          <p:spPr>
            <a:xfrm>
              <a:off x="3873183" y="178597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5"/>
                  </a:moveTo>
                  <a:lnTo>
                    <a:pt x="0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" name="Google Shape;1129;p33"/>
            <p:cNvSpPr/>
            <p:nvPr/>
          </p:nvSpPr>
          <p:spPr>
            <a:xfrm>
              <a:off x="3794477" y="160885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4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" name="Google Shape;1130;p33"/>
            <p:cNvSpPr/>
            <p:nvPr/>
          </p:nvSpPr>
          <p:spPr>
            <a:xfrm>
              <a:off x="3817289" y="155750"/>
              <a:ext cx="35" cy="35459"/>
            </a:xfrm>
            <a:custGeom>
              <a:avLst/>
              <a:gdLst/>
              <a:ahLst/>
              <a:cxnLst/>
              <a:rect l="l" t="t" r="r" b="b"/>
              <a:pathLst>
                <a:path w="1" h="1015" fill="none" extrusionOk="0">
                  <a:moveTo>
                    <a:pt x="1" y="1015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" name="Google Shape;1131;p33"/>
            <p:cNvSpPr/>
            <p:nvPr/>
          </p:nvSpPr>
          <p:spPr>
            <a:xfrm>
              <a:off x="3838529" y="147121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1" y="1025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" name="Google Shape;1132;p33"/>
            <p:cNvSpPr/>
            <p:nvPr/>
          </p:nvSpPr>
          <p:spPr>
            <a:xfrm>
              <a:off x="3856660" y="134895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" name="Google Shape;1133;p33"/>
            <p:cNvSpPr/>
            <p:nvPr/>
          </p:nvSpPr>
          <p:spPr>
            <a:xfrm>
              <a:off x="3873183" y="114843"/>
              <a:ext cx="35" cy="35843"/>
            </a:xfrm>
            <a:custGeom>
              <a:avLst/>
              <a:gdLst/>
              <a:ahLst/>
              <a:cxnLst/>
              <a:rect l="l" t="t" r="r" b="b"/>
              <a:pathLst>
                <a:path w="1" h="1026" fill="none" extrusionOk="0">
                  <a:moveTo>
                    <a:pt x="0" y="1026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" name="Google Shape;1134;p33"/>
          <p:cNvGrpSpPr/>
          <p:nvPr/>
        </p:nvGrpSpPr>
        <p:grpSpPr>
          <a:xfrm>
            <a:off x="511753" y="2579144"/>
            <a:ext cx="1060745" cy="736755"/>
            <a:chOff x="-1693165" y="2708310"/>
            <a:chExt cx="597737" cy="415167"/>
          </a:xfrm>
        </p:grpSpPr>
        <p:sp>
          <p:nvSpPr>
            <p:cNvPr id="1135" name="Google Shape;1135;p33"/>
            <p:cNvSpPr/>
            <p:nvPr/>
          </p:nvSpPr>
          <p:spPr>
            <a:xfrm>
              <a:off x="-1692362" y="2734091"/>
              <a:ext cx="596131" cy="389386"/>
            </a:xfrm>
            <a:custGeom>
              <a:avLst/>
              <a:gdLst/>
              <a:ahLst/>
              <a:cxnLst/>
              <a:rect l="l" t="t" r="r" b="b"/>
              <a:pathLst>
                <a:path w="17064" h="11146" extrusionOk="0">
                  <a:moveTo>
                    <a:pt x="7475" y="1"/>
                  </a:moveTo>
                  <a:cubicBezTo>
                    <a:pt x="7366" y="1"/>
                    <a:pt x="7259" y="29"/>
                    <a:pt x="7164" y="85"/>
                  </a:cubicBezTo>
                  <a:lnTo>
                    <a:pt x="642" y="3881"/>
                  </a:lnTo>
                  <a:cubicBezTo>
                    <a:pt x="529" y="3948"/>
                    <a:pt x="496" y="4072"/>
                    <a:pt x="541" y="4174"/>
                  </a:cubicBezTo>
                  <a:cubicBezTo>
                    <a:pt x="496" y="4275"/>
                    <a:pt x="529" y="4410"/>
                    <a:pt x="642" y="4467"/>
                  </a:cubicBezTo>
                  <a:lnTo>
                    <a:pt x="935" y="4647"/>
                  </a:lnTo>
                  <a:lnTo>
                    <a:pt x="135" y="5109"/>
                  </a:lnTo>
                  <a:cubicBezTo>
                    <a:pt x="34" y="5176"/>
                    <a:pt x="0" y="5300"/>
                    <a:pt x="45" y="5401"/>
                  </a:cubicBezTo>
                  <a:cubicBezTo>
                    <a:pt x="0" y="5503"/>
                    <a:pt x="34" y="5638"/>
                    <a:pt x="135" y="5706"/>
                  </a:cubicBezTo>
                  <a:lnTo>
                    <a:pt x="9304" y="11044"/>
                  </a:lnTo>
                  <a:cubicBezTo>
                    <a:pt x="9416" y="11112"/>
                    <a:pt x="9546" y="11146"/>
                    <a:pt x="9675" y="11146"/>
                  </a:cubicBezTo>
                  <a:cubicBezTo>
                    <a:pt x="9805" y="11146"/>
                    <a:pt x="9934" y="11112"/>
                    <a:pt x="10047" y="11044"/>
                  </a:cubicBezTo>
                  <a:lnTo>
                    <a:pt x="16366" y="7339"/>
                  </a:lnTo>
                  <a:cubicBezTo>
                    <a:pt x="16512" y="7249"/>
                    <a:pt x="16557" y="7091"/>
                    <a:pt x="16523" y="6956"/>
                  </a:cubicBezTo>
                  <a:cubicBezTo>
                    <a:pt x="16557" y="6809"/>
                    <a:pt x="16512" y="6652"/>
                    <a:pt x="16366" y="6573"/>
                  </a:cubicBezTo>
                  <a:lnTo>
                    <a:pt x="16219" y="6483"/>
                  </a:lnTo>
                  <a:lnTo>
                    <a:pt x="16873" y="6111"/>
                  </a:lnTo>
                  <a:cubicBezTo>
                    <a:pt x="17008" y="6021"/>
                    <a:pt x="17064" y="5863"/>
                    <a:pt x="17019" y="5728"/>
                  </a:cubicBezTo>
                  <a:cubicBezTo>
                    <a:pt x="17064" y="5582"/>
                    <a:pt x="17008" y="5424"/>
                    <a:pt x="16873" y="5345"/>
                  </a:cubicBezTo>
                  <a:lnTo>
                    <a:pt x="16861" y="5345"/>
                  </a:lnTo>
                  <a:lnTo>
                    <a:pt x="7794" y="85"/>
                  </a:lnTo>
                  <a:cubicBezTo>
                    <a:pt x="7693" y="29"/>
                    <a:pt x="7583" y="1"/>
                    <a:pt x="7475" y="1"/>
                  </a:cubicBezTo>
                  <a:close/>
                </a:path>
              </a:pathLst>
            </a:custGeom>
            <a:solidFill>
              <a:srgbClr val="000000">
                <a:alpha val="126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" name="Google Shape;1136;p33"/>
            <p:cNvSpPr/>
            <p:nvPr/>
          </p:nvSpPr>
          <p:spPr>
            <a:xfrm>
              <a:off x="-1693165" y="2758894"/>
              <a:ext cx="580410" cy="339813"/>
            </a:xfrm>
            <a:custGeom>
              <a:avLst/>
              <a:gdLst/>
              <a:ahLst/>
              <a:cxnLst/>
              <a:rect l="l" t="t" r="r" b="b"/>
              <a:pathLst>
                <a:path w="16614" h="9727" extrusionOk="0">
                  <a:moveTo>
                    <a:pt x="6999" y="0"/>
                  </a:moveTo>
                  <a:cubicBezTo>
                    <a:pt x="6891" y="0"/>
                    <a:pt x="6781" y="28"/>
                    <a:pt x="6680" y="85"/>
                  </a:cubicBezTo>
                  <a:lnTo>
                    <a:pt x="158" y="3881"/>
                  </a:lnTo>
                  <a:cubicBezTo>
                    <a:pt x="1" y="3971"/>
                    <a:pt x="1" y="4196"/>
                    <a:pt x="158" y="4286"/>
                  </a:cubicBezTo>
                  <a:lnTo>
                    <a:pt x="9327" y="9625"/>
                  </a:lnTo>
                  <a:cubicBezTo>
                    <a:pt x="9439" y="9692"/>
                    <a:pt x="9569" y="9726"/>
                    <a:pt x="9698" y="9726"/>
                  </a:cubicBezTo>
                  <a:cubicBezTo>
                    <a:pt x="9828" y="9726"/>
                    <a:pt x="9957" y="9692"/>
                    <a:pt x="10070" y="9625"/>
                  </a:cubicBezTo>
                  <a:lnTo>
                    <a:pt x="16389" y="5919"/>
                  </a:lnTo>
                  <a:cubicBezTo>
                    <a:pt x="16614" y="5795"/>
                    <a:pt x="16614" y="5469"/>
                    <a:pt x="16389" y="5345"/>
                  </a:cubicBezTo>
                  <a:lnTo>
                    <a:pt x="7310" y="85"/>
                  </a:lnTo>
                  <a:cubicBezTo>
                    <a:pt x="7215" y="28"/>
                    <a:pt x="7108" y="0"/>
                    <a:pt x="6999" y="0"/>
                  </a:cubicBezTo>
                  <a:close/>
                </a:path>
              </a:pathLst>
            </a:custGeom>
            <a:solidFill>
              <a:srgbClr val="4285F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" name="Google Shape;1137;p33"/>
            <p:cNvSpPr/>
            <p:nvPr/>
          </p:nvSpPr>
          <p:spPr>
            <a:xfrm>
              <a:off x="-1693165" y="2757916"/>
              <a:ext cx="580410" cy="341944"/>
            </a:xfrm>
            <a:custGeom>
              <a:avLst/>
              <a:gdLst/>
              <a:ahLst/>
              <a:cxnLst/>
              <a:rect l="l" t="t" r="r" b="b"/>
              <a:pathLst>
                <a:path w="16614" h="9788" fill="none" extrusionOk="0">
                  <a:moveTo>
                    <a:pt x="16389" y="5947"/>
                  </a:moveTo>
                  <a:lnTo>
                    <a:pt x="10070" y="9653"/>
                  </a:lnTo>
                  <a:cubicBezTo>
                    <a:pt x="9845" y="9788"/>
                    <a:pt x="9552" y="9788"/>
                    <a:pt x="9327" y="9653"/>
                  </a:cubicBezTo>
                  <a:lnTo>
                    <a:pt x="158" y="4314"/>
                  </a:lnTo>
                  <a:cubicBezTo>
                    <a:pt x="1" y="4224"/>
                    <a:pt x="1" y="3999"/>
                    <a:pt x="158" y="3909"/>
                  </a:cubicBezTo>
                  <a:lnTo>
                    <a:pt x="6680" y="113"/>
                  </a:lnTo>
                  <a:cubicBezTo>
                    <a:pt x="6882" y="0"/>
                    <a:pt x="7119" y="0"/>
                    <a:pt x="7310" y="113"/>
                  </a:cubicBezTo>
                  <a:lnTo>
                    <a:pt x="16389" y="5373"/>
                  </a:lnTo>
                  <a:cubicBezTo>
                    <a:pt x="16614" y="5497"/>
                    <a:pt x="16614" y="5823"/>
                    <a:pt x="16389" y="5947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" name="Google Shape;1138;p33"/>
            <p:cNvSpPr/>
            <p:nvPr/>
          </p:nvSpPr>
          <p:spPr>
            <a:xfrm>
              <a:off x="-1693165" y="2752292"/>
              <a:ext cx="580410" cy="340092"/>
            </a:xfrm>
            <a:custGeom>
              <a:avLst/>
              <a:gdLst/>
              <a:ahLst/>
              <a:cxnLst/>
              <a:rect l="l" t="t" r="r" b="b"/>
              <a:pathLst>
                <a:path w="16614" h="9735" extrusionOk="0">
                  <a:moveTo>
                    <a:pt x="6999" y="1"/>
                  </a:moveTo>
                  <a:cubicBezTo>
                    <a:pt x="6891" y="1"/>
                    <a:pt x="6781" y="32"/>
                    <a:pt x="6680" y="94"/>
                  </a:cubicBezTo>
                  <a:lnTo>
                    <a:pt x="158" y="3889"/>
                  </a:lnTo>
                  <a:cubicBezTo>
                    <a:pt x="1" y="3979"/>
                    <a:pt x="1" y="4205"/>
                    <a:pt x="158" y="4295"/>
                  </a:cubicBezTo>
                  <a:lnTo>
                    <a:pt x="9327" y="9634"/>
                  </a:lnTo>
                  <a:cubicBezTo>
                    <a:pt x="9439" y="9701"/>
                    <a:pt x="9569" y="9735"/>
                    <a:pt x="9698" y="9735"/>
                  </a:cubicBezTo>
                  <a:cubicBezTo>
                    <a:pt x="9828" y="9735"/>
                    <a:pt x="9957" y="9701"/>
                    <a:pt x="10070" y="9634"/>
                  </a:cubicBezTo>
                  <a:lnTo>
                    <a:pt x="16389" y="5928"/>
                  </a:lnTo>
                  <a:cubicBezTo>
                    <a:pt x="16614" y="5804"/>
                    <a:pt x="16614" y="5477"/>
                    <a:pt x="16389" y="5354"/>
                  </a:cubicBezTo>
                  <a:lnTo>
                    <a:pt x="7310" y="94"/>
                  </a:lnTo>
                  <a:cubicBezTo>
                    <a:pt x="7215" y="32"/>
                    <a:pt x="7108" y="1"/>
                    <a:pt x="69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" name="Google Shape;1139;p33"/>
            <p:cNvSpPr/>
            <p:nvPr/>
          </p:nvSpPr>
          <p:spPr>
            <a:xfrm>
              <a:off x="-1693165" y="2751209"/>
              <a:ext cx="580410" cy="342363"/>
            </a:xfrm>
            <a:custGeom>
              <a:avLst/>
              <a:gdLst/>
              <a:ahLst/>
              <a:cxnLst/>
              <a:rect l="l" t="t" r="r" b="b"/>
              <a:pathLst>
                <a:path w="16614" h="9800" fill="none" extrusionOk="0">
                  <a:moveTo>
                    <a:pt x="16389" y="5959"/>
                  </a:moveTo>
                  <a:lnTo>
                    <a:pt x="10070" y="9665"/>
                  </a:lnTo>
                  <a:cubicBezTo>
                    <a:pt x="9845" y="9800"/>
                    <a:pt x="9552" y="9800"/>
                    <a:pt x="9327" y="9665"/>
                  </a:cubicBezTo>
                  <a:lnTo>
                    <a:pt x="158" y="4326"/>
                  </a:lnTo>
                  <a:cubicBezTo>
                    <a:pt x="1" y="4236"/>
                    <a:pt x="1" y="4010"/>
                    <a:pt x="158" y="3920"/>
                  </a:cubicBezTo>
                  <a:lnTo>
                    <a:pt x="6680" y="125"/>
                  </a:lnTo>
                  <a:cubicBezTo>
                    <a:pt x="6882" y="1"/>
                    <a:pt x="7119" y="1"/>
                    <a:pt x="7310" y="125"/>
                  </a:cubicBezTo>
                  <a:lnTo>
                    <a:pt x="16389" y="5385"/>
                  </a:lnTo>
                  <a:cubicBezTo>
                    <a:pt x="16614" y="5508"/>
                    <a:pt x="16614" y="5835"/>
                    <a:pt x="16389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" name="Google Shape;1140;p33"/>
            <p:cNvSpPr/>
            <p:nvPr/>
          </p:nvSpPr>
          <p:spPr>
            <a:xfrm>
              <a:off x="-1545989" y="2855871"/>
              <a:ext cx="251043" cy="146413"/>
            </a:xfrm>
            <a:custGeom>
              <a:avLst/>
              <a:gdLst/>
              <a:ahLst/>
              <a:cxnLst/>
              <a:rect l="l" t="t" r="r" b="b"/>
              <a:pathLst>
                <a:path w="7186" h="4191" fill="none" extrusionOk="0">
                  <a:moveTo>
                    <a:pt x="7186" y="4191"/>
                  </a:moveTo>
                  <a:lnTo>
                    <a:pt x="0" y="1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" name="Google Shape;1141;p33"/>
            <p:cNvSpPr/>
            <p:nvPr/>
          </p:nvSpPr>
          <p:spPr>
            <a:xfrm>
              <a:off x="-1564888" y="2868482"/>
              <a:ext cx="251078" cy="146413"/>
            </a:xfrm>
            <a:custGeom>
              <a:avLst/>
              <a:gdLst/>
              <a:ahLst/>
              <a:cxnLst/>
              <a:rect l="l" t="t" r="r" b="b"/>
              <a:pathLst>
                <a:path w="7187" h="4191" fill="none" extrusionOk="0">
                  <a:moveTo>
                    <a:pt x="7186" y="4190"/>
                  </a:moveTo>
                  <a:lnTo>
                    <a:pt x="0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" name="Google Shape;1142;p33"/>
            <p:cNvSpPr/>
            <p:nvPr/>
          </p:nvSpPr>
          <p:spPr>
            <a:xfrm>
              <a:off x="-1590460" y="2881442"/>
              <a:ext cx="251078" cy="146028"/>
            </a:xfrm>
            <a:custGeom>
              <a:avLst/>
              <a:gdLst/>
              <a:ahLst/>
              <a:cxnLst/>
              <a:rect l="l" t="t" r="r" b="b"/>
              <a:pathLst>
                <a:path w="7187" h="4180" fill="none" extrusionOk="0">
                  <a:moveTo>
                    <a:pt x="7186" y="4179"/>
                  </a:moveTo>
                  <a:lnTo>
                    <a:pt x="0" y="1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" name="Google Shape;1143;p33"/>
            <p:cNvSpPr/>
            <p:nvPr/>
          </p:nvSpPr>
          <p:spPr>
            <a:xfrm>
              <a:off x="-1298133" y="2907014"/>
              <a:ext cx="118884" cy="70534"/>
            </a:xfrm>
            <a:custGeom>
              <a:avLst/>
              <a:gdLst/>
              <a:ahLst/>
              <a:cxnLst/>
              <a:rect l="l" t="t" r="r" b="b"/>
              <a:pathLst>
                <a:path w="3403" h="2019" extrusionOk="0">
                  <a:moveTo>
                    <a:pt x="1707" y="1"/>
                  </a:moveTo>
                  <a:cubicBezTo>
                    <a:pt x="1662" y="1"/>
                    <a:pt x="1617" y="12"/>
                    <a:pt x="1578" y="35"/>
                  </a:cubicBezTo>
                  <a:lnTo>
                    <a:pt x="57" y="925"/>
                  </a:lnTo>
                  <a:cubicBezTo>
                    <a:pt x="1" y="958"/>
                    <a:pt x="1" y="1048"/>
                    <a:pt x="57" y="1082"/>
                  </a:cubicBezTo>
                  <a:lnTo>
                    <a:pt x="1555" y="1983"/>
                  </a:lnTo>
                  <a:cubicBezTo>
                    <a:pt x="1591" y="2007"/>
                    <a:pt x="1637" y="2019"/>
                    <a:pt x="1684" y="2019"/>
                  </a:cubicBezTo>
                  <a:cubicBezTo>
                    <a:pt x="1725" y="2019"/>
                    <a:pt x="1766" y="2010"/>
                    <a:pt x="1803" y="1995"/>
                  </a:cubicBezTo>
                  <a:lnTo>
                    <a:pt x="3312" y="1127"/>
                  </a:lnTo>
                  <a:cubicBezTo>
                    <a:pt x="3402" y="1082"/>
                    <a:pt x="3402" y="947"/>
                    <a:pt x="3312" y="902"/>
                  </a:cubicBezTo>
                  <a:lnTo>
                    <a:pt x="1837" y="35"/>
                  </a:lnTo>
                  <a:cubicBezTo>
                    <a:pt x="1797" y="12"/>
                    <a:pt x="1752" y="1"/>
                    <a:pt x="170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" name="Google Shape;1144;p33"/>
            <p:cNvSpPr/>
            <p:nvPr/>
          </p:nvSpPr>
          <p:spPr>
            <a:xfrm>
              <a:off x="-1298133" y="2906630"/>
              <a:ext cx="118884" cy="71267"/>
            </a:xfrm>
            <a:custGeom>
              <a:avLst/>
              <a:gdLst/>
              <a:ahLst/>
              <a:cxnLst/>
              <a:rect l="l" t="t" r="r" b="b"/>
              <a:pathLst>
                <a:path w="3403" h="2040" fill="none" extrusionOk="0">
                  <a:moveTo>
                    <a:pt x="3312" y="1138"/>
                  </a:moveTo>
                  <a:lnTo>
                    <a:pt x="1803" y="2006"/>
                  </a:lnTo>
                  <a:cubicBezTo>
                    <a:pt x="1724" y="2039"/>
                    <a:pt x="1623" y="2039"/>
                    <a:pt x="1555" y="1994"/>
                  </a:cubicBezTo>
                  <a:lnTo>
                    <a:pt x="57" y="1093"/>
                  </a:lnTo>
                  <a:cubicBezTo>
                    <a:pt x="1" y="1059"/>
                    <a:pt x="1" y="969"/>
                    <a:pt x="57" y="936"/>
                  </a:cubicBezTo>
                  <a:lnTo>
                    <a:pt x="1578" y="46"/>
                  </a:lnTo>
                  <a:cubicBezTo>
                    <a:pt x="1657" y="1"/>
                    <a:pt x="1758" y="1"/>
                    <a:pt x="1837" y="46"/>
                  </a:cubicBezTo>
                  <a:lnTo>
                    <a:pt x="3312" y="913"/>
                  </a:lnTo>
                  <a:cubicBezTo>
                    <a:pt x="3402" y="958"/>
                    <a:pt x="3402" y="1093"/>
                    <a:pt x="3312" y="113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" name="Google Shape;1145;p33"/>
            <p:cNvSpPr/>
            <p:nvPr/>
          </p:nvSpPr>
          <p:spPr>
            <a:xfrm>
              <a:off x="-1252091" y="2914490"/>
              <a:ext cx="62219" cy="36647"/>
            </a:xfrm>
            <a:custGeom>
              <a:avLst/>
              <a:gdLst/>
              <a:ahLst/>
              <a:cxnLst/>
              <a:rect l="l" t="t" r="r" b="b"/>
              <a:pathLst>
                <a:path w="1781" h="1049" fill="none" extrusionOk="0">
                  <a:moveTo>
                    <a:pt x="1780" y="1048"/>
                  </a:moveTo>
                  <a:lnTo>
                    <a:pt x="1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" name="Google Shape;1146;p33"/>
            <p:cNvSpPr/>
            <p:nvPr/>
          </p:nvSpPr>
          <p:spPr>
            <a:xfrm>
              <a:off x="-1284334" y="2932201"/>
              <a:ext cx="62184" cy="36647"/>
            </a:xfrm>
            <a:custGeom>
              <a:avLst/>
              <a:gdLst/>
              <a:ahLst/>
              <a:cxnLst/>
              <a:rect l="l" t="t" r="r" b="b"/>
              <a:pathLst>
                <a:path w="1780" h="1049" fill="none" extrusionOk="0">
                  <a:moveTo>
                    <a:pt x="1780" y="1048"/>
                  </a:moveTo>
                  <a:lnTo>
                    <a:pt x="0" y="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" name="Google Shape;1147;p33"/>
            <p:cNvSpPr/>
            <p:nvPr/>
          </p:nvSpPr>
          <p:spPr>
            <a:xfrm>
              <a:off x="-1252475" y="2933005"/>
              <a:ext cx="62219" cy="37800"/>
            </a:xfrm>
            <a:custGeom>
              <a:avLst/>
              <a:gdLst/>
              <a:ahLst/>
              <a:cxnLst/>
              <a:rect l="l" t="t" r="r" b="b"/>
              <a:pathLst>
                <a:path w="1781" h="1082" fill="none" extrusionOk="0">
                  <a:moveTo>
                    <a:pt x="1780" y="0"/>
                  </a:moveTo>
                  <a:lnTo>
                    <a:pt x="0" y="1082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" name="Google Shape;1148;p33"/>
            <p:cNvSpPr/>
            <p:nvPr/>
          </p:nvSpPr>
          <p:spPr>
            <a:xfrm>
              <a:off x="-1247374" y="2935345"/>
              <a:ext cx="31127" cy="18935"/>
            </a:xfrm>
            <a:custGeom>
              <a:avLst/>
              <a:gdLst/>
              <a:ahLst/>
              <a:cxnLst/>
              <a:rect l="l" t="t" r="r" b="b"/>
              <a:pathLst>
                <a:path w="891" h="542" fill="none" extrusionOk="0">
                  <a:moveTo>
                    <a:pt x="891" y="1"/>
                  </a:moveTo>
                  <a:lnTo>
                    <a:pt x="1" y="542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" name="Google Shape;1149;p33"/>
            <p:cNvSpPr/>
            <p:nvPr/>
          </p:nvSpPr>
          <p:spPr>
            <a:xfrm>
              <a:off x="-1261138" y="2926298"/>
              <a:ext cx="30743" cy="18550"/>
            </a:xfrm>
            <a:custGeom>
              <a:avLst/>
              <a:gdLst/>
              <a:ahLst/>
              <a:cxnLst/>
              <a:rect l="l" t="t" r="r" b="b"/>
              <a:pathLst>
                <a:path w="880" h="531" fill="none" extrusionOk="0">
                  <a:moveTo>
                    <a:pt x="879" y="1"/>
                  </a:moveTo>
                  <a:lnTo>
                    <a:pt x="1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" name="Google Shape;1150;p33"/>
            <p:cNvSpPr/>
            <p:nvPr/>
          </p:nvSpPr>
          <p:spPr>
            <a:xfrm>
              <a:off x="-1290238" y="2911765"/>
              <a:ext cx="61416" cy="36996"/>
            </a:xfrm>
            <a:custGeom>
              <a:avLst/>
              <a:gdLst/>
              <a:ahLst/>
              <a:cxnLst/>
              <a:rect l="l" t="t" r="r" b="b"/>
              <a:pathLst>
                <a:path w="1758" h="1059" fill="none" extrusionOk="0">
                  <a:moveTo>
                    <a:pt x="1757" y="0"/>
                  </a:moveTo>
                  <a:cubicBezTo>
                    <a:pt x="1746" y="23"/>
                    <a:pt x="0" y="1059"/>
                    <a:pt x="0" y="1059"/>
                  </a:cubicBez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" name="Google Shape;1151;p33"/>
            <p:cNvSpPr/>
            <p:nvPr/>
          </p:nvSpPr>
          <p:spPr>
            <a:xfrm>
              <a:off x="-1675454" y="2715716"/>
              <a:ext cx="580026" cy="340092"/>
            </a:xfrm>
            <a:custGeom>
              <a:avLst/>
              <a:gdLst/>
              <a:ahLst/>
              <a:cxnLst/>
              <a:rect l="l" t="t" r="r" b="b"/>
              <a:pathLst>
                <a:path w="16603" h="9735" extrusionOk="0">
                  <a:moveTo>
                    <a:pt x="6991" y="0"/>
                  </a:moveTo>
                  <a:cubicBezTo>
                    <a:pt x="6882" y="0"/>
                    <a:pt x="6775" y="31"/>
                    <a:pt x="6680" y="93"/>
                  </a:cubicBezTo>
                  <a:lnTo>
                    <a:pt x="158" y="3889"/>
                  </a:lnTo>
                  <a:cubicBezTo>
                    <a:pt x="0" y="3979"/>
                    <a:pt x="0" y="4204"/>
                    <a:pt x="158" y="4294"/>
                  </a:cubicBezTo>
                  <a:lnTo>
                    <a:pt x="9315" y="9633"/>
                  </a:lnTo>
                  <a:cubicBezTo>
                    <a:pt x="9433" y="9701"/>
                    <a:pt x="9563" y="9734"/>
                    <a:pt x="9691" y="9734"/>
                  </a:cubicBezTo>
                  <a:cubicBezTo>
                    <a:pt x="9819" y="9734"/>
                    <a:pt x="9946" y="9701"/>
                    <a:pt x="10059" y="9633"/>
                  </a:cubicBezTo>
                  <a:lnTo>
                    <a:pt x="16377" y="5927"/>
                  </a:lnTo>
                  <a:cubicBezTo>
                    <a:pt x="16603" y="5804"/>
                    <a:pt x="16603" y="5477"/>
                    <a:pt x="16377" y="5353"/>
                  </a:cubicBezTo>
                  <a:lnTo>
                    <a:pt x="7310" y="93"/>
                  </a:lnTo>
                  <a:cubicBezTo>
                    <a:pt x="7209" y="31"/>
                    <a:pt x="7099" y="0"/>
                    <a:pt x="69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" name="Google Shape;1152;p33"/>
            <p:cNvSpPr/>
            <p:nvPr/>
          </p:nvSpPr>
          <p:spPr>
            <a:xfrm>
              <a:off x="-1675454" y="2714633"/>
              <a:ext cx="580026" cy="342363"/>
            </a:xfrm>
            <a:custGeom>
              <a:avLst/>
              <a:gdLst/>
              <a:ahLst/>
              <a:cxnLst/>
              <a:rect l="l" t="t" r="r" b="b"/>
              <a:pathLst>
                <a:path w="16603" h="9800" fill="none" extrusionOk="0">
                  <a:moveTo>
                    <a:pt x="16377" y="5958"/>
                  </a:moveTo>
                  <a:lnTo>
                    <a:pt x="10059" y="9664"/>
                  </a:lnTo>
                  <a:cubicBezTo>
                    <a:pt x="9833" y="9799"/>
                    <a:pt x="9552" y="9799"/>
                    <a:pt x="9315" y="9664"/>
                  </a:cubicBezTo>
                  <a:lnTo>
                    <a:pt x="158" y="4325"/>
                  </a:lnTo>
                  <a:cubicBezTo>
                    <a:pt x="0" y="4235"/>
                    <a:pt x="0" y="4010"/>
                    <a:pt x="158" y="3920"/>
                  </a:cubicBezTo>
                  <a:lnTo>
                    <a:pt x="6680" y="124"/>
                  </a:lnTo>
                  <a:cubicBezTo>
                    <a:pt x="6871" y="0"/>
                    <a:pt x="7108" y="0"/>
                    <a:pt x="7310" y="124"/>
                  </a:cubicBezTo>
                  <a:lnTo>
                    <a:pt x="16377" y="5384"/>
                  </a:lnTo>
                  <a:cubicBezTo>
                    <a:pt x="16603" y="5508"/>
                    <a:pt x="16603" y="5835"/>
                    <a:pt x="16377" y="5958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" name="Google Shape;1153;p33"/>
            <p:cNvSpPr/>
            <p:nvPr/>
          </p:nvSpPr>
          <p:spPr>
            <a:xfrm>
              <a:off x="-1675454" y="2709323"/>
              <a:ext cx="580026" cy="340197"/>
            </a:xfrm>
            <a:custGeom>
              <a:avLst/>
              <a:gdLst/>
              <a:ahLst/>
              <a:cxnLst/>
              <a:rect l="l" t="t" r="r" b="b"/>
              <a:pathLst>
                <a:path w="16603" h="9738" extrusionOk="0">
                  <a:moveTo>
                    <a:pt x="6991" y="0"/>
                  </a:moveTo>
                  <a:cubicBezTo>
                    <a:pt x="6882" y="0"/>
                    <a:pt x="6775" y="28"/>
                    <a:pt x="6680" y="85"/>
                  </a:cubicBezTo>
                  <a:lnTo>
                    <a:pt x="158" y="3880"/>
                  </a:lnTo>
                  <a:cubicBezTo>
                    <a:pt x="0" y="3982"/>
                    <a:pt x="0" y="4207"/>
                    <a:pt x="158" y="4297"/>
                  </a:cubicBezTo>
                  <a:lnTo>
                    <a:pt x="9315" y="9636"/>
                  </a:lnTo>
                  <a:cubicBezTo>
                    <a:pt x="9433" y="9703"/>
                    <a:pt x="9563" y="9737"/>
                    <a:pt x="9691" y="9737"/>
                  </a:cubicBezTo>
                  <a:cubicBezTo>
                    <a:pt x="9819" y="9737"/>
                    <a:pt x="9946" y="9703"/>
                    <a:pt x="10059" y="9636"/>
                  </a:cubicBezTo>
                  <a:lnTo>
                    <a:pt x="16377" y="5930"/>
                  </a:lnTo>
                  <a:cubicBezTo>
                    <a:pt x="16603" y="5795"/>
                    <a:pt x="16603" y="5480"/>
                    <a:pt x="16377" y="5345"/>
                  </a:cubicBezTo>
                  <a:lnTo>
                    <a:pt x="7310" y="85"/>
                  </a:lnTo>
                  <a:cubicBezTo>
                    <a:pt x="7209" y="28"/>
                    <a:pt x="7099" y="0"/>
                    <a:pt x="699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" name="Google Shape;1154;p33"/>
            <p:cNvSpPr/>
            <p:nvPr/>
          </p:nvSpPr>
          <p:spPr>
            <a:xfrm>
              <a:off x="-1675454" y="2708310"/>
              <a:ext cx="580026" cy="342398"/>
            </a:xfrm>
            <a:custGeom>
              <a:avLst/>
              <a:gdLst/>
              <a:ahLst/>
              <a:cxnLst/>
              <a:rect l="l" t="t" r="r" b="b"/>
              <a:pathLst>
                <a:path w="16603" h="9801" fill="none" extrusionOk="0">
                  <a:moveTo>
                    <a:pt x="16377" y="5959"/>
                  </a:moveTo>
                  <a:lnTo>
                    <a:pt x="10059" y="9665"/>
                  </a:lnTo>
                  <a:cubicBezTo>
                    <a:pt x="9833" y="9800"/>
                    <a:pt x="9552" y="9800"/>
                    <a:pt x="9315" y="9665"/>
                  </a:cubicBezTo>
                  <a:lnTo>
                    <a:pt x="158" y="4326"/>
                  </a:lnTo>
                  <a:cubicBezTo>
                    <a:pt x="0" y="4236"/>
                    <a:pt x="0" y="4011"/>
                    <a:pt x="158" y="3909"/>
                  </a:cubicBezTo>
                  <a:lnTo>
                    <a:pt x="6680" y="114"/>
                  </a:lnTo>
                  <a:cubicBezTo>
                    <a:pt x="6871" y="1"/>
                    <a:pt x="7108" y="1"/>
                    <a:pt x="7310" y="114"/>
                  </a:cubicBezTo>
                  <a:lnTo>
                    <a:pt x="16377" y="5374"/>
                  </a:lnTo>
                  <a:cubicBezTo>
                    <a:pt x="16603" y="5509"/>
                    <a:pt x="16603" y="5824"/>
                    <a:pt x="16377" y="595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" name="Google Shape;1155;p33"/>
            <p:cNvSpPr/>
            <p:nvPr/>
          </p:nvSpPr>
          <p:spPr>
            <a:xfrm>
              <a:off x="-1528312" y="2813007"/>
              <a:ext cx="251078" cy="146378"/>
            </a:xfrm>
            <a:custGeom>
              <a:avLst/>
              <a:gdLst/>
              <a:ahLst/>
              <a:cxnLst/>
              <a:rect l="l" t="t" r="r" b="b"/>
              <a:pathLst>
                <a:path w="7187" h="4190" fill="none" extrusionOk="0">
                  <a:moveTo>
                    <a:pt x="7187" y="4190"/>
                  </a:moveTo>
                  <a:lnTo>
                    <a:pt x="1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" name="Google Shape;1156;p33"/>
            <p:cNvSpPr/>
            <p:nvPr/>
          </p:nvSpPr>
          <p:spPr>
            <a:xfrm>
              <a:off x="-1547596" y="2825583"/>
              <a:ext cx="251078" cy="146413"/>
            </a:xfrm>
            <a:custGeom>
              <a:avLst/>
              <a:gdLst/>
              <a:ahLst/>
              <a:cxnLst/>
              <a:rect l="l" t="t" r="r" b="b"/>
              <a:pathLst>
                <a:path w="7187" h="4191" fill="none" extrusionOk="0">
                  <a:moveTo>
                    <a:pt x="7187" y="4190"/>
                  </a:moveTo>
                  <a:lnTo>
                    <a:pt x="1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" name="Google Shape;1157;p33"/>
            <p:cNvSpPr/>
            <p:nvPr/>
          </p:nvSpPr>
          <p:spPr>
            <a:xfrm>
              <a:off x="-1572748" y="2838579"/>
              <a:ext cx="251078" cy="145993"/>
            </a:xfrm>
            <a:custGeom>
              <a:avLst/>
              <a:gdLst/>
              <a:ahLst/>
              <a:cxnLst/>
              <a:rect l="l" t="t" r="r" b="b"/>
              <a:pathLst>
                <a:path w="7187" h="4179" fill="none" extrusionOk="0">
                  <a:moveTo>
                    <a:pt x="7186" y="4179"/>
                  </a:moveTo>
                  <a:lnTo>
                    <a:pt x="0" y="0"/>
                  </a:lnTo>
                </a:path>
              </a:pathLst>
            </a:custGeom>
            <a:noFill/>
            <a:ln w="2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" name="Google Shape;1158;p33"/>
            <p:cNvSpPr/>
            <p:nvPr/>
          </p:nvSpPr>
          <p:spPr>
            <a:xfrm>
              <a:off x="-1280806" y="2864150"/>
              <a:ext cx="119268" cy="70499"/>
            </a:xfrm>
            <a:custGeom>
              <a:avLst/>
              <a:gdLst/>
              <a:ahLst/>
              <a:cxnLst/>
              <a:rect l="l" t="t" r="r" b="b"/>
              <a:pathLst>
                <a:path w="3414" h="2018" extrusionOk="0">
                  <a:moveTo>
                    <a:pt x="1707" y="0"/>
                  </a:moveTo>
                  <a:cubicBezTo>
                    <a:pt x="1662" y="0"/>
                    <a:pt x="1617" y="11"/>
                    <a:pt x="1577" y="34"/>
                  </a:cubicBezTo>
                  <a:lnTo>
                    <a:pt x="68" y="924"/>
                  </a:lnTo>
                  <a:cubicBezTo>
                    <a:pt x="0" y="958"/>
                    <a:pt x="0" y="1048"/>
                    <a:pt x="68" y="1082"/>
                  </a:cubicBezTo>
                  <a:lnTo>
                    <a:pt x="1555" y="1983"/>
                  </a:lnTo>
                  <a:cubicBezTo>
                    <a:pt x="1597" y="2007"/>
                    <a:pt x="1643" y="2018"/>
                    <a:pt x="1688" y="2018"/>
                  </a:cubicBezTo>
                  <a:cubicBezTo>
                    <a:pt x="1727" y="2018"/>
                    <a:pt x="1766" y="2010"/>
                    <a:pt x="1803" y="1994"/>
                  </a:cubicBezTo>
                  <a:lnTo>
                    <a:pt x="3323" y="1127"/>
                  </a:lnTo>
                  <a:lnTo>
                    <a:pt x="3312" y="1127"/>
                  </a:lnTo>
                  <a:cubicBezTo>
                    <a:pt x="3402" y="1082"/>
                    <a:pt x="3413" y="946"/>
                    <a:pt x="3323" y="901"/>
                  </a:cubicBezTo>
                  <a:lnTo>
                    <a:pt x="1836" y="34"/>
                  </a:lnTo>
                  <a:cubicBezTo>
                    <a:pt x="1797" y="11"/>
                    <a:pt x="1752" y="0"/>
                    <a:pt x="170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" name="Google Shape;1159;p33"/>
            <p:cNvSpPr/>
            <p:nvPr/>
          </p:nvSpPr>
          <p:spPr>
            <a:xfrm>
              <a:off x="-1280806" y="2863731"/>
              <a:ext cx="119268" cy="71267"/>
            </a:xfrm>
            <a:custGeom>
              <a:avLst/>
              <a:gdLst/>
              <a:ahLst/>
              <a:cxnLst/>
              <a:rect l="l" t="t" r="r" b="b"/>
              <a:pathLst>
                <a:path w="3414" h="2040" fill="none" extrusionOk="0">
                  <a:moveTo>
                    <a:pt x="3323" y="1139"/>
                  </a:moveTo>
                  <a:lnTo>
                    <a:pt x="1803" y="2006"/>
                  </a:lnTo>
                  <a:cubicBezTo>
                    <a:pt x="1724" y="2040"/>
                    <a:pt x="1634" y="2040"/>
                    <a:pt x="1555" y="1995"/>
                  </a:cubicBezTo>
                  <a:lnTo>
                    <a:pt x="68" y="1094"/>
                  </a:lnTo>
                  <a:cubicBezTo>
                    <a:pt x="0" y="1060"/>
                    <a:pt x="0" y="970"/>
                    <a:pt x="68" y="936"/>
                  </a:cubicBezTo>
                  <a:lnTo>
                    <a:pt x="1577" y="46"/>
                  </a:lnTo>
                  <a:cubicBezTo>
                    <a:pt x="1656" y="1"/>
                    <a:pt x="1758" y="1"/>
                    <a:pt x="1836" y="46"/>
                  </a:cubicBezTo>
                  <a:lnTo>
                    <a:pt x="3323" y="913"/>
                  </a:lnTo>
                  <a:cubicBezTo>
                    <a:pt x="3413" y="958"/>
                    <a:pt x="3402" y="1094"/>
                    <a:pt x="3312" y="1139"/>
                  </a:cubicBezTo>
                  <a:close/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" name="Google Shape;1160;p33"/>
            <p:cNvSpPr/>
            <p:nvPr/>
          </p:nvSpPr>
          <p:spPr>
            <a:xfrm>
              <a:off x="-1234379" y="2871626"/>
              <a:ext cx="61800" cy="36612"/>
            </a:xfrm>
            <a:custGeom>
              <a:avLst/>
              <a:gdLst/>
              <a:ahLst/>
              <a:cxnLst/>
              <a:rect l="l" t="t" r="r" b="b"/>
              <a:pathLst>
                <a:path w="1769" h="1048" fill="none" extrusionOk="0">
                  <a:moveTo>
                    <a:pt x="1769" y="1048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" name="Google Shape;1161;p33"/>
            <p:cNvSpPr/>
            <p:nvPr/>
          </p:nvSpPr>
          <p:spPr>
            <a:xfrm>
              <a:off x="-1266658" y="2889338"/>
              <a:ext cx="61835" cy="36612"/>
            </a:xfrm>
            <a:custGeom>
              <a:avLst/>
              <a:gdLst/>
              <a:ahLst/>
              <a:cxnLst/>
              <a:rect l="l" t="t" r="r" b="b"/>
              <a:pathLst>
                <a:path w="1770" h="1048" fill="none" extrusionOk="0">
                  <a:moveTo>
                    <a:pt x="1769" y="1048"/>
                  </a:moveTo>
                  <a:lnTo>
                    <a:pt x="1" y="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" name="Google Shape;1162;p33"/>
            <p:cNvSpPr/>
            <p:nvPr/>
          </p:nvSpPr>
          <p:spPr>
            <a:xfrm>
              <a:off x="-1235148" y="2890106"/>
              <a:ext cx="62569" cy="37415"/>
            </a:xfrm>
            <a:custGeom>
              <a:avLst/>
              <a:gdLst/>
              <a:ahLst/>
              <a:cxnLst/>
              <a:rect l="l" t="t" r="r" b="b"/>
              <a:pathLst>
                <a:path w="1791" h="1071" fill="none" extrusionOk="0">
                  <a:moveTo>
                    <a:pt x="1791" y="1"/>
                  </a:moveTo>
                  <a:lnTo>
                    <a:pt x="0" y="1071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" name="Google Shape;1163;p33"/>
            <p:cNvSpPr/>
            <p:nvPr/>
          </p:nvSpPr>
          <p:spPr>
            <a:xfrm>
              <a:off x="-1229663" y="2892482"/>
              <a:ext cx="30743" cy="18516"/>
            </a:xfrm>
            <a:custGeom>
              <a:avLst/>
              <a:gdLst/>
              <a:ahLst/>
              <a:cxnLst/>
              <a:rect l="l" t="t" r="r" b="b"/>
              <a:pathLst>
                <a:path w="880" h="530" fill="none" extrusionOk="0">
                  <a:moveTo>
                    <a:pt x="879" y="0"/>
                  </a:moveTo>
                  <a:lnTo>
                    <a:pt x="1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" name="Google Shape;1164;p33"/>
            <p:cNvSpPr/>
            <p:nvPr/>
          </p:nvSpPr>
          <p:spPr>
            <a:xfrm>
              <a:off x="-1243811" y="2883434"/>
              <a:ext cx="30708" cy="18516"/>
            </a:xfrm>
            <a:custGeom>
              <a:avLst/>
              <a:gdLst/>
              <a:ahLst/>
              <a:cxnLst/>
              <a:rect l="l" t="t" r="r" b="b"/>
              <a:pathLst>
                <a:path w="879" h="530" fill="none" extrusionOk="0">
                  <a:moveTo>
                    <a:pt x="879" y="0"/>
                  </a:moveTo>
                  <a:lnTo>
                    <a:pt x="0" y="530"/>
                  </a:lnTo>
                </a:path>
              </a:pathLst>
            </a:custGeom>
            <a:noFill/>
            <a:ln w="2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5035470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A327AA14-D155-9538-0329-5767C17B1A9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" y="35250"/>
            <a:ext cx="9144000" cy="1260000"/>
          </a:xfrm>
        </p:spPr>
        <p:txBody>
          <a:bodyPr/>
          <a:lstStyle/>
          <a:p>
            <a:pPr algn="ctr"/>
            <a:r>
              <a:rPr lang="en-US" sz="2000">
                <a:solidFill>
                  <a:schemeClr val="accent2"/>
                </a:solidFill>
              </a:rPr>
              <a:t>“Unknown” Categories Could Indicate Data Discrepancie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38A8E85-D386-46AE-C68F-4903948498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6920434"/>
              </p:ext>
            </p:extLst>
          </p:nvPr>
        </p:nvGraphicFramePr>
        <p:xfrm>
          <a:off x="423750" y="1189132"/>
          <a:ext cx="4774651" cy="1595685"/>
        </p:xfrm>
        <a:graphic>
          <a:graphicData uri="http://schemas.openxmlformats.org/drawingml/2006/table">
            <a:tbl>
              <a:tblPr/>
              <a:tblGrid>
                <a:gridCol w="1446864">
                  <a:extLst>
                    <a:ext uri="{9D8B030D-6E8A-4147-A177-3AD203B41FA5}">
                      <a16:colId xmlns:a16="http://schemas.microsoft.com/office/drawing/2014/main" val="2526677872"/>
                    </a:ext>
                  </a:extLst>
                </a:gridCol>
                <a:gridCol w="1670470">
                  <a:extLst>
                    <a:ext uri="{9D8B030D-6E8A-4147-A177-3AD203B41FA5}">
                      <a16:colId xmlns:a16="http://schemas.microsoft.com/office/drawing/2014/main" val="2474321998"/>
                    </a:ext>
                  </a:extLst>
                </a:gridCol>
                <a:gridCol w="1657317">
                  <a:extLst>
                    <a:ext uri="{9D8B030D-6E8A-4147-A177-3AD203B41FA5}">
                      <a16:colId xmlns:a16="http://schemas.microsoft.com/office/drawing/2014/main" val="456173503"/>
                    </a:ext>
                  </a:extLst>
                </a:gridCol>
              </a:tblGrid>
              <a:tr h="2279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Variable Nam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Discrepancy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% of clients in group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1671104"/>
                  </a:ext>
                </a:extLst>
              </a:tr>
              <a:tr h="2279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o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know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0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9813768"/>
                  </a:ext>
                </a:extLst>
              </a:tr>
              <a:tr h="2279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t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know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2820732"/>
                  </a:ext>
                </a:extLst>
              </a:tr>
              <a:tr h="2279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duca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know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0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9799879"/>
                  </a:ext>
                </a:extLst>
              </a:tr>
              <a:tr h="2279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faul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know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87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1646600"/>
                  </a:ext>
                </a:extLst>
              </a:tr>
              <a:tr h="2279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know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0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2307574"/>
                  </a:ext>
                </a:extLst>
              </a:tr>
              <a:tr h="2279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a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know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0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0753988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694FC6B-2570-53B2-C8F2-897F88B55E0B}"/>
              </a:ext>
            </a:extLst>
          </p:cNvPr>
          <p:cNvSpPr/>
          <p:nvPr/>
        </p:nvSpPr>
        <p:spPr>
          <a:xfrm>
            <a:off x="846814" y="2162878"/>
            <a:ext cx="3789986" cy="179611"/>
          </a:xfrm>
          <a:prstGeom prst="rect">
            <a:avLst/>
          </a:prstGeom>
          <a:noFill/>
          <a:ln w="22225">
            <a:solidFill>
              <a:srgbClr val="FF7C8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EB70D2-94A4-2747-BF4C-A64BFC3FE290}"/>
              </a:ext>
            </a:extLst>
          </p:cNvPr>
          <p:cNvSpPr/>
          <p:nvPr/>
        </p:nvSpPr>
        <p:spPr>
          <a:xfrm>
            <a:off x="5978224" y="1237544"/>
            <a:ext cx="2647783" cy="1214494"/>
          </a:xfrm>
          <a:prstGeom prst="rect">
            <a:avLst/>
          </a:prstGeom>
          <a:noFill/>
          <a:ln w="28575">
            <a:solidFill>
              <a:srgbClr val="FF7C8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16CC53-6B5D-E05E-A058-E0301B8B980C}"/>
              </a:ext>
            </a:extLst>
          </p:cNvPr>
          <p:cNvCxnSpPr>
            <a:cxnSpLocks/>
          </p:cNvCxnSpPr>
          <p:nvPr/>
        </p:nvCxnSpPr>
        <p:spPr>
          <a:xfrm>
            <a:off x="4636800" y="2205628"/>
            <a:ext cx="1341424" cy="0"/>
          </a:xfrm>
          <a:prstGeom prst="line">
            <a:avLst/>
          </a:prstGeom>
          <a:ln w="28575">
            <a:solidFill>
              <a:srgbClr val="FF7C8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75FC9A8-5B2B-9C69-7C15-108C874CD314}"/>
              </a:ext>
            </a:extLst>
          </p:cNvPr>
          <p:cNvSpPr txBox="1"/>
          <p:nvPr/>
        </p:nvSpPr>
        <p:spPr>
          <a:xfrm>
            <a:off x="6045809" y="1294146"/>
            <a:ext cx="25126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/>
              <a:t>Credit Default Distribution</a:t>
            </a:r>
            <a:br>
              <a:rPr lang="en-US" u="sng"/>
            </a:br>
            <a:endParaRPr lang="en-US" u="sng"/>
          </a:p>
          <a:p>
            <a:pPr algn="ctr"/>
            <a:r>
              <a:rPr lang="en-US" sz="1200"/>
              <a:t>No Default – 79.12%</a:t>
            </a:r>
            <a:br>
              <a:rPr lang="en-US" sz="1200"/>
            </a:br>
            <a:r>
              <a:rPr lang="en-US" sz="1200"/>
              <a:t>Yes Default – 0.01%</a:t>
            </a:r>
          </a:p>
          <a:p>
            <a:pPr algn="ctr"/>
            <a:r>
              <a:rPr lang="en-US" sz="1200"/>
              <a:t>Unknown – 20.87%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2F3369E-946C-72F0-953D-507C0C118E38}"/>
              </a:ext>
            </a:extLst>
          </p:cNvPr>
          <p:cNvSpPr/>
          <p:nvPr/>
        </p:nvSpPr>
        <p:spPr>
          <a:xfrm>
            <a:off x="913375" y="3605389"/>
            <a:ext cx="7544826" cy="1017724"/>
          </a:xfrm>
          <a:prstGeom prst="rect">
            <a:avLst/>
          </a:prstGeom>
          <a:noFill/>
          <a:ln w="28575">
            <a:solidFill>
              <a:schemeClr val="accent1">
                <a:shade val="15000"/>
                <a:alpha val="3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91D5FF5-17AD-1430-04CB-D229B9D41BDB}"/>
              </a:ext>
            </a:extLst>
          </p:cNvPr>
          <p:cNvSpPr txBox="1"/>
          <p:nvPr/>
        </p:nvSpPr>
        <p:spPr>
          <a:xfrm>
            <a:off x="913375" y="3575874"/>
            <a:ext cx="78081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/>
              <a:t>Key Takeaways</a:t>
            </a:r>
          </a:p>
          <a:p>
            <a:pPr marL="342900" indent="-342900">
              <a:buAutoNum type="arabicPeriod"/>
            </a:pPr>
            <a:r>
              <a:rPr lang="en-US"/>
              <a:t>No real data missing in the dataset.</a:t>
            </a:r>
          </a:p>
          <a:p>
            <a:pPr marL="342900" indent="-342900">
              <a:buAutoNum type="arabicPeriod"/>
            </a:pPr>
            <a:r>
              <a:rPr lang="en-US"/>
              <a:t>6 variables have category “unknown” among 21 total input variables.</a:t>
            </a:r>
          </a:p>
          <a:p>
            <a:pPr marL="342900" indent="-342900">
              <a:buAutoNum type="arabicPeriod"/>
            </a:pPr>
            <a:r>
              <a:rPr lang="en-US"/>
              <a:t>Input Variable “Default” indicating prior credit default history has no data of defaulters. 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A327AA14-D155-9538-0329-5767C17B1A9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925956" y="53407"/>
            <a:ext cx="3434400" cy="1260000"/>
          </a:xfrm>
        </p:spPr>
        <p:txBody>
          <a:bodyPr/>
          <a:lstStyle/>
          <a:p>
            <a:pPr algn="ctr"/>
            <a:r>
              <a:rPr lang="en-US" sz="2000">
                <a:solidFill>
                  <a:schemeClr val="accent2"/>
                </a:solidFill>
              </a:rPr>
              <a:t>Correlation Matrix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D98BCDE-9541-58DE-79A4-2AC1CBB2C0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2854" y="876375"/>
            <a:ext cx="4038292" cy="2638069"/>
          </a:xfrm>
          <a:prstGeom prst="rect">
            <a:avLst/>
          </a:prstGeom>
          <a:noFill/>
          <a:ln w="127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37428CB-1F6B-660D-19C4-D30F46B64296}"/>
              </a:ext>
            </a:extLst>
          </p:cNvPr>
          <p:cNvSpPr/>
          <p:nvPr/>
        </p:nvSpPr>
        <p:spPr>
          <a:xfrm>
            <a:off x="739066" y="3678685"/>
            <a:ext cx="7808181" cy="1140036"/>
          </a:xfrm>
          <a:prstGeom prst="rect">
            <a:avLst/>
          </a:prstGeom>
          <a:noFill/>
          <a:ln w="28575">
            <a:solidFill>
              <a:schemeClr val="accent1">
                <a:shade val="15000"/>
                <a:alpha val="3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999F1B-7F17-6785-01E4-5C1CD9B29927}"/>
              </a:ext>
            </a:extLst>
          </p:cNvPr>
          <p:cNvSpPr txBox="1"/>
          <p:nvPr/>
        </p:nvSpPr>
        <p:spPr>
          <a:xfrm>
            <a:off x="742430" y="3678685"/>
            <a:ext cx="772314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/>
              <a:t>Key Takeaways</a:t>
            </a:r>
          </a:p>
          <a:p>
            <a:pPr marL="342900" indent="-342900">
              <a:buAutoNum type="arabicPeriod"/>
            </a:pPr>
            <a:r>
              <a:rPr lang="en-US"/>
              <a:t>As “</a:t>
            </a:r>
            <a:r>
              <a:rPr lang="en-US" b="1" i="1"/>
              <a:t>Duration</a:t>
            </a:r>
            <a:r>
              <a:rPr lang="en-US"/>
              <a:t>” of calls in current campaign increases, chances of subscription increases.</a:t>
            </a:r>
          </a:p>
          <a:p>
            <a:pPr marL="342900" indent="-342900">
              <a:buAutoNum type="arabicPeriod"/>
            </a:pPr>
            <a:r>
              <a:rPr lang="en-US" b="1" i="1"/>
              <a:t>Number of Employees</a:t>
            </a:r>
            <a:r>
              <a:rPr lang="en-US"/>
              <a:t> and “</a:t>
            </a:r>
            <a:r>
              <a:rPr lang="en-US" b="1" i="1"/>
              <a:t>Pdays</a:t>
            </a:r>
            <a:r>
              <a:rPr lang="en-US"/>
              <a:t>” have the highest negative correlation with Target Variable.</a:t>
            </a:r>
          </a:p>
          <a:p>
            <a:pPr marL="342900" indent="-342900">
              <a:buAutoNum type="arabicPeriod"/>
            </a:pPr>
            <a:r>
              <a:rPr lang="en-US"/>
              <a:t>All numeric input variables have relatively low correlation with Subscription to Term Deposit. </a:t>
            </a:r>
          </a:p>
        </p:txBody>
      </p:sp>
    </p:spTree>
    <p:extLst>
      <p:ext uri="{BB962C8B-B14F-4D97-AF65-F5344CB8AC3E}">
        <p14:creationId xmlns:p14="http://schemas.microsoft.com/office/powerpoint/2010/main" val="31476868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A327AA14-D155-9538-0329-5767C17B1A9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3999" cy="1260000"/>
          </a:xfrm>
        </p:spPr>
        <p:txBody>
          <a:bodyPr/>
          <a:lstStyle/>
          <a:p>
            <a:pPr algn="ctr"/>
            <a:r>
              <a:rPr lang="en-US" sz="2000" dirty="0">
                <a:solidFill>
                  <a:schemeClr val="accent2"/>
                </a:solidFill>
              </a:rPr>
              <a:t>Majority of Targeted Clients Have Some Form of Education 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7BB7C828-0246-387C-ABD4-F8CC54F4FEB4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680950" y="2008900"/>
            <a:ext cx="3434400" cy="696300"/>
          </a:xfrm>
        </p:spPr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C372FE-6313-044B-73A5-4CD2B6049C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7005" y="810126"/>
            <a:ext cx="5068495" cy="3790147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BB3AAF93-129B-FD1D-6C6A-43840E485D26}"/>
              </a:ext>
            </a:extLst>
          </p:cNvPr>
          <p:cNvSpPr/>
          <p:nvPr/>
        </p:nvSpPr>
        <p:spPr>
          <a:xfrm>
            <a:off x="3382420" y="1289336"/>
            <a:ext cx="1189580" cy="13878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DFB0AF-0A50-B3A2-63DE-1D6AAC3BF40C}"/>
              </a:ext>
            </a:extLst>
          </p:cNvPr>
          <p:cNvSpPr txBox="1"/>
          <p:nvPr/>
        </p:nvSpPr>
        <p:spPr>
          <a:xfrm>
            <a:off x="741873" y="1044546"/>
            <a:ext cx="25126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Most Clients targeted have at least a “University” or “High School” degree.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58D3-611F-84E5-D3A1-CF4FDEA46718}"/>
              </a:ext>
            </a:extLst>
          </p:cNvPr>
          <p:cNvSpPr/>
          <p:nvPr/>
        </p:nvSpPr>
        <p:spPr>
          <a:xfrm>
            <a:off x="674288" y="1013001"/>
            <a:ext cx="2647783" cy="830247"/>
          </a:xfrm>
          <a:prstGeom prst="rect">
            <a:avLst/>
          </a:prstGeom>
          <a:noFill/>
          <a:ln>
            <a:solidFill>
              <a:schemeClr val="accent1">
                <a:shade val="15000"/>
                <a:alpha val="3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3806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A327AA14-D155-9538-0329-5767C17B1A9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4000" cy="1260000"/>
          </a:xfrm>
        </p:spPr>
        <p:txBody>
          <a:bodyPr/>
          <a:lstStyle/>
          <a:p>
            <a:pPr algn="ctr"/>
            <a:r>
              <a:rPr lang="en-US" sz="2000" dirty="0">
                <a:solidFill>
                  <a:schemeClr val="accent2"/>
                </a:solidFill>
              </a:rPr>
              <a:t>Client Base Focus Lies in Essential Workforce 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582EB57-ED02-D4DA-BEE4-2E1D0134B4C4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680950" y="2008900"/>
            <a:ext cx="3434400" cy="696300"/>
          </a:xfrm>
        </p:spPr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C372FE-6313-044B-73A5-4CD2B6049C8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659103" y="880276"/>
            <a:ext cx="5074905" cy="3790147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EDFB0AF-0A50-B3A2-63DE-1D6AAC3BF40C}"/>
              </a:ext>
            </a:extLst>
          </p:cNvPr>
          <p:cNvSpPr txBox="1"/>
          <p:nvPr/>
        </p:nvSpPr>
        <p:spPr>
          <a:xfrm>
            <a:off x="684409" y="3937623"/>
            <a:ext cx="25126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73.8% of all the clients belong to just 4 of these Job Groups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58D3-611F-84E5-D3A1-CF4FDEA46718}"/>
              </a:ext>
            </a:extLst>
          </p:cNvPr>
          <p:cNvSpPr/>
          <p:nvPr/>
        </p:nvSpPr>
        <p:spPr>
          <a:xfrm>
            <a:off x="549238" y="3876300"/>
            <a:ext cx="2647783" cy="861311"/>
          </a:xfrm>
          <a:prstGeom prst="rect">
            <a:avLst/>
          </a:prstGeom>
          <a:noFill/>
          <a:ln w="28575">
            <a:solidFill>
              <a:schemeClr val="accent1">
                <a:shade val="15000"/>
                <a:alpha val="3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91EA54-AB50-C233-06D3-8011718EBB05}"/>
              </a:ext>
            </a:extLst>
          </p:cNvPr>
          <p:cNvGrpSpPr/>
          <p:nvPr/>
        </p:nvGrpSpPr>
        <p:grpSpPr>
          <a:xfrm>
            <a:off x="4465707" y="4185278"/>
            <a:ext cx="1232452" cy="243356"/>
            <a:chOff x="4492487" y="4113958"/>
            <a:chExt cx="1232452" cy="243356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D76F7BDF-ED0C-BA6C-EFDD-7A1CD491FCF9}"/>
                </a:ext>
              </a:extLst>
            </p:cNvPr>
            <p:cNvCxnSpPr>
              <a:cxnSpLocks/>
            </p:cNvCxnSpPr>
            <p:nvPr/>
          </p:nvCxnSpPr>
          <p:spPr>
            <a:xfrm>
              <a:off x="4492487" y="4357314"/>
              <a:ext cx="1232452" cy="0"/>
            </a:xfrm>
            <a:prstGeom prst="line">
              <a:avLst/>
            </a:prstGeom>
            <a:ln w="28575">
              <a:solidFill>
                <a:schemeClr val="accent1">
                  <a:shade val="95000"/>
                  <a:satMod val="105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B5540307-EEB3-3B2B-2424-683289DF0D37}"/>
                </a:ext>
              </a:extLst>
            </p:cNvPr>
            <p:cNvCxnSpPr>
              <a:cxnSpLocks/>
            </p:cNvCxnSpPr>
            <p:nvPr/>
          </p:nvCxnSpPr>
          <p:spPr>
            <a:xfrm>
              <a:off x="4492487" y="4113958"/>
              <a:ext cx="0" cy="243356"/>
            </a:xfrm>
            <a:prstGeom prst="line">
              <a:avLst/>
            </a:prstGeom>
            <a:ln w="28575">
              <a:solidFill>
                <a:schemeClr val="accent1">
                  <a:shade val="95000"/>
                  <a:satMod val="105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1A9351A-6479-DBB4-FA47-01D70459AB8D}"/>
                </a:ext>
              </a:extLst>
            </p:cNvPr>
            <p:cNvCxnSpPr>
              <a:cxnSpLocks/>
            </p:cNvCxnSpPr>
            <p:nvPr/>
          </p:nvCxnSpPr>
          <p:spPr>
            <a:xfrm>
              <a:off x="5718313" y="4113958"/>
              <a:ext cx="0" cy="243356"/>
            </a:xfrm>
            <a:prstGeom prst="line">
              <a:avLst/>
            </a:prstGeom>
            <a:ln w="28575">
              <a:solidFill>
                <a:schemeClr val="accent1">
                  <a:shade val="95000"/>
                  <a:satMod val="105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7509571-BFEC-9A2D-5746-02962BA84947}"/>
              </a:ext>
            </a:extLst>
          </p:cNvPr>
          <p:cNvCxnSpPr>
            <a:cxnSpLocks/>
          </p:cNvCxnSpPr>
          <p:nvPr/>
        </p:nvCxnSpPr>
        <p:spPr>
          <a:xfrm>
            <a:off x="3255413" y="4596423"/>
            <a:ext cx="1840725" cy="0"/>
          </a:xfrm>
          <a:prstGeom prst="line">
            <a:avLst/>
          </a:prstGeom>
          <a:ln w="28575">
            <a:solidFill>
              <a:schemeClr val="accent1">
                <a:shade val="95000"/>
                <a:satMod val="105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3F00282-127D-C196-7880-814EDB8CA2BA}"/>
              </a:ext>
            </a:extLst>
          </p:cNvPr>
          <p:cNvCxnSpPr>
            <a:cxnSpLocks/>
          </p:cNvCxnSpPr>
          <p:nvPr/>
        </p:nvCxnSpPr>
        <p:spPr>
          <a:xfrm>
            <a:off x="5102071" y="4463250"/>
            <a:ext cx="0" cy="127221"/>
          </a:xfrm>
          <a:prstGeom prst="line">
            <a:avLst/>
          </a:prstGeom>
          <a:ln w="28575">
            <a:solidFill>
              <a:schemeClr val="accent1">
                <a:shade val="95000"/>
                <a:satMod val="105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759529"/>
      </p:ext>
    </p:extLst>
  </p:cSld>
  <p:clrMapOvr>
    <a:masterClrMapping/>
  </p:clrMapOvr>
</p:sld>
</file>